
<file path=[Content_Types].xml><?xml version="1.0" encoding="utf-8"?>
<Types xmlns="http://schemas.openxmlformats.org/package/2006/content-types">
  <Default Extension="jpg" ContentType="image/jpeg"/>
  <Default Extension="svg" ContentType="image/svg+xml"/>
  <Default Extension="emf" ContentType="image/x-emf"/>
  <Default Extension="jpeg" ContentType="image/jpeg"/>
  <Default Extension="xml" ContentType="application/xml"/>
  <Default Extension="vml" ContentType="application/vnd.openxmlformats-officedocument.vmlDrawing"/>
  <Default Extension="tmp" ContentType="image/png"/>
  <Default Extension="wdp" ContentType="image/vnd.ms-photo"/>
  <Default Extension="bin" ContentType="application/vnd.openxmlformats-officedocument.oleObject"/>
  <Default Extension="wmf" ContentType="image/x-wmf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3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9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0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1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0" r:id="rId1"/>
    <p:sldMasterId id="2147484021" r:id="rId2"/>
    <p:sldMasterId id="2147484050" r:id="rId3"/>
    <p:sldMasterId id="2147484088" r:id="rId4"/>
    <p:sldMasterId id="2147484135" r:id="rId5"/>
  </p:sldMasterIdLst>
  <p:notesMasterIdLst>
    <p:notesMasterId r:id="rId27"/>
  </p:notesMasterIdLst>
  <p:handoutMasterIdLst>
    <p:handoutMasterId r:id="rId28"/>
  </p:handoutMasterIdLst>
  <p:sldIdLst>
    <p:sldId id="324" r:id="rId6"/>
    <p:sldId id="391" r:id="rId7"/>
    <p:sldId id="392" r:id="rId8"/>
    <p:sldId id="397" r:id="rId9"/>
    <p:sldId id="398" r:id="rId10"/>
    <p:sldId id="329" r:id="rId11"/>
    <p:sldId id="332" r:id="rId12"/>
    <p:sldId id="333" r:id="rId13"/>
    <p:sldId id="379" r:id="rId14"/>
    <p:sldId id="364" r:id="rId15"/>
    <p:sldId id="365" r:id="rId16"/>
    <p:sldId id="366" r:id="rId17"/>
    <p:sldId id="367" r:id="rId18"/>
    <p:sldId id="381" r:id="rId19"/>
    <p:sldId id="369" r:id="rId20"/>
    <p:sldId id="404" r:id="rId21"/>
    <p:sldId id="401" r:id="rId22"/>
    <p:sldId id="403" r:id="rId23"/>
    <p:sldId id="406" r:id="rId24"/>
    <p:sldId id="407" r:id="rId25"/>
    <p:sldId id="323" r:id="rId26"/>
  </p:sldIdLst>
  <p:sldSz cx="9144000" cy="5143500" type="screen16x9"/>
  <p:notesSz cx="6858000" cy="9144000"/>
  <p:custDataLst>
    <p:tags r:id="rId29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pos="3144" userDrawn="1">
          <p15:clr>
            <a:srgbClr val="A4A3A4"/>
          </p15:clr>
        </p15:guide>
        <p15:guide id="2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tesh Gohil" initials="" lastIdx="31" clrIdx="0"/>
  <p:cmAuthor id="1" name="Kate Ryan" initials="KR" lastIdx="11" clrIdx="1">
    <p:extLst/>
  </p:cmAuthor>
  <p:cmAuthor id="2" name="Microsoft Office User" initials="Office" lastIdx="5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CEB"/>
    <a:srgbClr val="00B6E9"/>
    <a:srgbClr val="00A3CC"/>
    <a:srgbClr val="F2F2F3"/>
    <a:srgbClr val="EBEBEB"/>
    <a:srgbClr val="BFEEF9"/>
    <a:srgbClr val="00A5CC"/>
    <a:srgbClr val="CFCFCF"/>
    <a:srgbClr val="E1E1E1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439" autoAdjust="0"/>
    <p:restoredTop sz="96024" autoAdjust="0"/>
  </p:normalViewPr>
  <p:slideViewPr>
    <p:cSldViewPr snapToGrid="0" snapToObjects="1" showGuides="1">
      <p:cViewPr>
        <p:scale>
          <a:sx n="137" d="100"/>
          <a:sy n="137" d="100"/>
        </p:scale>
        <p:origin x="528" y="512"/>
      </p:cViewPr>
      <p:guideLst>
        <p:guide pos="3144"/>
        <p:guide orient="horz" pos="16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8" d="100"/>
        <a:sy n="128" d="100"/>
      </p:scale>
      <p:origin x="0" y="0"/>
    </p:cViewPr>
  </p:sorterViewPr>
  <p:notesViewPr>
    <p:cSldViewPr snapToGrid="0" snapToObjects="1" showGuides="1">
      <p:cViewPr varScale="1">
        <p:scale>
          <a:sx n="87" d="100"/>
          <a:sy n="87" d="100"/>
        </p:scale>
        <p:origin x="257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5.xml"/><Relationship Id="rId21" Type="http://schemas.openxmlformats.org/officeDocument/2006/relationships/slide" Target="slides/slide16.xml"/><Relationship Id="rId22" Type="http://schemas.openxmlformats.org/officeDocument/2006/relationships/slide" Target="slides/slide17.xml"/><Relationship Id="rId23" Type="http://schemas.openxmlformats.org/officeDocument/2006/relationships/slide" Target="slides/slide18.xml"/><Relationship Id="rId24" Type="http://schemas.openxmlformats.org/officeDocument/2006/relationships/slide" Target="slides/slide19.xml"/><Relationship Id="rId25" Type="http://schemas.openxmlformats.org/officeDocument/2006/relationships/slide" Target="slides/slide20.xml"/><Relationship Id="rId26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28" Type="http://schemas.openxmlformats.org/officeDocument/2006/relationships/handoutMaster" Target="handoutMasters/handoutMaster1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commentAuthors" Target="commentAuthors.xml"/><Relationship Id="rId31" Type="http://schemas.openxmlformats.org/officeDocument/2006/relationships/presProps" Target="presProps.xml"/><Relationship Id="rId32" Type="http://schemas.openxmlformats.org/officeDocument/2006/relationships/viewProps" Target="viewProps.xml"/><Relationship Id="rId9" Type="http://schemas.openxmlformats.org/officeDocument/2006/relationships/slide" Target="slides/slide4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33" Type="http://schemas.openxmlformats.org/officeDocument/2006/relationships/theme" Target="theme/theme1.xml"/><Relationship Id="rId34" Type="http://schemas.openxmlformats.org/officeDocument/2006/relationships/tableStyles" Target="tableStyles.xml"/><Relationship Id="rId58" Type="http://schemas.microsoft.com/office/2015/10/relationships/revisionInfo" Target="revisionInfo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slide" Target="slides/slide13.xml"/><Relationship Id="rId19" Type="http://schemas.openxmlformats.org/officeDocument/2006/relationships/slide" Target="slides/slide1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0AD9141-6D50-4AAD-A1AE-356515660975}" type="doc">
      <dgm:prSet loTypeId="urn:microsoft.com/office/officeart/2005/8/layout/radial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7616C49-4A14-4356-9147-FD8E25B0754B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600" dirty="0"/>
            <a:t>Off Corp.</a:t>
          </a:r>
        </a:p>
      </dgm:t>
    </dgm:pt>
    <dgm:pt modelId="{9E73CAEC-EA2B-4DC9-A8E3-E35C1BB08D55}" type="parTrans" cxnId="{099AD59F-BD29-479D-B3C1-4957ADE2196B}">
      <dgm:prSet/>
      <dgm:spPr/>
      <dgm:t>
        <a:bodyPr/>
        <a:lstStyle/>
        <a:p>
          <a:endParaRPr lang="en-US" sz="1200"/>
        </a:p>
      </dgm:t>
    </dgm:pt>
    <dgm:pt modelId="{E71036C2-60F9-45D9-B10F-BE16C30A5F82}" type="sibTrans" cxnId="{099AD59F-BD29-479D-B3C1-4957ADE2196B}">
      <dgm:prSet/>
      <dgm:spPr/>
      <dgm:t>
        <a:bodyPr/>
        <a:lstStyle/>
        <a:p>
          <a:endParaRPr lang="en-US" sz="1200"/>
        </a:p>
      </dgm:t>
    </dgm:pt>
    <dgm:pt modelId="{E5C74053-BB22-4B8A-A60F-E12715E65761}">
      <dgm:prSet phldrT="[Text]" custT="1"/>
      <dgm:spPr>
        <a:solidFill>
          <a:srgbClr val="0070C0"/>
        </a:solidFill>
      </dgm:spPr>
      <dgm:t>
        <a:bodyPr lIns="0" tIns="0" rIns="0" bIns="0"/>
        <a:lstStyle/>
        <a:p>
          <a:r>
            <a:rPr lang="en-US" sz="600" dirty="0"/>
            <a:t>Corp.</a:t>
          </a:r>
        </a:p>
        <a:p>
          <a:r>
            <a:rPr lang="en-US" sz="600" dirty="0"/>
            <a:t>WLAN</a:t>
          </a:r>
        </a:p>
      </dgm:t>
    </dgm:pt>
    <dgm:pt modelId="{10C775E9-C9DD-432C-A0F1-D6067C238299}" type="parTrans" cxnId="{4CB57940-B9D3-4E47-8269-FD16F2CC1C3C}">
      <dgm:prSet/>
      <dgm:spPr/>
      <dgm:t>
        <a:bodyPr/>
        <a:lstStyle/>
        <a:p>
          <a:endParaRPr lang="en-US" sz="1200"/>
        </a:p>
      </dgm:t>
    </dgm:pt>
    <dgm:pt modelId="{6615CE46-7E4B-4ACB-BAB2-FED8C71C1648}" type="sibTrans" cxnId="{4CB57940-B9D3-4E47-8269-FD16F2CC1C3C}">
      <dgm:prSet/>
      <dgm:spPr/>
      <dgm:t>
        <a:bodyPr/>
        <a:lstStyle/>
        <a:p>
          <a:endParaRPr lang="en-US" sz="1200"/>
        </a:p>
      </dgm:t>
    </dgm:pt>
    <dgm:pt modelId="{06366CB4-702A-4D33-BDBE-0278FC7CDB2F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600" dirty="0"/>
            <a:t>Corp.</a:t>
          </a:r>
        </a:p>
        <a:p>
          <a:r>
            <a:rPr lang="en-US" sz="600" dirty="0"/>
            <a:t>Wired</a:t>
          </a:r>
        </a:p>
      </dgm:t>
    </dgm:pt>
    <dgm:pt modelId="{E3FF6B33-686F-45FA-BA55-3212B86AB78B}" type="parTrans" cxnId="{FD2F1A88-6075-406D-9F9D-75027873E39D}">
      <dgm:prSet/>
      <dgm:spPr/>
      <dgm:t>
        <a:bodyPr/>
        <a:lstStyle/>
        <a:p>
          <a:endParaRPr lang="en-US" sz="1200"/>
        </a:p>
      </dgm:t>
    </dgm:pt>
    <dgm:pt modelId="{C11F7172-349E-4191-AC7E-F1644EC61875}" type="sibTrans" cxnId="{FD2F1A88-6075-406D-9F9D-75027873E39D}">
      <dgm:prSet/>
      <dgm:spPr/>
      <dgm:t>
        <a:bodyPr/>
        <a:lstStyle/>
        <a:p>
          <a:endParaRPr lang="en-US" sz="1200"/>
        </a:p>
      </dgm:t>
    </dgm:pt>
    <dgm:pt modelId="{5F267533-DC80-4662-B168-8FADBE1F3890}">
      <dgm:prSet phldrT="[Text]" custT="1"/>
      <dgm:spPr>
        <a:solidFill>
          <a:srgbClr val="0070C0"/>
        </a:solidFill>
      </dgm:spPr>
      <dgm:t>
        <a:bodyPr/>
        <a:lstStyle/>
        <a:p>
          <a:r>
            <a:rPr lang="en-US" sz="600" dirty="0"/>
            <a:t>Corp. VPN</a:t>
          </a:r>
        </a:p>
      </dgm:t>
    </dgm:pt>
    <dgm:pt modelId="{18C53B10-68E7-43EE-9895-1EA2F4F9B2A8}" type="parTrans" cxnId="{DC5E6D5B-BCE5-405C-8DC1-AB8C101068D7}">
      <dgm:prSet/>
      <dgm:spPr/>
      <dgm:t>
        <a:bodyPr/>
        <a:lstStyle/>
        <a:p>
          <a:endParaRPr lang="en-US" sz="1200"/>
        </a:p>
      </dgm:t>
    </dgm:pt>
    <dgm:pt modelId="{757A6F2E-209A-4DDA-81C0-BC2899A640F6}" type="sibTrans" cxnId="{DC5E6D5B-BCE5-405C-8DC1-AB8C101068D7}">
      <dgm:prSet/>
      <dgm:spPr/>
      <dgm:t>
        <a:bodyPr/>
        <a:lstStyle/>
        <a:p>
          <a:endParaRPr lang="en-US" sz="1200"/>
        </a:p>
      </dgm:t>
    </dgm:pt>
    <dgm:pt modelId="{F150AA63-084B-4084-B1C3-611A86735F92}" type="pres">
      <dgm:prSet presAssocID="{A0AD9141-6D50-4AAD-A1AE-356515660975}" presName="composite" presStyleCnt="0">
        <dgm:presLayoutVars>
          <dgm:chMax val="5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6BC1293-9F04-4990-A090-7FFE2BA7C22A}" type="pres">
      <dgm:prSet presAssocID="{A0AD9141-6D50-4AAD-A1AE-356515660975}" presName="cycle" presStyleCnt="0"/>
      <dgm:spPr/>
    </dgm:pt>
    <dgm:pt modelId="{18625D79-F6E0-4DD5-94E3-7ECA818EFB46}" type="pres">
      <dgm:prSet presAssocID="{A0AD9141-6D50-4AAD-A1AE-356515660975}" presName="centerShape" presStyleCnt="0"/>
      <dgm:spPr/>
    </dgm:pt>
    <dgm:pt modelId="{E8A15C96-4CF2-421C-91A3-1E2B6A58919F}" type="pres">
      <dgm:prSet presAssocID="{A0AD9141-6D50-4AAD-A1AE-356515660975}" presName="connSite" presStyleLbl="node1" presStyleIdx="0" presStyleCnt="5"/>
      <dgm:spPr/>
    </dgm:pt>
    <dgm:pt modelId="{2348B153-230E-400A-90EE-4413A3A0B61E}" type="pres">
      <dgm:prSet presAssocID="{A0AD9141-6D50-4AAD-A1AE-356515660975}" presName="visible" presStyleLbl="node1" presStyleIdx="0" presStyleCnt="5" custScaleX="126147" custScaleY="126147" custLinFactNeighborX="-25614"/>
      <dgm:spPr>
        <a:solidFill>
          <a:srgbClr val="0070C0"/>
        </a:solidFill>
        <a:ln>
          <a:noFill/>
        </a:ln>
      </dgm:spPr>
    </dgm:pt>
    <dgm:pt modelId="{F83C6E87-9815-4FB9-A51C-2FC451F23F47}" type="pres">
      <dgm:prSet presAssocID="{9E73CAEC-EA2B-4DC9-A8E3-E35C1BB08D55}" presName="Name25" presStyleLbl="parChTrans1D1" presStyleIdx="0" presStyleCnt="4"/>
      <dgm:spPr/>
      <dgm:t>
        <a:bodyPr/>
        <a:lstStyle/>
        <a:p>
          <a:endParaRPr lang="en-US"/>
        </a:p>
      </dgm:t>
    </dgm:pt>
    <dgm:pt modelId="{5B1332EE-CB1C-4F55-88A9-96370CF03A67}" type="pres">
      <dgm:prSet presAssocID="{37616C49-4A14-4356-9147-FD8E25B0754B}" presName="node" presStyleCnt="0"/>
      <dgm:spPr/>
    </dgm:pt>
    <dgm:pt modelId="{E9B56B7C-528E-4675-93F8-FD9C264C8796}" type="pres">
      <dgm:prSet presAssocID="{37616C49-4A14-4356-9147-FD8E25B0754B}" presName="parentNode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C3091B-2981-4896-8969-28B903D42492}" type="pres">
      <dgm:prSet presAssocID="{37616C49-4A14-4356-9147-FD8E25B0754B}" presName="childNode" presStyleLbl="revTx" presStyleIdx="0" presStyleCnt="0">
        <dgm:presLayoutVars>
          <dgm:bulletEnabled val="1"/>
        </dgm:presLayoutVars>
      </dgm:prSet>
      <dgm:spPr/>
    </dgm:pt>
    <dgm:pt modelId="{FEE9CD7B-D06A-4B6A-A6CB-30D6E172244B}" type="pres">
      <dgm:prSet presAssocID="{18C53B10-68E7-43EE-9895-1EA2F4F9B2A8}" presName="Name25" presStyleLbl="parChTrans1D1" presStyleIdx="1" presStyleCnt="4"/>
      <dgm:spPr/>
      <dgm:t>
        <a:bodyPr/>
        <a:lstStyle/>
        <a:p>
          <a:endParaRPr lang="en-US"/>
        </a:p>
      </dgm:t>
    </dgm:pt>
    <dgm:pt modelId="{76757EFC-EF18-44CF-AE97-11162FD62D38}" type="pres">
      <dgm:prSet presAssocID="{5F267533-DC80-4662-B168-8FADBE1F3890}" presName="node" presStyleCnt="0"/>
      <dgm:spPr/>
    </dgm:pt>
    <dgm:pt modelId="{4489E963-4DAC-4D70-948A-A0E88C104475}" type="pres">
      <dgm:prSet presAssocID="{5F267533-DC80-4662-B168-8FADBE1F3890}" presName="parentNode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842F2D-7ABC-4B63-8EDC-9D5F431A64EF}" type="pres">
      <dgm:prSet presAssocID="{5F267533-DC80-4662-B168-8FADBE1F3890}" presName="childNode" presStyleLbl="revTx" presStyleIdx="0" presStyleCnt="0">
        <dgm:presLayoutVars>
          <dgm:bulletEnabled val="1"/>
        </dgm:presLayoutVars>
      </dgm:prSet>
      <dgm:spPr/>
    </dgm:pt>
    <dgm:pt modelId="{B9C09F13-B390-479B-90D4-6E72DF64BF0C}" type="pres">
      <dgm:prSet presAssocID="{E3FF6B33-686F-45FA-BA55-3212B86AB78B}" presName="Name25" presStyleLbl="parChTrans1D1" presStyleIdx="2" presStyleCnt="4"/>
      <dgm:spPr/>
      <dgm:t>
        <a:bodyPr/>
        <a:lstStyle/>
        <a:p>
          <a:endParaRPr lang="en-US"/>
        </a:p>
      </dgm:t>
    </dgm:pt>
    <dgm:pt modelId="{9EB4DAB1-8025-4BD2-97BD-2F41B8EC6E77}" type="pres">
      <dgm:prSet presAssocID="{06366CB4-702A-4D33-BDBE-0278FC7CDB2F}" presName="node" presStyleCnt="0"/>
      <dgm:spPr/>
    </dgm:pt>
    <dgm:pt modelId="{3233993C-0313-4256-B1BF-D9B5F6F7EA9C}" type="pres">
      <dgm:prSet presAssocID="{06366CB4-702A-4D33-BDBE-0278FC7CDB2F}" presName="parentNode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DBBBF01-FAE5-4D01-AC17-CA9C6AF5C47F}" type="pres">
      <dgm:prSet presAssocID="{06366CB4-702A-4D33-BDBE-0278FC7CDB2F}" presName="childNode" presStyleLbl="revTx" presStyleIdx="0" presStyleCnt="0">
        <dgm:presLayoutVars>
          <dgm:bulletEnabled val="1"/>
        </dgm:presLayoutVars>
      </dgm:prSet>
      <dgm:spPr/>
    </dgm:pt>
    <dgm:pt modelId="{56675C5A-32DA-41DC-96F0-2699A9173257}" type="pres">
      <dgm:prSet presAssocID="{10C775E9-C9DD-432C-A0F1-D6067C238299}" presName="Name25" presStyleLbl="parChTrans1D1" presStyleIdx="3" presStyleCnt="4"/>
      <dgm:spPr/>
      <dgm:t>
        <a:bodyPr/>
        <a:lstStyle/>
        <a:p>
          <a:endParaRPr lang="en-US"/>
        </a:p>
      </dgm:t>
    </dgm:pt>
    <dgm:pt modelId="{5F3636ED-94F2-4AB5-92DC-C4564489175C}" type="pres">
      <dgm:prSet presAssocID="{E5C74053-BB22-4B8A-A60F-E12715E65761}" presName="node" presStyleCnt="0"/>
      <dgm:spPr/>
    </dgm:pt>
    <dgm:pt modelId="{F293ED0E-6C31-4CF2-9B62-99046CD3E967}" type="pres">
      <dgm:prSet presAssocID="{E5C74053-BB22-4B8A-A60F-E12715E65761}" presName="parentNode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0EC261-EF9C-4EF0-81A3-668013104BB6}" type="pres">
      <dgm:prSet presAssocID="{E5C74053-BB22-4B8A-A60F-E12715E65761}" presName="childNode" presStyleLbl="revTx" presStyleIdx="0" presStyleCnt="0">
        <dgm:presLayoutVars>
          <dgm:bulletEnabled val="1"/>
        </dgm:presLayoutVars>
      </dgm:prSet>
      <dgm:spPr/>
    </dgm:pt>
  </dgm:ptLst>
  <dgm:cxnLst>
    <dgm:cxn modelId="{669C17C4-4478-2346-BE5F-E2A2814F5318}" type="presOf" srcId="{A0AD9141-6D50-4AAD-A1AE-356515660975}" destId="{F150AA63-084B-4084-B1C3-611A86735F92}" srcOrd="0" destOrd="0" presId="urn:microsoft.com/office/officeart/2005/8/layout/radial2"/>
    <dgm:cxn modelId="{06CB70F3-62DD-0D4F-9B36-C2538C3479DF}" type="presOf" srcId="{E3FF6B33-686F-45FA-BA55-3212B86AB78B}" destId="{B9C09F13-B390-479B-90D4-6E72DF64BF0C}" srcOrd="0" destOrd="0" presId="urn:microsoft.com/office/officeart/2005/8/layout/radial2"/>
    <dgm:cxn modelId="{4C703466-DC28-D244-8B0E-9533B3AF92FF}" type="presOf" srcId="{5F267533-DC80-4662-B168-8FADBE1F3890}" destId="{4489E963-4DAC-4D70-948A-A0E88C104475}" srcOrd="0" destOrd="0" presId="urn:microsoft.com/office/officeart/2005/8/layout/radial2"/>
    <dgm:cxn modelId="{3994AC2E-65FF-F243-9D72-82BF6D6C2794}" type="presOf" srcId="{E5C74053-BB22-4B8A-A60F-E12715E65761}" destId="{F293ED0E-6C31-4CF2-9B62-99046CD3E967}" srcOrd="0" destOrd="0" presId="urn:microsoft.com/office/officeart/2005/8/layout/radial2"/>
    <dgm:cxn modelId="{FD2F1A88-6075-406D-9F9D-75027873E39D}" srcId="{A0AD9141-6D50-4AAD-A1AE-356515660975}" destId="{06366CB4-702A-4D33-BDBE-0278FC7CDB2F}" srcOrd="2" destOrd="0" parTransId="{E3FF6B33-686F-45FA-BA55-3212B86AB78B}" sibTransId="{C11F7172-349E-4191-AC7E-F1644EC61875}"/>
    <dgm:cxn modelId="{099AD59F-BD29-479D-B3C1-4957ADE2196B}" srcId="{A0AD9141-6D50-4AAD-A1AE-356515660975}" destId="{37616C49-4A14-4356-9147-FD8E25B0754B}" srcOrd="0" destOrd="0" parTransId="{9E73CAEC-EA2B-4DC9-A8E3-E35C1BB08D55}" sibTransId="{E71036C2-60F9-45D9-B10F-BE16C30A5F82}"/>
    <dgm:cxn modelId="{0DE7B3F5-5DC9-5842-87C9-FD959BEBD1CE}" type="presOf" srcId="{10C775E9-C9DD-432C-A0F1-D6067C238299}" destId="{56675C5A-32DA-41DC-96F0-2699A9173257}" srcOrd="0" destOrd="0" presId="urn:microsoft.com/office/officeart/2005/8/layout/radial2"/>
    <dgm:cxn modelId="{4CB57940-B9D3-4E47-8269-FD16F2CC1C3C}" srcId="{A0AD9141-6D50-4AAD-A1AE-356515660975}" destId="{E5C74053-BB22-4B8A-A60F-E12715E65761}" srcOrd="3" destOrd="0" parTransId="{10C775E9-C9DD-432C-A0F1-D6067C238299}" sibTransId="{6615CE46-7E4B-4ACB-BAB2-FED8C71C1648}"/>
    <dgm:cxn modelId="{AA997D4E-B8F3-2141-A95E-64C21260912D}" type="presOf" srcId="{06366CB4-702A-4D33-BDBE-0278FC7CDB2F}" destId="{3233993C-0313-4256-B1BF-D9B5F6F7EA9C}" srcOrd="0" destOrd="0" presId="urn:microsoft.com/office/officeart/2005/8/layout/radial2"/>
    <dgm:cxn modelId="{23908B35-3A1F-5A47-9F4E-AD1315E0ECED}" type="presOf" srcId="{37616C49-4A14-4356-9147-FD8E25B0754B}" destId="{E9B56B7C-528E-4675-93F8-FD9C264C8796}" srcOrd="0" destOrd="0" presId="urn:microsoft.com/office/officeart/2005/8/layout/radial2"/>
    <dgm:cxn modelId="{C32E7735-DD57-0243-B83C-5E2C24CE950E}" type="presOf" srcId="{9E73CAEC-EA2B-4DC9-A8E3-E35C1BB08D55}" destId="{F83C6E87-9815-4FB9-A51C-2FC451F23F47}" srcOrd="0" destOrd="0" presId="urn:microsoft.com/office/officeart/2005/8/layout/radial2"/>
    <dgm:cxn modelId="{1B645036-56F6-5942-88CE-E3A8FA6BC14E}" type="presOf" srcId="{18C53B10-68E7-43EE-9895-1EA2F4F9B2A8}" destId="{FEE9CD7B-D06A-4B6A-A6CB-30D6E172244B}" srcOrd="0" destOrd="0" presId="urn:microsoft.com/office/officeart/2005/8/layout/radial2"/>
    <dgm:cxn modelId="{DC5E6D5B-BCE5-405C-8DC1-AB8C101068D7}" srcId="{A0AD9141-6D50-4AAD-A1AE-356515660975}" destId="{5F267533-DC80-4662-B168-8FADBE1F3890}" srcOrd="1" destOrd="0" parTransId="{18C53B10-68E7-43EE-9895-1EA2F4F9B2A8}" sibTransId="{757A6F2E-209A-4DDA-81C0-BC2899A640F6}"/>
    <dgm:cxn modelId="{04BFC935-50DC-B14B-B0FA-56BFB325C7A7}" type="presParOf" srcId="{F150AA63-084B-4084-B1C3-611A86735F92}" destId="{D6BC1293-9F04-4990-A090-7FFE2BA7C22A}" srcOrd="0" destOrd="0" presId="urn:microsoft.com/office/officeart/2005/8/layout/radial2"/>
    <dgm:cxn modelId="{21730607-EB82-F846-A448-938F62574080}" type="presParOf" srcId="{D6BC1293-9F04-4990-A090-7FFE2BA7C22A}" destId="{18625D79-F6E0-4DD5-94E3-7ECA818EFB46}" srcOrd="0" destOrd="0" presId="urn:microsoft.com/office/officeart/2005/8/layout/radial2"/>
    <dgm:cxn modelId="{0A968321-809E-534C-9814-3585A1005AB5}" type="presParOf" srcId="{18625D79-F6E0-4DD5-94E3-7ECA818EFB46}" destId="{E8A15C96-4CF2-421C-91A3-1E2B6A58919F}" srcOrd="0" destOrd="0" presId="urn:microsoft.com/office/officeart/2005/8/layout/radial2"/>
    <dgm:cxn modelId="{78BB608A-D307-114A-9C03-8993EABBCE72}" type="presParOf" srcId="{18625D79-F6E0-4DD5-94E3-7ECA818EFB46}" destId="{2348B153-230E-400A-90EE-4413A3A0B61E}" srcOrd="1" destOrd="0" presId="urn:microsoft.com/office/officeart/2005/8/layout/radial2"/>
    <dgm:cxn modelId="{F63018AE-F90F-0A46-9AB1-26EEF759187C}" type="presParOf" srcId="{D6BC1293-9F04-4990-A090-7FFE2BA7C22A}" destId="{F83C6E87-9815-4FB9-A51C-2FC451F23F47}" srcOrd="1" destOrd="0" presId="urn:microsoft.com/office/officeart/2005/8/layout/radial2"/>
    <dgm:cxn modelId="{47577E49-02E0-004D-9557-275CD9FF122F}" type="presParOf" srcId="{D6BC1293-9F04-4990-A090-7FFE2BA7C22A}" destId="{5B1332EE-CB1C-4F55-88A9-96370CF03A67}" srcOrd="2" destOrd="0" presId="urn:microsoft.com/office/officeart/2005/8/layout/radial2"/>
    <dgm:cxn modelId="{73F7CB7E-DFDA-9E4E-93EC-D3D620E97C27}" type="presParOf" srcId="{5B1332EE-CB1C-4F55-88A9-96370CF03A67}" destId="{E9B56B7C-528E-4675-93F8-FD9C264C8796}" srcOrd="0" destOrd="0" presId="urn:microsoft.com/office/officeart/2005/8/layout/radial2"/>
    <dgm:cxn modelId="{4AB9CF06-0337-5549-B9DF-D645B3C594FB}" type="presParOf" srcId="{5B1332EE-CB1C-4F55-88A9-96370CF03A67}" destId="{CCC3091B-2981-4896-8969-28B903D42492}" srcOrd="1" destOrd="0" presId="urn:microsoft.com/office/officeart/2005/8/layout/radial2"/>
    <dgm:cxn modelId="{57F7AB01-19F1-8F40-A64A-7AF84AEC21DF}" type="presParOf" srcId="{D6BC1293-9F04-4990-A090-7FFE2BA7C22A}" destId="{FEE9CD7B-D06A-4B6A-A6CB-30D6E172244B}" srcOrd="3" destOrd="0" presId="urn:microsoft.com/office/officeart/2005/8/layout/radial2"/>
    <dgm:cxn modelId="{F069F4CD-ED19-C642-8580-47907C78BAC3}" type="presParOf" srcId="{D6BC1293-9F04-4990-A090-7FFE2BA7C22A}" destId="{76757EFC-EF18-44CF-AE97-11162FD62D38}" srcOrd="4" destOrd="0" presId="urn:microsoft.com/office/officeart/2005/8/layout/radial2"/>
    <dgm:cxn modelId="{6A2AF4CC-E8D6-2647-9A47-0A932893B02A}" type="presParOf" srcId="{76757EFC-EF18-44CF-AE97-11162FD62D38}" destId="{4489E963-4DAC-4D70-948A-A0E88C104475}" srcOrd="0" destOrd="0" presId="urn:microsoft.com/office/officeart/2005/8/layout/radial2"/>
    <dgm:cxn modelId="{B6E9FCFE-B5F4-7940-8784-A8A41201B341}" type="presParOf" srcId="{76757EFC-EF18-44CF-AE97-11162FD62D38}" destId="{2D842F2D-7ABC-4B63-8EDC-9D5F431A64EF}" srcOrd="1" destOrd="0" presId="urn:microsoft.com/office/officeart/2005/8/layout/radial2"/>
    <dgm:cxn modelId="{7A519378-7907-5041-AF05-FC1829FCF8C5}" type="presParOf" srcId="{D6BC1293-9F04-4990-A090-7FFE2BA7C22A}" destId="{B9C09F13-B390-479B-90D4-6E72DF64BF0C}" srcOrd="5" destOrd="0" presId="urn:microsoft.com/office/officeart/2005/8/layout/radial2"/>
    <dgm:cxn modelId="{562ABD57-830D-3C40-86B7-CB9BD06EDB69}" type="presParOf" srcId="{D6BC1293-9F04-4990-A090-7FFE2BA7C22A}" destId="{9EB4DAB1-8025-4BD2-97BD-2F41B8EC6E77}" srcOrd="6" destOrd="0" presId="urn:microsoft.com/office/officeart/2005/8/layout/radial2"/>
    <dgm:cxn modelId="{0CFD2221-9B33-994F-97D8-8842E042E15C}" type="presParOf" srcId="{9EB4DAB1-8025-4BD2-97BD-2F41B8EC6E77}" destId="{3233993C-0313-4256-B1BF-D9B5F6F7EA9C}" srcOrd="0" destOrd="0" presId="urn:microsoft.com/office/officeart/2005/8/layout/radial2"/>
    <dgm:cxn modelId="{6C55BB0D-3A53-6D44-8D95-272F498C4ED0}" type="presParOf" srcId="{9EB4DAB1-8025-4BD2-97BD-2F41B8EC6E77}" destId="{ADBBBF01-FAE5-4D01-AC17-CA9C6AF5C47F}" srcOrd="1" destOrd="0" presId="urn:microsoft.com/office/officeart/2005/8/layout/radial2"/>
    <dgm:cxn modelId="{0246ADD7-E903-1A4F-8F68-B058ED5E6C21}" type="presParOf" srcId="{D6BC1293-9F04-4990-A090-7FFE2BA7C22A}" destId="{56675C5A-32DA-41DC-96F0-2699A9173257}" srcOrd="7" destOrd="0" presId="urn:microsoft.com/office/officeart/2005/8/layout/radial2"/>
    <dgm:cxn modelId="{5ABE8A2B-1490-6540-8792-E0349432B7B0}" type="presParOf" srcId="{D6BC1293-9F04-4990-A090-7FFE2BA7C22A}" destId="{5F3636ED-94F2-4AB5-92DC-C4564489175C}" srcOrd="8" destOrd="0" presId="urn:microsoft.com/office/officeart/2005/8/layout/radial2"/>
    <dgm:cxn modelId="{E3D58789-905C-F54F-9A00-89CB0416B2A5}" type="presParOf" srcId="{5F3636ED-94F2-4AB5-92DC-C4564489175C}" destId="{F293ED0E-6C31-4CF2-9B62-99046CD3E967}" srcOrd="0" destOrd="0" presId="urn:microsoft.com/office/officeart/2005/8/layout/radial2"/>
    <dgm:cxn modelId="{EAE3D766-8AC6-9046-8D0E-792A6699EF9A}" type="presParOf" srcId="{5F3636ED-94F2-4AB5-92DC-C4564489175C}" destId="{AF0EC261-EF9C-4EF0-81A3-668013104BB6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relId="rId3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D5AE539-224A-490C-9910-2FCAD559F3F1}" type="doc">
      <dgm:prSet loTypeId="urn:microsoft.com/office/officeart/2005/8/layout/radial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23832C0-69DA-49FD-9B56-0CABA83DB8D2}">
      <dgm:prSet phldrT="[Text]" custT="1"/>
      <dgm:spPr>
        <a:solidFill>
          <a:schemeClr val="bg1">
            <a:alpha val="70000"/>
          </a:schemeClr>
        </a:solidFill>
      </dgm:spPr>
      <dgm:t>
        <a:bodyPr lIns="0" tIns="0" rIns="0" bIns="0"/>
        <a:lstStyle/>
        <a:p>
          <a:r>
            <a:rPr lang="en-US" sz="2000" b="1" i="1" dirty="0">
              <a:solidFill>
                <a:srgbClr val="008080"/>
              </a:solidFill>
            </a:rPr>
            <a:t>ISE</a:t>
          </a:r>
        </a:p>
      </dgm:t>
    </dgm:pt>
    <dgm:pt modelId="{425AC538-A8B7-481E-BE86-18942581A5A7}" type="parTrans" cxnId="{C9587A5E-E702-4A8C-BEFD-E6E2B14CECF8}">
      <dgm:prSet/>
      <dgm:spPr/>
      <dgm:t>
        <a:bodyPr/>
        <a:lstStyle/>
        <a:p>
          <a:endParaRPr lang="en-US" sz="1200"/>
        </a:p>
      </dgm:t>
    </dgm:pt>
    <dgm:pt modelId="{A266FAD6-0C7C-4917-912A-E1BCF99E2739}" type="sibTrans" cxnId="{C9587A5E-E702-4A8C-BEFD-E6E2B14CECF8}">
      <dgm:prSet/>
      <dgm:spPr/>
      <dgm:t>
        <a:bodyPr/>
        <a:lstStyle/>
        <a:p>
          <a:endParaRPr lang="en-US" sz="1200"/>
        </a:p>
      </dgm:t>
    </dgm:pt>
    <dgm:pt modelId="{A1E152BB-3B41-4236-B3F1-A333BE97DABF}">
      <dgm:prSet phldrT="[Text]" custT="1"/>
      <dgm:spPr>
        <a:solidFill>
          <a:schemeClr val="bg1">
            <a:alpha val="36000"/>
          </a:scheme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0" i="0" kern="1200" dirty="0">
              <a:solidFill>
                <a:schemeClr val="tx1"/>
              </a:solidFill>
              <a:latin typeface="CiscoSans ExtraLight" charset="0"/>
              <a:ea typeface="CiscoSans ExtraLight" charset="0"/>
              <a:cs typeface="CiscoSans ExtraLight" charset="0"/>
            </a:rPr>
            <a:t>Apply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0" i="0" kern="1200" dirty="0">
              <a:solidFill>
                <a:schemeClr val="tx1"/>
              </a:solidFill>
              <a:latin typeface="CiscoSans ExtraLight" charset="0"/>
              <a:ea typeface="CiscoSans ExtraLight" charset="0"/>
              <a:cs typeface="CiscoSans ExtraLight" charset="0"/>
            </a:rPr>
            <a:t>Policy</a:t>
          </a:r>
        </a:p>
      </dgm:t>
    </dgm:pt>
    <dgm:pt modelId="{F4554C41-F5AF-47B1-8A4E-8BDF936C8024}" type="parTrans" cxnId="{8C40AE95-1BF8-4CD9-9B86-E5F2DB8CC602}">
      <dgm:prSet custT="1"/>
      <dgm:spPr>
        <a:solidFill>
          <a:srgbClr val="00B0F0"/>
        </a:solidFill>
        <a:ln>
          <a:solidFill>
            <a:srgbClr val="002060"/>
          </a:solidFill>
        </a:ln>
      </dgm:spPr>
      <dgm:t>
        <a:bodyPr/>
        <a:lstStyle/>
        <a:p>
          <a:endParaRPr lang="en-US" sz="1050"/>
        </a:p>
      </dgm:t>
    </dgm:pt>
    <dgm:pt modelId="{831FB461-54DF-4880-9F86-06EF44AC885E}" type="sibTrans" cxnId="{8C40AE95-1BF8-4CD9-9B86-E5F2DB8CC602}">
      <dgm:prSet/>
      <dgm:spPr/>
      <dgm:t>
        <a:bodyPr/>
        <a:lstStyle/>
        <a:p>
          <a:endParaRPr lang="en-US" sz="1200"/>
        </a:p>
      </dgm:t>
    </dgm:pt>
    <dgm:pt modelId="{5E93D841-98E1-45EB-9592-24C8ECB934BC}">
      <dgm:prSet phldrT="[Text]" custT="1"/>
      <dgm:spPr>
        <a:solidFill>
          <a:prstClr val="white">
            <a:alpha val="70000"/>
          </a:prst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900" b="0" i="0" kern="1200" dirty="0">
              <a:solidFill>
                <a:schemeClr val="tx1"/>
              </a:solidFill>
              <a:latin typeface="CiscoSans ExtraLight" charset="0"/>
              <a:ea typeface="CiscoSans ExtraLight" charset="0"/>
              <a:cs typeface="CiscoSans ExtraLight" charset="0"/>
            </a:rPr>
            <a:t>Adapt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900" b="0" i="0" kern="1200" dirty="0">
              <a:solidFill>
                <a:schemeClr val="tx1"/>
              </a:solidFill>
              <a:latin typeface="CiscoSans ExtraLight" charset="0"/>
              <a:ea typeface="CiscoSans ExtraLight" charset="0"/>
              <a:cs typeface="CiscoSans ExtraLight" charset="0"/>
            </a:rPr>
            <a:t>Policy</a:t>
          </a:r>
        </a:p>
      </dgm:t>
    </dgm:pt>
    <dgm:pt modelId="{2E760C25-2CB1-4D6C-970C-640A543275FA}" type="parTrans" cxnId="{5CCB7EC3-B35A-4A02-AC80-7C9DFC77164D}">
      <dgm:prSet custT="1"/>
      <dgm:spPr>
        <a:solidFill>
          <a:srgbClr val="00B0F0"/>
        </a:solidFill>
        <a:ln>
          <a:solidFill>
            <a:srgbClr val="002060"/>
          </a:solidFill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</dgm:t>
    </dgm:pt>
    <dgm:pt modelId="{810524E5-1AE7-4BA2-93F3-7E8575D90565}" type="sibTrans" cxnId="{5CCB7EC3-B35A-4A02-AC80-7C9DFC77164D}">
      <dgm:prSet/>
      <dgm:spPr/>
      <dgm:t>
        <a:bodyPr/>
        <a:lstStyle/>
        <a:p>
          <a:endParaRPr lang="en-US" sz="1200"/>
        </a:p>
      </dgm:t>
    </dgm:pt>
    <dgm:pt modelId="{F7C92F69-3ACB-48CD-B8F5-E52C68D7D30C}">
      <dgm:prSet phldrT="[Text]" custT="1"/>
      <dgm:spPr>
        <a:solidFill>
          <a:prstClr val="white">
            <a:alpha val="70000"/>
          </a:prst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0" tIns="0" rIns="0" bIns="0" numCol="1" spcCol="1270" anchor="b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i="0" kern="1200" dirty="0" err="1">
              <a:solidFill>
                <a:srgbClr val="008080"/>
              </a:solidFill>
              <a:latin typeface="CiscoSans ExtraLight" charset="0"/>
              <a:ea typeface="CiscoSans ExtraLight" charset="0"/>
              <a:cs typeface="CiscoSans ExtraLight" charset="0"/>
            </a:rPr>
            <a:t>pxGrid</a:t>
          </a:r>
          <a:endParaRPr lang="en-US" sz="1000" b="0" i="0" kern="1200" dirty="0">
            <a:solidFill>
              <a:srgbClr val="008080"/>
            </a:solidFill>
            <a:latin typeface="CiscoSans ExtraLight" charset="0"/>
            <a:ea typeface="CiscoSans ExtraLight" charset="0"/>
            <a:cs typeface="CiscoSans ExtraLight" charset="0"/>
          </a:endParaRPr>
        </a:p>
      </dgm:t>
    </dgm:pt>
    <dgm:pt modelId="{F33AF517-4FF2-4DCA-AAC2-9BB5350A1902}" type="parTrans" cxnId="{AB9B58D1-6543-46D3-804B-79E4174709B4}">
      <dgm:prSet custT="1"/>
      <dgm:spPr>
        <a:solidFill>
          <a:srgbClr val="00B0F0"/>
        </a:solidFill>
        <a:ln>
          <a:solidFill>
            <a:srgbClr val="002060"/>
          </a:solidFill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</dgm:t>
    </dgm:pt>
    <dgm:pt modelId="{31D3D347-3581-4A9A-8A8D-48CA1E8BBBC4}" type="sibTrans" cxnId="{AB9B58D1-6543-46D3-804B-79E4174709B4}">
      <dgm:prSet/>
      <dgm:spPr/>
      <dgm:t>
        <a:bodyPr/>
        <a:lstStyle/>
        <a:p>
          <a:endParaRPr lang="en-US" sz="1200"/>
        </a:p>
      </dgm:t>
    </dgm:pt>
    <dgm:pt modelId="{7A3B4C68-5AD4-4E34-9EB6-D711830033FF}">
      <dgm:prSet phldrT="[Text]" custT="1"/>
      <dgm:spPr>
        <a:solidFill>
          <a:prstClr val="white">
            <a:alpha val="70000"/>
          </a:prst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i="0" kern="1200" dirty="0">
              <a:solidFill>
                <a:prstClr val="black"/>
              </a:solidFill>
              <a:latin typeface="CiscoSans ExtraLight" charset="0"/>
              <a:ea typeface="CiscoSans ExtraLight" charset="0"/>
              <a:cs typeface="CiscoSans ExtraLight" charset="0"/>
            </a:rPr>
            <a:t>Assess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i="0" kern="1200" dirty="0">
              <a:solidFill>
                <a:prstClr val="black"/>
              </a:solidFill>
              <a:latin typeface="CiscoSans ExtraLight" charset="0"/>
              <a:ea typeface="CiscoSans ExtraLight" charset="0"/>
              <a:cs typeface="CiscoSans ExtraLight" charset="0"/>
            </a:rPr>
            <a:t>Policy</a:t>
          </a:r>
        </a:p>
      </dgm:t>
    </dgm:pt>
    <dgm:pt modelId="{88DE8BAD-B1FF-4826-B829-164B57B6D119}" type="parTrans" cxnId="{02B287EF-BE57-4B2F-BF5C-0C3C2A3A1CC3}">
      <dgm:prSet custT="1"/>
      <dgm:spPr>
        <a:solidFill>
          <a:srgbClr val="00B0F0"/>
        </a:solidFill>
        <a:ln>
          <a:solidFill>
            <a:srgbClr val="002060"/>
          </a:solidFill>
        </a:ln>
        <a:effectLst/>
      </dgm:spPr>
      <dgm:t>
        <a:bodyPr spcFirstLastPara="0" vert="horz" wrap="square" lIns="0" tIns="0" rIns="0" bIns="0" numCol="1" spcCol="1270" anchor="ctr" anchorCtr="0"/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</dgm:t>
    </dgm:pt>
    <dgm:pt modelId="{CE958628-408D-4E9C-A535-03CB15CE8EE7}" type="sibTrans" cxnId="{02B287EF-BE57-4B2F-BF5C-0C3C2A3A1CC3}">
      <dgm:prSet/>
      <dgm:spPr/>
      <dgm:t>
        <a:bodyPr/>
        <a:lstStyle/>
        <a:p>
          <a:endParaRPr lang="en-US" sz="1200"/>
        </a:p>
      </dgm:t>
    </dgm:pt>
    <dgm:pt modelId="{1B1D0CE7-03CF-44DD-8B16-A48C71FF75BA}" type="pres">
      <dgm:prSet presAssocID="{1D5AE539-224A-490C-9910-2FCAD559F3F1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8552787-758B-4A00-AA7B-CE2563BCB2DF}" type="pres">
      <dgm:prSet presAssocID="{123832C0-69DA-49FD-9B56-0CABA83DB8D2}" presName="centerShape" presStyleLbl="node0" presStyleIdx="0" presStyleCnt="1" custScaleX="122160" custScaleY="122159"/>
      <dgm:spPr>
        <a:prstGeom prst="ellipse">
          <a:avLst/>
        </a:prstGeom>
      </dgm:spPr>
      <dgm:t>
        <a:bodyPr/>
        <a:lstStyle/>
        <a:p>
          <a:endParaRPr lang="en-US"/>
        </a:p>
      </dgm:t>
    </dgm:pt>
    <dgm:pt modelId="{C8444165-0375-4820-B428-CDD957F4A37E}" type="pres">
      <dgm:prSet presAssocID="{F4554C41-F5AF-47B1-8A4E-8BDF936C8024}" presName="parTrans" presStyleLbl="sibTrans2D1" presStyleIdx="0" presStyleCnt="4" custScaleX="193933" custScaleY="193933"/>
      <dgm:spPr/>
      <dgm:t>
        <a:bodyPr/>
        <a:lstStyle/>
        <a:p>
          <a:endParaRPr lang="en-US"/>
        </a:p>
      </dgm:t>
    </dgm:pt>
    <dgm:pt modelId="{4D6BC9E4-24D7-4A5F-B388-4B841A7F7EC6}" type="pres">
      <dgm:prSet presAssocID="{F4554C41-F5AF-47B1-8A4E-8BDF936C8024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3FCA6F8E-2322-4E47-BE1D-B17CD1F76816}" type="pres">
      <dgm:prSet presAssocID="{A1E152BB-3B41-4236-B3F1-A333BE97DABF}" presName="node" presStyleLbl="node1" presStyleIdx="0" presStyleCnt="4" custScaleX="146527">
        <dgm:presLayoutVars>
          <dgm:bulletEnabled val="1"/>
        </dgm:presLayoutVars>
      </dgm:prSet>
      <dgm:spPr>
        <a:xfrm>
          <a:off x="1933351" y="4843"/>
          <a:ext cx="921197" cy="921197"/>
        </a:xfrm>
        <a:prstGeom prst="roundRect">
          <a:avLst/>
        </a:prstGeom>
      </dgm:spPr>
      <dgm:t>
        <a:bodyPr/>
        <a:lstStyle/>
        <a:p>
          <a:endParaRPr lang="en-US"/>
        </a:p>
      </dgm:t>
    </dgm:pt>
    <dgm:pt modelId="{7EFFC4C2-577B-4A98-AF18-CE558DFE2AAC}" type="pres">
      <dgm:prSet presAssocID="{2E760C25-2CB1-4D6C-970C-640A543275FA}" presName="parTrans" presStyleLbl="sibTrans2D1" presStyleIdx="1" presStyleCnt="4" custScaleX="193934" custScaleY="193933"/>
      <dgm:spPr>
        <a:xfrm>
          <a:off x="2394967" y="1089675"/>
          <a:ext cx="205693" cy="457093"/>
        </a:xfrm>
        <a:prstGeom prst="leftArrow">
          <a:avLst/>
        </a:prstGeom>
      </dgm:spPr>
      <dgm:t>
        <a:bodyPr/>
        <a:lstStyle/>
        <a:p>
          <a:endParaRPr lang="en-US"/>
        </a:p>
      </dgm:t>
    </dgm:pt>
    <dgm:pt modelId="{D809FA5D-2023-45BE-937A-D90D686CE57C}" type="pres">
      <dgm:prSet presAssocID="{2E760C25-2CB1-4D6C-970C-640A543275FA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0227BB07-9660-43AF-AD06-85EA45B7F8E5}" type="pres">
      <dgm:prSet presAssocID="{5E93D841-98E1-45EB-9592-24C8ECB934BC}" presName="node" presStyleLbl="node1" presStyleIdx="1" presStyleCnt="4">
        <dgm:presLayoutVars>
          <dgm:bulletEnabled val="1"/>
        </dgm:presLayoutVars>
      </dgm:prSet>
      <dgm:spPr>
        <a:xfrm>
          <a:off x="2600875" y="971609"/>
          <a:ext cx="693225" cy="693225"/>
        </a:xfrm>
        <a:prstGeom prst="roundRect">
          <a:avLst/>
        </a:prstGeom>
      </dgm:spPr>
      <dgm:t>
        <a:bodyPr/>
        <a:lstStyle/>
        <a:p>
          <a:endParaRPr lang="en-US"/>
        </a:p>
      </dgm:t>
    </dgm:pt>
    <dgm:pt modelId="{EA247509-491C-49F5-B6BC-13E1A187C8AC}" type="pres">
      <dgm:prSet presAssocID="{F33AF517-4FF2-4DCA-AAC2-9BB5350A1902}" presName="parTrans" presStyleLbl="sibTrans2D1" presStyleIdx="2" presStyleCnt="4" custScaleX="193933" custScaleY="193933"/>
      <dgm:spPr>
        <a:xfrm rot="5400000">
          <a:off x="1874485" y="1610154"/>
          <a:ext cx="205695" cy="457093"/>
        </a:xfrm>
        <a:prstGeom prst="leftArrow">
          <a:avLst/>
        </a:prstGeom>
      </dgm:spPr>
      <dgm:t>
        <a:bodyPr/>
        <a:lstStyle/>
        <a:p>
          <a:endParaRPr lang="en-US"/>
        </a:p>
      </dgm:t>
    </dgm:pt>
    <dgm:pt modelId="{7EECEF17-A309-4A6D-B279-0F11728010C7}" type="pres">
      <dgm:prSet presAssocID="{F33AF517-4FF2-4DCA-AAC2-9BB5350A1902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C41E9F40-BA99-4578-AC7E-929BF0F94628}" type="pres">
      <dgm:prSet presAssocID="{F7C92F69-3ACB-48CD-B8F5-E52C68D7D30C}" presName="node" presStyleLbl="node1" presStyleIdx="2" presStyleCnt="4" custRadScaleRad="97382">
        <dgm:presLayoutVars>
          <dgm:bulletEnabled val="1"/>
        </dgm:presLayoutVars>
      </dgm:prSet>
      <dgm:spPr>
        <a:xfrm>
          <a:off x="1630720" y="1941764"/>
          <a:ext cx="693225" cy="693225"/>
        </a:xfrm>
        <a:prstGeom prst="roundRect">
          <a:avLst/>
        </a:prstGeom>
      </dgm:spPr>
      <dgm:t>
        <a:bodyPr/>
        <a:lstStyle/>
        <a:p>
          <a:endParaRPr lang="en-US"/>
        </a:p>
      </dgm:t>
    </dgm:pt>
    <dgm:pt modelId="{DC8C338B-B7D9-420F-A138-9E48B662FE86}" type="pres">
      <dgm:prSet presAssocID="{88DE8BAD-B1FF-4826-B829-164B57B6D119}" presName="parTrans" presStyleLbl="sibTrans2D1" presStyleIdx="3" presStyleCnt="4" custScaleX="193934" custScaleY="193933"/>
      <dgm:spPr>
        <a:xfrm rot="10800000">
          <a:off x="1354006" y="1089675"/>
          <a:ext cx="205693" cy="457093"/>
        </a:xfrm>
        <a:prstGeom prst="leftArrow">
          <a:avLst/>
        </a:prstGeom>
      </dgm:spPr>
      <dgm:t>
        <a:bodyPr/>
        <a:lstStyle/>
        <a:p>
          <a:endParaRPr lang="en-US"/>
        </a:p>
      </dgm:t>
    </dgm:pt>
    <dgm:pt modelId="{78AEEEA4-5838-493D-B609-9AE3123E0340}" type="pres">
      <dgm:prSet presAssocID="{88DE8BAD-B1FF-4826-B829-164B57B6D119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D17181A9-3619-4117-A85E-993B9BF13FA7}" type="pres">
      <dgm:prSet presAssocID="{7A3B4C68-5AD4-4E34-9EB6-D711830033FF}" presName="node" presStyleLbl="node1" presStyleIdx="3" presStyleCnt="4">
        <dgm:presLayoutVars>
          <dgm:bulletEnabled val="1"/>
        </dgm:presLayoutVars>
      </dgm:prSet>
      <dgm:spPr>
        <a:xfrm>
          <a:off x="660566" y="971609"/>
          <a:ext cx="693225" cy="693225"/>
        </a:xfrm>
        <a:prstGeom prst="roundRect">
          <a:avLst/>
        </a:prstGeom>
      </dgm:spPr>
      <dgm:t>
        <a:bodyPr/>
        <a:lstStyle/>
        <a:p>
          <a:endParaRPr lang="en-US"/>
        </a:p>
      </dgm:t>
    </dgm:pt>
  </dgm:ptLst>
  <dgm:cxnLst>
    <dgm:cxn modelId="{E9AEA958-F51B-A849-913E-12247CDFCA1E}" type="presOf" srcId="{2E760C25-2CB1-4D6C-970C-640A543275FA}" destId="{D809FA5D-2023-45BE-937A-D90D686CE57C}" srcOrd="1" destOrd="0" presId="urn:microsoft.com/office/officeart/2005/8/layout/radial5"/>
    <dgm:cxn modelId="{BCC4BA69-59D2-C244-AABD-FC679509B6F5}" type="presOf" srcId="{1D5AE539-224A-490C-9910-2FCAD559F3F1}" destId="{1B1D0CE7-03CF-44DD-8B16-A48C71FF75BA}" srcOrd="0" destOrd="0" presId="urn:microsoft.com/office/officeart/2005/8/layout/radial5"/>
    <dgm:cxn modelId="{E0B9CD06-0412-C24F-8282-DA52C3435927}" type="presOf" srcId="{2E760C25-2CB1-4D6C-970C-640A543275FA}" destId="{7EFFC4C2-577B-4A98-AF18-CE558DFE2AAC}" srcOrd="0" destOrd="0" presId="urn:microsoft.com/office/officeart/2005/8/layout/radial5"/>
    <dgm:cxn modelId="{85241975-7A83-3541-B5EA-DEDBC2C44411}" type="presOf" srcId="{88DE8BAD-B1FF-4826-B829-164B57B6D119}" destId="{78AEEEA4-5838-493D-B609-9AE3123E0340}" srcOrd="1" destOrd="0" presId="urn:microsoft.com/office/officeart/2005/8/layout/radial5"/>
    <dgm:cxn modelId="{8C40AE95-1BF8-4CD9-9B86-E5F2DB8CC602}" srcId="{123832C0-69DA-49FD-9B56-0CABA83DB8D2}" destId="{A1E152BB-3B41-4236-B3F1-A333BE97DABF}" srcOrd="0" destOrd="0" parTransId="{F4554C41-F5AF-47B1-8A4E-8BDF936C8024}" sibTransId="{831FB461-54DF-4880-9F86-06EF44AC885E}"/>
    <dgm:cxn modelId="{C9587A5E-E702-4A8C-BEFD-E6E2B14CECF8}" srcId="{1D5AE539-224A-490C-9910-2FCAD559F3F1}" destId="{123832C0-69DA-49FD-9B56-0CABA83DB8D2}" srcOrd="0" destOrd="0" parTransId="{425AC538-A8B7-481E-BE86-18942581A5A7}" sibTransId="{A266FAD6-0C7C-4917-912A-E1BCF99E2739}"/>
    <dgm:cxn modelId="{47760BDB-6AAD-924D-9168-C2BCA0FFDBAC}" type="presOf" srcId="{F7C92F69-3ACB-48CD-B8F5-E52C68D7D30C}" destId="{C41E9F40-BA99-4578-AC7E-929BF0F94628}" srcOrd="0" destOrd="0" presId="urn:microsoft.com/office/officeart/2005/8/layout/radial5"/>
    <dgm:cxn modelId="{AB9B58D1-6543-46D3-804B-79E4174709B4}" srcId="{123832C0-69DA-49FD-9B56-0CABA83DB8D2}" destId="{F7C92F69-3ACB-48CD-B8F5-E52C68D7D30C}" srcOrd="2" destOrd="0" parTransId="{F33AF517-4FF2-4DCA-AAC2-9BB5350A1902}" sibTransId="{31D3D347-3581-4A9A-8A8D-48CA1E8BBBC4}"/>
    <dgm:cxn modelId="{0245EB38-EF65-E140-ACAD-A3C20DA36160}" type="presOf" srcId="{5E93D841-98E1-45EB-9592-24C8ECB934BC}" destId="{0227BB07-9660-43AF-AD06-85EA45B7F8E5}" srcOrd="0" destOrd="0" presId="urn:microsoft.com/office/officeart/2005/8/layout/radial5"/>
    <dgm:cxn modelId="{5CCB7EC3-B35A-4A02-AC80-7C9DFC77164D}" srcId="{123832C0-69DA-49FD-9B56-0CABA83DB8D2}" destId="{5E93D841-98E1-45EB-9592-24C8ECB934BC}" srcOrd="1" destOrd="0" parTransId="{2E760C25-2CB1-4D6C-970C-640A543275FA}" sibTransId="{810524E5-1AE7-4BA2-93F3-7E8575D90565}"/>
    <dgm:cxn modelId="{02B287EF-BE57-4B2F-BF5C-0C3C2A3A1CC3}" srcId="{123832C0-69DA-49FD-9B56-0CABA83DB8D2}" destId="{7A3B4C68-5AD4-4E34-9EB6-D711830033FF}" srcOrd="3" destOrd="0" parTransId="{88DE8BAD-B1FF-4826-B829-164B57B6D119}" sibTransId="{CE958628-408D-4E9C-A535-03CB15CE8EE7}"/>
    <dgm:cxn modelId="{9D59B9B7-69CD-864B-8522-62D039A99359}" type="presOf" srcId="{A1E152BB-3B41-4236-B3F1-A333BE97DABF}" destId="{3FCA6F8E-2322-4E47-BE1D-B17CD1F76816}" srcOrd="0" destOrd="0" presId="urn:microsoft.com/office/officeart/2005/8/layout/radial5"/>
    <dgm:cxn modelId="{AB06AAA7-D942-174C-8704-A025C2840264}" type="presOf" srcId="{F4554C41-F5AF-47B1-8A4E-8BDF936C8024}" destId="{4D6BC9E4-24D7-4A5F-B388-4B841A7F7EC6}" srcOrd="1" destOrd="0" presId="urn:microsoft.com/office/officeart/2005/8/layout/radial5"/>
    <dgm:cxn modelId="{EDCE0A06-CD24-B04A-A3AA-88E497278023}" type="presOf" srcId="{F33AF517-4FF2-4DCA-AAC2-9BB5350A1902}" destId="{7EECEF17-A309-4A6D-B279-0F11728010C7}" srcOrd="1" destOrd="0" presId="urn:microsoft.com/office/officeart/2005/8/layout/radial5"/>
    <dgm:cxn modelId="{8C0D722A-7DD3-E74D-8D24-5EEAD24383ED}" type="presOf" srcId="{123832C0-69DA-49FD-9B56-0CABA83DB8D2}" destId="{08552787-758B-4A00-AA7B-CE2563BCB2DF}" srcOrd="0" destOrd="0" presId="urn:microsoft.com/office/officeart/2005/8/layout/radial5"/>
    <dgm:cxn modelId="{2FF28A17-8C24-9E46-8799-4750457F14A9}" type="presOf" srcId="{F4554C41-F5AF-47B1-8A4E-8BDF936C8024}" destId="{C8444165-0375-4820-B428-CDD957F4A37E}" srcOrd="0" destOrd="0" presId="urn:microsoft.com/office/officeart/2005/8/layout/radial5"/>
    <dgm:cxn modelId="{7FCE729D-C2F2-764B-B013-FDF93101521D}" type="presOf" srcId="{F33AF517-4FF2-4DCA-AAC2-9BB5350A1902}" destId="{EA247509-491C-49F5-B6BC-13E1A187C8AC}" srcOrd="0" destOrd="0" presId="urn:microsoft.com/office/officeart/2005/8/layout/radial5"/>
    <dgm:cxn modelId="{A878D34E-E980-CF45-B451-A35EAB1D0B14}" type="presOf" srcId="{7A3B4C68-5AD4-4E34-9EB6-D711830033FF}" destId="{D17181A9-3619-4117-A85E-993B9BF13FA7}" srcOrd="0" destOrd="0" presId="urn:microsoft.com/office/officeart/2005/8/layout/radial5"/>
    <dgm:cxn modelId="{03F630FC-9965-4F41-917C-92B3D42F49EE}" type="presOf" srcId="{88DE8BAD-B1FF-4826-B829-164B57B6D119}" destId="{DC8C338B-B7D9-420F-A138-9E48B662FE86}" srcOrd="0" destOrd="0" presId="urn:microsoft.com/office/officeart/2005/8/layout/radial5"/>
    <dgm:cxn modelId="{52EC455D-B68F-0A4D-AEE6-7A08620A7EB7}" type="presParOf" srcId="{1B1D0CE7-03CF-44DD-8B16-A48C71FF75BA}" destId="{08552787-758B-4A00-AA7B-CE2563BCB2DF}" srcOrd="0" destOrd="0" presId="urn:microsoft.com/office/officeart/2005/8/layout/radial5"/>
    <dgm:cxn modelId="{0D727D98-9184-2E40-8A42-C934059B9B5E}" type="presParOf" srcId="{1B1D0CE7-03CF-44DD-8B16-A48C71FF75BA}" destId="{C8444165-0375-4820-B428-CDD957F4A37E}" srcOrd="1" destOrd="0" presId="urn:microsoft.com/office/officeart/2005/8/layout/radial5"/>
    <dgm:cxn modelId="{6072DE1D-E214-1941-BA21-C53943499DF4}" type="presParOf" srcId="{C8444165-0375-4820-B428-CDD957F4A37E}" destId="{4D6BC9E4-24D7-4A5F-B388-4B841A7F7EC6}" srcOrd="0" destOrd="0" presId="urn:microsoft.com/office/officeart/2005/8/layout/radial5"/>
    <dgm:cxn modelId="{9C42FFE0-16F4-6A40-A69E-4BA0117B2E14}" type="presParOf" srcId="{1B1D0CE7-03CF-44DD-8B16-A48C71FF75BA}" destId="{3FCA6F8E-2322-4E47-BE1D-B17CD1F76816}" srcOrd="2" destOrd="0" presId="urn:microsoft.com/office/officeart/2005/8/layout/radial5"/>
    <dgm:cxn modelId="{9F8C0275-7C2D-784A-97FB-897E3FD31135}" type="presParOf" srcId="{1B1D0CE7-03CF-44DD-8B16-A48C71FF75BA}" destId="{7EFFC4C2-577B-4A98-AF18-CE558DFE2AAC}" srcOrd="3" destOrd="0" presId="urn:microsoft.com/office/officeart/2005/8/layout/radial5"/>
    <dgm:cxn modelId="{3A4375C4-623B-CE48-89B1-2F39873F5D84}" type="presParOf" srcId="{7EFFC4C2-577B-4A98-AF18-CE558DFE2AAC}" destId="{D809FA5D-2023-45BE-937A-D90D686CE57C}" srcOrd="0" destOrd="0" presId="urn:microsoft.com/office/officeart/2005/8/layout/radial5"/>
    <dgm:cxn modelId="{73D75BA5-1BA0-8541-9E01-34AA35A75111}" type="presParOf" srcId="{1B1D0CE7-03CF-44DD-8B16-A48C71FF75BA}" destId="{0227BB07-9660-43AF-AD06-85EA45B7F8E5}" srcOrd="4" destOrd="0" presId="urn:microsoft.com/office/officeart/2005/8/layout/radial5"/>
    <dgm:cxn modelId="{893C78F8-D8B7-8043-B4C5-16C118AB311E}" type="presParOf" srcId="{1B1D0CE7-03CF-44DD-8B16-A48C71FF75BA}" destId="{EA247509-491C-49F5-B6BC-13E1A187C8AC}" srcOrd="5" destOrd="0" presId="urn:microsoft.com/office/officeart/2005/8/layout/radial5"/>
    <dgm:cxn modelId="{88C9893C-2B2C-A241-BA1D-16D00DA2166C}" type="presParOf" srcId="{EA247509-491C-49F5-B6BC-13E1A187C8AC}" destId="{7EECEF17-A309-4A6D-B279-0F11728010C7}" srcOrd="0" destOrd="0" presId="urn:microsoft.com/office/officeart/2005/8/layout/radial5"/>
    <dgm:cxn modelId="{9B427D44-29A3-B841-A950-213B8F1A794C}" type="presParOf" srcId="{1B1D0CE7-03CF-44DD-8B16-A48C71FF75BA}" destId="{C41E9F40-BA99-4578-AC7E-929BF0F94628}" srcOrd="6" destOrd="0" presId="urn:microsoft.com/office/officeart/2005/8/layout/radial5"/>
    <dgm:cxn modelId="{4D40A7E9-3425-7948-BFF7-BDAE0085F8DB}" type="presParOf" srcId="{1B1D0CE7-03CF-44DD-8B16-A48C71FF75BA}" destId="{DC8C338B-B7D9-420F-A138-9E48B662FE86}" srcOrd="7" destOrd="0" presId="urn:microsoft.com/office/officeart/2005/8/layout/radial5"/>
    <dgm:cxn modelId="{5FF18DD3-6564-5247-841A-2E6CC3E690DD}" type="presParOf" srcId="{DC8C338B-B7D9-420F-A138-9E48B662FE86}" destId="{78AEEEA4-5838-493D-B609-9AE3123E0340}" srcOrd="0" destOrd="0" presId="urn:microsoft.com/office/officeart/2005/8/layout/radial5"/>
    <dgm:cxn modelId="{BFB09E9A-8616-7C46-ABDF-AA96765A3A8C}" type="presParOf" srcId="{1B1D0CE7-03CF-44DD-8B16-A48C71FF75BA}" destId="{D17181A9-3619-4117-A85E-993B9BF13FA7}" srcOrd="8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5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823CAF8-8B83-4FD6-966F-2F41858175C7}" type="doc">
      <dgm:prSet loTypeId="urn:microsoft.com/office/officeart/2005/8/layout/pyramid3" loCatId="pyramid" qsTypeId="urn:microsoft.com/office/officeart/2005/8/quickstyle/simple1" qsCatId="simple" csTypeId="urn:microsoft.com/office/officeart/2005/8/colors/accent1_2" csCatId="accent1" phldr="1"/>
      <dgm:spPr/>
    </dgm:pt>
    <dgm:pt modelId="{97523DF8-843D-4789-AAA9-440A8341E73A}">
      <dgm:prSet phldrT="[Text]" custT="1"/>
      <dgm:spPr/>
      <dgm:t>
        <a:bodyPr/>
        <a:lstStyle/>
        <a:p>
          <a:r>
            <a:rPr lang="en-US" sz="900" b="0" i="0" dirty="0">
              <a:latin typeface="CiscoSans ExtraLight" charset="0"/>
              <a:ea typeface="CiscoSans ExtraLight" charset="0"/>
              <a:cs typeface="CiscoSans ExtraLight" charset="0"/>
            </a:rPr>
            <a:t>Umbrella</a:t>
          </a:r>
          <a:endParaRPr lang="en-US" sz="1100" b="0" i="0" dirty="0">
            <a:latin typeface="CiscoSans ExtraLight" charset="0"/>
            <a:ea typeface="CiscoSans ExtraLight" charset="0"/>
            <a:cs typeface="CiscoSans ExtraLight" charset="0"/>
          </a:endParaRPr>
        </a:p>
      </dgm:t>
    </dgm:pt>
    <dgm:pt modelId="{C6361252-B0C8-4CAB-AE5E-494FB8932C76}" type="parTrans" cxnId="{A778CFAE-36FE-46D5-AB06-B2A9F1347370}">
      <dgm:prSet/>
      <dgm:spPr/>
      <dgm:t>
        <a:bodyPr/>
        <a:lstStyle/>
        <a:p>
          <a:endParaRPr lang="en-US" sz="1200"/>
        </a:p>
      </dgm:t>
    </dgm:pt>
    <dgm:pt modelId="{86B5E27E-A2C2-415F-8C56-1EB496EE6051}" type="sibTrans" cxnId="{A778CFAE-36FE-46D5-AB06-B2A9F1347370}">
      <dgm:prSet/>
      <dgm:spPr/>
      <dgm:t>
        <a:bodyPr/>
        <a:lstStyle/>
        <a:p>
          <a:endParaRPr lang="en-US" sz="1200"/>
        </a:p>
      </dgm:t>
    </dgm:pt>
    <dgm:pt modelId="{6FF0AECA-ECB6-4C1A-BE7B-ABF66B29284C}">
      <dgm:prSet phldrT="[Text]" custT="1"/>
      <dgm:spPr/>
      <dgm:t>
        <a:bodyPr lIns="0" tIns="0" rIns="0" bIns="0"/>
        <a:lstStyle/>
        <a:p>
          <a:r>
            <a:rPr lang="en-US" sz="800" b="0" i="0" dirty="0">
              <a:latin typeface="CiscoSans ExtraLight" charset="0"/>
              <a:ea typeface="CiscoSans ExtraLight" charset="0"/>
              <a:cs typeface="CiscoSans ExtraLight" charset="0"/>
            </a:rPr>
            <a:t>Umbrella</a:t>
          </a:r>
          <a:endParaRPr lang="en-US" sz="900" b="0" i="0" dirty="0">
            <a:latin typeface="CiscoSans ExtraLight" charset="0"/>
            <a:ea typeface="CiscoSans ExtraLight" charset="0"/>
            <a:cs typeface="CiscoSans ExtraLight" charset="0"/>
          </a:endParaRPr>
        </a:p>
      </dgm:t>
    </dgm:pt>
    <dgm:pt modelId="{074B693E-80E0-4E2F-A392-9E1490247AA4}" type="parTrans" cxnId="{0F270B9E-FEE5-4AD7-8A18-F5EA13258871}">
      <dgm:prSet/>
      <dgm:spPr/>
      <dgm:t>
        <a:bodyPr/>
        <a:lstStyle/>
        <a:p>
          <a:endParaRPr lang="en-US" sz="1200"/>
        </a:p>
      </dgm:t>
    </dgm:pt>
    <dgm:pt modelId="{9492CEC5-1651-4E6D-991A-B3D9A29E3869}" type="sibTrans" cxnId="{0F270B9E-FEE5-4AD7-8A18-F5EA13258871}">
      <dgm:prSet/>
      <dgm:spPr/>
      <dgm:t>
        <a:bodyPr/>
        <a:lstStyle/>
        <a:p>
          <a:endParaRPr lang="en-US" sz="1200"/>
        </a:p>
      </dgm:t>
    </dgm:pt>
    <dgm:pt modelId="{E461035D-CEE4-412F-8180-536A6FA02CEA}">
      <dgm:prSet phldrT="[Text]" custT="1"/>
      <dgm:spPr/>
      <dgm:t>
        <a:bodyPr/>
        <a:lstStyle/>
        <a:p>
          <a:r>
            <a:rPr lang="en-US" sz="800" b="0" i="0" dirty="0">
              <a:latin typeface="CiscoSans ExtraLight" charset="0"/>
              <a:ea typeface="CiscoSans ExtraLight" charset="0"/>
              <a:cs typeface="CiscoSans ExtraLight" charset="0"/>
            </a:rPr>
            <a:t>AMP</a:t>
          </a:r>
          <a:endParaRPr lang="en-US" sz="1200" b="0" i="0" dirty="0">
            <a:latin typeface="CiscoSans ExtraLight" charset="0"/>
            <a:ea typeface="CiscoSans ExtraLight" charset="0"/>
            <a:cs typeface="CiscoSans ExtraLight" charset="0"/>
          </a:endParaRPr>
        </a:p>
      </dgm:t>
    </dgm:pt>
    <dgm:pt modelId="{64A28C4E-5CC8-41B2-B463-D66A3918161E}" type="parTrans" cxnId="{9935D3AC-7D9A-4FEC-9640-0C65401CBCD3}">
      <dgm:prSet/>
      <dgm:spPr/>
      <dgm:t>
        <a:bodyPr/>
        <a:lstStyle/>
        <a:p>
          <a:endParaRPr lang="en-US" sz="1200"/>
        </a:p>
      </dgm:t>
    </dgm:pt>
    <dgm:pt modelId="{A07CF6FA-65C3-4AAC-BC6C-DB58515838AD}" type="sibTrans" cxnId="{9935D3AC-7D9A-4FEC-9640-0C65401CBCD3}">
      <dgm:prSet/>
      <dgm:spPr/>
      <dgm:t>
        <a:bodyPr/>
        <a:lstStyle/>
        <a:p>
          <a:endParaRPr lang="en-US" sz="1200"/>
        </a:p>
      </dgm:t>
    </dgm:pt>
    <dgm:pt modelId="{F7B16B8F-F31B-42F0-9392-A6F82C149362}">
      <dgm:prSet phldrT="[Text]" custT="1"/>
      <dgm:spPr/>
      <dgm:t>
        <a:bodyPr/>
        <a:lstStyle/>
        <a:p>
          <a:endParaRPr lang="en-US" sz="1200" dirty="0"/>
        </a:p>
      </dgm:t>
    </dgm:pt>
    <dgm:pt modelId="{BC547863-FB1D-4842-A56A-02FFEA227274}" type="parTrans" cxnId="{A6B959B1-B3ED-40ED-AE4E-757CAD064836}">
      <dgm:prSet/>
      <dgm:spPr/>
      <dgm:t>
        <a:bodyPr/>
        <a:lstStyle/>
        <a:p>
          <a:endParaRPr lang="en-US" sz="1200"/>
        </a:p>
      </dgm:t>
    </dgm:pt>
    <dgm:pt modelId="{88BDA1D1-EB8E-4BD5-9AF5-2378A1202937}" type="sibTrans" cxnId="{A6B959B1-B3ED-40ED-AE4E-757CAD064836}">
      <dgm:prSet/>
      <dgm:spPr/>
      <dgm:t>
        <a:bodyPr/>
        <a:lstStyle/>
        <a:p>
          <a:endParaRPr lang="en-US" sz="1200"/>
        </a:p>
      </dgm:t>
    </dgm:pt>
    <dgm:pt modelId="{191E83BE-988D-4009-AE10-C9904B788EB3}" type="pres">
      <dgm:prSet presAssocID="{1823CAF8-8B83-4FD6-966F-2F41858175C7}" presName="Name0" presStyleCnt="0">
        <dgm:presLayoutVars>
          <dgm:dir/>
          <dgm:animLvl val="lvl"/>
          <dgm:resizeHandles val="exact"/>
        </dgm:presLayoutVars>
      </dgm:prSet>
      <dgm:spPr/>
    </dgm:pt>
    <dgm:pt modelId="{7BD80DC2-35BF-4EA0-932D-EAD436D1DCAC}" type="pres">
      <dgm:prSet presAssocID="{97523DF8-843D-4789-AAA9-440A8341E73A}" presName="Name8" presStyleCnt="0"/>
      <dgm:spPr/>
    </dgm:pt>
    <dgm:pt modelId="{FD22A811-359F-4950-A79B-C50DAD82793A}" type="pres">
      <dgm:prSet presAssocID="{97523DF8-843D-4789-AAA9-440A8341E73A}" presName="level" presStyleLbl="node1" presStyleIdx="0" presStyleCnt="4" custLinFactNeighborX="9105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843393B-69D0-4F85-BBDF-B517632456E2}" type="pres">
      <dgm:prSet presAssocID="{97523DF8-843D-4789-AAA9-440A8341E73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8B0B540-00BC-4295-B5D5-47DF9CD365D0}" type="pres">
      <dgm:prSet presAssocID="{6FF0AECA-ECB6-4C1A-BE7B-ABF66B29284C}" presName="Name8" presStyleCnt="0"/>
      <dgm:spPr/>
    </dgm:pt>
    <dgm:pt modelId="{ED6BB289-F8D4-45AD-B2AB-A1FCD364456D}" type="pres">
      <dgm:prSet presAssocID="{6FF0AECA-ECB6-4C1A-BE7B-ABF66B29284C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D2DFF6-3EBE-4684-8827-DEA5D7A5B422}" type="pres">
      <dgm:prSet presAssocID="{6FF0AECA-ECB6-4C1A-BE7B-ABF66B29284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0842A82-6909-42A3-BC33-2688AF636989}" type="pres">
      <dgm:prSet presAssocID="{E461035D-CEE4-412F-8180-536A6FA02CEA}" presName="Name8" presStyleCnt="0"/>
      <dgm:spPr/>
    </dgm:pt>
    <dgm:pt modelId="{71B2C9C6-D15A-4CCB-8C1F-4AF754C0DE4C}" type="pres">
      <dgm:prSet presAssocID="{E461035D-CEE4-412F-8180-536A6FA02CEA}" presName="level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FF0EC0-F75D-4BEC-BFB1-F838E2911E80}" type="pres">
      <dgm:prSet presAssocID="{E461035D-CEE4-412F-8180-536A6FA02CE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034AA8-79DD-446A-BB2E-D5B420F78180}" type="pres">
      <dgm:prSet presAssocID="{F7B16B8F-F31B-42F0-9392-A6F82C149362}" presName="Name8" presStyleCnt="0"/>
      <dgm:spPr/>
    </dgm:pt>
    <dgm:pt modelId="{1F183986-2418-42C9-8C71-63DD6EA7919A}" type="pres">
      <dgm:prSet presAssocID="{F7B16B8F-F31B-42F0-9392-A6F82C149362}" presName="level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CB5322-4319-49C9-AC55-372B7B7CE114}" type="pres">
      <dgm:prSet presAssocID="{F7B16B8F-F31B-42F0-9392-A6F82C14936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6DCC914-9EE3-204D-AFD7-00CC932FEE45}" type="presOf" srcId="{F7B16B8F-F31B-42F0-9392-A6F82C149362}" destId="{1F183986-2418-42C9-8C71-63DD6EA7919A}" srcOrd="0" destOrd="0" presId="urn:microsoft.com/office/officeart/2005/8/layout/pyramid3"/>
    <dgm:cxn modelId="{2C6564D8-05A7-D943-B57B-6E5262528EEC}" type="presOf" srcId="{97523DF8-843D-4789-AAA9-440A8341E73A}" destId="{FD22A811-359F-4950-A79B-C50DAD82793A}" srcOrd="0" destOrd="0" presId="urn:microsoft.com/office/officeart/2005/8/layout/pyramid3"/>
    <dgm:cxn modelId="{12615BD6-0725-6B4F-AA3C-C3D2D9A23E96}" type="presOf" srcId="{6FF0AECA-ECB6-4C1A-BE7B-ABF66B29284C}" destId="{ED6BB289-F8D4-45AD-B2AB-A1FCD364456D}" srcOrd="0" destOrd="0" presId="urn:microsoft.com/office/officeart/2005/8/layout/pyramid3"/>
    <dgm:cxn modelId="{0F270B9E-FEE5-4AD7-8A18-F5EA13258871}" srcId="{1823CAF8-8B83-4FD6-966F-2F41858175C7}" destId="{6FF0AECA-ECB6-4C1A-BE7B-ABF66B29284C}" srcOrd="1" destOrd="0" parTransId="{074B693E-80E0-4E2F-A392-9E1490247AA4}" sibTransId="{9492CEC5-1651-4E6D-991A-B3D9A29E3869}"/>
    <dgm:cxn modelId="{A778CFAE-36FE-46D5-AB06-B2A9F1347370}" srcId="{1823CAF8-8B83-4FD6-966F-2F41858175C7}" destId="{97523DF8-843D-4789-AAA9-440A8341E73A}" srcOrd="0" destOrd="0" parTransId="{C6361252-B0C8-4CAB-AE5E-494FB8932C76}" sibTransId="{86B5E27E-A2C2-415F-8C56-1EB496EE6051}"/>
    <dgm:cxn modelId="{2573489F-9B17-D544-9461-603F0822758E}" type="presOf" srcId="{E461035D-CEE4-412F-8180-536A6FA02CEA}" destId="{71B2C9C6-D15A-4CCB-8C1F-4AF754C0DE4C}" srcOrd="0" destOrd="0" presId="urn:microsoft.com/office/officeart/2005/8/layout/pyramid3"/>
    <dgm:cxn modelId="{A6B959B1-B3ED-40ED-AE4E-757CAD064836}" srcId="{1823CAF8-8B83-4FD6-966F-2F41858175C7}" destId="{F7B16B8F-F31B-42F0-9392-A6F82C149362}" srcOrd="3" destOrd="0" parTransId="{BC547863-FB1D-4842-A56A-02FFEA227274}" sibTransId="{88BDA1D1-EB8E-4BD5-9AF5-2378A1202937}"/>
    <dgm:cxn modelId="{D66B7947-E021-BC42-BB49-3A8BFD8A3275}" type="presOf" srcId="{6FF0AECA-ECB6-4C1A-BE7B-ABF66B29284C}" destId="{95D2DFF6-3EBE-4684-8827-DEA5D7A5B422}" srcOrd="1" destOrd="0" presId="urn:microsoft.com/office/officeart/2005/8/layout/pyramid3"/>
    <dgm:cxn modelId="{B7ACBFEE-825F-2B4D-9E63-23AA257BC9B9}" type="presOf" srcId="{F7B16B8F-F31B-42F0-9392-A6F82C149362}" destId="{C8CB5322-4319-49C9-AC55-372B7B7CE114}" srcOrd="1" destOrd="0" presId="urn:microsoft.com/office/officeart/2005/8/layout/pyramid3"/>
    <dgm:cxn modelId="{20839C43-7F0D-BD44-B64F-DC848C5CF0BB}" type="presOf" srcId="{E461035D-CEE4-412F-8180-536A6FA02CEA}" destId="{2AFF0EC0-F75D-4BEC-BFB1-F838E2911E80}" srcOrd="1" destOrd="0" presId="urn:microsoft.com/office/officeart/2005/8/layout/pyramid3"/>
    <dgm:cxn modelId="{BAE207D5-530D-E747-A7B0-8BB747B25EC7}" type="presOf" srcId="{97523DF8-843D-4789-AAA9-440A8341E73A}" destId="{1843393B-69D0-4F85-BBDF-B517632456E2}" srcOrd="1" destOrd="0" presId="urn:microsoft.com/office/officeart/2005/8/layout/pyramid3"/>
    <dgm:cxn modelId="{9935D3AC-7D9A-4FEC-9640-0C65401CBCD3}" srcId="{1823CAF8-8B83-4FD6-966F-2F41858175C7}" destId="{E461035D-CEE4-412F-8180-536A6FA02CEA}" srcOrd="2" destOrd="0" parTransId="{64A28C4E-5CC8-41B2-B463-D66A3918161E}" sibTransId="{A07CF6FA-65C3-4AAC-BC6C-DB58515838AD}"/>
    <dgm:cxn modelId="{EB43D60E-E634-EB48-8ACC-AED0A00CA3BA}" type="presOf" srcId="{1823CAF8-8B83-4FD6-966F-2F41858175C7}" destId="{191E83BE-988D-4009-AE10-C9904B788EB3}" srcOrd="0" destOrd="0" presId="urn:microsoft.com/office/officeart/2005/8/layout/pyramid3"/>
    <dgm:cxn modelId="{0A9A835B-698C-DD46-8766-1953A7A044D4}" type="presParOf" srcId="{191E83BE-988D-4009-AE10-C9904B788EB3}" destId="{7BD80DC2-35BF-4EA0-932D-EAD436D1DCAC}" srcOrd="0" destOrd="0" presId="urn:microsoft.com/office/officeart/2005/8/layout/pyramid3"/>
    <dgm:cxn modelId="{216452A2-6611-1642-BB7C-A05B38DC0081}" type="presParOf" srcId="{7BD80DC2-35BF-4EA0-932D-EAD436D1DCAC}" destId="{FD22A811-359F-4950-A79B-C50DAD82793A}" srcOrd="0" destOrd="0" presId="urn:microsoft.com/office/officeart/2005/8/layout/pyramid3"/>
    <dgm:cxn modelId="{9286E310-E8BF-3A4B-A56A-2BF8ACCE00EA}" type="presParOf" srcId="{7BD80DC2-35BF-4EA0-932D-EAD436D1DCAC}" destId="{1843393B-69D0-4F85-BBDF-B517632456E2}" srcOrd="1" destOrd="0" presId="urn:microsoft.com/office/officeart/2005/8/layout/pyramid3"/>
    <dgm:cxn modelId="{684F3E22-97D5-E642-B6AF-455D4E700CFD}" type="presParOf" srcId="{191E83BE-988D-4009-AE10-C9904B788EB3}" destId="{58B0B540-00BC-4295-B5D5-47DF9CD365D0}" srcOrd="1" destOrd="0" presId="urn:microsoft.com/office/officeart/2005/8/layout/pyramid3"/>
    <dgm:cxn modelId="{2BBF2FD5-CD6B-B84E-AA3A-1C5FD9875266}" type="presParOf" srcId="{58B0B540-00BC-4295-B5D5-47DF9CD365D0}" destId="{ED6BB289-F8D4-45AD-B2AB-A1FCD364456D}" srcOrd="0" destOrd="0" presId="urn:microsoft.com/office/officeart/2005/8/layout/pyramid3"/>
    <dgm:cxn modelId="{B3802BB6-6ED4-4740-8A3B-3CF826E678D3}" type="presParOf" srcId="{58B0B540-00BC-4295-B5D5-47DF9CD365D0}" destId="{95D2DFF6-3EBE-4684-8827-DEA5D7A5B422}" srcOrd="1" destOrd="0" presId="urn:microsoft.com/office/officeart/2005/8/layout/pyramid3"/>
    <dgm:cxn modelId="{18D11AE0-4290-9040-85B1-5A6ADD33584E}" type="presParOf" srcId="{191E83BE-988D-4009-AE10-C9904B788EB3}" destId="{E0842A82-6909-42A3-BC33-2688AF636989}" srcOrd="2" destOrd="0" presId="urn:microsoft.com/office/officeart/2005/8/layout/pyramid3"/>
    <dgm:cxn modelId="{2EF51281-49B6-5B48-B813-2D5F8E3242DC}" type="presParOf" srcId="{E0842A82-6909-42A3-BC33-2688AF636989}" destId="{71B2C9C6-D15A-4CCB-8C1F-4AF754C0DE4C}" srcOrd="0" destOrd="0" presId="urn:microsoft.com/office/officeart/2005/8/layout/pyramid3"/>
    <dgm:cxn modelId="{DFB1DF73-48F0-FC46-8F52-37C019A939D8}" type="presParOf" srcId="{E0842A82-6909-42A3-BC33-2688AF636989}" destId="{2AFF0EC0-F75D-4BEC-BFB1-F838E2911E80}" srcOrd="1" destOrd="0" presId="urn:microsoft.com/office/officeart/2005/8/layout/pyramid3"/>
    <dgm:cxn modelId="{0B0D3FF3-1DDB-7A44-A3B2-35A1CF9DDFBA}" type="presParOf" srcId="{191E83BE-988D-4009-AE10-C9904B788EB3}" destId="{D3034AA8-79DD-446A-BB2E-D5B420F78180}" srcOrd="3" destOrd="0" presId="urn:microsoft.com/office/officeart/2005/8/layout/pyramid3"/>
    <dgm:cxn modelId="{D6E89504-E10B-2240-BC59-E054789D3BA6}" type="presParOf" srcId="{D3034AA8-79DD-446A-BB2E-D5B420F78180}" destId="{1F183986-2418-42C9-8C71-63DD6EA7919A}" srcOrd="0" destOrd="0" presId="urn:microsoft.com/office/officeart/2005/8/layout/pyramid3"/>
    <dgm:cxn modelId="{69DB0121-9418-3B40-A77B-2B46994CB73C}" type="presParOf" srcId="{D3034AA8-79DD-446A-BB2E-D5B420F78180}" destId="{C8CB5322-4319-49C9-AC55-372B7B7CE114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6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675C5A-32DA-41DC-96F0-2699A9173257}">
      <dsp:nvSpPr>
        <dsp:cNvPr id="0" name=""/>
        <dsp:cNvSpPr/>
      </dsp:nvSpPr>
      <dsp:spPr>
        <a:xfrm rot="3565193">
          <a:off x="675793" y="1010581"/>
          <a:ext cx="321174" cy="40693"/>
        </a:xfrm>
        <a:custGeom>
          <a:avLst/>
          <a:gdLst/>
          <a:ahLst/>
          <a:cxnLst/>
          <a:rect l="0" t="0" r="0" b="0"/>
          <a:pathLst>
            <a:path>
              <a:moveTo>
                <a:pt x="0" y="20346"/>
              </a:moveTo>
              <a:lnTo>
                <a:pt x="321174" y="2034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C09F13-B390-479B-90D4-6E72DF64BF0C}">
      <dsp:nvSpPr>
        <dsp:cNvPr id="0" name=""/>
        <dsp:cNvSpPr/>
      </dsp:nvSpPr>
      <dsp:spPr>
        <a:xfrm rot="1255879">
          <a:off x="816220" y="812681"/>
          <a:ext cx="258095" cy="40693"/>
        </a:xfrm>
        <a:custGeom>
          <a:avLst/>
          <a:gdLst/>
          <a:ahLst/>
          <a:cxnLst/>
          <a:rect l="0" t="0" r="0" b="0"/>
          <a:pathLst>
            <a:path>
              <a:moveTo>
                <a:pt x="0" y="20346"/>
              </a:moveTo>
              <a:lnTo>
                <a:pt x="258095" y="2034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E9CD7B-D06A-4B6A-A6CB-30D6E172244B}">
      <dsp:nvSpPr>
        <dsp:cNvPr id="0" name=""/>
        <dsp:cNvSpPr/>
      </dsp:nvSpPr>
      <dsp:spPr>
        <a:xfrm rot="20344121">
          <a:off x="816220" y="589474"/>
          <a:ext cx="258095" cy="40693"/>
        </a:xfrm>
        <a:custGeom>
          <a:avLst/>
          <a:gdLst/>
          <a:ahLst/>
          <a:cxnLst/>
          <a:rect l="0" t="0" r="0" b="0"/>
          <a:pathLst>
            <a:path>
              <a:moveTo>
                <a:pt x="0" y="20346"/>
              </a:moveTo>
              <a:lnTo>
                <a:pt x="258095" y="2034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3C6E87-9815-4FB9-A51C-2FC451F23F47}">
      <dsp:nvSpPr>
        <dsp:cNvPr id="0" name=""/>
        <dsp:cNvSpPr/>
      </dsp:nvSpPr>
      <dsp:spPr>
        <a:xfrm rot="18034807">
          <a:off x="675793" y="391575"/>
          <a:ext cx="321174" cy="40693"/>
        </a:xfrm>
        <a:custGeom>
          <a:avLst/>
          <a:gdLst/>
          <a:ahLst/>
          <a:cxnLst/>
          <a:rect l="0" t="0" r="0" b="0"/>
          <a:pathLst>
            <a:path>
              <a:moveTo>
                <a:pt x="0" y="20346"/>
              </a:moveTo>
              <a:lnTo>
                <a:pt x="321174" y="2034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48B153-230E-400A-90EE-4413A3A0B61E}">
      <dsp:nvSpPr>
        <dsp:cNvPr id="0" name=""/>
        <dsp:cNvSpPr/>
      </dsp:nvSpPr>
      <dsp:spPr>
        <a:xfrm>
          <a:off x="219549" y="412814"/>
          <a:ext cx="617220" cy="617220"/>
        </a:xfrm>
        <a:prstGeom prst="ellipse">
          <a:avLst/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B56B7C-528E-4675-93F8-FD9C264C8796}">
      <dsp:nvSpPr>
        <dsp:cNvPr id="0" name=""/>
        <dsp:cNvSpPr/>
      </dsp:nvSpPr>
      <dsp:spPr>
        <a:xfrm>
          <a:off x="845968" y="512"/>
          <a:ext cx="293572" cy="293572"/>
        </a:xfrm>
        <a:prstGeom prst="ellipse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/>
            <a:t>Off Corp.</a:t>
          </a:r>
        </a:p>
      </dsp:txBody>
      <dsp:txXfrm>
        <a:off x="888961" y="43505"/>
        <a:ext cx="207586" cy="207586"/>
      </dsp:txXfrm>
    </dsp:sp>
    <dsp:sp modelId="{4489E963-4DAC-4D70-948A-A0E88C104475}">
      <dsp:nvSpPr>
        <dsp:cNvPr id="0" name=""/>
        <dsp:cNvSpPr/>
      </dsp:nvSpPr>
      <dsp:spPr>
        <a:xfrm>
          <a:off x="1056113" y="364494"/>
          <a:ext cx="293572" cy="293572"/>
        </a:xfrm>
        <a:prstGeom prst="ellipse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/>
            <a:t>Corp. VPN</a:t>
          </a:r>
        </a:p>
      </dsp:txBody>
      <dsp:txXfrm>
        <a:off x="1099106" y="407487"/>
        <a:ext cx="207586" cy="207586"/>
      </dsp:txXfrm>
    </dsp:sp>
    <dsp:sp modelId="{3233993C-0313-4256-B1BF-D9B5F6F7EA9C}">
      <dsp:nvSpPr>
        <dsp:cNvPr id="0" name=""/>
        <dsp:cNvSpPr/>
      </dsp:nvSpPr>
      <dsp:spPr>
        <a:xfrm>
          <a:off x="1056113" y="784783"/>
          <a:ext cx="293572" cy="293572"/>
        </a:xfrm>
        <a:prstGeom prst="ellipse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/>
            <a:t>Corp.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/>
            <a:t>Wired</a:t>
          </a:r>
        </a:p>
      </dsp:txBody>
      <dsp:txXfrm>
        <a:off x="1099106" y="827776"/>
        <a:ext cx="207586" cy="207586"/>
      </dsp:txXfrm>
    </dsp:sp>
    <dsp:sp modelId="{F293ED0E-6C31-4CF2-9B62-99046CD3E967}">
      <dsp:nvSpPr>
        <dsp:cNvPr id="0" name=""/>
        <dsp:cNvSpPr/>
      </dsp:nvSpPr>
      <dsp:spPr>
        <a:xfrm>
          <a:off x="845968" y="1148765"/>
          <a:ext cx="293572" cy="293572"/>
        </a:xfrm>
        <a:prstGeom prst="ellipse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/>
            <a:t>Corp.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600" kern="1200" dirty="0"/>
            <a:t>WLAN</a:t>
          </a:r>
        </a:p>
      </dsp:txBody>
      <dsp:txXfrm>
        <a:off x="888961" y="1191758"/>
        <a:ext cx="207586" cy="2075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552787-758B-4A00-AA7B-CE2563BCB2DF}">
      <dsp:nvSpPr>
        <dsp:cNvPr id="0" name=""/>
        <dsp:cNvSpPr/>
      </dsp:nvSpPr>
      <dsp:spPr>
        <a:xfrm>
          <a:off x="915756" y="545007"/>
          <a:ext cx="392988" cy="392985"/>
        </a:xfrm>
        <a:prstGeom prst="ellipse">
          <a:avLst/>
        </a:prstGeom>
        <a:solidFill>
          <a:schemeClr val="bg1">
            <a:alpha val="7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i="1" kern="1200" dirty="0">
              <a:solidFill>
                <a:srgbClr val="008080"/>
              </a:solidFill>
            </a:rPr>
            <a:t>ISE</a:t>
          </a:r>
        </a:p>
      </dsp:txBody>
      <dsp:txXfrm>
        <a:off x="973308" y="602558"/>
        <a:ext cx="277884" cy="277883"/>
      </dsp:txXfrm>
    </dsp:sp>
    <dsp:sp modelId="{C8444165-0375-4820-B428-CDD957F4A37E}">
      <dsp:nvSpPr>
        <dsp:cNvPr id="0" name=""/>
        <dsp:cNvSpPr/>
      </dsp:nvSpPr>
      <dsp:spPr>
        <a:xfrm rot="16200000">
          <a:off x="1032978" y="341639"/>
          <a:ext cx="158544" cy="25711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solidFill>
            <a:srgbClr val="00206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50" kern="1200"/>
        </a:p>
      </dsp:txBody>
      <dsp:txXfrm>
        <a:off x="1056760" y="416844"/>
        <a:ext cx="110981" cy="154269"/>
      </dsp:txXfrm>
    </dsp:sp>
    <dsp:sp modelId="{3FCA6F8E-2322-4E47-BE1D-B17CD1F76816}">
      <dsp:nvSpPr>
        <dsp:cNvPr id="0" name=""/>
        <dsp:cNvSpPr/>
      </dsp:nvSpPr>
      <dsp:spPr>
        <a:xfrm>
          <a:off x="826567" y="818"/>
          <a:ext cx="571366" cy="389939"/>
        </a:xfrm>
        <a:prstGeom prst="roundRect">
          <a:avLst/>
        </a:prstGeom>
        <a:solidFill>
          <a:schemeClr val="bg1">
            <a:alpha val="36000"/>
          </a:scheme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0" i="0" kern="1200" dirty="0">
              <a:solidFill>
                <a:schemeClr val="tx1"/>
              </a:solidFill>
              <a:latin typeface="CiscoSans ExtraLight" charset="0"/>
              <a:ea typeface="CiscoSans ExtraLight" charset="0"/>
              <a:cs typeface="CiscoSans ExtraLight" charset="0"/>
            </a:rPr>
            <a:t>Apply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0" i="0" kern="1200" dirty="0">
              <a:solidFill>
                <a:schemeClr val="tx1"/>
              </a:solidFill>
              <a:latin typeface="CiscoSans ExtraLight" charset="0"/>
              <a:ea typeface="CiscoSans ExtraLight" charset="0"/>
              <a:cs typeface="CiscoSans ExtraLight" charset="0"/>
            </a:rPr>
            <a:t>Policy</a:t>
          </a:r>
        </a:p>
      </dsp:txBody>
      <dsp:txXfrm>
        <a:off x="845602" y="19853"/>
        <a:ext cx="533296" cy="351869"/>
      </dsp:txXfrm>
    </dsp:sp>
    <dsp:sp modelId="{7EFFC4C2-577B-4A98-AF18-CE558DFE2AAC}">
      <dsp:nvSpPr>
        <dsp:cNvPr id="0" name=""/>
        <dsp:cNvSpPr/>
      </dsp:nvSpPr>
      <dsp:spPr>
        <a:xfrm>
          <a:off x="1304283" y="612942"/>
          <a:ext cx="158544" cy="257115"/>
        </a:xfrm>
        <a:prstGeom prst="leftArrow">
          <a:avLst/>
        </a:prstGeom>
        <a:solidFill>
          <a:srgbClr val="00B0F0"/>
        </a:solidFill>
        <a:ln>
          <a:solidFill>
            <a:srgbClr val="00206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</dsp:txBody>
      <dsp:txXfrm>
        <a:off x="1304283" y="664365"/>
        <a:ext cx="110981" cy="154269"/>
      </dsp:txXfrm>
    </dsp:sp>
    <dsp:sp modelId="{0227BB07-9660-43AF-AD06-85EA45B7F8E5}">
      <dsp:nvSpPr>
        <dsp:cNvPr id="0" name=""/>
        <dsp:cNvSpPr/>
      </dsp:nvSpPr>
      <dsp:spPr>
        <a:xfrm>
          <a:off x="1462993" y="546530"/>
          <a:ext cx="389939" cy="389939"/>
        </a:xfrm>
        <a:prstGeom prst="roundRect">
          <a:avLst/>
        </a:prstGeom>
        <a:solidFill>
          <a:prstClr val="white">
            <a:alpha val="70000"/>
          </a:prst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900" b="0" i="0" kern="1200" dirty="0">
              <a:solidFill>
                <a:schemeClr val="tx1"/>
              </a:solidFill>
              <a:latin typeface="CiscoSans ExtraLight" charset="0"/>
              <a:ea typeface="CiscoSans ExtraLight" charset="0"/>
              <a:cs typeface="CiscoSans ExtraLight" charset="0"/>
            </a:rPr>
            <a:t>Adapt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900" b="0" i="0" kern="1200" dirty="0">
              <a:solidFill>
                <a:schemeClr val="tx1"/>
              </a:solidFill>
              <a:latin typeface="CiscoSans ExtraLight" charset="0"/>
              <a:ea typeface="CiscoSans ExtraLight" charset="0"/>
              <a:cs typeface="CiscoSans ExtraLight" charset="0"/>
            </a:rPr>
            <a:t>Policy</a:t>
          </a:r>
        </a:p>
      </dsp:txBody>
      <dsp:txXfrm>
        <a:off x="1482028" y="565565"/>
        <a:ext cx="351869" cy="351869"/>
      </dsp:txXfrm>
    </dsp:sp>
    <dsp:sp modelId="{EA247509-491C-49F5-B6BC-13E1A187C8AC}">
      <dsp:nvSpPr>
        <dsp:cNvPr id="0" name=""/>
        <dsp:cNvSpPr/>
      </dsp:nvSpPr>
      <dsp:spPr>
        <a:xfrm rot="5400000">
          <a:off x="1040320" y="877317"/>
          <a:ext cx="143860" cy="257115"/>
        </a:xfrm>
        <a:prstGeom prst="leftArrow">
          <a:avLst/>
        </a:prstGeom>
        <a:solidFill>
          <a:srgbClr val="00B0F0"/>
        </a:solidFill>
        <a:ln>
          <a:solidFill>
            <a:srgbClr val="00206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</dsp:txBody>
      <dsp:txXfrm>
        <a:off x="1061899" y="907161"/>
        <a:ext cx="100702" cy="154269"/>
      </dsp:txXfrm>
    </dsp:sp>
    <dsp:sp modelId="{C41E9F40-BA99-4578-AC7E-929BF0F94628}">
      <dsp:nvSpPr>
        <dsp:cNvPr id="0" name=""/>
        <dsp:cNvSpPr/>
      </dsp:nvSpPr>
      <dsp:spPr>
        <a:xfrm>
          <a:off x="917280" y="1077956"/>
          <a:ext cx="389939" cy="389939"/>
        </a:xfrm>
        <a:prstGeom prst="roundRect">
          <a:avLst/>
        </a:prstGeom>
        <a:solidFill>
          <a:prstClr val="white">
            <a:alpha val="70000"/>
          </a:prst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i="0" kern="1200" dirty="0" err="1">
              <a:solidFill>
                <a:srgbClr val="008080"/>
              </a:solidFill>
              <a:latin typeface="CiscoSans ExtraLight" charset="0"/>
              <a:ea typeface="CiscoSans ExtraLight" charset="0"/>
              <a:cs typeface="CiscoSans ExtraLight" charset="0"/>
            </a:rPr>
            <a:t>pxGrid</a:t>
          </a:r>
          <a:endParaRPr lang="en-US" sz="1000" b="0" i="0" kern="1200" dirty="0">
            <a:solidFill>
              <a:srgbClr val="008080"/>
            </a:solidFill>
            <a:latin typeface="CiscoSans ExtraLight" charset="0"/>
            <a:ea typeface="CiscoSans ExtraLight" charset="0"/>
            <a:cs typeface="CiscoSans ExtraLight" charset="0"/>
          </a:endParaRPr>
        </a:p>
      </dsp:txBody>
      <dsp:txXfrm>
        <a:off x="936315" y="1096991"/>
        <a:ext cx="351869" cy="351869"/>
      </dsp:txXfrm>
    </dsp:sp>
    <dsp:sp modelId="{DC8C338B-B7D9-420F-A138-9E48B662FE86}">
      <dsp:nvSpPr>
        <dsp:cNvPr id="0" name=""/>
        <dsp:cNvSpPr/>
      </dsp:nvSpPr>
      <dsp:spPr>
        <a:xfrm rot="10800000">
          <a:off x="761673" y="612942"/>
          <a:ext cx="158544" cy="257115"/>
        </a:xfrm>
        <a:prstGeom prst="leftArrow">
          <a:avLst/>
        </a:prstGeom>
        <a:solidFill>
          <a:srgbClr val="00B0F0"/>
        </a:solidFill>
        <a:ln>
          <a:solidFill>
            <a:srgbClr val="00206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</dsp:txBody>
      <dsp:txXfrm rot="10800000">
        <a:off x="809236" y="664365"/>
        <a:ext cx="110981" cy="154269"/>
      </dsp:txXfrm>
    </dsp:sp>
    <dsp:sp modelId="{D17181A9-3619-4117-A85E-993B9BF13FA7}">
      <dsp:nvSpPr>
        <dsp:cNvPr id="0" name=""/>
        <dsp:cNvSpPr/>
      </dsp:nvSpPr>
      <dsp:spPr>
        <a:xfrm>
          <a:off x="371568" y="546530"/>
          <a:ext cx="389939" cy="389939"/>
        </a:xfrm>
        <a:prstGeom prst="roundRect">
          <a:avLst/>
        </a:prstGeom>
        <a:solidFill>
          <a:prstClr val="white">
            <a:alpha val="70000"/>
          </a:prstClr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i="0" kern="1200" dirty="0">
              <a:solidFill>
                <a:prstClr val="black"/>
              </a:solidFill>
              <a:latin typeface="CiscoSans ExtraLight" charset="0"/>
              <a:ea typeface="CiscoSans ExtraLight" charset="0"/>
              <a:cs typeface="CiscoSans ExtraLight" charset="0"/>
            </a:rPr>
            <a:t>Assess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i="0" kern="1200" dirty="0">
              <a:solidFill>
                <a:prstClr val="black"/>
              </a:solidFill>
              <a:latin typeface="CiscoSans ExtraLight" charset="0"/>
              <a:ea typeface="CiscoSans ExtraLight" charset="0"/>
              <a:cs typeface="CiscoSans ExtraLight" charset="0"/>
            </a:rPr>
            <a:t>Policy</a:t>
          </a:r>
        </a:p>
      </dsp:txBody>
      <dsp:txXfrm>
        <a:off x="390603" y="565565"/>
        <a:ext cx="351869" cy="35186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22A811-359F-4950-A79B-C50DAD82793A}">
      <dsp:nvSpPr>
        <dsp:cNvPr id="0" name=""/>
        <dsp:cNvSpPr/>
      </dsp:nvSpPr>
      <dsp:spPr>
        <a:xfrm rot="10800000">
          <a:off x="0" y="0"/>
          <a:ext cx="859076" cy="143179"/>
        </a:xfrm>
        <a:prstGeom prst="trapezoid">
          <a:avLst>
            <a:gd name="adj" fmla="val 7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0" i="0" kern="1200" dirty="0">
              <a:latin typeface="CiscoSans ExtraLight" charset="0"/>
              <a:ea typeface="CiscoSans ExtraLight" charset="0"/>
              <a:cs typeface="CiscoSans ExtraLight" charset="0"/>
            </a:rPr>
            <a:t>Umbrella</a:t>
          </a:r>
          <a:endParaRPr lang="en-US" sz="1100" b="0" i="0" kern="1200" dirty="0">
            <a:latin typeface="CiscoSans ExtraLight" charset="0"/>
            <a:ea typeface="CiscoSans ExtraLight" charset="0"/>
            <a:cs typeface="CiscoSans ExtraLight" charset="0"/>
          </a:endParaRPr>
        </a:p>
      </dsp:txBody>
      <dsp:txXfrm rot="-10800000">
        <a:off x="150338" y="0"/>
        <a:ext cx="558399" cy="143179"/>
      </dsp:txXfrm>
    </dsp:sp>
    <dsp:sp modelId="{ED6BB289-F8D4-45AD-B2AB-A1FCD364456D}">
      <dsp:nvSpPr>
        <dsp:cNvPr id="0" name=""/>
        <dsp:cNvSpPr/>
      </dsp:nvSpPr>
      <dsp:spPr>
        <a:xfrm rot="10800000">
          <a:off x="107384" y="143179"/>
          <a:ext cx="644307" cy="143179"/>
        </a:xfrm>
        <a:prstGeom prst="trapezoid">
          <a:avLst>
            <a:gd name="adj" fmla="val 7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0" i="0" kern="1200" dirty="0">
              <a:latin typeface="CiscoSans ExtraLight" charset="0"/>
              <a:ea typeface="CiscoSans ExtraLight" charset="0"/>
              <a:cs typeface="CiscoSans ExtraLight" charset="0"/>
            </a:rPr>
            <a:t>Umbrella</a:t>
          </a:r>
          <a:endParaRPr lang="en-US" sz="900" b="0" i="0" kern="1200" dirty="0">
            <a:latin typeface="CiscoSans ExtraLight" charset="0"/>
            <a:ea typeface="CiscoSans ExtraLight" charset="0"/>
            <a:cs typeface="CiscoSans ExtraLight" charset="0"/>
          </a:endParaRPr>
        </a:p>
      </dsp:txBody>
      <dsp:txXfrm rot="-10800000">
        <a:off x="220138" y="143179"/>
        <a:ext cx="418799" cy="143179"/>
      </dsp:txXfrm>
    </dsp:sp>
    <dsp:sp modelId="{71B2C9C6-D15A-4CCB-8C1F-4AF754C0DE4C}">
      <dsp:nvSpPr>
        <dsp:cNvPr id="0" name=""/>
        <dsp:cNvSpPr/>
      </dsp:nvSpPr>
      <dsp:spPr>
        <a:xfrm rot="10800000">
          <a:off x="214769" y="286358"/>
          <a:ext cx="429538" cy="143179"/>
        </a:xfrm>
        <a:prstGeom prst="trapezoid">
          <a:avLst>
            <a:gd name="adj" fmla="val 7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b="0" i="0" kern="1200" dirty="0">
              <a:latin typeface="CiscoSans ExtraLight" charset="0"/>
              <a:ea typeface="CiscoSans ExtraLight" charset="0"/>
              <a:cs typeface="CiscoSans ExtraLight" charset="0"/>
            </a:rPr>
            <a:t>AMP</a:t>
          </a:r>
          <a:endParaRPr lang="en-US" sz="1200" b="0" i="0" kern="1200" dirty="0">
            <a:latin typeface="CiscoSans ExtraLight" charset="0"/>
            <a:ea typeface="CiscoSans ExtraLight" charset="0"/>
            <a:cs typeface="CiscoSans ExtraLight" charset="0"/>
          </a:endParaRPr>
        </a:p>
      </dsp:txBody>
      <dsp:txXfrm rot="-10800000">
        <a:off x="289938" y="286358"/>
        <a:ext cx="279199" cy="143179"/>
      </dsp:txXfrm>
    </dsp:sp>
    <dsp:sp modelId="{1F183986-2418-42C9-8C71-63DD6EA7919A}">
      <dsp:nvSpPr>
        <dsp:cNvPr id="0" name=""/>
        <dsp:cNvSpPr/>
      </dsp:nvSpPr>
      <dsp:spPr>
        <a:xfrm rot="10800000">
          <a:off x="322153" y="429537"/>
          <a:ext cx="214769" cy="143179"/>
        </a:xfrm>
        <a:prstGeom prst="trapezoid">
          <a:avLst>
            <a:gd name="adj" fmla="val 7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 dirty="0"/>
        </a:p>
      </dsp:txBody>
      <dsp:txXfrm rot="-10800000">
        <a:off x="322153" y="429537"/>
        <a:ext cx="214769" cy="1431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FE48B1C-1E6B-744F-8E6C-3836D33BC0D9}" type="datetimeFigureOut">
              <a:rPr lang="en-US"/>
              <a:pPr>
                <a:defRPr/>
              </a:pPr>
              <a:t>11/15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5A8EAB7-F1BA-274C-91A9-46214A29E5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4806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A637A29-4E7E-A24B-BAB1-D48C888F91E4}" type="datetimeFigureOut">
              <a:rPr lang="en-US"/>
              <a:pPr>
                <a:defRPr/>
              </a:pPr>
              <a:t>11/15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97A1FA6-25DE-9E4E-A34D-CF67DE7DBD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4925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ent headlines to add: 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8/12: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ackers Stole secrets for up to $100 million http://</a:t>
            </a:r>
            <a:r>
              <a:rPr lang="en-U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ww.reuters.com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article/2015/08/12/us-cybercybersecurity-hacking-stocks-arr-idUSKCN0QG1EY20150812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/31: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DA warns of security flaw in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spir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fusion pumps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ww.reuters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article/2015/07/31/us-hospira-fda-cybersecurity-idUSKCN0Q52GJ20150731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/25: Chrysler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calls 14 million vehicles after Jeep hack 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ww.computerworld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article/2952186/mobile-security/chrysler-recalls-14m-vehicles-after-jeep-hack.html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ww.wired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2015/07/hackers-remotely-kill-jeep-highway/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 are not alone. Everyday another headline highlights another breach. Data loss and loss to business are becoming a weekly, if not daily occurrence. Security is top of mind for all organizations, rising up to top executives.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hat is behind this dramatic shift in our IT landscape?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652253-1672-1349-AB7C-0C55C05CAC28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6697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09823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28360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xmlns="" id="{E3F61292-C10D-48F4-BF6F-E09D2FBBDA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1074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9100" y="703263"/>
            <a:ext cx="6248400" cy="35147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  <a:tabLst>
                <a:tab pos="4975225" algn="l"/>
              </a:tabLst>
            </a:pPr>
            <a:r>
              <a:rPr lang="en-US" sz="1050" dirty="0">
                <a:effectLst/>
                <a:latin typeface="Calibri" charset="0"/>
                <a:ea typeface="Calibri" charset="0"/>
                <a:cs typeface="Times New Roman" charset="0"/>
              </a:rPr>
              <a:t>Cisco Security Services helps you better anticipate and respond to new threats, reduce complexity and fragmentation, and adapt with agility to changing business models. </a:t>
            </a:r>
            <a:r>
              <a:rPr lang="en-US" sz="1200" dirty="0">
                <a:effectLst/>
                <a:latin typeface="Calibri" charset="0"/>
                <a:ea typeface="Calibri" charset="0"/>
                <a:cs typeface="Times New Roman" charset="0"/>
              </a:rPr>
              <a:t>Security is the foundation for agility, innovation, and growth. Today,</a:t>
            </a:r>
            <a:r>
              <a:rPr lang="en-US" sz="1200" baseline="0" dirty="0">
                <a:effectLst/>
                <a:latin typeface="Calibri" charset="0"/>
                <a:ea typeface="Calibri" charset="0"/>
                <a:cs typeface="Times New Roman" charset="0"/>
              </a:rPr>
              <a:t> </a:t>
            </a:r>
            <a:endParaRPr lang="en-US" sz="1200" dirty="0">
              <a:effectLst/>
              <a:latin typeface="Calibri" charset="0"/>
              <a:ea typeface="Calibri" charset="0"/>
              <a:cs typeface="Times New Roman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tabLst>
                <a:tab pos="457200" algn="l"/>
                <a:tab pos="4975225" algn="l"/>
              </a:tabLst>
            </a:pPr>
            <a:r>
              <a:rPr lang="en-US" sz="1050" dirty="0">
                <a:effectLst/>
                <a:latin typeface="Calibri" charset="0"/>
                <a:ea typeface="Calibri" charset="0"/>
                <a:cs typeface="Times New Roman" charset="0"/>
              </a:rPr>
              <a:t>Our security blocks an average of 19.6B threats every day</a:t>
            </a:r>
            <a:endParaRPr lang="en-US" sz="1200" dirty="0">
              <a:effectLst/>
              <a:latin typeface="Calibri" charset="0"/>
              <a:ea typeface="Calibri" charset="0"/>
              <a:cs typeface="Times New Roman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tabLst>
                <a:tab pos="457200" algn="l"/>
                <a:tab pos="4975225" algn="l"/>
              </a:tabLst>
            </a:pPr>
            <a:r>
              <a:rPr lang="en-US" sz="1050" dirty="0">
                <a:effectLst/>
                <a:latin typeface="Calibri" charset="0"/>
                <a:ea typeface="Calibri" charset="0"/>
                <a:cs typeface="Times New Roman" charset="0"/>
              </a:rPr>
              <a:t>We offer unmatched expertise in security, collaboration, mobility, data center. 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tabLst>
                <a:tab pos="457200" algn="l"/>
                <a:tab pos="4975225" algn="l"/>
              </a:tabLst>
            </a:pPr>
            <a:r>
              <a:rPr lang="en-US" sz="1050" dirty="0">
                <a:effectLst/>
                <a:latin typeface="Calibri" charset="0"/>
                <a:ea typeface="Calibri" charset="0"/>
                <a:cs typeface="Times New Roman" charset="0"/>
              </a:rPr>
              <a:t>Our staff includes former CISOs, consultants, developers, forensics experts, and architects.</a:t>
            </a:r>
            <a:endParaRPr lang="en-US" sz="1200" dirty="0">
              <a:effectLst/>
              <a:latin typeface="Calibri" charset="0"/>
              <a:ea typeface="Calibri" charset="0"/>
              <a:cs typeface="Times New Roman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  <a:tabLst>
                <a:tab pos="4975225" algn="l"/>
              </a:tabLst>
            </a:pPr>
            <a:r>
              <a:rPr lang="en-US" sz="1050" dirty="0">
                <a:effectLst/>
                <a:latin typeface="Calibri" charset="0"/>
                <a:ea typeface="Calibri" charset="0"/>
                <a:cs typeface="Times New Roman" charset="0"/>
              </a:rPr>
              <a:t>In 2016, Cisco was proud to be named “Best Security Company” (by SC Magazine). Let us help you secure your digital business. </a:t>
            </a:r>
            <a:endParaRPr lang="en-US" sz="1200" dirty="0">
              <a:effectLst/>
              <a:latin typeface="Calibri" charset="0"/>
              <a:ea typeface="Calibri" charset="0"/>
              <a:cs typeface="Times New Roman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9680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9100" y="703263"/>
            <a:ext cx="6248400" cy="35147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  <a:tabLst>
                <a:tab pos="4975225" algn="l"/>
              </a:tabLst>
            </a:pPr>
            <a:r>
              <a:rPr lang="en-US" sz="1050" dirty="0">
                <a:effectLst/>
                <a:latin typeface="Calibri" charset="0"/>
                <a:ea typeface="Calibri" charset="0"/>
                <a:cs typeface="Times New Roman" charset="0"/>
              </a:rPr>
              <a:t>Cisco Security Services helps you better anticipate and respond to new threats, reduce complexity and fragmentation, and adapt with agility to changing business models. </a:t>
            </a:r>
            <a:r>
              <a:rPr lang="en-US" sz="1200" dirty="0">
                <a:effectLst/>
                <a:latin typeface="Calibri" charset="0"/>
                <a:ea typeface="Calibri" charset="0"/>
                <a:cs typeface="Times New Roman" charset="0"/>
              </a:rPr>
              <a:t>Security is the foundation for agility, innovation, and growth. Today,</a:t>
            </a:r>
            <a:r>
              <a:rPr lang="en-US" sz="1200" baseline="0" dirty="0">
                <a:effectLst/>
                <a:latin typeface="Calibri" charset="0"/>
                <a:ea typeface="Calibri" charset="0"/>
                <a:cs typeface="Times New Roman" charset="0"/>
              </a:rPr>
              <a:t> </a:t>
            </a:r>
            <a:endParaRPr lang="en-US" sz="1200" dirty="0">
              <a:effectLst/>
              <a:latin typeface="Calibri" charset="0"/>
              <a:ea typeface="Calibri" charset="0"/>
              <a:cs typeface="Times New Roman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tabLst>
                <a:tab pos="457200" algn="l"/>
                <a:tab pos="4975225" algn="l"/>
              </a:tabLst>
            </a:pPr>
            <a:r>
              <a:rPr lang="en-US" sz="1050" dirty="0">
                <a:effectLst/>
                <a:latin typeface="Calibri" charset="0"/>
                <a:ea typeface="Calibri" charset="0"/>
                <a:cs typeface="Times New Roman" charset="0"/>
              </a:rPr>
              <a:t>Our security blocks an average of 19.6B threats every day</a:t>
            </a:r>
            <a:endParaRPr lang="en-US" sz="1200" dirty="0">
              <a:effectLst/>
              <a:latin typeface="Calibri" charset="0"/>
              <a:ea typeface="Calibri" charset="0"/>
              <a:cs typeface="Times New Roman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tabLst>
                <a:tab pos="457200" algn="l"/>
                <a:tab pos="4975225" algn="l"/>
              </a:tabLst>
            </a:pPr>
            <a:r>
              <a:rPr lang="en-US" sz="1050" dirty="0">
                <a:effectLst/>
                <a:latin typeface="Calibri" charset="0"/>
                <a:ea typeface="Calibri" charset="0"/>
                <a:cs typeface="Times New Roman" charset="0"/>
              </a:rPr>
              <a:t>We offer unmatched expertise in security, collaboration, mobility, data center. 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tabLst>
                <a:tab pos="457200" algn="l"/>
                <a:tab pos="4975225" algn="l"/>
              </a:tabLst>
            </a:pPr>
            <a:r>
              <a:rPr lang="en-US" sz="1050" dirty="0">
                <a:effectLst/>
                <a:latin typeface="Calibri" charset="0"/>
                <a:ea typeface="Calibri" charset="0"/>
                <a:cs typeface="Times New Roman" charset="0"/>
              </a:rPr>
              <a:t>Our staff includes former CISOs, consultants, developers, forensics experts, and architects.</a:t>
            </a:r>
            <a:endParaRPr lang="en-US" sz="1200" dirty="0">
              <a:effectLst/>
              <a:latin typeface="Calibri" charset="0"/>
              <a:ea typeface="Calibri" charset="0"/>
              <a:cs typeface="Times New Roman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  <a:tabLst>
                <a:tab pos="4975225" algn="l"/>
              </a:tabLst>
            </a:pPr>
            <a:r>
              <a:rPr lang="en-US" sz="1050" dirty="0">
                <a:effectLst/>
                <a:latin typeface="Calibri" charset="0"/>
                <a:ea typeface="Calibri" charset="0"/>
                <a:cs typeface="Times New Roman" charset="0"/>
              </a:rPr>
              <a:t>In 2016, Cisco was proud to be named “Best Security Company” (by SC Magazine). Let us help you secure your digital business. </a:t>
            </a:r>
            <a:endParaRPr lang="en-US" sz="1200" dirty="0">
              <a:effectLst/>
              <a:latin typeface="Calibri" charset="0"/>
              <a:ea typeface="Calibri" charset="0"/>
              <a:cs typeface="Times New Roman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8383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02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FCB79-2C0C-F84D-A224-30C295992FCE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9879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s recent publicized </a:t>
            </a:r>
            <a:r>
              <a:rPr lang="en-US" baseline="0" dirty="0"/>
              <a:t>breaches have shown us, the repercussions of attacks are heavy and security is getting executive level attention.</a:t>
            </a:r>
            <a:endParaRPr lang="en-US" dirty="0"/>
          </a:p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ources:</a:t>
            </a:r>
          </a:p>
          <a:p>
            <a:pPr marL="171450" marR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ony Data Breach: http://www.darkreading.com/attacks-and-breaches/sony-data-breach-cleanup-to-cost-$171-million/d/d-id/1097898?</a:t>
            </a:r>
          </a:p>
          <a:p>
            <a:pPr marL="171450" marR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TV5Monde: http://www.scmagazineuk.com/tv5monde-in-chaos-as-data-breach-costs-roll-into-the-millions/article/428605/</a:t>
            </a:r>
          </a:p>
          <a:p>
            <a:pPr marL="171450" marR="0" indent="-17145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World Cup Streaming: http://www.tvtechnology.com/business/0011/viaccessorca-20-million-watched-world-cup-on-illegal-streams/27150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2979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 smtClean="0"/>
              <a:t>According </a:t>
            </a:r>
            <a:r>
              <a:rPr lang="en-US" baseline="0" dirty="0"/>
              <a:t>to the 2015 Verizon Data Breach Investigations Report, $87,000 are lost for every 1,000 files breached. That’s $87 for </a:t>
            </a:r>
            <a:r>
              <a:rPr lang="en-US" i="1" baseline="0" dirty="0"/>
              <a:t>every single file</a:t>
            </a:r>
            <a:r>
              <a:rPr lang="en-US" baseline="0" dirty="0"/>
              <a:t>. The </a:t>
            </a:r>
            <a:r>
              <a:rPr lang="en-US" baseline="0" dirty="0" smtClean="0"/>
              <a:t>2014 Verizon data breach study identified </a:t>
            </a:r>
            <a:r>
              <a:rPr lang="en-US" baseline="0" dirty="0"/>
              <a:t>the speed in which these attacks occur, and it’s truly frightening: 60% of all breaches compromise the targeted data within </a:t>
            </a:r>
            <a:r>
              <a:rPr lang="en-US" baseline="0" dirty="0" smtClean="0"/>
              <a:t>minutes with 54% of all breaches not being detected until months later. </a:t>
            </a:r>
            <a:r>
              <a:rPr lang="en-US" baseline="0" dirty="0"/>
              <a:t>A </a:t>
            </a:r>
            <a:r>
              <a:rPr lang="en-US" baseline="0" dirty="0" err="1"/>
              <a:t>Ponemon</a:t>
            </a:r>
            <a:r>
              <a:rPr lang="en-US" baseline="0" dirty="0"/>
              <a:t> Institute’s report on the Cost of Data Breach’s stated that the lost business for every attack equaled, on average, </a:t>
            </a:r>
            <a:r>
              <a:rPr lang="en-US" i="1" baseline="0" dirty="0"/>
              <a:t>$1.45M</a:t>
            </a:r>
            <a:r>
              <a:rPr lang="en-US" baseline="0" dirty="0"/>
              <a:t>. With all that being said, the end result may be the worst of all, and that’s lost of customer trust. </a:t>
            </a:r>
          </a:p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baseline="0" dirty="0"/>
              <a:t>T: Security </a:t>
            </a:r>
            <a:r>
              <a:rPr lang="en-US" b="1" baseline="0" dirty="0" smtClean="0"/>
              <a:t>has reached paramount </a:t>
            </a:r>
            <a:r>
              <a:rPr lang="en-US" b="1" baseline="0" dirty="0"/>
              <a:t>importance in </a:t>
            </a:r>
            <a:r>
              <a:rPr lang="en-US" b="1" baseline="0" dirty="0" smtClean="0"/>
              <a:t>service provider networks </a:t>
            </a:r>
            <a:r>
              <a:rPr lang="en-US" b="1" baseline="0" dirty="0"/>
              <a:t>around the world…</a:t>
            </a:r>
          </a:p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&lt;click&gt;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7F683F-D4D6-497E-9895-9DEC0E615E8E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1793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. Server guys should understand that Security is important</a:t>
            </a:r>
            <a:r>
              <a:rPr lang="is-IS" baseline="0" dirty="0"/>
              <a:t>… 	Quickly familiar what Server guys think everyday</a:t>
            </a:r>
          </a:p>
          <a:p>
            <a:r>
              <a:rPr lang="is-IS" baseline="0" dirty="0"/>
              <a:t>2. Network guys should know that Security is more than a Firewall </a:t>
            </a:r>
          </a:p>
          <a:p>
            <a:r>
              <a:rPr lang="is-IS" baseline="0" dirty="0"/>
              <a:t>3. They should be able to get into Depth into Cisco Security (Security they would deploy for the rest of the company)</a:t>
            </a:r>
          </a:p>
          <a:p>
            <a:endParaRPr lang="is-IS" baseline="0" dirty="0"/>
          </a:p>
          <a:p>
            <a:r>
              <a:rPr lang="is-IS" baseline="0" dirty="0"/>
              <a:t>Application Architectures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3791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45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32799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7140" indent="0">
              <a:buFont typeface="Arial" charset="0"/>
              <a:buNone/>
            </a:pPr>
            <a:r>
              <a:rPr lang="en-US" u="sng" dirty="0"/>
              <a:t>Value Proposition</a:t>
            </a:r>
          </a:p>
          <a:p>
            <a:pPr marL="57140" indent="0">
              <a:buFont typeface="Arial" charset="0"/>
              <a:buNone/>
            </a:pPr>
            <a:r>
              <a:rPr lang="en-US" sz="1600" dirty="0"/>
              <a:t>Complete visibility and contextual awareness of users, networks, applications, workloads, process based</a:t>
            </a:r>
          </a:p>
          <a:p>
            <a:r>
              <a:rPr lang="en-US" sz="1200" dirty="0"/>
              <a:t>Network and application behavior</a:t>
            </a:r>
          </a:p>
          <a:p>
            <a:r>
              <a:rPr lang="en-US" sz="1200" dirty="0"/>
              <a:t>Application dependency mappings</a:t>
            </a:r>
          </a:p>
          <a:p>
            <a:r>
              <a:rPr lang="en-US" sz="1200" dirty="0"/>
              <a:t>Network Behavioral Analysis </a:t>
            </a:r>
            <a:br>
              <a:rPr lang="en-US" sz="1200" dirty="0"/>
            </a:br>
            <a:r>
              <a:rPr lang="en-US" sz="1200" dirty="0"/>
              <a:t>(</a:t>
            </a:r>
            <a:r>
              <a:rPr lang="en-US" sz="1200" dirty="0" err="1"/>
              <a:t>Netflow</a:t>
            </a:r>
            <a:r>
              <a:rPr lang="en-US" sz="1200" dirty="0"/>
              <a:t> / Traffic Analysis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5751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68413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emf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emf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2.emf"/><Relationship Id="rId3" Type="http://schemas.openxmlformats.org/officeDocument/2006/relationships/image" Target="../media/image6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3.jpg"/><Relationship Id="rId3" Type="http://schemas.openxmlformats.org/officeDocument/2006/relationships/image" Target="../media/image14.png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5.jpeg"/><Relationship Id="rId3" Type="http://schemas.openxmlformats.org/officeDocument/2006/relationships/image" Target="../media/image2.emf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.jpeg"/><Relationship Id="rId3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6.png"/><Relationship Id="rId3" Type="http://schemas.openxmlformats.org/officeDocument/2006/relationships/image" Target="../media/image17.png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7.png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8.png"/><Relationship Id="rId3" Type="http://schemas.openxmlformats.org/officeDocument/2006/relationships/image" Target="../media/image19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0.jpeg"/><Relationship Id="rId3" Type="http://schemas.openxmlformats.org/officeDocument/2006/relationships/image" Target="../media/image21.pn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2.jpeg"/><Relationship Id="rId3" Type="http://schemas.openxmlformats.org/officeDocument/2006/relationships/image" Target="../media/image23.png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8.png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25.wmf"/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4.jpeg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Relationship Id="rId3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4.pn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emf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emf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4.png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9.png"/><Relationship Id="rId3" Type="http://schemas.openxmlformats.org/officeDocument/2006/relationships/image" Target="../media/image10.pn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1.jpeg"/><Relationship Id="rId3" Type="http://schemas.openxmlformats.org/officeDocument/2006/relationships/image" Target="../media/image10.png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8.pn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942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644334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61" y="895601"/>
            <a:ext cx="8398740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40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400" indent="-392400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0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7" y="1347788"/>
            <a:ext cx="3901124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5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30" y="302506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5" y="302507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30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5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6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2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3" y="22831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8" y="22783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4" y="22047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3" y="1201094"/>
            <a:ext cx="2337109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09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3" y="1200321"/>
            <a:ext cx="2337109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6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7" y="1481751"/>
            <a:ext cx="3375913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8" indent="-85718" algn="l" defTabSz="68572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07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7" y="1347788"/>
            <a:ext cx="3901124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803053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2" y="1540551"/>
            <a:ext cx="7972249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”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4" y="1439061"/>
            <a:ext cx="3820348" cy="2265389"/>
          </a:xfrm>
        </p:spPr>
        <p:txBody>
          <a:bodyPr lIns="61715" tIns="34288" rIns="61715" bIns="34288" rtlCol="0" anchor="ctr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19" y="654518"/>
            <a:ext cx="3865881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 smtClean="0"/>
              <a:t>Click to edit text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8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icon to add table</a:t>
            </a:r>
            <a:endParaRPr lang="en-US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3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 smtClean="0"/>
              <a:t>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5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3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 smtClean="0"/>
              <a:t>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1349457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4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8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1" y="1349375"/>
            <a:ext cx="4075145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Oval 2"/>
          <p:cNvSpPr/>
          <p:nvPr userDrawn="1"/>
        </p:nvSpPr>
        <p:spPr>
          <a:xfrm>
            <a:off x="6085116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0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764272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5" y="2800143"/>
            <a:ext cx="2292137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5" y="2798196"/>
            <a:ext cx="2292137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0" y="2798196"/>
            <a:ext cx="2292137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30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30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21" y="1622396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3" y="1622396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60" y="1622396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6" y="1622396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8" y="1622396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6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7" y="3873139"/>
            <a:ext cx="2292137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9" y="3871192"/>
            <a:ext cx="2292137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6" y="3871192"/>
            <a:ext cx="2292137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Text Goes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2" y="4629151"/>
            <a:ext cx="733426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3" y="3476647"/>
            <a:ext cx="8139113" cy="520655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800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US" dirty="0" smtClean="0"/>
              <a:t>Text Goes Here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301038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19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US" dirty="0" smtClean="0"/>
              <a:t>Text Goes Here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672446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2" y="4629151"/>
            <a:ext cx="733426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0" y="596900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2" y="3595688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7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2" y="3655079"/>
            <a:ext cx="5074069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01" y="233364"/>
            <a:ext cx="3273426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2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36" y="2480694"/>
            <a:ext cx="6729865" cy="1614419"/>
          </a:xfrm>
        </p:spPr>
        <p:txBody>
          <a:bodyPr>
            <a:noAutofit/>
          </a:bodyPr>
          <a:lstStyle>
            <a:lvl1pPr marL="0" marR="0" indent="0" algn="l" defTabSz="6857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title</a:t>
            </a: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9" y="546607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4"/>
            <a:ext cx="3630169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70" y="546735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4"/>
            <a:ext cx="3268661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4" y="233364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8" y="233364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4" y="2271714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7" y="2271714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8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8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6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2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1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9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2271719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1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1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8" y="582930"/>
            <a:ext cx="816493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576547" y="1646238"/>
            <a:ext cx="1990910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448923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5" y="-2571"/>
            <a:ext cx="9150430" cy="514864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1662" y="1643634"/>
            <a:ext cx="2080677" cy="1856232"/>
          </a:xfrm>
          <a:prstGeom prst="rect">
            <a:avLst/>
          </a:prstGeom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Placeholder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319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8" descr="logo_black.ai"/>
          <p:cNvPicPr>
            <a:picLocks noChangeAspect="1"/>
          </p:cNvPicPr>
          <p:nvPr userDrawn="1"/>
        </p:nvPicPr>
        <p:blipFill>
          <a:blip r:embed="rId3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50" y="320675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5765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4D4D4D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25765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25765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25765" y="3306997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US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</p:spTree>
    <p:extLst/>
  </p:cSld>
  <p:clrMapOvr>
    <a:masterClrMapping/>
  </p:clrMapOvr>
  <p:transition spd="slow">
    <p:wip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Multi_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59117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1498" y="1200175"/>
            <a:ext cx="8659976" cy="3394075"/>
          </a:xfrm>
          <a:prstGeom prst="rect">
            <a:avLst/>
          </a:prstGeom>
        </p:spPr>
        <p:txBody>
          <a:bodyPr lIns="91340" tIns="45670" rIns="91340" bIns="45670">
            <a:noAutofit/>
          </a:bodyPr>
          <a:lstStyle>
            <a:lvl1pPr marL="285450" marR="0" indent="-285450" algn="l" defTabSz="4567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45672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This slide will allow you to add one of the following:</a:t>
            </a:r>
            <a:br>
              <a:rPr lang="en-US" dirty="0" smtClean="0"/>
            </a:br>
            <a:r>
              <a:rPr lang="en-US" dirty="0" smtClean="0"/>
              <a:t>Table, Charts, Smart Art, Pictures, Clip Art and Media</a:t>
            </a:r>
            <a:br>
              <a:rPr lang="en-US" dirty="0" smtClean="0"/>
            </a:br>
            <a:r>
              <a:rPr lang="en-US" dirty="0" smtClean="0"/>
              <a:t>Click icon to add content</a:t>
            </a:r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23" tIns="30761" rIns="61523" bIns="30761" anchor="b">
            <a:spAutoFit/>
          </a:bodyPr>
          <a:lstStyle/>
          <a:p>
            <a:pPr algn="r" defTabSz="610209"/>
            <a:r>
              <a:rPr lang="en-US" sz="600" dirty="0" smtClean="0">
                <a:solidFill>
                  <a:srgbClr val="FFFFFF"/>
                </a:solidFill>
                <a:cs typeface="CiscoSans Thin"/>
              </a:rPr>
              <a:t>Cisco Confidential</a:t>
            </a:r>
            <a:endParaRPr lang="en-US" sz="6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60894" y="4742975"/>
            <a:ext cx="220475" cy="1544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23" tIns="30761" rIns="61523" bIns="30761" anchor="b">
            <a:spAutoFit/>
          </a:bodyPr>
          <a:lstStyle/>
          <a:p>
            <a:pPr algn="r" defTabSz="610209"/>
            <a:fld id="{DFCF27A5-1A5B-48D3-A060-2758FFBB1ADD}" type="slidenum">
              <a:rPr lang="en-US" sz="600">
                <a:solidFill>
                  <a:srgbClr val="FFFFFF"/>
                </a:solidFill>
                <a:cs typeface="CiscoSans Thin"/>
              </a:rPr>
              <a:pPr algn="r" defTabSz="610209"/>
              <a:t>‹#›</a:t>
            </a:fld>
            <a:endParaRPr lang="en-US" sz="6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068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23" tIns="30761" rIns="61523" bIns="30761" anchor="b" anchorCtr="0">
            <a:spAutoFit/>
          </a:bodyPr>
          <a:lstStyle/>
          <a:p>
            <a:pPr defTabSz="610209"/>
            <a:r>
              <a:rPr lang="en-US" sz="600" dirty="0" smtClean="0">
                <a:solidFill>
                  <a:srgbClr val="FFFFFF"/>
                </a:solidFill>
                <a:cs typeface="CiscoSans Thin"/>
              </a:rPr>
              <a:t>©2014 Cisco and/or its affiliates. All rights reserved.</a:t>
            </a:r>
            <a:endParaRPr lang="en-US" sz="600" dirty="0">
              <a:solidFill>
                <a:srgbClr val="FFFFFF"/>
              </a:solidFill>
              <a:cs typeface="CiscoSans Thin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23" tIns="30761" rIns="61523" bIns="30761" anchor="b">
            <a:spAutoFit/>
          </a:bodyPr>
          <a:lstStyle/>
          <a:p>
            <a:pPr algn="r" defTabSz="610209"/>
            <a:r>
              <a:rPr lang="en-US" sz="600" dirty="0" smtClean="0">
                <a:solidFill>
                  <a:srgbClr val="FFFFFF"/>
                </a:solidFill>
                <a:cs typeface="CiscoSans Thin"/>
              </a:rPr>
              <a:t>Cisco Confidential</a:t>
            </a:r>
            <a:endParaRPr lang="en-US" sz="6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8660894" y="4742975"/>
            <a:ext cx="220475" cy="1544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23" tIns="30761" rIns="61523" bIns="30761" anchor="b">
            <a:spAutoFit/>
          </a:bodyPr>
          <a:lstStyle/>
          <a:p>
            <a:pPr algn="r" defTabSz="610209"/>
            <a:fld id="{DFCF27A5-1A5B-48D3-A060-2758FFBB1ADD}" type="slidenum">
              <a:rPr lang="en-US" sz="600">
                <a:solidFill>
                  <a:srgbClr val="FFFFFF"/>
                </a:solidFill>
                <a:cs typeface="CiscoSans Thin"/>
              </a:rPr>
              <a:pPr algn="r" defTabSz="610209"/>
              <a:t>‹#›</a:t>
            </a:fld>
            <a:endParaRPr lang="en-US" sz="6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92068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23" tIns="30761" rIns="61523" bIns="30761" anchor="b" anchorCtr="0">
            <a:spAutoFit/>
          </a:bodyPr>
          <a:lstStyle/>
          <a:p>
            <a:pPr defTabSz="610209"/>
            <a:r>
              <a:rPr lang="en-US" sz="600" dirty="0" smtClean="0">
                <a:solidFill>
                  <a:srgbClr val="FFFFFF"/>
                </a:solidFill>
                <a:cs typeface="CiscoSans Thin"/>
              </a:rPr>
              <a:t>©2014 Cisco and/or its affiliates. All rights reserved.</a:t>
            </a:r>
            <a:endParaRPr lang="en-US" sz="600" dirty="0">
              <a:solidFill>
                <a:srgbClr val="FFFFFF"/>
              </a:solidFill>
              <a:cs typeface="CiscoSans Thin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8150" y="899574"/>
            <a:ext cx="8345091" cy="458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 err="1" smtClean="0"/>
              <a:t>Subheader</a:t>
            </a:r>
            <a:endParaRPr lang="en-US" dirty="0"/>
          </a:p>
        </p:txBody>
      </p:sp>
    </p:spTree>
    <p:extLst/>
  </p:cSld>
  <p:clrMapOvr>
    <a:masterClrMapping/>
  </p:clrMapOvr>
  <p:transition spd="med">
    <p:fade/>
  </p:transition>
  <p:extLst mod="1">
    <p:ext uri="{DCECCB84-F9BA-43D5-87BE-67443E8EF086}">
      <p15:sldGuideLst xmlns:p15="http://schemas.microsoft.com/office/powerpoint/2012/main">
        <p15:guide id="1" orient="horz" pos="876">
          <p15:clr>
            <a:srgbClr val="FBAE40"/>
          </p15:clr>
        </p15:guide>
        <p15:guide id="2" pos="2880">
          <p15:clr>
            <a:srgbClr val="FBAE40"/>
          </p15:clr>
        </p15:guide>
        <p15:guide id="3" pos="5544">
          <p15:clr>
            <a:srgbClr val="FBAE40"/>
          </p15:clr>
        </p15:guide>
        <p15:guide id="4" pos="264">
          <p15:clr>
            <a:srgbClr val="FBAE40"/>
          </p15:clr>
        </p15:guide>
        <p15:guide id="5" orient="horz" pos="2892">
          <p15:clr>
            <a:srgbClr val="FBAE40"/>
          </p15:clr>
        </p15:guide>
        <p15:guide id="6" orient="horz" pos="684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8150" y="899574"/>
            <a:ext cx="8345091" cy="458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 err="1" smtClean="0"/>
              <a:t>Subheader</a:t>
            </a:r>
            <a:endParaRPr lang="en-US" dirty="0"/>
          </a:p>
        </p:txBody>
      </p:sp>
    </p:spTree>
    <p:extLst/>
  </p:cSld>
  <p:clrMapOvr>
    <a:masterClrMapping/>
  </p:clrMapOvr>
  <p:transition spd="med">
    <p:fade/>
  </p:transition>
  <p:extLst mod="1">
    <p:ext uri="{DCECCB84-F9BA-43D5-87BE-67443E8EF086}">
      <p15:sldGuideLst xmlns:p15="http://schemas.microsoft.com/office/powerpoint/2012/main">
        <p15:guide id="1" orient="horz" pos="876">
          <p15:clr>
            <a:srgbClr val="FBAE40"/>
          </p15:clr>
        </p15:guide>
        <p15:guide id="2" pos="2880">
          <p15:clr>
            <a:srgbClr val="FBAE40"/>
          </p15:clr>
        </p15:guide>
        <p15:guide id="3" pos="5544">
          <p15:clr>
            <a:srgbClr val="FBAE40"/>
          </p15:clr>
        </p15:guide>
        <p15:guide id="4" pos="264">
          <p15:clr>
            <a:srgbClr val="FBAE40"/>
          </p15:clr>
        </p15:guide>
        <p15:guide id="5" orient="horz" pos="2892">
          <p15:clr>
            <a:srgbClr val="FBAE40"/>
          </p15:clr>
        </p15:guide>
        <p15:guide id="6" orient="horz" pos="684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/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sz="quarter" idx="18" hasCustomPrompt="1"/>
          </p:nvPr>
        </p:nvSpPr>
        <p:spPr>
          <a:xfrm>
            <a:off x="223758" y="292028"/>
            <a:ext cx="8703595" cy="41426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70000"/>
              </a:lnSpc>
              <a:buNone/>
              <a:defRPr sz="3000">
                <a:solidFill>
                  <a:srgbClr val="003366"/>
                </a:solidFill>
              </a:defRPr>
            </a:lvl1pPr>
            <a:lvl2pPr marL="0" indent="0">
              <a:lnSpc>
                <a:spcPct val="70000"/>
              </a:lnSpc>
              <a:buNone/>
              <a:defRPr sz="3000">
                <a:solidFill>
                  <a:srgbClr val="E67701"/>
                </a:solidFill>
              </a:defRPr>
            </a:lvl2pPr>
          </a:lstStyle>
          <a:p>
            <a:pPr lvl="0"/>
            <a:r>
              <a:rPr lang="en-US" dirty="0" smtClean="0"/>
              <a:t>Header</a:t>
            </a:r>
          </a:p>
          <a:p>
            <a:pPr lvl="1"/>
            <a:endParaRPr lang="en-US" dirty="0" smtClean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9" hasCustomPrompt="1"/>
          </p:nvPr>
        </p:nvSpPr>
        <p:spPr>
          <a:xfrm>
            <a:off x="223757" y="715128"/>
            <a:ext cx="8703595" cy="3732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aseline="0">
                <a:solidFill>
                  <a:srgbClr val="E67701"/>
                </a:solidFill>
              </a:defRPr>
            </a:lvl1pPr>
          </a:lstStyle>
          <a:p>
            <a:pPr lvl="0"/>
            <a:r>
              <a:rPr lang="en-US" dirty="0" smtClean="0"/>
              <a:t>Sub Head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228599" y="1262064"/>
            <a:ext cx="8698753" cy="3481760"/>
          </a:xfrm>
          <a:prstGeom prst="rect">
            <a:avLst/>
          </a:prstGeom>
        </p:spPr>
        <p:txBody>
          <a:bodyPr vert="horz"/>
          <a:lstStyle>
            <a:lvl1pPr>
              <a:buClr>
                <a:schemeClr val="accent1">
                  <a:lumMod val="60000"/>
                  <a:lumOff val="40000"/>
                </a:schemeClr>
              </a:buClr>
              <a:defRPr sz="1600">
                <a:solidFill>
                  <a:srgbClr val="1F497D"/>
                </a:solidFill>
              </a:defRPr>
            </a:lvl1pPr>
            <a:lvl2pPr marL="742950" indent="-285750">
              <a:buClr>
                <a:schemeClr val="accent1">
                  <a:lumMod val="60000"/>
                  <a:lumOff val="40000"/>
                </a:schemeClr>
              </a:buClr>
              <a:buFont typeface="Arial"/>
              <a:buChar char="•"/>
              <a:defRPr sz="1400">
                <a:solidFill>
                  <a:srgbClr val="1F497D"/>
                </a:solidFill>
              </a:defRPr>
            </a:lvl2pPr>
            <a:lvl3pPr marL="1143000" indent="-228600">
              <a:buClr>
                <a:schemeClr val="accent1">
                  <a:lumMod val="60000"/>
                  <a:lumOff val="40000"/>
                </a:schemeClr>
              </a:buClr>
              <a:buFont typeface="Arial"/>
              <a:buChar char="•"/>
              <a:defRPr sz="1400">
                <a:solidFill>
                  <a:srgbClr val="1F497D"/>
                </a:solidFill>
              </a:defRPr>
            </a:lvl3pPr>
            <a:lvl4pPr marL="1600200" indent="-228600">
              <a:buClr>
                <a:schemeClr val="accent1">
                  <a:lumMod val="60000"/>
                  <a:lumOff val="40000"/>
                </a:schemeClr>
              </a:buClr>
              <a:buFont typeface="Arial"/>
              <a:buChar char="•"/>
              <a:defRPr sz="1400">
                <a:solidFill>
                  <a:srgbClr val="1F497D"/>
                </a:solidFill>
              </a:defRPr>
            </a:lvl4pPr>
            <a:lvl5pPr marL="2057400" indent="-228600">
              <a:buClr>
                <a:schemeClr val="accent1">
                  <a:lumMod val="60000"/>
                  <a:lumOff val="40000"/>
                </a:schemeClr>
              </a:buClr>
              <a:buFont typeface="Arial"/>
              <a:buChar char="•"/>
              <a:defRPr sz="1400">
                <a:solidFill>
                  <a:srgbClr val="1F497D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Date Placeholder 3"/>
          <p:cNvSpPr txBox="1">
            <a:spLocks/>
          </p:cNvSpPr>
          <p:nvPr userDrawn="1"/>
        </p:nvSpPr>
        <p:spPr>
          <a:xfrm>
            <a:off x="-42021" y="4806413"/>
            <a:ext cx="3925877" cy="2709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600" dirty="0">
              <a:solidFill>
                <a:srgbClr val="676767">
                  <a:tint val="75000"/>
                </a:srgbClr>
              </a:solidFill>
            </a:endParaRPr>
          </a:p>
        </p:txBody>
      </p:sp>
    </p:spTree>
    <p:extLst/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5704" y="4960085"/>
            <a:ext cx="1714500" cy="171450"/>
          </a:xfrm>
          <a:prstGeom prst="rect">
            <a:avLst/>
          </a:prstGeom>
        </p:spPr>
        <p:txBody>
          <a:bodyPr vert="horz" lIns="68562" tIns="34286" rIns="68562" bIns="34286" rtlCol="0" anchor="ctr"/>
          <a:lstStyle>
            <a:lvl1pPr marL="0" marR="0" indent="0" algn="r" defTabSz="6856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0">
                <a:solidFill>
                  <a:schemeClr val="tx1">
                    <a:tint val="75000"/>
                  </a:schemeClr>
                </a:solidFill>
                <a:latin typeface="CiscoSans ExtraLight" panose="020B0303020201020303" pitchFamily="34" charset="0"/>
              </a:defRPr>
            </a:lvl1pPr>
          </a:lstStyle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Cisco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lid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28480"/>
            <a:ext cx="8229600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28505_Blue_Nightscape_sm_format_03052015_Flat_Final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4" y="0"/>
            <a:ext cx="9140776" cy="5143500"/>
          </a:xfrm>
          <a:prstGeom prst="rect">
            <a:avLst/>
          </a:prstGeom>
        </p:spPr>
      </p:pic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3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3003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456341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gue Photo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7231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4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622279" y="4809330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25000"/>
                  </a:srgbClr>
                </a:solidFill>
                <a:latin typeface="Arial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974080" y="4809330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>
                <a:solidFill>
                  <a:srgbClr val="FFFFFF">
                    <a:alpha val="25000"/>
                  </a:srgbClr>
                </a:solidFill>
                <a:latin typeface="Arial"/>
                <a:ea typeface=""/>
                <a:cs typeface="CiscoSans Thin"/>
              </a:rPr>
              <a:t>© 2015  Cisco and/or its affiliates. All rights reserved.   Cisco Confidential</a:t>
            </a:r>
            <a:endParaRPr lang="en-US" sz="600" dirty="0">
              <a:solidFill>
                <a:srgbClr val="FFFFFF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pic>
        <p:nvPicPr>
          <p:cNvPr id="14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3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425" y="4631703"/>
            <a:ext cx="540238" cy="332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22279" y="4809330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25000"/>
                  </a:srgbClr>
                </a:solidFill>
                <a:latin typeface="Arial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sp>
        <p:nvSpPr>
          <p:cNvPr id="16" name="Rectangle 4"/>
          <p:cNvSpPr>
            <a:spLocks noChangeArrowheads="1"/>
          </p:cNvSpPr>
          <p:nvPr userDrawn="1"/>
        </p:nvSpPr>
        <p:spPr bwMode="ltGray">
          <a:xfrm>
            <a:off x="5974080" y="4809330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>
                <a:solidFill>
                  <a:srgbClr val="FFFFFF">
                    <a:alpha val="25000"/>
                  </a:srgbClr>
                </a:solidFill>
                <a:latin typeface="Arial"/>
                <a:ea typeface=""/>
                <a:cs typeface="CiscoSans Thin"/>
              </a:rPr>
              <a:t>© 2015  Cisco and/or its affiliates. All rights reserved.   Cisco Confidential</a:t>
            </a:r>
            <a:endParaRPr lang="en-US" sz="600" dirty="0">
              <a:solidFill>
                <a:srgbClr val="FFFFFF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pic>
        <p:nvPicPr>
          <p:cNvPr id="17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3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425" y="4631703"/>
            <a:ext cx="540238" cy="332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gue Gradient">
    <p:bg>
      <p:bgPr>
        <a:gradFill rotWithShape="0">
          <a:gsLst>
            <a:gs pos="0">
              <a:srgbClr val="1064A8"/>
            </a:gs>
            <a:gs pos="69000">
              <a:srgbClr val="011B42"/>
            </a:gs>
            <a:gs pos="100000">
              <a:srgbClr val="0A1528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4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622279" y="4809330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25000"/>
                  </a:srgbClr>
                </a:solidFill>
                <a:latin typeface="Arial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974080" y="4809330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>
                <a:solidFill>
                  <a:srgbClr val="FFFFFF">
                    <a:alpha val="25000"/>
                  </a:srgbClr>
                </a:solidFill>
                <a:latin typeface="Arial"/>
                <a:ea typeface=""/>
                <a:cs typeface="CiscoSans Thin"/>
              </a:rPr>
              <a:t>© 2015  Cisco and/or its affiliates. All rights reserved.   Cisco Confidential</a:t>
            </a:r>
            <a:endParaRPr lang="en-US" sz="600" dirty="0">
              <a:solidFill>
                <a:srgbClr val="FFFFFF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pic>
        <p:nvPicPr>
          <p:cNvPr id="14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425" y="4631703"/>
            <a:ext cx="540238" cy="332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22279" y="4809330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25000"/>
                  </a:srgbClr>
                </a:solidFill>
                <a:latin typeface="Arial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sp>
        <p:nvSpPr>
          <p:cNvPr id="16" name="Rectangle 4"/>
          <p:cNvSpPr>
            <a:spLocks noChangeArrowheads="1"/>
          </p:cNvSpPr>
          <p:nvPr userDrawn="1"/>
        </p:nvSpPr>
        <p:spPr bwMode="ltGray">
          <a:xfrm>
            <a:off x="5974080" y="4809330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>
                <a:solidFill>
                  <a:srgbClr val="FFFFFF">
                    <a:alpha val="25000"/>
                  </a:srgbClr>
                </a:solidFill>
                <a:latin typeface="Arial"/>
                <a:ea typeface=""/>
                <a:cs typeface="CiscoSans Thin"/>
              </a:rPr>
              <a:t>© 2015  Cisco and/or its affiliates. All rights reserved.   Cisco Confidential</a:t>
            </a:r>
            <a:endParaRPr lang="en-US" sz="600" dirty="0">
              <a:solidFill>
                <a:srgbClr val="FFFFFF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pic>
        <p:nvPicPr>
          <p:cNvPr id="17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425" y="4631703"/>
            <a:ext cx="540238" cy="332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"/>
              <a:cs typeface="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pPr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76767"/>
              </a:solidFill>
              <a:latin typeface="Arial"/>
              <a:ea typeface=""/>
              <a:cs typeface="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400" b="0" i="0" spc="0" baseline="0">
                <a:solidFill>
                  <a:srgbClr val="011B42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4604" y="1347788"/>
            <a:ext cx="8328650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5208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 and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5208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41123" y="811385"/>
            <a:ext cx="8345926" cy="35393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ea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4604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8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5208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41123" y="811385"/>
            <a:ext cx="8345926" cy="35393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ea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5208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rgbClr val="011B42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" y="0"/>
            <a:ext cx="9142602" cy="5162550"/>
          </a:xfrm>
          <a:prstGeom prst="rect">
            <a:avLst/>
          </a:prstGeom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701" t="10493" r="59081" b="-1"/>
          <a:stretch/>
        </p:blipFill>
        <p:spPr bwMode="auto">
          <a:xfrm>
            <a:off x="3511296" y="1837944"/>
            <a:ext cx="2121409" cy="1662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994581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20"/>
            <a:ext cx="9144000" cy="5143500"/>
          </a:xfrm>
          <a:prstGeom prst="rect">
            <a:avLst/>
          </a:prstGeom>
        </p:spPr>
      </p:pic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Arial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Arial"/>
                <a:ea typeface=""/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latin typeface="Arial"/>
                <a:ea typeface=""/>
                <a:cs typeface="CiscoSans Thin"/>
              </a:rPr>
              <a:t>2015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Arial"/>
                <a:ea typeface="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solidFill>
            <a:schemeClr val="bg2">
              <a:lumMod val="75000"/>
            </a:schemeClr>
          </a:solidFill>
          <a:extLst/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50000">
                <a:srgbClr val="E9E9E9">
                  <a:alpha val="35000"/>
                </a:srgbClr>
              </a:gs>
              <a:gs pos="15000">
                <a:schemeClr val="bg2">
                  <a:lumMod val="95000"/>
                  <a:alpha val="85000"/>
                </a:schemeClr>
              </a:gs>
              <a:gs pos="100000">
                <a:schemeClr val="tx1">
                  <a:lumMod val="20000"/>
                  <a:lumOff val="80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676767">
                    <a:alpha val="25000"/>
                  </a:srgbClr>
                </a:solidFill>
                <a:latin typeface="Arial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676767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676767">
                    <a:alpha val="25000"/>
                  </a:srgbClr>
                </a:solidFill>
                <a:latin typeface="Arial"/>
                <a:ea typeface=""/>
                <a:cs typeface="CiscoSans Thin"/>
              </a:rPr>
              <a:t>© </a:t>
            </a:r>
            <a:r>
              <a:rPr lang="en-US" sz="600" dirty="0" smtClean="0">
                <a:solidFill>
                  <a:srgbClr val="676767">
                    <a:alpha val="25000"/>
                  </a:srgbClr>
                </a:solidFill>
                <a:latin typeface="Arial"/>
                <a:ea typeface=""/>
                <a:cs typeface="CiscoSans Thin"/>
              </a:rPr>
              <a:t>2015  </a:t>
            </a:r>
            <a:r>
              <a:rPr lang="en-US" sz="600" dirty="0">
                <a:solidFill>
                  <a:srgbClr val="676767">
                    <a:alpha val="25000"/>
                  </a:srgbClr>
                </a:solidFill>
                <a:latin typeface="Arial"/>
                <a:ea typeface="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6" y="915409"/>
            <a:ext cx="7598043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2015 Cisco and/or its affiliates. All rights reserved. Cisco Confidential</a:t>
            </a:r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489098"/>
            <a:ext cx="8268468" cy="380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GB" dirty="0"/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869950"/>
            <a:ext cx="8268468" cy="4778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solidFill>
                  <a:schemeClr val="bg2"/>
                </a:solidFill>
                <a:ea typeface="Arial"/>
                <a:cs typeface="Arial"/>
              </a:defRPr>
            </a:lvl1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73152"/>
          </a:xfrm>
          <a:prstGeom prst="rect">
            <a:avLst/>
          </a:prstGeom>
          <a:gradFill>
            <a:gsLst>
              <a:gs pos="10000">
                <a:srgbClr val="04A0C3"/>
              </a:gs>
              <a:gs pos="90000">
                <a:srgbClr val="576DEB"/>
              </a:gs>
            </a:gsLst>
            <a:lin ang="33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996">
          <p15:clr>
            <a:srgbClr val="FBAE40"/>
          </p15:clr>
        </p15:guide>
        <p15:guide id="2" pos="336">
          <p15:clr>
            <a:srgbClr val="FBAE40"/>
          </p15:clr>
        </p15:guide>
        <p15:guide id="3" pos="5424">
          <p15:clr>
            <a:srgbClr val="FBAE40"/>
          </p15:clr>
        </p15:guide>
        <p15:guide id="4" orient="horz" pos="2748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- Big Idea Global Sta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9144000" cy="51435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25000">
                <a:srgbClr val="006A91">
                  <a:alpha val="74902"/>
                </a:srgbClr>
              </a:gs>
              <a:gs pos="75000">
                <a:srgbClr val="2F4DB0">
                  <a:alpha val="74902"/>
                </a:srgbClr>
              </a:gs>
            </a:gsLst>
            <a:lin ang="33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9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489098"/>
            <a:ext cx="8268468" cy="380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GB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869950"/>
            <a:ext cx="8268468" cy="4778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solidFill>
                  <a:schemeClr val="bg1"/>
                </a:solidFill>
                <a:ea typeface="Arial"/>
                <a:cs typeface="Arial"/>
              </a:defRPr>
            </a:lvl1pPr>
          </a:lstStyle>
          <a:p>
            <a:pPr lvl="0"/>
            <a:r>
              <a:rPr lang="en-US" dirty="0" smtClean="0"/>
              <a:t>Click to edit subtitle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ltGray">
          <a:xfrm>
            <a:off x="8455511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ea typeface=""/>
              <a:cs typeface="CiscoSans Thin"/>
            </a:endParaRPr>
          </a:p>
        </p:txBody>
      </p:sp>
      <p:sp>
        <p:nvSpPr>
          <p:cNvPr id="16" name="Rectangle 4"/>
          <p:cNvSpPr>
            <a:spLocks noChangeArrowheads="1"/>
          </p:cNvSpPr>
          <p:nvPr userDrawn="1"/>
        </p:nvSpPr>
        <p:spPr bwMode="ltGray">
          <a:xfrm>
            <a:off x="5807312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ea typeface=""/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"/>
                <a:cs typeface="CiscoSans Thin"/>
              </a:rPr>
              <a:t>2017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ea typeface="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530927" y="4671590"/>
            <a:ext cx="1682497" cy="182195"/>
          </a:xfrm>
          <a:prstGeom prst="rect">
            <a:avLst/>
          </a:prstGeom>
        </p:spPr>
      </p:pic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-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48">
          <p15:clr>
            <a:srgbClr val="FBAE40"/>
          </p15:clr>
        </p15:guide>
        <p15:guide id="2" orient="horz" pos="396">
          <p15:clr>
            <a:srgbClr val="FBAE40"/>
          </p15:clr>
        </p15:guide>
        <p15:guide id="3" pos="336">
          <p15:clr>
            <a:srgbClr val="FBAE40"/>
          </p15:clr>
        </p15:guide>
        <p15:guide id="4" pos="542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005199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 userDrawn="1">
          <p15:clr>
            <a:srgbClr val="FBAE40"/>
          </p15:clr>
        </p15:guide>
        <p15:guide id="3" pos="259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556835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 userDrawn="1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705512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394826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2193" userDrawn="1">
          <p15:clr>
            <a:srgbClr val="FBAE40"/>
          </p15:clr>
        </p15:guide>
        <p15:guide id="4" pos="2675" userDrawn="1">
          <p15:clr>
            <a:srgbClr val="FBAE40"/>
          </p15:clr>
        </p15:guide>
        <p15:guide id="7" pos="320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2191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427646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844655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381808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018367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 userDrawn="1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913787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7595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28505_Blue_Nightscape_sm_format_03052015_Flat_Final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4" y="0"/>
            <a:ext cx="9140776" cy="5143500"/>
          </a:xfrm>
          <a:prstGeom prst="rect">
            <a:avLst/>
          </a:prstGeom>
        </p:spPr>
      </p:pic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3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3003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873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691C419F-101C-4043-9241-7BE219878B02}" type="datetimeFigureOut">
              <a:rPr lang="en-US" smtClean="0"/>
              <a:t>11/15/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9A07255-8FD7-4D16-A73B-DBE606EDCA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540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Text Placeholder 3"/>
          <p:cNvSpPr txBox="1">
            <a:spLocks/>
          </p:cNvSpPr>
          <p:nvPr userDrawn="1"/>
        </p:nvSpPr>
        <p:spPr>
          <a:xfrm>
            <a:off x="6533413" y="4348762"/>
            <a:ext cx="2193494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/>
              <a:t>Updated</a:t>
            </a:r>
            <a:r>
              <a:rPr lang="en-US" baseline="0" dirty="0"/>
              <a:t> </a:t>
            </a:r>
            <a:r>
              <a:rPr lang="en-US" dirty="0"/>
              <a:t>May 2017</a:t>
            </a:r>
          </a:p>
        </p:txBody>
      </p:sp>
    </p:spTree>
    <p:extLst>
      <p:ext uri="{BB962C8B-B14F-4D97-AF65-F5344CB8AC3E}">
        <p14:creationId xmlns:p14="http://schemas.microsoft.com/office/powerpoint/2010/main" val="16369927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1794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777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4394200"/>
            <a:ext cx="3683000" cy="7493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82495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="" xmlns:a16="http://schemas.microsoft.com/office/drawing/2014/main" id="{585E46EC-59BC-4747-BFDB-A0B9C39E796F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2"/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93695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27338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12936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48268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799746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31806" y="240631"/>
            <a:ext cx="8480388" cy="4266646"/>
          </a:xfrm>
          <a:prstGeom prst="rect">
            <a:avLst/>
          </a:prstGeom>
          <a:solidFill>
            <a:schemeClr val="tx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895810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="" xmlns:a16="http://schemas.microsoft.com/office/drawing/2014/main" id="{C257769D-7D2E-491B-B4AF-CC778BC6642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7766" y="1249414"/>
            <a:ext cx="8345488" cy="338291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64600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D8B6210A-E250-4449-9141-9EC93AE7161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7765" y="1249413"/>
            <a:ext cx="3898015" cy="338291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3D91E85C-2BFB-44EC-A553-759B7DAF05E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85239" y="1249413"/>
            <a:ext cx="3898015" cy="338291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007565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53653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98972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62685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73964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82922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2055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17BD1689-A0BF-470B-B09E-24678A559E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7765" y="1396780"/>
            <a:ext cx="3804035" cy="3235541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​"/>
              <a:defRPr lang="en-US" sz="24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315913" indent="-285750">
              <a:defRPr lang="en-US" sz="18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2pPr>
            <a:lvl3pPr marL="476250" indent="-285750">
              <a:defRPr lang="en-US" sz="14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3pPr>
            <a:lvl4pPr marL="514350" indent="-171450">
              <a:defRPr lang="en-US" sz="12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4pPr>
            <a:lvl5pPr marL="649288" indent="-171450">
              <a:defRPr lang="en-US" sz="1200" kern="1200" dirty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5pPr>
          </a:lstStyle>
          <a:p>
            <a:pPr marL="0" lvl="0" indent="47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Char char="​"/>
              <a:tabLst/>
            </a:pPr>
            <a:r>
              <a:rPr lang="en-US" dirty="0"/>
              <a:t>Edit Master text styles</a:t>
            </a:r>
          </a:p>
          <a:p>
            <a:pPr marL="169863" lvl="1" indent="-1397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Tx/>
              <a:buSzPct val="80000"/>
              <a:buFont typeface="Arial" charset="0"/>
              <a:buChar char="•"/>
              <a:tabLst/>
            </a:pPr>
            <a:r>
              <a:rPr lang="en-US" dirty="0"/>
              <a:t>Second level</a:t>
            </a:r>
          </a:p>
          <a:p>
            <a:pPr marL="330200" lvl="2" indent="-139700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SzPct val="95000"/>
              <a:buFont typeface="Arial" charset="0"/>
              <a:buChar char="•"/>
            </a:pPr>
            <a:r>
              <a:rPr lang="en-US" dirty="0"/>
              <a:t>Third level</a:t>
            </a:r>
          </a:p>
          <a:p>
            <a:pPr marL="482600" lvl="3" indent="-139700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SzPct val="100000"/>
              <a:buFont typeface="Arial" charset="0"/>
              <a:buChar char="•"/>
            </a:pPr>
            <a:r>
              <a:rPr lang="en-US" dirty="0"/>
              <a:t>Fourth level</a:t>
            </a:r>
          </a:p>
          <a:p>
            <a:pPr marL="617538" lvl="4" indent="-139700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SzPct val="100000"/>
              <a:buFont typeface="Arial" charset="0"/>
              <a:buChar char="•"/>
            </a:pPr>
            <a:r>
              <a:rPr lang="en-US" dirty="0"/>
              <a:t>Fifth level</a:t>
            </a:r>
          </a:p>
        </p:txBody>
      </p:sp>
      <p:sp>
        <p:nvSpPr>
          <p:cNvPr id="77" name="Rectangle 4">
            <a:extLst>
              <a:ext uri="{FF2B5EF4-FFF2-40B4-BE49-F238E27FC236}">
                <a16:creationId xmlns="" xmlns:a16="http://schemas.microsoft.com/office/drawing/2014/main" id="{712C79FA-9AFD-4975-8F1E-968C590153D5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2"/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178816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4">
            <a:extLst>
              <a:ext uri="{FF2B5EF4-FFF2-40B4-BE49-F238E27FC236}">
                <a16:creationId xmlns="" xmlns:a16="http://schemas.microsoft.com/office/drawing/2014/main" id="{1254D570-051E-4FC0-B7DD-B7DDF271E3E9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2"/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37442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050E330-20C9-4D62-B60A-565EB8EC00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7765" y="1701800"/>
            <a:ext cx="3804035" cy="2930522"/>
          </a:xfrm>
        </p:spPr>
        <p:txBody>
          <a:bodyPr/>
          <a:lstStyle>
            <a:lvl1pPr marL="0" indent="4763"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169863" indent="-139700">
              <a:tabLst/>
              <a:defRPr>
                <a:solidFill>
                  <a:schemeClr val="bg1"/>
                </a:solidFill>
              </a:defRPr>
            </a:lvl2pPr>
            <a:lvl3pPr marL="330200" indent="-139700">
              <a:defRPr>
                <a:solidFill>
                  <a:schemeClr val="bg1"/>
                </a:solidFill>
              </a:defRPr>
            </a:lvl3pPr>
            <a:lvl4pPr marL="482600" indent="-139700">
              <a:defRPr>
                <a:solidFill>
                  <a:schemeClr val="bg1"/>
                </a:solidFill>
              </a:defRPr>
            </a:lvl4pPr>
            <a:lvl5pPr marL="617538" indent="-13970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7" name="Rectangle 4">
            <a:extLst>
              <a:ext uri="{FF2B5EF4-FFF2-40B4-BE49-F238E27FC236}">
                <a16:creationId xmlns="" xmlns:a16="http://schemas.microsoft.com/office/drawing/2014/main" id="{4E688566-46DC-451B-BA5F-2493C8CEA199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2"/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693527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496535"/>
            <a:ext cx="3533641" cy="339048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41156"/>
            <a:ext cx="3533641" cy="5911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8" name="Rectangle 4">
            <a:extLst>
              <a:ext uri="{FF2B5EF4-FFF2-40B4-BE49-F238E27FC236}">
                <a16:creationId xmlns="" xmlns:a16="http://schemas.microsoft.com/office/drawing/2014/main" id="{0CDF4682-F8E9-4721-A68E-10C8A8630836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2"/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601327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496534"/>
            <a:ext cx="3533641" cy="414373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1" name="Rectangle 4">
            <a:extLst>
              <a:ext uri="{FF2B5EF4-FFF2-40B4-BE49-F238E27FC236}">
                <a16:creationId xmlns="" xmlns:a16="http://schemas.microsoft.com/office/drawing/2014/main" id="{805C817F-31B6-43E3-AC1D-63B17D750E36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2"/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225322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="" xmlns:a16="http://schemas.microsoft.com/office/drawing/2014/main" id="{FB0E96DD-72E9-4469-8144-2139F8F296A7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2"/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9839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94845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6" name="Rectangle 4">
            <a:extLst>
              <a:ext uri="{FF2B5EF4-FFF2-40B4-BE49-F238E27FC236}">
                <a16:creationId xmlns="" xmlns:a16="http://schemas.microsoft.com/office/drawing/2014/main" id="{4F64717C-4FBC-423E-A71C-020880BC6232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2"/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230552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496534"/>
            <a:ext cx="3533641" cy="414373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Rectangle 4">
            <a:extLst>
              <a:ext uri="{FF2B5EF4-FFF2-40B4-BE49-F238E27FC236}">
                <a16:creationId xmlns="" xmlns:a16="http://schemas.microsoft.com/office/drawing/2014/main" id="{C440BD05-A073-4455-AE14-0C8FC098360B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2"/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678968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496534"/>
            <a:ext cx="3533641" cy="414373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6" name="Rectangle 4">
            <a:extLst>
              <a:ext uri="{FF2B5EF4-FFF2-40B4-BE49-F238E27FC236}">
                <a16:creationId xmlns="" xmlns:a16="http://schemas.microsoft.com/office/drawing/2014/main" id="{26088D59-34A1-4A5F-899A-590E2F59BE00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2"/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031603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753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96374BA8-0B39-433D-A1A0-83155677D273}"/>
              </a:ext>
            </a:extLst>
          </p:cNvPr>
          <p:cNvGrpSpPr/>
          <p:nvPr userDrawn="1"/>
        </p:nvGrpSpPr>
        <p:grpSpPr>
          <a:xfrm>
            <a:off x="-8467" y="0"/>
            <a:ext cx="9160559" cy="5143500"/>
            <a:chOff x="-8467" y="0"/>
            <a:chExt cx="9160559" cy="5143500"/>
          </a:xfrm>
        </p:grpSpPr>
        <p:grpSp>
          <p:nvGrpSpPr>
            <p:cNvPr id="87" name="Group 86">
              <a:extLst>
                <a:ext uri="{FF2B5EF4-FFF2-40B4-BE49-F238E27FC236}">
                  <a16:creationId xmlns="" xmlns:a16="http://schemas.microsoft.com/office/drawing/2014/main" id="{C583A81C-B861-4EE4-9802-FD147548D604}"/>
                </a:ext>
              </a:extLst>
            </p:cNvPr>
            <p:cNvGrpSpPr/>
            <p:nvPr userDrawn="1"/>
          </p:nvGrpSpPr>
          <p:grpSpPr>
            <a:xfrm>
              <a:off x="536919" y="503238"/>
              <a:ext cx="8086247" cy="4129087"/>
              <a:chOff x="536919" y="503238"/>
              <a:chExt cx="8086247" cy="4129087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="" xmlns:a16="http://schemas.microsoft.com/office/drawing/2014/main" id="{266EB2D9-3A02-4EFB-83B2-F4568AB16BFE}"/>
                  </a:ext>
                </a:extLst>
              </p:cNvPr>
              <p:cNvSpPr/>
              <p:nvPr userDrawn="1"/>
            </p:nvSpPr>
            <p:spPr>
              <a:xfrm>
                <a:off x="536919" y="503238"/>
                <a:ext cx="528451" cy="4129087"/>
              </a:xfrm>
              <a:prstGeom prst="rect">
                <a:avLst/>
              </a:prstGeom>
              <a:solidFill>
                <a:schemeClr val="accent4">
                  <a:alpha val="1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="" xmlns:a16="http://schemas.microsoft.com/office/drawing/2014/main" id="{B363F875-F1C5-4F65-A5F8-9F150B1998BD}"/>
                  </a:ext>
                </a:extLst>
              </p:cNvPr>
              <p:cNvSpPr/>
              <p:nvPr userDrawn="1"/>
            </p:nvSpPr>
            <p:spPr>
              <a:xfrm>
                <a:off x="1223992" y="503238"/>
                <a:ext cx="528451" cy="4129087"/>
              </a:xfrm>
              <a:prstGeom prst="rect">
                <a:avLst/>
              </a:prstGeom>
              <a:solidFill>
                <a:schemeClr val="accent4">
                  <a:alpha val="1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="" xmlns:a16="http://schemas.microsoft.com/office/drawing/2014/main" id="{231B9130-7836-4590-993C-81B9C26454D8}"/>
                  </a:ext>
                </a:extLst>
              </p:cNvPr>
              <p:cNvSpPr/>
              <p:nvPr userDrawn="1"/>
            </p:nvSpPr>
            <p:spPr>
              <a:xfrm>
                <a:off x="1911065" y="503238"/>
                <a:ext cx="528451" cy="4129087"/>
              </a:xfrm>
              <a:prstGeom prst="rect">
                <a:avLst/>
              </a:prstGeom>
              <a:solidFill>
                <a:schemeClr val="accent4">
                  <a:alpha val="1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="" xmlns:a16="http://schemas.microsoft.com/office/drawing/2014/main" id="{2F166A94-F22C-4467-B1A3-0E37C2BBF0A2}"/>
                  </a:ext>
                </a:extLst>
              </p:cNvPr>
              <p:cNvSpPr/>
              <p:nvPr userDrawn="1"/>
            </p:nvSpPr>
            <p:spPr>
              <a:xfrm>
                <a:off x="2598138" y="503238"/>
                <a:ext cx="528451" cy="4129087"/>
              </a:xfrm>
              <a:prstGeom prst="rect">
                <a:avLst/>
              </a:prstGeom>
              <a:solidFill>
                <a:schemeClr val="accent4">
                  <a:alpha val="1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="" xmlns:a16="http://schemas.microsoft.com/office/drawing/2014/main" id="{63AC129F-058B-4584-8E27-E39C940FE5C5}"/>
                  </a:ext>
                </a:extLst>
              </p:cNvPr>
              <p:cNvSpPr/>
              <p:nvPr userDrawn="1"/>
            </p:nvSpPr>
            <p:spPr>
              <a:xfrm>
                <a:off x="3285211" y="503238"/>
                <a:ext cx="528451" cy="4129087"/>
              </a:xfrm>
              <a:prstGeom prst="rect">
                <a:avLst/>
              </a:prstGeom>
              <a:solidFill>
                <a:schemeClr val="accent4">
                  <a:alpha val="1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3" name="Rectangle 92">
                <a:extLst>
                  <a:ext uri="{FF2B5EF4-FFF2-40B4-BE49-F238E27FC236}">
                    <a16:creationId xmlns="" xmlns:a16="http://schemas.microsoft.com/office/drawing/2014/main" id="{7C78E7A6-0EAD-41EB-AC93-F3EE89BF9448}"/>
                  </a:ext>
                </a:extLst>
              </p:cNvPr>
              <p:cNvSpPr/>
              <p:nvPr userDrawn="1"/>
            </p:nvSpPr>
            <p:spPr>
              <a:xfrm>
                <a:off x="3972284" y="503238"/>
                <a:ext cx="528451" cy="4129087"/>
              </a:xfrm>
              <a:prstGeom prst="rect">
                <a:avLst/>
              </a:prstGeom>
              <a:solidFill>
                <a:schemeClr val="accent4">
                  <a:alpha val="1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4" name="Rectangle 93">
                <a:extLst>
                  <a:ext uri="{FF2B5EF4-FFF2-40B4-BE49-F238E27FC236}">
                    <a16:creationId xmlns="" xmlns:a16="http://schemas.microsoft.com/office/drawing/2014/main" id="{1C328A83-20D0-4F1D-8F68-CF90DC366D4F}"/>
                  </a:ext>
                </a:extLst>
              </p:cNvPr>
              <p:cNvSpPr/>
              <p:nvPr userDrawn="1"/>
            </p:nvSpPr>
            <p:spPr>
              <a:xfrm>
                <a:off x="4659357" y="503238"/>
                <a:ext cx="528451" cy="4129087"/>
              </a:xfrm>
              <a:prstGeom prst="rect">
                <a:avLst/>
              </a:prstGeom>
              <a:solidFill>
                <a:schemeClr val="accent4">
                  <a:alpha val="1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="" xmlns:a16="http://schemas.microsoft.com/office/drawing/2014/main" id="{ABC71922-D962-48CE-BFE5-24F0C79C9D40}"/>
                  </a:ext>
                </a:extLst>
              </p:cNvPr>
              <p:cNvSpPr/>
              <p:nvPr userDrawn="1"/>
            </p:nvSpPr>
            <p:spPr>
              <a:xfrm>
                <a:off x="5346430" y="503238"/>
                <a:ext cx="528451" cy="4129087"/>
              </a:xfrm>
              <a:prstGeom prst="rect">
                <a:avLst/>
              </a:prstGeom>
              <a:solidFill>
                <a:schemeClr val="accent4">
                  <a:alpha val="1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6" name="Rectangle 95">
                <a:extLst>
                  <a:ext uri="{FF2B5EF4-FFF2-40B4-BE49-F238E27FC236}">
                    <a16:creationId xmlns="" xmlns:a16="http://schemas.microsoft.com/office/drawing/2014/main" id="{95D203F5-AA3E-468B-9594-C25EA5A37D39}"/>
                  </a:ext>
                </a:extLst>
              </p:cNvPr>
              <p:cNvSpPr/>
              <p:nvPr userDrawn="1"/>
            </p:nvSpPr>
            <p:spPr>
              <a:xfrm>
                <a:off x="6033503" y="503238"/>
                <a:ext cx="528451" cy="4129087"/>
              </a:xfrm>
              <a:prstGeom prst="rect">
                <a:avLst/>
              </a:prstGeom>
              <a:solidFill>
                <a:schemeClr val="accent4">
                  <a:alpha val="1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7" name="Rectangle 96">
                <a:extLst>
                  <a:ext uri="{FF2B5EF4-FFF2-40B4-BE49-F238E27FC236}">
                    <a16:creationId xmlns="" xmlns:a16="http://schemas.microsoft.com/office/drawing/2014/main" id="{F72D84D3-3621-43C8-ACF1-439BC7398EDC}"/>
                  </a:ext>
                </a:extLst>
              </p:cNvPr>
              <p:cNvSpPr/>
              <p:nvPr userDrawn="1"/>
            </p:nvSpPr>
            <p:spPr>
              <a:xfrm>
                <a:off x="6720576" y="503238"/>
                <a:ext cx="528451" cy="4129087"/>
              </a:xfrm>
              <a:prstGeom prst="rect">
                <a:avLst/>
              </a:prstGeom>
              <a:solidFill>
                <a:schemeClr val="accent4">
                  <a:alpha val="1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="" xmlns:a16="http://schemas.microsoft.com/office/drawing/2014/main" id="{E8CE9458-4891-4D44-814B-08A004F60EC6}"/>
                  </a:ext>
                </a:extLst>
              </p:cNvPr>
              <p:cNvSpPr/>
              <p:nvPr userDrawn="1"/>
            </p:nvSpPr>
            <p:spPr>
              <a:xfrm>
                <a:off x="7407649" y="503238"/>
                <a:ext cx="528451" cy="4129087"/>
              </a:xfrm>
              <a:prstGeom prst="rect">
                <a:avLst/>
              </a:prstGeom>
              <a:solidFill>
                <a:schemeClr val="accent4">
                  <a:alpha val="1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9" name="Rectangle 98">
                <a:extLst>
                  <a:ext uri="{FF2B5EF4-FFF2-40B4-BE49-F238E27FC236}">
                    <a16:creationId xmlns="" xmlns:a16="http://schemas.microsoft.com/office/drawing/2014/main" id="{CF1CBF54-F1E1-4B87-94AD-DC53BA346F0A}"/>
                  </a:ext>
                </a:extLst>
              </p:cNvPr>
              <p:cNvSpPr/>
              <p:nvPr userDrawn="1"/>
            </p:nvSpPr>
            <p:spPr>
              <a:xfrm>
                <a:off x="8094715" y="503238"/>
                <a:ext cx="528451" cy="4129087"/>
              </a:xfrm>
              <a:prstGeom prst="rect">
                <a:avLst/>
              </a:prstGeom>
              <a:solidFill>
                <a:schemeClr val="accent4">
                  <a:alpha val="1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cxnSp>
            <p:nvCxnSpPr>
              <p:cNvPr id="100" name="Straight Connector 99">
                <a:extLst>
                  <a:ext uri="{FF2B5EF4-FFF2-40B4-BE49-F238E27FC236}">
                    <a16:creationId xmlns="" xmlns:a16="http://schemas.microsoft.com/office/drawing/2014/main" id="{C25B6746-0D24-4099-A620-53224F7B3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580046" y="503238"/>
                <a:ext cx="0" cy="4129087"/>
              </a:xfrm>
              <a:prstGeom prst="line">
                <a:avLst/>
              </a:prstGeom>
              <a:ln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FF2B5EF4-FFF2-40B4-BE49-F238E27FC236}">
                    <a16:creationId xmlns="" xmlns:a16="http://schemas.microsoft.com/office/drawing/2014/main" id="{D028D0D3-85A8-4D46-9461-775E9F1C3CF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267119" y="503238"/>
                <a:ext cx="0" cy="4129087"/>
              </a:xfrm>
              <a:prstGeom prst="line">
                <a:avLst/>
              </a:prstGeom>
              <a:ln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FF2B5EF4-FFF2-40B4-BE49-F238E27FC236}">
                    <a16:creationId xmlns="" xmlns:a16="http://schemas.microsoft.com/office/drawing/2014/main" id="{39F5498B-BF5F-4915-A77D-248D5AD57A7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5954192" y="503238"/>
                <a:ext cx="0" cy="4129087"/>
              </a:xfrm>
              <a:prstGeom prst="line">
                <a:avLst/>
              </a:prstGeom>
              <a:ln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FF2B5EF4-FFF2-40B4-BE49-F238E27FC236}">
                    <a16:creationId xmlns="" xmlns:a16="http://schemas.microsoft.com/office/drawing/2014/main" id="{7985B58B-17F1-4296-8EF8-1CA0CB236BF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641265" y="503238"/>
                <a:ext cx="0" cy="4129087"/>
              </a:xfrm>
              <a:prstGeom prst="line">
                <a:avLst/>
              </a:prstGeom>
              <a:ln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Straight Connector 103">
                <a:extLst>
                  <a:ext uri="{FF2B5EF4-FFF2-40B4-BE49-F238E27FC236}">
                    <a16:creationId xmlns="" xmlns:a16="http://schemas.microsoft.com/office/drawing/2014/main" id="{3702198A-02A7-4E67-B225-F472CD7FEB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7328338" y="503238"/>
                <a:ext cx="0" cy="4129087"/>
              </a:xfrm>
              <a:prstGeom prst="line">
                <a:avLst/>
              </a:prstGeom>
              <a:ln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Connector 104">
                <a:extLst>
                  <a:ext uri="{FF2B5EF4-FFF2-40B4-BE49-F238E27FC236}">
                    <a16:creationId xmlns="" xmlns:a16="http://schemas.microsoft.com/office/drawing/2014/main" id="{B08CAAA1-B92D-41E0-9C23-A23A1C5CDA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8015411" y="503238"/>
                <a:ext cx="0" cy="4129087"/>
              </a:xfrm>
              <a:prstGeom prst="line">
                <a:avLst/>
              </a:prstGeom>
              <a:ln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="" xmlns:a16="http://schemas.microsoft.com/office/drawing/2014/main" id="{4F5F99DA-09C5-40B6-8772-D154C2F9F7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892973" y="503238"/>
                <a:ext cx="0" cy="4129087"/>
              </a:xfrm>
              <a:prstGeom prst="line">
                <a:avLst/>
              </a:prstGeom>
              <a:ln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="" xmlns:a16="http://schemas.microsoft.com/office/drawing/2014/main" id="{A4D6D552-2868-4487-966C-F2F10041E9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3205900" y="503238"/>
                <a:ext cx="0" cy="4129087"/>
              </a:xfrm>
              <a:prstGeom prst="line">
                <a:avLst/>
              </a:prstGeom>
              <a:ln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="" xmlns:a16="http://schemas.microsoft.com/office/drawing/2014/main" id="{BAFCAEC9-5ED0-451F-9F33-7E1FFAD2FC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518827" y="503238"/>
                <a:ext cx="0" cy="4129087"/>
              </a:xfrm>
              <a:prstGeom prst="line">
                <a:avLst/>
              </a:prstGeom>
              <a:ln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="" xmlns:a16="http://schemas.microsoft.com/office/drawing/2014/main" id="{7F73A6C6-F130-4A87-80A8-7EF27A85D16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831754" y="503238"/>
                <a:ext cx="0" cy="4129087"/>
              </a:xfrm>
              <a:prstGeom prst="line">
                <a:avLst/>
              </a:prstGeom>
              <a:ln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="" xmlns:a16="http://schemas.microsoft.com/office/drawing/2014/main" id="{E34A2FA3-9846-486A-A1AB-8C5E9B56A07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144681" y="503238"/>
                <a:ext cx="0" cy="4129087"/>
              </a:xfrm>
              <a:prstGeom prst="line">
                <a:avLst/>
              </a:prstGeom>
              <a:ln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" name="Group 110">
              <a:extLst>
                <a:ext uri="{FF2B5EF4-FFF2-40B4-BE49-F238E27FC236}">
                  <a16:creationId xmlns="" xmlns:a16="http://schemas.microsoft.com/office/drawing/2014/main" id="{E2FA1C83-51FE-416A-A485-1BAEC0E5F0A4}"/>
                </a:ext>
              </a:extLst>
            </p:cNvPr>
            <p:cNvGrpSpPr/>
            <p:nvPr userDrawn="1"/>
          </p:nvGrpSpPr>
          <p:grpSpPr>
            <a:xfrm>
              <a:off x="-8467" y="0"/>
              <a:ext cx="9160559" cy="5143500"/>
              <a:chOff x="-8467" y="0"/>
              <a:chExt cx="9160559" cy="5143500"/>
            </a:xfrm>
            <a:solidFill>
              <a:schemeClr val="accent3">
                <a:lumMod val="75000"/>
                <a:alpha val="10000"/>
              </a:schemeClr>
            </a:solidFill>
          </p:grpSpPr>
          <p:sp>
            <p:nvSpPr>
              <p:cNvPr id="112" name="Rectangle 111">
                <a:extLst>
                  <a:ext uri="{FF2B5EF4-FFF2-40B4-BE49-F238E27FC236}">
                    <a16:creationId xmlns="" xmlns:a16="http://schemas.microsoft.com/office/drawing/2014/main" id="{0DB1FEF1-443E-4494-8B29-375848154198}"/>
                  </a:ext>
                </a:extLst>
              </p:cNvPr>
              <p:cNvSpPr/>
              <p:nvPr userDrawn="1"/>
            </p:nvSpPr>
            <p:spPr>
              <a:xfrm>
                <a:off x="-1" y="2"/>
                <a:ext cx="9144001" cy="503236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="" xmlns:a16="http://schemas.microsoft.com/office/drawing/2014/main" id="{612F2AF4-899E-4F3D-9D2D-BF5EF9D0A2AF}"/>
                  </a:ext>
                </a:extLst>
              </p:cNvPr>
              <p:cNvSpPr/>
              <p:nvPr userDrawn="1"/>
            </p:nvSpPr>
            <p:spPr>
              <a:xfrm>
                <a:off x="0" y="0"/>
                <a:ext cx="528451" cy="514350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="" xmlns:a16="http://schemas.microsoft.com/office/drawing/2014/main" id="{4DBBE116-3931-4B7C-B20C-886CA2A7F6D5}"/>
                  </a:ext>
                </a:extLst>
              </p:cNvPr>
              <p:cNvSpPr/>
              <p:nvPr userDrawn="1"/>
            </p:nvSpPr>
            <p:spPr>
              <a:xfrm>
                <a:off x="8615549" y="0"/>
                <a:ext cx="528451" cy="5143500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="" xmlns:a16="http://schemas.microsoft.com/office/drawing/2014/main" id="{7EB497A2-A701-4AB7-A68F-51DE878D3FA5}"/>
                  </a:ext>
                </a:extLst>
              </p:cNvPr>
              <p:cNvSpPr/>
              <p:nvPr userDrawn="1"/>
            </p:nvSpPr>
            <p:spPr>
              <a:xfrm>
                <a:off x="-8467" y="4640264"/>
                <a:ext cx="9152467" cy="503236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116" name="Group 115">
                <a:extLst>
                  <a:ext uri="{FF2B5EF4-FFF2-40B4-BE49-F238E27FC236}">
                    <a16:creationId xmlns="" xmlns:a16="http://schemas.microsoft.com/office/drawing/2014/main" id="{E861C417-A29E-43E2-9C9B-53BC1EA6F850}"/>
                  </a:ext>
                </a:extLst>
              </p:cNvPr>
              <p:cNvGrpSpPr/>
              <p:nvPr userDrawn="1"/>
            </p:nvGrpSpPr>
            <p:grpSpPr>
              <a:xfrm>
                <a:off x="-8467" y="0"/>
                <a:ext cx="9160559" cy="5143500"/>
                <a:chOff x="-8467" y="0"/>
                <a:chExt cx="9160559" cy="5143500"/>
              </a:xfrm>
              <a:grpFill/>
            </p:grpSpPr>
            <p:cxnSp>
              <p:nvCxnSpPr>
                <p:cNvPr id="117" name="Straight Connector 116">
                  <a:extLst>
                    <a:ext uri="{FF2B5EF4-FFF2-40B4-BE49-F238E27FC236}">
                      <a16:creationId xmlns="" xmlns:a16="http://schemas.microsoft.com/office/drawing/2014/main" id="{76F21941-C375-4EB4-96AD-FE6E95AFE1E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1" y="503238"/>
                  <a:ext cx="9143999" cy="0"/>
                </a:xfrm>
                <a:prstGeom prst="line">
                  <a:avLst/>
                </a:prstGeom>
                <a:grpFill/>
                <a:ln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Straight Connector 117">
                  <a:extLst>
                    <a:ext uri="{FF2B5EF4-FFF2-40B4-BE49-F238E27FC236}">
                      <a16:creationId xmlns="" xmlns:a16="http://schemas.microsoft.com/office/drawing/2014/main" id="{E354F9AB-0754-40BA-B6F2-A372AAFF245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H="1">
                  <a:off x="-8467" y="4633559"/>
                  <a:ext cx="9160559" cy="0"/>
                </a:xfrm>
                <a:prstGeom prst="line">
                  <a:avLst/>
                </a:prstGeom>
                <a:grpFill/>
                <a:ln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19" name="Group 118">
                  <a:extLst>
                    <a:ext uri="{FF2B5EF4-FFF2-40B4-BE49-F238E27FC236}">
                      <a16:creationId xmlns="" xmlns:a16="http://schemas.microsoft.com/office/drawing/2014/main" id="{4E82025E-A0E3-4FA2-87A2-698F12E5313D}"/>
                    </a:ext>
                  </a:extLst>
                </p:cNvPr>
                <p:cNvGrpSpPr/>
                <p:nvPr userDrawn="1"/>
              </p:nvGrpSpPr>
              <p:grpSpPr>
                <a:xfrm>
                  <a:off x="528451" y="0"/>
                  <a:ext cx="8087098" cy="5143500"/>
                  <a:chOff x="528451" y="-60456"/>
                  <a:chExt cx="8087098" cy="5203956"/>
                </a:xfrm>
                <a:grpFill/>
              </p:grpSpPr>
              <p:cxnSp>
                <p:nvCxnSpPr>
                  <p:cNvPr id="120" name="Straight Connector 119">
                    <a:extLst>
                      <a:ext uri="{FF2B5EF4-FFF2-40B4-BE49-F238E27FC236}">
                        <a16:creationId xmlns="" xmlns:a16="http://schemas.microsoft.com/office/drawing/2014/main" id="{B591C168-D3B7-42A3-9DF9-53A889ECA8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8615549" y="-60456"/>
                    <a:ext cx="0" cy="5203956"/>
                  </a:xfrm>
                  <a:prstGeom prst="line">
                    <a:avLst/>
                  </a:prstGeom>
                  <a:grpFill/>
                  <a:ln>
                    <a:solidFill>
                      <a:schemeClr val="tx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Straight Connector 120">
                    <a:extLst>
                      <a:ext uri="{FF2B5EF4-FFF2-40B4-BE49-F238E27FC236}">
                        <a16:creationId xmlns="" xmlns:a16="http://schemas.microsoft.com/office/drawing/2014/main" id="{AF8610CC-5F7B-4BD1-B137-7D62481B3B9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528451" y="-60456"/>
                    <a:ext cx="0" cy="5203956"/>
                  </a:xfrm>
                  <a:prstGeom prst="line">
                    <a:avLst/>
                  </a:prstGeom>
                  <a:grpFill/>
                  <a:ln>
                    <a:solidFill>
                      <a:schemeClr val="tx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grpSp>
          <p:nvGrpSpPr>
            <p:cNvPr id="122" name="Group 121">
              <a:extLst>
                <a:ext uri="{FF2B5EF4-FFF2-40B4-BE49-F238E27FC236}">
                  <a16:creationId xmlns="" xmlns:a16="http://schemas.microsoft.com/office/drawing/2014/main" id="{C551A52E-9F91-4F3C-987B-DB14B10C837C}"/>
                </a:ext>
              </a:extLst>
            </p:cNvPr>
            <p:cNvGrpSpPr/>
            <p:nvPr userDrawn="1"/>
          </p:nvGrpSpPr>
          <p:grpSpPr>
            <a:xfrm>
              <a:off x="524638" y="502870"/>
              <a:ext cx="8078630" cy="4132629"/>
              <a:chOff x="7636920" y="502870"/>
              <a:chExt cx="8078630" cy="4132629"/>
            </a:xfrm>
          </p:grpSpPr>
          <p:cxnSp>
            <p:nvCxnSpPr>
              <p:cNvPr id="123" name="Straight Connector 122">
                <a:extLst>
                  <a:ext uri="{FF2B5EF4-FFF2-40B4-BE49-F238E27FC236}">
                    <a16:creationId xmlns="" xmlns:a16="http://schemas.microsoft.com/office/drawing/2014/main" id="{1F9695C7-FD97-4C18-9DB0-7D0F407125F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1765866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="" xmlns:a16="http://schemas.microsoft.com/office/drawing/2014/main" id="{C8B68262-BFE7-4D3E-BB06-8FE97E1A4D5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2061602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="" xmlns:a16="http://schemas.microsoft.com/office/drawing/2014/main" id="{5E719918-2EAC-4A54-8566-451EC39D2F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1470131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="" xmlns:a16="http://schemas.microsoft.com/office/drawing/2014/main" id="{75E53F7B-F012-42A6-8A0B-A18CA70C49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1174396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="" xmlns:a16="http://schemas.microsoft.com/office/drawing/2014/main" id="{250E57AF-386D-48D3-AA9F-B61E52782C1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2944974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="" xmlns:a16="http://schemas.microsoft.com/office/drawing/2014/main" id="{2F6A0DC9-4CC0-45B5-BA6B-8B37E8BA41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3240710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="" xmlns:a16="http://schemas.microsoft.com/office/drawing/2014/main" id="{3540A6EF-7A83-4C5E-993C-9CA8054EF55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3536445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="" xmlns:a16="http://schemas.microsoft.com/office/drawing/2014/main" id="{F39CEEAC-4280-47F1-BA93-219BEC1EE87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2649239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="" xmlns:a16="http://schemas.microsoft.com/office/drawing/2014/main" id="{00B0E13D-952E-4589-98A9-1A49C14C5DD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2353504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="" xmlns:a16="http://schemas.microsoft.com/office/drawing/2014/main" id="{BDB64BB7-26AB-4331-822A-54A363FC92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596184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="" xmlns:a16="http://schemas.microsoft.com/office/drawing/2014/main" id="{931027DA-A3E8-45FA-AA98-A9547B49FB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300449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="" xmlns:a16="http://schemas.microsoft.com/office/drawing/2014/main" id="{E0D3C6CC-7D4B-4CD7-8D10-3CF4BBF4888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582924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="" xmlns:a16="http://schemas.microsoft.com/office/drawing/2014/main" id="{176A3339-02DF-45EF-9BB5-FF9DAFBBCFB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878659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="" xmlns:a16="http://schemas.microsoft.com/office/drawing/2014/main" id="{8311727C-0312-4656-8787-EB30AD5F42B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287189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="" xmlns:a16="http://schemas.microsoft.com/office/drawing/2014/main" id="{9B8E434B-8220-4214-9D10-8BD68C9F644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8546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="" xmlns:a16="http://schemas.microsoft.com/office/drawing/2014/main" id="{638C2F00-492A-4FA9-8875-E9B719C2A7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1630975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="" xmlns:a16="http://schemas.microsoft.com/office/drawing/2014/main" id="{4F570FD1-FCE7-4BCF-904D-B2458737FB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1926711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="" xmlns:a16="http://schemas.microsoft.com/office/drawing/2014/main" id="{5401AA1E-04AA-43D0-AC76-D10C6A5998C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1335240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>
                <a:extLst>
                  <a:ext uri="{FF2B5EF4-FFF2-40B4-BE49-F238E27FC236}">
                    <a16:creationId xmlns="" xmlns:a16="http://schemas.microsoft.com/office/drawing/2014/main" id="{AB44258B-035E-4290-BB77-212CF264AA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1039505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="" xmlns:a16="http://schemas.microsoft.com/office/drawing/2014/main" id="{96BFF833-B0B6-4053-A8C9-07A159FA104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2810083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>
                <a:extLst>
                  <a:ext uri="{FF2B5EF4-FFF2-40B4-BE49-F238E27FC236}">
                    <a16:creationId xmlns="" xmlns:a16="http://schemas.microsoft.com/office/drawing/2014/main" id="{A8DCF709-C61A-442F-A7A7-1800317A0FA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3105819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="" xmlns:a16="http://schemas.microsoft.com/office/drawing/2014/main" id="{DDE577A6-392E-4AA0-ABDF-9D8F70F0A15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3401554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>
                <a:extLst>
                  <a:ext uri="{FF2B5EF4-FFF2-40B4-BE49-F238E27FC236}">
                    <a16:creationId xmlns="" xmlns:a16="http://schemas.microsoft.com/office/drawing/2014/main" id="{C82E46F1-EE65-4637-9DBC-1BC2F62A2B8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2514348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145">
                <a:extLst>
                  <a:ext uri="{FF2B5EF4-FFF2-40B4-BE49-F238E27FC236}">
                    <a16:creationId xmlns="" xmlns:a16="http://schemas.microsoft.com/office/drawing/2014/main" id="{17C4A590-86BD-4AD8-A3A8-A3930ACFF0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2218613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>
                <a:extLst>
                  <a:ext uri="{FF2B5EF4-FFF2-40B4-BE49-F238E27FC236}">
                    <a16:creationId xmlns="" xmlns:a16="http://schemas.microsoft.com/office/drawing/2014/main" id="{ED278CB6-4FE1-4571-8CEF-D78522E2CF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435340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147">
                <a:extLst>
                  <a:ext uri="{FF2B5EF4-FFF2-40B4-BE49-F238E27FC236}">
                    <a16:creationId xmlns="" xmlns:a16="http://schemas.microsoft.com/office/drawing/2014/main" id="{6382548C-F953-4C04-AF04-BE3D3C99A78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448033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>
                <a:extLst>
                  <a:ext uri="{FF2B5EF4-FFF2-40B4-BE49-F238E27FC236}">
                    <a16:creationId xmlns="" xmlns:a16="http://schemas.microsoft.com/office/drawing/2014/main" id="{4BB69C2A-FC3F-491E-B786-19BC99FB94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743768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>
                <a:extLst>
                  <a:ext uri="{FF2B5EF4-FFF2-40B4-BE49-F238E27FC236}">
                    <a16:creationId xmlns="" xmlns:a16="http://schemas.microsoft.com/office/drawing/2014/main" id="{CBCD15B1-3C8B-462F-9F8D-6B026EB9733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-152298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>
                <a:extLst>
                  <a:ext uri="{FF2B5EF4-FFF2-40B4-BE49-F238E27FC236}">
                    <a16:creationId xmlns="" xmlns:a16="http://schemas.microsoft.com/office/drawing/2014/main" id="{F6F96DC8-4295-4FC7-9AF0-FF1655927F9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16200000">
                <a:off x="11676235" y="143437"/>
                <a:ext cx="0" cy="8078630"/>
              </a:xfrm>
              <a:prstGeom prst="line">
                <a:avLst/>
              </a:prstGeom>
              <a:ln>
                <a:solidFill>
                  <a:schemeClr val="accent1">
                    <a:lumMod val="40000"/>
                    <a:lumOff val="60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08647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382" y="205979"/>
            <a:ext cx="8499418" cy="85725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198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049FD9"/>
            </a:gs>
            <a:gs pos="100000">
              <a:srgbClr val="004BA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50" y="323850"/>
            <a:ext cx="9413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 spd="slow">
    <p:wip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9915" y="3209550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9525" y="2462027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</p:spTree>
    <p:extLst/>
  </p:cSld>
  <p:clrMapOvr>
    <a:masterClrMapping/>
  </p:clrMapOvr>
  <p:transition spd="slow">
    <p:wip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ea typeface="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ea typeface="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  <p:transition spd="slow">
    <p:wip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accent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 spd="slow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056477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9660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400" indent="-392400">
              <a:lnSpc>
                <a:spcPts val="444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650" y="609600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28" y="302505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 spd="med">
    <p:fade/>
  </p:transition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0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0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461963" y="22831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/>
          </p:nvPr>
        </p:nvSpPr>
        <p:spPr>
          <a:xfrm>
            <a:off x="3377728" y="22783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6354813" y="22047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5" y="1330325"/>
            <a:ext cx="3713163" cy="310197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51515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8" indent="-85718" algn="l" defTabSz="68572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5148706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55700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chemeClr val="accent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00" y="609600"/>
            <a:ext cx="0" cy="3984625"/>
          </a:xfrm>
          <a:prstGeom prst="line">
            <a:avLst/>
          </a:prstGeom>
          <a:ln w="38100" cap="flat" cmpd="sng">
            <a:solidFill>
              <a:srgbClr val="004B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2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/>
  </p:cSld>
  <p:clrMapOvr>
    <a:masterClrMapping/>
  </p:clrMapOvr>
  <p:transition spd="slow">
    <p:wip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8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5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6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4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6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>
          <a:xfrm>
            <a:off x="6084888" y="1622425"/>
            <a:ext cx="2319337" cy="231775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0" name="Oval 9"/>
          <p:cNvSpPr/>
          <p:nvPr/>
        </p:nvSpPr>
        <p:spPr>
          <a:xfrm>
            <a:off x="3422650" y="1622425"/>
            <a:ext cx="2319338" cy="231775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763588" y="1622425"/>
            <a:ext cx="2319337" cy="231775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777485" y="280014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3436444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6098330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</p:spTree>
    <p:extLst/>
  </p:cSld>
  <p:clrMapOvr>
    <a:masterClrMapping/>
  </p:clrMapOvr>
  <p:transition spd="slow">
    <p:wip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5"/>
          <p:cNvSpPr>
            <a:spLocks noChangeArrowheads="1"/>
          </p:cNvSpPr>
          <p:nvPr/>
        </p:nvSpPr>
        <p:spPr bwMode="auto">
          <a:xfrm>
            <a:off x="774700" y="1622425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914400" eaLnBrk="1" hangingPunct="1"/>
            <a:endParaRPr lang="en-US" altLang="en-US">
              <a:solidFill>
                <a:srgbClr val="FFFFFF"/>
              </a:solidFill>
              <a:cs typeface=""/>
            </a:endParaRPr>
          </a:p>
        </p:txBody>
      </p:sp>
      <p:sp>
        <p:nvSpPr>
          <p:cNvPr id="13" name="Oval 7"/>
          <p:cNvSpPr>
            <a:spLocks noChangeArrowheads="1"/>
          </p:cNvSpPr>
          <p:nvPr/>
        </p:nvSpPr>
        <p:spPr bwMode="auto">
          <a:xfrm>
            <a:off x="3422650" y="1622425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914400" eaLnBrk="1" hangingPunct="1"/>
            <a:endParaRPr lang="en-US" altLang="en-US">
              <a:solidFill>
                <a:srgbClr val="FFFFFF"/>
              </a:solidFill>
              <a:cs typeface=""/>
            </a:endParaRPr>
          </a:p>
        </p:txBody>
      </p:sp>
      <p:sp>
        <p:nvSpPr>
          <p:cNvPr id="14" name="Oval 8"/>
          <p:cNvSpPr>
            <a:spLocks noChangeArrowheads="1"/>
          </p:cNvSpPr>
          <p:nvPr/>
        </p:nvSpPr>
        <p:spPr bwMode="auto">
          <a:xfrm>
            <a:off x="6088063" y="1622425"/>
            <a:ext cx="2305050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914400" eaLnBrk="1" hangingPunct="1"/>
            <a:endParaRPr lang="en-US" altLang="en-US">
              <a:solidFill>
                <a:srgbClr val="FFFFFF"/>
              </a:solidFill>
              <a:cs typeface="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788797" y="3873138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436818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101335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/>
  </p:cSld>
  <p:clrMapOvr>
    <a:masterClrMapping/>
  </p:clrMapOvr>
  <p:transition spd="slow">
    <p:wip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575610" y="2552550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10" y="1426607"/>
            <a:ext cx="698624" cy="698624"/>
          </a:xfrm>
          <a:prstGeom prst="ellipse">
            <a:avLst/>
          </a:prstGeom>
          <a:noFill/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>
              <a:ln>
                <a:solidFill>
                  <a:srgbClr val="239ACC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10" y="3653093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2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425201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0" y="2541687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8336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</p:spTree>
    <p:extLst/>
  </p:cSld>
  <p:clrMapOvr>
    <a:masterClrMapping/>
  </p:clrMapOvr>
  <p:transition spd="slow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3005233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575610" y="2552550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10" y="1426607"/>
            <a:ext cx="698624" cy="698624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>
              <a:ln>
                <a:solidFill>
                  <a:srgbClr val="239ACC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10" y="3653093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2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0" y="2552550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1140"/>
            <a:ext cx="698624" cy="693381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75610" y="1427248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</p:spTree>
    <p:extLst/>
  </p:cSld>
  <p:clrMapOvr>
    <a:masterClrMapping/>
  </p:clrMapOvr>
  <p:transition spd="slow">
    <p:wip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575611" y="1979318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10" y="1328927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11" y="2627446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172384" y="1334842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172385" y="1984561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172385" y="2627446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327521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1979318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2" y="2625493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575612" y="3274581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172386" y="3274581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575613" y="3272628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575613" y="3921716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172387" y="3921716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575614" y="3919763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</p:spTree>
    <p:extLst/>
  </p:cSld>
  <p:clrMapOvr>
    <a:masterClrMapping/>
  </p:clrMapOvr>
  <p:transition spd="slow">
    <p:wip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575611" y="1979318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10" y="1328927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11" y="2627446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172384" y="1334842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172385" y="1984561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172385" y="2627446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327521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1979318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2" y="2625493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575612" y="3274581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172386" y="3274581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575613" y="3272628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575613" y="3921716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172387" y="3921716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575614" y="3919763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</p:spTree>
    <p:extLst/>
  </p:cSld>
  <p:clrMapOvr>
    <a:masterClrMapping/>
  </p:clrMapOvr>
  <p:transition spd="slow">
    <p:wip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575611" y="1979318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10" y="1328927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11" y="2627446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172384" y="1334842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172385" y="1984561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172385" y="2627446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327521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1979318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2" y="2625493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575612" y="3274581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172386" y="3274581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575613" y="3272628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575613" y="3921716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172387" y="3921716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575614" y="3919763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4414576" y="1983084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21" name="Oval 20"/>
          <p:cNvSpPr/>
          <p:nvPr userDrawn="1"/>
        </p:nvSpPr>
        <p:spPr>
          <a:xfrm>
            <a:off x="4414575" y="1332693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4414576" y="2631212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5011349" y="1338608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5011350" y="1988327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25"/>
          </p:nvPr>
        </p:nvSpPr>
        <p:spPr>
          <a:xfrm>
            <a:off x="5011350" y="2631212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4414576" y="1331287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4414576" y="1983084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35" name="Text Placehold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4414577" y="2629259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414577" y="3278347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37" name="Text Placeholder 17"/>
          <p:cNvSpPr>
            <a:spLocks noGrp="1"/>
          </p:cNvSpPr>
          <p:nvPr>
            <p:ph type="body" sz="quarter" idx="29"/>
          </p:nvPr>
        </p:nvSpPr>
        <p:spPr>
          <a:xfrm>
            <a:off x="5011351" y="3278347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4414578" y="3276394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9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4414578" y="3925482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40" name="Text Placeholder 17"/>
          <p:cNvSpPr>
            <a:spLocks noGrp="1"/>
          </p:cNvSpPr>
          <p:nvPr>
            <p:ph type="body" sz="quarter" idx="31"/>
          </p:nvPr>
        </p:nvSpPr>
        <p:spPr>
          <a:xfrm>
            <a:off x="5011352" y="3925482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4414579" y="3923529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</p:spTree>
    <p:extLst/>
  </p:cSld>
  <p:clrMapOvr>
    <a:masterClrMapping/>
  </p:clrMapOvr>
  <p:transition spd="slow">
    <p:wip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2" name="Oval 41"/>
          <p:cNvSpPr/>
          <p:nvPr userDrawn="1"/>
        </p:nvSpPr>
        <p:spPr>
          <a:xfrm>
            <a:off x="575611" y="1979318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43" name="Oval 42"/>
          <p:cNvSpPr/>
          <p:nvPr userDrawn="1"/>
        </p:nvSpPr>
        <p:spPr>
          <a:xfrm>
            <a:off x="575610" y="1328927"/>
            <a:ext cx="464815" cy="464815"/>
          </a:xfrm>
          <a:prstGeom prst="ellipse">
            <a:avLst/>
          </a:prstGeom>
          <a:solidFill>
            <a:schemeClr val="bg2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575611" y="2627446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45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172384" y="1334842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172385" y="1984561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172385" y="2627446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327521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49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1979318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50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2" y="2625493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51" name="Oval 50"/>
          <p:cNvSpPr/>
          <p:nvPr userDrawn="1"/>
        </p:nvSpPr>
        <p:spPr>
          <a:xfrm>
            <a:off x="575612" y="3274581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5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172386" y="3274581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575613" y="3272628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54" name="Oval 53"/>
          <p:cNvSpPr/>
          <p:nvPr userDrawn="1"/>
        </p:nvSpPr>
        <p:spPr>
          <a:xfrm>
            <a:off x="575613" y="3921716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55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172387" y="3921716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575614" y="3919763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57" name="Oval 56"/>
          <p:cNvSpPr/>
          <p:nvPr userDrawn="1"/>
        </p:nvSpPr>
        <p:spPr>
          <a:xfrm>
            <a:off x="4414576" y="1983084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58" name="Oval 57"/>
          <p:cNvSpPr/>
          <p:nvPr userDrawn="1"/>
        </p:nvSpPr>
        <p:spPr>
          <a:xfrm>
            <a:off x="4414575" y="1332693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4414576" y="2631212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60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5011349" y="1338608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5011350" y="1988327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17"/>
          <p:cNvSpPr>
            <a:spLocks noGrp="1"/>
          </p:cNvSpPr>
          <p:nvPr>
            <p:ph type="body" sz="quarter" idx="25"/>
          </p:nvPr>
        </p:nvSpPr>
        <p:spPr>
          <a:xfrm>
            <a:off x="5011350" y="2631212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4414576" y="1331287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64" name="Text Placehold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4414576" y="1983084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65" name="Text Placehold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4414577" y="2629259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66" name="Oval 65"/>
          <p:cNvSpPr/>
          <p:nvPr userDrawn="1"/>
        </p:nvSpPr>
        <p:spPr>
          <a:xfrm>
            <a:off x="4414577" y="3278347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67" name="Text Placeholder 17"/>
          <p:cNvSpPr>
            <a:spLocks noGrp="1"/>
          </p:cNvSpPr>
          <p:nvPr>
            <p:ph type="body" sz="quarter" idx="29"/>
          </p:nvPr>
        </p:nvSpPr>
        <p:spPr>
          <a:xfrm>
            <a:off x="5011351" y="3278347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Text Placehold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4414578" y="3276394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9</a:t>
            </a:r>
          </a:p>
        </p:txBody>
      </p:sp>
      <p:sp>
        <p:nvSpPr>
          <p:cNvPr id="69" name="Oval 68"/>
          <p:cNvSpPr/>
          <p:nvPr userDrawn="1"/>
        </p:nvSpPr>
        <p:spPr>
          <a:xfrm>
            <a:off x="4414578" y="3925482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/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70" name="Text Placeholder 17"/>
          <p:cNvSpPr>
            <a:spLocks noGrp="1"/>
          </p:cNvSpPr>
          <p:nvPr>
            <p:ph type="body" sz="quarter" idx="31"/>
          </p:nvPr>
        </p:nvSpPr>
        <p:spPr>
          <a:xfrm>
            <a:off x="5011352" y="3925482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4414579" y="3923529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</p:spTree>
    <p:extLst/>
  </p:cSld>
  <p:clrMapOvr>
    <a:masterClrMapping/>
  </p:clrMapOvr>
  <p:transition spd="slow">
    <p:wip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476647"/>
            <a:ext cx="8139112" cy="520655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800" indent="0">
              <a:lnSpc>
                <a:spcPts val="3680"/>
              </a:lnSpc>
              <a:spcBef>
                <a:spcPts val="0"/>
              </a:spcBef>
              <a:buNone/>
              <a:defRPr sz="2400" i="1">
                <a:solidFill>
                  <a:srgbClr val="58585B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37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rgbClr val="58585B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6638" y="1646238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latin typeface="+mj-lt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1407915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5" y="180939"/>
            <a:ext cx="8580923" cy="628650"/>
          </a:xfrm>
          <a:prstGeom prst="rect">
            <a:avLst/>
          </a:prstGeom>
        </p:spPr>
        <p:txBody>
          <a:bodyPr anchor="b"/>
          <a:lstStyle>
            <a:lvl1pPr algn="l" defTabSz="6857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400" kern="1200" dirty="0">
                <a:solidFill>
                  <a:srgbClr val="676767"/>
                </a:solidFill>
                <a:latin typeface="+mj-lt"/>
                <a:ea typeface="ＭＳ Ｐゴシック" charset="0"/>
                <a:cs typeface="CiscoSans"/>
              </a:defRPr>
            </a:lvl1pPr>
          </a:lstStyle>
          <a:p>
            <a:pPr lvl="0" algn="l" defTabSz="684127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53798" y="1001274"/>
            <a:ext cx="8554328" cy="3723894"/>
          </a:xfrm>
          <a:prstGeom prst="rect">
            <a:avLst/>
          </a:prstGeom>
        </p:spPr>
        <p:txBody>
          <a:bodyPr lIns="68580" tIns="34291" rIns="68580" bIns="34291">
            <a:noAutofit/>
          </a:bodyPr>
          <a:lstStyle>
            <a:lvl1pPr marL="171445" indent="-171445">
              <a:lnSpc>
                <a:spcPct val="95000"/>
              </a:lnSpc>
              <a:spcBef>
                <a:spcPts val="900"/>
              </a:spcBef>
              <a:buClr>
                <a:srgbClr val="2968AF"/>
              </a:buClr>
              <a:buFont typeface="Wingdings" charset="2"/>
              <a:buChar char="§"/>
              <a:defRPr sz="1400">
                <a:solidFill>
                  <a:srgbClr val="2968AF"/>
                </a:solidFill>
                <a:latin typeface="+mj-lt"/>
              </a:defRPr>
            </a:lvl1pPr>
            <a:lvl2pPr marL="437404" indent="-159300">
              <a:lnSpc>
                <a:spcPct val="95000"/>
              </a:lnSpc>
              <a:spcBef>
                <a:spcPts val="500"/>
              </a:spcBef>
              <a:buClrTx/>
              <a:buSzPct val="90000"/>
              <a:buFont typeface="Arial"/>
              <a:buChar char="•"/>
              <a:defRPr lang="en-US" sz="12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2pPr>
            <a:lvl3pPr marL="642605" indent="-186302">
              <a:spcBef>
                <a:spcPts val="500"/>
              </a:spcBef>
              <a:buFont typeface="Lucida Grande"/>
              <a:buChar char="–"/>
              <a:defRPr sz="1100">
                <a:solidFill>
                  <a:schemeClr val="tx1"/>
                </a:solidFill>
                <a:latin typeface="+mj-lt"/>
              </a:defRPr>
            </a:lvl3pPr>
            <a:lvl4pPr marL="839707" indent="-159300">
              <a:spcBef>
                <a:spcPts val="500"/>
              </a:spcBef>
              <a:buFont typeface="Lucida Grande"/>
              <a:buChar char="–"/>
              <a:defRPr sz="900">
                <a:solidFill>
                  <a:schemeClr val="tx1"/>
                </a:solidFill>
                <a:latin typeface="+mj-lt"/>
              </a:defRPr>
            </a:lvl4pPr>
            <a:lvl5pPr marL="1004408" indent="-132300">
              <a:spcBef>
                <a:spcPts val="500"/>
              </a:spcBef>
              <a:buFont typeface="Lucida Grande"/>
              <a:buChar char="–"/>
              <a:defRPr sz="900"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ith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8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5208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CA" dirty="0" smtClean="0"/>
              <a:t>Click to edit Master title style</a:t>
            </a:r>
            <a:endParaRPr lang="en-GB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41123" y="811385"/>
            <a:ext cx="8345926" cy="35393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ea typeface="Arial"/>
                <a:cs typeface="Arial"/>
              </a:defRPr>
            </a:lvl1pPr>
          </a:lstStyle>
          <a:p>
            <a:pPr lvl="0"/>
            <a:r>
              <a:rPr lang="en-CA" dirty="0" smtClean="0"/>
              <a:t>Click to edit Master text styl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 Slide With Title and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5208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CA" dirty="0" smtClean="0"/>
              <a:t>Click to edit Master title style</a:t>
            </a: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41123" y="811385"/>
            <a:ext cx="8345926" cy="35393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ea typeface="Arial"/>
                <a:cs typeface="Arial"/>
              </a:defRPr>
            </a:lvl1pPr>
          </a:lstStyle>
          <a:p>
            <a:pPr lvl="0"/>
            <a:r>
              <a:rPr lang="en-CA" dirty="0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4604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412" y="324000"/>
            <a:ext cx="941172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8" y="379319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8" y="403319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8" y="427319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211464"/>
            <a:ext cx="8302626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US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3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uck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573" y="-5998"/>
            <a:ext cx="9153145" cy="5155499"/>
          </a:xfrm>
          <a:prstGeom prst="rect">
            <a:avLst/>
          </a:prstGeom>
        </p:spPr>
      </p:pic>
      <p:pic>
        <p:nvPicPr>
          <p:cNvPr id="15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26048" y="320675"/>
            <a:ext cx="948132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8" y="379319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4D4D4D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8" y="407855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8" y="436390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211464"/>
            <a:ext cx="8302626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US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3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\\10.188.4.40\E Drive\New brand photo\AR71018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2438684" y="0"/>
            <a:ext cx="6705316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 userDrawn="1"/>
        </p:nvSpPr>
        <p:spPr>
          <a:xfrm>
            <a:off x="0" y="1"/>
            <a:ext cx="8595360" cy="5143499"/>
          </a:xfrm>
          <a:prstGeom prst="rect">
            <a:avLst/>
          </a:prstGeom>
          <a:gradFill flip="none" rotWithShape="1">
            <a:gsLst>
              <a:gs pos="417">
                <a:schemeClr val="bg1">
                  <a:alpha val="0"/>
                </a:schemeClr>
              </a:gs>
              <a:gs pos="68000">
                <a:schemeClr val="bg1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</a:endParaRPr>
          </a:p>
        </p:txBody>
      </p:sp>
      <p:pic>
        <p:nvPicPr>
          <p:cNvPr id="15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26048" y="320675"/>
            <a:ext cx="948132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8" y="379319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4D4D4D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8" y="407855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8" y="436390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211464"/>
            <a:ext cx="8302626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US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3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14" y="3209551"/>
            <a:ext cx="4684868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26" y="2462028"/>
            <a:ext cx="4712556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3" y="1438276"/>
            <a:ext cx="2676524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6" y="915409"/>
            <a:ext cx="7598043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2015 Cisco and/or its affiliates. All rights reserved. Cisco Confidential</a:t>
            </a:r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6" y="915409"/>
            <a:ext cx="7598043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3" y="1347789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 smtClean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5.xml"/><Relationship Id="rId29" Type="http://schemas.openxmlformats.org/officeDocument/2006/relationships/theme" Target="../theme/theme2.xml"/><Relationship Id="rId10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46.xml"/><Relationship Id="rId1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9.xml"/><Relationship Id="rId3" Type="http://schemas.openxmlformats.org/officeDocument/2006/relationships/slideLayout" Target="../slideLayouts/slideLayout30.xml"/><Relationship Id="rId4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4.xml"/><Relationship Id="rId8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78.xml"/><Relationship Id="rId24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3.xml"/><Relationship Id="rId29" Type="http://schemas.openxmlformats.org/officeDocument/2006/relationships/slideLayout" Target="../slideLayouts/slideLayout84.xml"/><Relationship Id="rId1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9.xml"/><Relationship Id="rId5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85.xml"/><Relationship Id="rId31" Type="http://schemas.openxmlformats.org/officeDocument/2006/relationships/slideLayout" Target="../slideLayouts/slideLayout86.xml"/><Relationship Id="rId32" Type="http://schemas.openxmlformats.org/officeDocument/2006/relationships/slideLayout" Target="../slideLayouts/slideLayout87.xml"/><Relationship Id="rId9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2.xml"/><Relationship Id="rId8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88.xml"/><Relationship Id="rId34" Type="http://schemas.openxmlformats.org/officeDocument/2006/relationships/slideLayout" Target="../slideLayouts/slideLayout89.xml"/><Relationship Id="rId35" Type="http://schemas.openxmlformats.org/officeDocument/2006/relationships/slideLayout" Target="../slideLayouts/slideLayout90.xml"/><Relationship Id="rId36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74.xml"/><Relationship Id="rId37" Type="http://schemas.openxmlformats.org/officeDocument/2006/relationships/slideLayout" Target="../slideLayouts/slideLayout92.xml"/><Relationship Id="rId38" Type="http://schemas.openxmlformats.org/officeDocument/2006/relationships/theme" Target="../theme/theme3.xml"/><Relationship Id="rId39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46" Type="http://schemas.openxmlformats.org/officeDocument/2006/relationships/slideLayout" Target="../slideLayouts/slideLayout138.xml"/><Relationship Id="rId47" Type="http://schemas.openxmlformats.org/officeDocument/2006/relationships/theme" Target="../theme/theme4.xml"/><Relationship Id="rId48" Type="http://schemas.openxmlformats.org/officeDocument/2006/relationships/vmlDrawing" Target="../drawings/vmlDrawing1.vml"/><Relationship Id="rId49" Type="http://schemas.openxmlformats.org/officeDocument/2006/relationships/tags" Target="../tags/tag2.xml"/><Relationship Id="rId20" Type="http://schemas.openxmlformats.org/officeDocument/2006/relationships/slideLayout" Target="../slideLayouts/slideLayout112.xml"/><Relationship Id="rId21" Type="http://schemas.openxmlformats.org/officeDocument/2006/relationships/slideLayout" Target="../slideLayouts/slideLayout113.xml"/><Relationship Id="rId22" Type="http://schemas.openxmlformats.org/officeDocument/2006/relationships/slideLayout" Target="../slideLayouts/slideLayout114.xml"/><Relationship Id="rId23" Type="http://schemas.openxmlformats.org/officeDocument/2006/relationships/slideLayout" Target="../slideLayouts/slideLayout115.xml"/><Relationship Id="rId24" Type="http://schemas.openxmlformats.org/officeDocument/2006/relationships/slideLayout" Target="../slideLayouts/slideLayout116.xml"/><Relationship Id="rId25" Type="http://schemas.openxmlformats.org/officeDocument/2006/relationships/slideLayout" Target="../slideLayouts/slideLayout117.xml"/><Relationship Id="rId26" Type="http://schemas.openxmlformats.org/officeDocument/2006/relationships/slideLayout" Target="../slideLayouts/slideLayout118.xml"/><Relationship Id="rId27" Type="http://schemas.openxmlformats.org/officeDocument/2006/relationships/slideLayout" Target="../slideLayouts/slideLayout119.xml"/><Relationship Id="rId28" Type="http://schemas.openxmlformats.org/officeDocument/2006/relationships/slideLayout" Target="../slideLayouts/slideLayout120.xml"/><Relationship Id="rId29" Type="http://schemas.openxmlformats.org/officeDocument/2006/relationships/slideLayout" Target="../slideLayouts/slideLayout121.xml"/><Relationship Id="rId50" Type="http://schemas.openxmlformats.org/officeDocument/2006/relationships/oleObject" Target="../embeddings/oleObject1.bin"/><Relationship Id="rId51" Type="http://schemas.openxmlformats.org/officeDocument/2006/relationships/image" Target="../media/image7.emf"/><Relationship Id="rId52" Type="http://schemas.openxmlformats.org/officeDocument/2006/relationships/image" Target="../media/image8.png"/><Relationship Id="rId1" Type="http://schemas.openxmlformats.org/officeDocument/2006/relationships/slideLayout" Target="../slideLayouts/slideLayout93.xml"/><Relationship Id="rId2" Type="http://schemas.openxmlformats.org/officeDocument/2006/relationships/slideLayout" Target="../slideLayouts/slideLayout94.xml"/><Relationship Id="rId3" Type="http://schemas.openxmlformats.org/officeDocument/2006/relationships/slideLayout" Target="../slideLayouts/slideLayout95.xml"/><Relationship Id="rId4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7.xml"/><Relationship Id="rId30" Type="http://schemas.openxmlformats.org/officeDocument/2006/relationships/slideLayout" Target="../slideLayouts/slideLayout122.xml"/><Relationship Id="rId31" Type="http://schemas.openxmlformats.org/officeDocument/2006/relationships/slideLayout" Target="../slideLayouts/slideLayout123.xml"/><Relationship Id="rId32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98.xml"/><Relationship Id="rId7" Type="http://schemas.openxmlformats.org/officeDocument/2006/relationships/slideLayout" Target="../slideLayouts/slideLayout99.xml"/><Relationship Id="rId8" Type="http://schemas.openxmlformats.org/officeDocument/2006/relationships/slideLayout" Target="../slideLayouts/slideLayout100.xml"/><Relationship Id="rId33" Type="http://schemas.openxmlformats.org/officeDocument/2006/relationships/slideLayout" Target="../slideLayouts/slideLayout125.xml"/><Relationship Id="rId34" Type="http://schemas.openxmlformats.org/officeDocument/2006/relationships/slideLayout" Target="../slideLayouts/slideLayout126.xml"/><Relationship Id="rId35" Type="http://schemas.openxmlformats.org/officeDocument/2006/relationships/slideLayout" Target="../slideLayouts/slideLayout127.xml"/><Relationship Id="rId36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1.xml"/><Relationship Id="rId37" Type="http://schemas.openxmlformats.org/officeDocument/2006/relationships/slideLayout" Target="../slideLayouts/slideLayout129.xml"/><Relationship Id="rId38" Type="http://schemas.openxmlformats.org/officeDocument/2006/relationships/slideLayout" Target="../slideLayouts/slideLayout130.xml"/><Relationship Id="rId39" Type="http://schemas.openxmlformats.org/officeDocument/2006/relationships/slideLayout" Target="../slideLayouts/slideLayout131.xml"/><Relationship Id="rId40" Type="http://schemas.openxmlformats.org/officeDocument/2006/relationships/slideLayout" Target="../slideLayouts/slideLayout132.xml"/><Relationship Id="rId41" Type="http://schemas.openxmlformats.org/officeDocument/2006/relationships/slideLayout" Target="../slideLayouts/slideLayout133.xml"/><Relationship Id="rId42" Type="http://schemas.openxmlformats.org/officeDocument/2006/relationships/slideLayout" Target="../slideLayouts/slideLayout134.xml"/><Relationship Id="rId43" Type="http://schemas.openxmlformats.org/officeDocument/2006/relationships/slideLayout" Target="../slideLayouts/slideLayout135.xml"/><Relationship Id="rId44" Type="http://schemas.openxmlformats.org/officeDocument/2006/relationships/slideLayout" Target="../slideLayouts/slideLayout136.xml"/><Relationship Id="rId45" Type="http://schemas.openxmlformats.org/officeDocument/2006/relationships/slideLayout" Target="../slideLayouts/slideLayout137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47.xml"/><Relationship Id="rId20" Type="http://schemas.openxmlformats.org/officeDocument/2006/relationships/image" Target="../media/image2.emf"/><Relationship Id="rId10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0.xml"/><Relationship Id="rId13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53.xml"/><Relationship Id="rId16" Type="http://schemas.openxmlformats.org/officeDocument/2006/relationships/slideLayout" Target="../slideLayouts/slideLayout154.xml"/><Relationship Id="rId17" Type="http://schemas.openxmlformats.org/officeDocument/2006/relationships/slideLayout" Target="../slideLayouts/slideLayout155.xml"/><Relationship Id="rId18" Type="http://schemas.openxmlformats.org/officeDocument/2006/relationships/slideLayout" Target="../slideLayouts/slideLayout156.xml"/><Relationship Id="rId19" Type="http://schemas.openxmlformats.org/officeDocument/2006/relationships/theme" Target="../theme/theme5.xml"/><Relationship Id="rId1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5.xml"/><Relationship Id="rId8" Type="http://schemas.openxmlformats.org/officeDocument/2006/relationships/slideLayout" Target="../slideLayouts/slideLayout1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6" r:id="rId2"/>
    <p:sldLayoutId id="2147484013" r:id="rId3"/>
    <p:sldLayoutId id="2147483982" r:id="rId4"/>
    <p:sldLayoutId id="2147484014" r:id="rId5"/>
    <p:sldLayoutId id="2147483978" r:id="rId6"/>
    <p:sldLayoutId id="2147483979" r:id="rId7"/>
    <p:sldLayoutId id="2147483980" r:id="rId8"/>
    <p:sldLayoutId id="2147483981" r:id="rId9"/>
    <p:sldLayoutId id="2147483879" r:id="rId10"/>
    <p:sldLayoutId id="2147483976" r:id="rId11"/>
    <p:sldLayoutId id="2147483885" r:id="rId12"/>
    <p:sldLayoutId id="2147484011" r:id="rId13"/>
    <p:sldLayoutId id="2147483985" r:id="rId14"/>
    <p:sldLayoutId id="2147483986" r:id="rId15"/>
    <p:sldLayoutId id="2147483969" r:id="rId16"/>
    <p:sldLayoutId id="2147483968" r:id="rId17"/>
    <p:sldLayoutId id="2147483973" r:id="rId18"/>
    <p:sldLayoutId id="2147483967" r:id="rId19"/>
    <p:sldLayoutId id="2147483970" r:id="rId20"/>
    <p:sldLayoutId id="2147483987" r:id="rId21"/>
    <p:sldLayoutId id="2147483983" r:id="rId22"/>
    <p:sldLayoutId id="2147483971" r:id="rId23"/>
    <p:sldLayoutId id="2147483972" r:id="rId24"/>
    <p:sldLayoutId id="2147483897" r:id="rId25"/>
    <p:sldLayoutId id="2147484015" r:id="rId26"/>
    <p:sldLayoutId id="2147484155" r:id="rId27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 userDrawn="1">
          <p15:clr>
            <a:srgbClr val="F26B43"/>
          </p15:clr>
        </p15:guide>
        <p15:guide id="2" pos="336" userDrawn="1">
          <p15:clr>
            <a:srgbClr val="F26B43"/>
          </p15:clr>
        </p15:guide>
        <p15:guide id="3" pos="5448" userDrawn="1">
          <p15:clr>
            <a:srgbClr val="F26B43"/>
          </p15:clr>
        </p15:guide>
        <p15:guide id="4" orient="horz" pos="757" userDrawn="1">
          <p15:clr>
            <a:srgbClr val="F26B43"/>
          </p15:clr>
        </p15:guide>
        <p15:guide id="5" orient="horz" pos="335" userDrawn="1">
          <p15:clr>
            <a:srgbClr val="F26B43"/>
          </p15:clr>
        </p15:guide>
        <p15:guide id="6" pos="2876" userDrawn="1">
          <p15:clr>
            <a:srgbClr val="F26B43"/>
          </p15:clr>
        </p15:guide>
        <p15:guide id="7" orient="horz" pos="104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EC8A9EDC-E82F-4279-819A-09A9C6358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7766" y="1249414"/>
            <a:ext cx="8345488" cy="33829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1024" name="Slide Number Placeholder 1023">
            <a:extLst>
              <a:ext uri="{FF2B5EF4-FFF2-40B4-BE49-F238E27FC236}">
                <a16:creationId xmlns="" xmlns:a16="http://schemas.microsoft.com/office/drawing/2014/main" id="{7C130E8C-43A3-4365-9CA6-46114775E0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31200" y="4681593"/>
            <a:ext cx="452054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610744" rtl="0" fontAlgn="auto">
              <a:spcBef>
                <a:spcPts val="0"/>
              </a:spcBef>
              <a:spcAft>
                <a:spcPts val="0"/>
              </a:spcAft>
              <a:defRPr lang="en-US" sz="600" kern="1200" spc="20" baseline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CiscoSans Thin"/>
              </a:defRPr>
            </a:lvl1pPr>
          </a:lstStyle>
          <a:p>
            <a:pPr>
              <a:defRPr/>
            </a:pPr>
            <a:fld id="{51F941AF-3D3A-4840-A992-DC2D6EF70BD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033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8" r:id="rId7"/>
    <p:sldLayoutId id="2147484029" r:id="rId8"/>
    <p:sldLayoutId id="2147484030" r:id="rId9"/>
    <p:sldLayoutId id="2147484031" r:id="rId10"/>
    <p:sldLayoutId id="2147484032" r:id="rId11"/>
    <p:sldLayoutId id="2147484033" r:id="rId12"/>
    <p:sldLayoutId id="2147484034" r:id="rId13"/>
    <p:sldLayoutId id="2147484035" r:id="rId14"/>
    <p:sldLayoutId id="2147484036" r:id="rId15"/>
    <p:sldLayoutId id="2147484037" r:id="rId16"/>
    <p:sldLayoutId id="2147484038" r:id="rId17"/>
    <p:sldLayoutId id="2147484039" r:id="rId18"/>
    <p:sldLayoutId id="2147484040" r:id="rId19"/>
    <p:sldLayoutId id="2147484041" r:id="rId20"/>
    <p:sldLayoutId id="2147484042" r:id="rId21"/>
    <p:sldLayoutId id="2147484043" r:id="rId22"/>
    <p:sldLayoutId id="2147484044" r:id="rId23"/>
    <p:sldLayoutId id="2147484045" r:id="rId24"/>
    <p:sldLayoutId id="2147484046" r:id="rId25"/>
    <p:sldLayoutId id="2147484047" r:id="rId26"/>
    <p:sldLayoutId id="2147484048" r:id="rId27"/>
    <p:sldLayoutId id="2147484049" r:id="rId28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90500" indent="-133350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Tx/>
        <a:buSzPct val="75000"/>
        <a:buFont typeface="Arial" panose="020B0604020202020204" pitchFamily="34" charset="0"/>
        <a:buChar char="•"/>
        <a:tabLst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49250" indent="-1397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Tx/>
        <a:buSzPct val="80000"/>
        <a:buFont typeface="Arial" charset="0"/>
        <a:buChar char="•"/>
        <a:defRPr lang="en-US" sz="18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08000" indent="-139700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SzPct val="95000"/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60400" indent="-139700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SzPct val="100000"/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93750" indent="-139700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SzPct val="100000"/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588" indent="-1588" algn="l" defTabSz="685777" rtl="0" eaLnBrk="1" latinLnBrk="0" hangingPunct="1">
        <a:spcBef>
          <a:spcPts val="600"/>
        </a:spcBef>
        <a:buFont typeface="Arial" panose="020B0604020202020204" pitchFamily="34" charset="0"/>
        <a:buChar char="​"/>
        <a:defRPr sz="2400" kern="1200" baseline="0">
          <a:solidFill>
            <a:schemeClr val="bg1"/>
          </a:solidFill>
          <a:latin typeface="+mn-lt"/>
          <a:ea typeface="+mn-ea"/>
          <a:cs typeface="+mn-cs"/>
        </a:defRPr>
      </a:lvl6pPr>
      <a:lvl7pPr marL="1588" indent="-1588" algn="l" defTabSz="685777" rtl="0" eaLnBrk="1" latinLnBrk="0" hangingPunct="1">
        <a:spcBef>
          <a:spcPts val="600"/>
        </a:spcBef>
        <a:buFont typeface="Arial" panose="020B0604020202020204" pitchFamily="34" charset="0"/>
        <a:buChar char="​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588" indent="-1588" algn="l" defTabSz="685777" rtl="0" eaLnBrk="1" latinLnBrk="0" hangingPunct="1">
        <a:spcBef>
          <a:spcPct val="20000"/>
        </a:spcBef>
        <a:buFont typeface="Arial" panose="020B0604020202020204" pitchFamily="34" charset="0"/>
        <a:buChar char="​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588" indent="-1588" algn="l" defTabSz="685777" rtl="0" eaLnBrk="1" latinLnBrk="0" hangingPunct="1">
        <a:spcBef>
          <a:spcPct val="20000"/>
        </a:spcBef>
        <a:buFont typeface="Arial" panose="020B0604020202020204" pitchFamily="34" charset="0"/>
        <a:buChar char="​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latin typeface="Arial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Arial"/>
                <a:ea typeface=""/>
                <a:cs typeface="CiscoSans Thin"/>
              </a:rPr>
              <a:t>© 2016  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9289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53" r:id="rId3"/>
    <p:sldLayoutId id="2147484054" r:id="rId4"/>
    <p:sldLayoutId id="2147484055" r:id="rId5"/>
    <p:sldLayoutId id="2147484056" r:id="rId6"/>
    <p:sldLayoutId id="2147484057" r:id="rId7"/>
    <p:sldLayoutId id="2147484058" r:id="rId8"/>
    <p:sldLayoutId id="2147484059" r:id="rId9"/>
    <p:sldLayoutId id="2147484060" r:id="rId10"/>
    <p:sldLayoutId id="2147484061" r:id="rId11"/>
    <p:sldLayoutId id="2147484062" r:id="rId12"/>
    <p:sldLayoutId id="2147484063" r:id="rId13"/>
    <p:sldLayoutId id="2147484064" r:id="rId14"/>
    <p:sldLayoutId id="2147484065" r:id="rId15"/>
    <p:sldLayoutId id="2147484066" r:id="rId16"/>
    <p:sldLayoutId id="2147484067" r:id="rId17"/>
    <p:sldLayoutId id="2147484068" r:id="rId18"/>
    <p:sldLayoutId id="2147484069" r:id="rId19"/>
    <p:sldLayoutId id="2147484070" r:id="rId20"/>
    <p:sldLayoutId id="2147484071" r:id="rId21"/>
    <p:sldLayoutId id="2147484072" r:id="rId22"/>
    <p:sldLayoutId id="2147484073" r:id="rId23"/>
    <p:sldLayoutId id="2147484074" r:id="rId24"/>
    <p:sldLayoutId id="2147484075" r:id="rId25"/>
    <p:sldLayoutId id="2147484076" r:id="rId26"/>
    <p:sldLayoutId id="2147484077" r:id="rId27"/>
    <p:sldLayoutId id="2147484078" r:id="rId28"/>
    <p:sldLayoutId id="2147484079" r:id="rId29"/>
    <p:sldLayoutId id="2147484080" r:id="rId30"/>
    <p:sldLayoutId id="2147484081" r:id="rId31"/>
    <p:sldLayoutId id="2147484082" r:id="rId32"/>
    <p:sldLayoutId id="2147484083" r:id="rId33"/>
    <p:sldLayoutId id="2147484084" r:id="rId34"/>
    <p:sldLayoutId id="2147484085" r:id="rId35"/>
    <p:sldLayoutId id="2147484086" r:id="rId36"/>
    <p:sldLayoutId id="2147484087" r:id="rId37"/>
  </p:sldLayoutIdLst>
  <p:transition spd="slow">
    <p:wipe/>
  </p:transition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50" imgW="378" imgH="379" progId="TCLayout.ActiveDocument.1">
                  <p:embed/>
                </p:oleObj>
              </mc:Choice>
              <mc:Fallback>
                <p:oleObj name="think-cell Slide" r:id="rId50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© 2015 Cisco and/or its affiliates. All rights reserved. Cisco Confidential</a:t>
            </a:r>
            <a:endParaRPr lang="en-US" sz="600" dirty="0">
              <a:solidFill>
                <a:srgbClr val="000000">
                  <a:alpha val="25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5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3665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9" r:id="rId1"/>
    <p:sldLayoutId id="2147484090" r:id="rId2"/>
    <p:sldLayoutId id="2147484091" r:id="rId3"/>
    <p:sldLayoutId id="2147484092" r:id="rId4"/>
    <p:sldLayoutId id="2147484093" r:id="rId5"/>
    <p:sldLayoutId id="2147484094" r:id="rId6"/>
    <p:sldLayoutId id="2147484095" r:id="rId7"/>
    <p:sldLayoutId id="2147484096" r:id="rId8"/>
    <p:sldLayoutId id="2147484097" r:id="rId9"/>
    <p:sldLayoutId id="2147484098" r:id="rId10"/>
    <p:sldLayoutId id="2147484099" r:id="rId11"/>
    <p:sldLayoutId id="2147484100" r:id="rId12"/>
    <p:sldLayoutId id="2147484101" r:id="rId13"/>
    <p:sldLayoutId id="2147484102" r:id="rId14"/>
    <p:sldLayoutId id="2147484103" r:id="rId15"/>
    <p:sldLayoutId id="2147484104" r:id="rId16"/>
    <p:sldLayoutId id="2147484105" r:id="rId17"/>
    <p:sldLayoutId id="2147484106" r:id="rId18"/>
    <p:sldLayoutId id="2147484107" r:id="rId19"/>
    <p:sldLayoutId id="2147484108" r:id="rId20"/>
    <p:sldLayoutId id="2147484109" r:id="rId21"/>
    <p:sldLayoutId id="2147484110" r:id="rId22"/>
    <p:sldLayoutId id="2147484111" r:id="rId23"/>
    <p:sldLayoutId id="2147484112" r:id="rId24"/>
    <p:sldLayoutId id="2147484113" r:id="rId25"/>
    <p:sldLayoutId id="2147484114" r:id="rId26"/>
    <p:sldLayoutId id="2147484115" r:id="rId27"/>
    <p:sldLayoutId id="2147484116" r:id="rId28"/>
    <p:sldLayoutId id="2147484117" r:id="rId29"/>
    <p:sldLayoutId id="2147484118" r:id="rId30"/>
    <p:sldLayoutId id="2147484119" r:id="rId31"/>
    <p:sldLayoutId id="2147484120" r:id="rId32"/>
    <p:sldLayoutId id="2147484121" r:id="rId33"/>
    <p:sldLayoutId id="2147484122" r:id="rId34"/>
    <p:sldLayoutId id="2147484123" r:id="rId35"/>
    <p:sldLayoutId id="2147484124" r:id="rId36"/>
    <p:sldLayoutId id="2147484125" r:id="rId37"/>
    <p:sldLayoutId id="2147484126" r:id="rId38"/>
    <p:sldLayoutId id="2147484127" r:id="rId39"/>
    <p:sldLayoutId id="2147484128" r:id="rId40"/>
    <p:sldLayoutId id="2147484129" r:id="rId41"/>
    <p:sldLayoutId id="2147484130" r:id="rId42"/>
    <p:sldLayoutId id="2147484131" r:id="rId43"/>
    <p:sldLayoutId id="2147484132" r:id="rId44"/>
    <p:sldLayoutId id="2147484133" r:id="rId45"/>
    <p:sldLayoutId id="2147484134" r:id="rId4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0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71">
          <p15:clr>
            <a:srgbClr val="F26B43"/>
          </p15:clr>
        </p15:guide>
        <p15:guide id="2" pos="5493">
          <p15:clr>
            <a:srgbClr val="F26B43"/>
          </p15:clr>
        </p15:guide>
        <p15:guide id="3" orient="horz" pos="682">
          <p15:clr>
            <a:srgbClr val="F26B43"/>
          </p15:clr>
        </p15:guide>
        <p15:guide id="4" orient="horz" pos="204">
          <p15:clr>
            <a:srgbClr val="F26B43"/>
          </p15:clr>
        </p15:guide>
        <p15:guide id="5" orient="horz" pos="588">
          <p15:clr>
            <a:srgbClr val="F26B43"/>
          </p15:clr>
        </p15:guide>
        <p15:guide id="6" orient="horz" pos="289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28616"/>
            <a:ext cx="8345488" cy="533572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622279" y="4809330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Arial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974080" y="4809330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latin typeface="Arial"/>
                <a:ea typeface=""/>
                <a:cs typeface="CiscoSans Thin"/>
              </a:rPr>
              <a:t>© 2015  Cisco and/or its affiliates. All rights reserved. </a:t>
            </a:r>
            <a:endParaRPr lang="en-US" sz="600" dirty="0">
              <a:solidFill>
                <a:srgbClr val="000000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pic>
        <p:nvPicPr>
          <p:cNvPr id="15" name="Picture 8" descr="logo_black.ai"/>
          <p:cNvPicPr>
            <a:picLocks noChangeAspect="1"/>
          </p:cNvPicPr>
          <p:nvPr/>
        </p:nvPicPr>
        <p:blipFill>
          <a:blip r:embed="rId20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51" y="4630791"/>
            <a:ext cx="539750" cy="333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logo_black.ai"/>
          <p:cNvPicPr>
            <a:picLocks noChangeAspect="1"/>
          </p:cNvPicPr>
          <p:nvPr userDrawn="1"/>
        </p:nvPicPr>
        <p:blipFill>
          <a:blip r:embed="rId20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51" y="4630791"/>
            <a:ext cx="539750" cy="333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030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6" r:id="rId1"/>
    <p:sldLayoutId id="2147484137" r:id="rId2"/>
    <p:sldLayoutId id="2147484138" r:id="rId3"/>
    <p:sldLayoutId id="2147484139" r:id="rId4"/>
    <p:sldLayoutId id="2147484140" r:id="rId5"/>
    <p:sldLayoutId id="2147484141" r:id="rId6"/>
    <p:sldLayoutId id="2147484142" r:id="rId7"/>
    <p:sldLayoutId id="2147484143" r:id="rId8"/>
    <p:sldLayoutId id="2147484144" r:id="rId9"/>
    <p:sldLayoutId id="2147484145" r:id="rId10"/>
    <p:sldLayoutId id="2147484146" r:id="rId11"/>
    <p:sldLayoutId id="2147484148" r:id="rId12"/>
    <p:sldLayoutId id="2147484149" r:id="rId13"/>
    <p:sldLayoutId id="2147484150" r:id="rId14"/>
    <p:sldLayoutId id="2147484151" r:id="rId15"/>
    <p:sldLayoutId id="2147484152" r:id="rId16"/>
    <p:sldLayoutId id="2147484153" r:id="rId17"/>
    <p:sldLayoutId id="2147484154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000" kern="1200" dirty="0">
          <a:solidFill>
            <a:srgbClr val="011B42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tags" Target="../tags/tag9.xml"/><Relationship Id="rId7" Type="http://schemas.openxmlformats.org/officeDocument/2006/relationships/slideLayout" Target="../slideLayouts/slideLayout13.xml"/><Relationship Id="rId8" Type="http://schemas.openxmlformats.org/officeDocument/2006/relationships/notesSlide" Target="../notesSlides/notesSlide7.xml"/><Relationship Id="rId9" Type="http://schemas.openxmlformats.org/officeDocument/2006/relationships/image" Target="../media/image40.png"/><Relationship Id="rId10" Type="http://schemas.openxmlformats.org/officeDocument/2006/relationships/image" Target="../media/image41.png"/><Relationship Id="rId1" Type="http://schemas.openxmlformats.org/officeDocument/2006/relationships/tags" Target="../tags/tag4.xml"/><Relationship Id="rId2" Type="http://schemas.openxmlformats.org/officeDocument/2006/relationships/tags" Target="../tags/tag5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tags" Target="../tags/tag18.xml"/><Relationship Id="rId20" Type="http://schemas.openxmlformats.org/officeDocument/2006/relationships/tags" Target="../tags/tag29.xml"/><Relationship Id="rId21" Type="http://schemas.openxmlformats.org/officeDocument/2006/relationships/tags" Target="../tags/tag30.xml"/><Relationship Id="rId22" Type="http://schemas.openxmlformats.org/officeDocument/2006/relationships/slideLayout" Target="../slideLayouts/slideLayout13.xml"/><Relationship Id="rId23" Type="http://schemas.openxmlformats.org/officeDocument/2006/relationships/notesSlide" Target="../notesSlides/notesSlide8.xml"/><Relationship Id="rId24" Type="http://schemas.openxmlformats.org/officeDocument/2006/relationships/image" Target="../media/image42.png"/><Relationship Id="rId25" Type="http://schemas.openxmlformats.org/officeDocument/2006/relationships/image" Target="../media/image43.png"/><Relationship Id="rId26" Type="http://schemas.openxmlformats.org/officeDocument/2006/relationships/image" Target="../media/image44.png"/><Relationship Id="rId27" Type="http://schemas.openxmlformats.org/officeDocument/2006/relationships/image" Target="../media/image13.svg"/><Relationship Id="rId28" Type="http://schemas.openxmlformats.org/officeDocument/2006/relationships/image" Target="../media/image45.png"/><Relationship Id="rId29" Type="http://schemas.openxmlformats.org/officeDocument/2006/relationships/image" Target="../media/image40.png"/><Relationship Id="rId10" Type="http://schemas.openxmlformats.org/officeDocument/2006/relationships/tags" Target="../tags/tag19.xml"/><Relationship Id="rId11" Type="http://schemas.openxmlformats.org/officeDocument/2006/relationships/tags" Target="../tags/tag20.xml"/><Relationship Id="rId12" Type="http://schemas.openxmlformats.org/officeDocument/2006/relationships/tags" Target="../tags/tag21.xml"/><Relationship Id="rId13" Type="http://schemas.openxmlformats.org/officeDocument/2006/relationships/tags" Target="../tags/tag22.xml"/><Relationship Id="rId14" Type="http://schemas.openxmlformats.org/officeDocument/2006/relationships/tags" Target="../tags/tag23.xml"/><Relationship Id="rId15" Type="http://schemas.openxmlformats.org/officeDocument/2006/relationships/tags" Target="../tags/tag24.xml"/><Relationship Id="rId16" Type="http://schemas.openxmlformats.org/officeDocument/2006/relationships/tags" Target="../tags/tag25.xml"/><Relationship Id="rId17" Type="http://schemas.openxmlformats.org/officeDocument/2006/relationships/tags" Target="../tags/tag26.xml"/><Relationship Id="rId18" Type="http://schemas.openxmlformats.org/officeDocument/2006/relationships/tags" Target="../tags/tag27.xml"/><Relationship Id="rId19" Type="http://schemas.openxmlformats.org/officeDocument/2006/relationships/tags" Target="../tags/tag28.xml"/><Relationship Id="rId1" Type="http://schemas.openxmlformats.org/officeDocument/2006/relationships/tags" Target="../tags/tag10.xml"/><Relationship Id="rId2" Type="http://schemas.openxmlformats.org/officeDocument/2006/relationships/tags" Target="../tags/tag11.xml"/><Relationship Id="rId3" Type="http://schemas.openxmlformats.org/officeDocument/2006/relationships/tags" Target="../tags/tag12.xml"/><Relationship Id="rId4" Type="http://schemas.openxmlformats.org/officeDocument/2006/relationships/tags" Target="../tags/tag13.xml"/><Relationship Id="rId5" Type="http://schemas.openxmlformats.org/officeDocument/2006/relationships/tags" Target="../tags/tag14.xml"/><Relationship Id="rId6" Type="http://schemas.openxmlformats.org/officeDocument/2006/relationships/tags" Target="../tags/tag15.xml"/><Relationship Id="rId7" Type="http://schemas.openxmlformats.org/officeDocument/2006/relationships/tags" Target="../tags/tag16.xml"/><Relationship Id="rId8" Type="http://schemas.openxmlformats.org/officeDocument/2006/relationships/tags" Target="../tags/tag17.xml"/></Relationships>
</file>

<file path=ppt/slides/_rels/slide12.xml.rels><?xml version="1.0" encoding="UTF-8" standalone="yes"?>
<Relationships xmlns="http://schemas.openxmlformats.org/package/2006/relationships"><Relationship Id="rId46" Type="http://schemas.openxmlformats.org/officeDocument/2006/relationships/image" Target="../media/image48.png"/><Relationship Id="rId20" Type="http://schemas.openxmlformats.org/officeDocument/2006/relationships/tags" Target="../tags/tag50.xml"/><Relationship Id="rId21" Type="http://schemas.openxmlformats.org/officeDocument/2006/relationships/tags" Target="../tags/tag51.xml"/><Relationship Id="rId22" Type="http://schemas.openxmlformats.org/officeDocument/2006/relationships/tags" Target="../tags/tag52.xml"/><Relationship Id="rId23" Type="http://schemas.openxmlformats.org/officeDocument/2006/relationships/tags" Target="../tags/tag53.xml"/><Relationship Id="rId24" Type="http://schemas.openxmlformats.org/officeDocument/2006/relationships/tags" Target="../tags/tag54.xml"/><Relationship Id="rId25" Type="http://schemas.openxmlformats.org/officeDocument/2006/relationships/tags" Target="../tags/tag55.xml"/><Relationship Id="rId26" Type="http://schemas.openxmlformats.org/officeDocument/2006/relationships/tags" Target="../tags/tag56.xml"/><Relationship Id="rId27" Type="http://schemas.openxmlformats.org/officeDocument/2006/relationships/tags" Target="../tags/tag57.xml"/><Relationship Id="rId28" Type="http://schemas.openxmlformats.org/officeDocument/2006/relationships/tags" Target="../tags/tag58.xml"/><Relationship Id="rId29" Type="http://schemas.openxmlformats.org/officeDocument/2006/relationships/tags" Target="../tags/tag59.xml"/><Relationship Id="rId1" Type="http://schemas.openxmlformats.org/officeDocument/2006/relationships/tags" Target="../tags/tag31.xml"/><Relationship Id="rId2" Type="http://schemas.openxmlformats.org/officeDocument/2006/relationships/tags" Target="../tags/tag32.xml"/><Relationship Id="rId3" Type="http://schemas.openxmlformats.org/officeDocument/2006/relationships/tags" Target="../tags/tag33.xml"/><Relationship Id="rId4" Type="http://schemas.openxmlformats.org/officeDocument/2006/relationships/tags" Target="../tags/tag34.xml"/><Relationship Id="rId5" Type="http://schemas.openxmlformats.org/officeDocument/2006/relationships/tags" Target="../tags/tag35.xml"/><Relationship Id="rId30" Type="http://schemas.openxmlformats.org/officeDocument/2006/relationships/tags" Target="../tags/tag60.xml"/><Relationship Id="rId31" Type="http://schemas.openxmlformats.org/officeDocument/2006/relationships/tags" Target="../tags/tag61.xml"/><Relationship Id="rId32" Type="http://schemas.openxmlformats.org/officeDocument/2006/relationships/tags" Target="../tags/tag62.xml"/><Relationship Id="rId9" Type="http://schemas.openxmlformats.org/officeDocument/2006/relationships/tags" Target="../tags/tag39.xml"/><Relationship Id="rId6" Type="http://schemas.openxmlformats.org/officeDocument/2006/relationships/tags" Target="../tags/tag36.xml"/><Relationship Id="rId7" Type="http://schemas.openxmlformats.org/officeDocument/2006/relationships/tags" Target="../tags/tag37.xml"/><Relationship Id="rId8" Type="http://schemas.openxmlformats.org/officeDocument/2006/relationships/tags" Target="../tags/tag38.xml"/><Relationship Id="rId33" Type="http://schemas.openxmlformats.org/officeDocument/2006/relationships/tags" Target="../tags/tag63.xml"/><Relationship Id="rId34" Type="http://schemas.openxmlformats.org/officeDocument/2006/relationships/tags" Target="../tags/tag64.xml"/><Relationship Id="rId35" Type="http://schemas.openxmlformats.org/officeDocument/2006/relationships/tags" Target="../tags/tag65.xml"/><Relationship Id="rId36" Type="http://schemas.openxmlformats.org/officeDocument/2006/relationships/tags" Target="../tags/tag66.xml"/><Relationship Id="rId10" Type="http://schemas.openxmlformats.org/officeDocument/2006/relationships/tags" Target="../tags/tag40.xml"/><Relationship Id="rId11" Type="http://schemas.openxmlformats.org/officeDocument/2006/relationships/tags" Target="../tags/tag41.xml"/><Relationship Id="rId12" Type="http://schemas.openxmlformats.org/officeDocument/2006/relationships/tags" Target="../tags/tag42.xml"/><Relationship Id="rId13" Type="http://schemas.openxmlformats.org/officeDocument/2006/relationships/tags" Target="../tags/tag43.xml"/><Relationship Id="rId14" Type="http://schemas.openxmlformats.org/officeDocument/2006/relationships/tags" Target="../tags/tag44.xml"/><Relationship Id="rId15" Type="http://schemas.openxmlformats.org/officeDocument/2006/relationships/tags" Target="../tags/tag45.xml"/><Relationship Id="rId16" Type="http://schemas.openxmlformats.org/officeDocument/2006/relationships/tags" Target="../tags/tag46.xml"/><Relationship Id="rId17" Type="http://schemas.openxmlformats.org/officeDocument/2006/relationships/tags" Target="../tags/tag47.xml"/><Relationship Id="rId18" Type="http://schemas.openxmlformats.org/officeDocument/2006/relationships/tags" Target="../tags/tag48.xml"/><Relationship Id="rId19" Type="http://schemas.openxmlformats.org/officeDocument/2006/relationships/tags" Target="../tags/tag49.xml"/><Relationship Id="rId37" Type="http://schemas.openxmlformats.org/officeDocument/2006/relationships/tags" Target="../tags/tag67.xml"/><Relationship Id="rId38" Type="http://schemas.openxmlformats.org/officeDocument/2006/relationships/slideLayout" Target="../slideLayouts/slideLayout13.xml"/><Relationship Id="rId39" Type="http://schemas.openxmlformats.org/officeDocument/2006/relationships/notesSlide" Target="../notesSlides/notesSlide9.xml"/><Relationship Id="rId40" Type="http://schemas.openxmlformats.org/officeDocument/2006/relationships/image" Target="../media/image42.png"/><Relationship Id="rId41" Type="http://schemas.openxmlformats.org/officeDocument/2006/relationships/image" Target="../media/image43.png"/><Relationship Id="rId42" Type="http://schemas.openxmlformats.org/officeDocument/2006/relationships/image" Target="../media/image44.png"/><Relationship Id="rId43" Type="http://schemas.openxmlformats.org/officeDocument/2006/relationships/image" Target="../media/image13.svg"/><Relationship Id="rId44" Type="http://schemas.openxmlformats.org/officeDocument/2006/relationships/image" Target="../media/image46.png"/><Relationship Id="rId45" Type="http://schemas.openxmlformats.org/officeDocument/2006/relationships/image" Target="../media/image4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4" Type="http://schemas.openxmlformats.org/officeDocument/2006/relationships/notesSlide" Target="../notesSlides/notesSlide10.xml"/><Relationship Id="rId5" Type="http://schemas.openxmlformats.org/officeDocument/2006/relationships/image" Target="../media/image44.png"/><Relationship Id="rId6" Type="http://schemas.openxmlformats.org/officeDocument/2006/relationships/image" Target="../media/image13.svg"/><Relationship Id="rId7" Type="http://schemas.openxmlformats.org/officeDocument/2006/relationships/image" Target="../media/image48.png"/><Relationship Id="rId8" Type="http://schemas.openxmlformats.org/officeDocument/2006/relationships/image" Target="../media/image47.png"/><Relationship Id="rId9" Type="http://schemas.openxmlformats.org/officeDocument/2006/relationships/image" Target="../media/image42.png"/><Relationship Id="rId10" Type="http://schemas.openxmlformats.org/officeDocument/2006/relationships/image" Target="../media/image46.png"/><Relationship Id="rId1" Type="http://schemas.openxmlformats.org/officeDocument/2006/relationships/tags" Target="../tags/tag68.xml"/><Relationship Id="rId2" Type="http://schemas.openxmlformats.org/officeDocument/2006/relationships/tags" Target="../tags/tag69.xml"/></Relationships>
</file>

<file path=ppt/slides/_rels/slide14.xml.rels><?xml version="1.0" encoding="UTF-8" standalone="yes"?>
<Relationships xmlns="http://schemas.openxmlformats.org/package/2006/relationships"><Relationship Id="rId20" Type="http://schemas.openxmlformats.org/officeDocument/2006/relationships/tags" Target="../tags/tag89.xml"/><Relationship Id="rId21" Type="http://schemas.openxmlformats.org/officeDocument/2006/relationships/slideLayout" Target="../slideLayouts/slideLayout13.xml"/><Relationship Id="rId22" Type="http://schemas.openxmlformats.org/officeDocument/2006/relationships/notesSlide" Target="../notesSlides/notesSlide11.xml"/><Relationship Id="rId23" Type="http://schemas.openxmlformats.org/officeDocument/2006/relationships/image" Target="../media/image44.png"/><Relationship Id="rId28" Type="http://schemas.openxmlformats.org/officeDocument/2006/relationships/image" Target="../media/image13.svg"/><Relationship Id="rId29" Type="http://schemas.openxmlformats.org/officeDocument/2006/relationships/image" Target="../media/image48.png"/><Relationship Id="rId1" Type="http://schemas.openxmlformats.org/officeDocument/2006/relationships/tags" Target="../tags/tag70.xml"/><Relationship Id="rId2" Type="http://schemas.openxmlformats.org/officeDocument/2006/relationships/tags" Target="../tags/tag71.xml"/><Relationship Id="rId3" Type="http://schemas.openxmlformats.org/officeDocument/2006/relationships/tags" Target="../tags/tag72.xml"/><Relationship Id="rId4" Type="http://schemas.openxmlformats.org/officeDocument/2006/relationships/tags" Target="../tags/tag73.xml"/><Relationship Id="rId5" Type="http://schemas.openxmlformats.org/officeDocument/2006/relationships/tags" Target="../tags/tag74.xml"/><Relationship Id="rId30" Type="http://schemas.openxmlformats.org/officeDocument/2006/relationships/image" Target="../media/image47.png"/><Relationship Id="rId31" Type="http://schemas.openxmlformats.org/officeDocument/2006/relationships/image" Target="../media/image42.png"/><Relationship Id="rId32" Type="http://schemas.openxmlformats.org/officeDocument/2006/relationships/image" Target="../media/image46.png"/><Relationship Id="rId9" Type="http://schemas.openxmlformats.org/officeDocument/2006/relationships/tags" Target="../tags/tag78.xml"/><Relationship Id="rId33" Type="http://schemas.openxmlformats.org/officeDocument/2006/relationships/image" Target="../media/image49.png"/><Relationship Id="rId34" Type="http://schemas.openxmlformats.org/officeDocument/2006/relationships/image" Target="../media/image20.svg"/><Relationship Id="rId35" Type="http://schemas.openxmlformats.org/officeDocument/2006/relationships/image" Target="../media/image50.png"/><Relationship Id="rId36" Type="http://schemas.openxmlformats.org/officeDocument/2006/relationships/image" Target="../media/image22.svg"/><Relationship Id="rId6" Type="http://schemas.openxmlformats.org/officeDocument/2006/relationships/tags" Target="../tags/tag75.xml"/><Relationship Id="rId7" Type="http://schemas.openxmlformats.org/officeDocument/2006/relationships/tags" Target="../tags/tag76.xml"/><Relationship Id="rId8" Type="http://schemas.openxmlformats.org/officeDocument/2006/relationships/tags" Target="../tags/tag77.xml"/><Relationship Id="rId10" Type="http://schemas.openxmlformats.org/officeDocument/2006/relationships/tags" Target="../tags/tag79.xml"/><Relationship Id="rId11" Type="http://schemas.openxmlformats.org/officeDocument/2006/relationships/tags" Target="../tags/tag80.xml"/><Relationship Id="rId12" Type="http://schemas.openxmlformats.org/officeDocument/2006/relationships/tags" Target="../tags/tag81.xml"/><Relationship Id="rId13" Type="http://schemas.openxmlformats.org/officeDocument/2006/relationships/tags" Target="../tags/tag82.xml"/><Relationship Id="rId14" Type="http://schemas.openxmlformats.org/officeDocument/2006/relationships/tags" Target="../tags/tag83.xml"/><Relationship Id="rId15" Type="http://schemas.openxmlformats.org/officeDocument/2006/relationships/tags" Target="../tags/tag84.xml"/><Relationship Id="rId16" Type="http://schemas.openxmlformats.org/officeDocument/2006/relationships/tags" Target="../tags/tag85.xml"/><Relationship Id="rId17" Type="http://schemas.openxmlformats.org/officeDocument/2006/relationships/tags" Target="../tags/tag86.xml"/><Relationship Id="rId18" Type="http://schemas.openxmlformats.org/officeDocument/2006/relationships/tags" Target="../tags/tag87.xml"/><Relationship Id="rId19" Type="http://schemas.openxmlformats.org/officeDocument/2006/relationships/tags" Target="../tags/tag88.xml"/><Relationship Id="rId37" Type="http://schemas.openxmlformats.org/officeDocument/2006/relationships/image" Target="../media/image51.png"/><Relationship Id="rId40" Type="http://schemas.openxmlformats.org/officeDocument/2006/relationships/image" Target="../media/image26.svg"/><Relationship Id="rId41" Type="http://schemas.openxmlformats.org/officeDocument/2006/relationships/image" Target="../media/image52.png"/><Relationship Id="rId42" Type="http://schemas.openxmlformats.org/officeDocument/2006/relationships/image" Target="../media/image28.svg"/><Relationship Id="rId43" Type="http://schemas.openxmlformats.org/officeDocument/2006/relationships/image" Target="../media/image53.png"/><Relationship Id="rId44" Type="http://schemas.openxmlformats.org/officeDocument/2006/relationships/image" Target="../media/image30.svg"/></Relationships>
</file>

<file path=ppt/slides/_rels/slide15.xml.rels><?xml version="1.0" encoding="UTF-8" standalone="yes"?>
<Relationships xmlns="http://schemas.openxmlformats.org/package/2006/relationships"><Relationship Id="rId20" Type="http://schemas.openxmlformats.org/officeDocument/2006/relationships/tags" Target="../tags/tag109.xml"/><Relationship Id="rId21" Type="http://schemas.openxmlformats.org/officeDocument/2006/relationships/tags" Target="../tags/tag110.xml"/><Relationship Id="rId22" Type="http://schemas.openxmlformats.org/officeDocument/2006/relationships/tags" Target="../tags/tag111.xml"/><Relationship Id="rId23" Type="http://schemas.openxmlformats.org/officeDocument/2006/relationships/tags" Target="../tags/tag112.xml"/><Relationship Id="rId24" Type="http://schemas.openxmlformats.org/officeDocument/2006/relationships/tags" Target="../tags/tag113.xml"/><Relationship Id="rId25" Type="http://schemas.openxmlformats.org/officeDocument/2006/relationships/tags" Target="../tags/tag114.xml"/><Relationship Id="rId26" Type="http://schemas.openxmlformats.org/officeDocument/2006/relationships/tags" Target="../tags/tag115.xml"/><Relationship Id="rId27" Type="http://schemas.openxmlformats.org/officeDocument/2006/relationships/slideLayout" Target="../slideLayouts/slideLayout13.xml"/><Relationship Id="rId28" Type="http://schemas.openxmlformats.org/officeDocument/2006/relationships/notesSlide" Target="../notesSlides/notesSlide12.xml"/><Relationship Id="rId29" Type="http://schemas.openxmlformats.org/officeDocument/2006/relationships/image" Target="../media/image54.png"/><Relationship Id="rId1" Type="http://schemas.openxmlformats.org/officeDocument/2006/relationships/tags" Target="../tags/tag90.xml"/><Relationship Id="rId2" Type="http://schemas.openxmlformats.org/officeDocument/2006/relationships/tags" Target="../tags/tag91.xml"/><Relationship Id="rId3" Type="http://schemas.openxmlformats.org/officeDocument/2006/relationships/tags" Target="../tags/tag92.xml"/><Relationship Id="rId4" Type="http://schemas.openxmlformats.org/officeDocument/2006/relationships/tags" Target="../tags/tag93.xml"/><Relationship Id="rId5" Type="http://schemas.openxmlformats.org/officeDocument/2006/relationships/tags" Target="../tags/tag94.xml"/><Relationship Id="rId6" Type="http://schemas.openxmlformats.org/officeDocument/2006/relationships/tags" Target="../tags/tag95.xml"/><Relationship Id="rId7" Type="http://schemas.openxmlformats.org/officeDocument/2006/relationships/tags" Target="../tags/tag96.xml"/><Relationship Id="rId8" Type="http://schemas.openxmlformats.org/officeDocument/2006/relationships/tags" Target="../tags/tag97.xml"/><Relationship Id="rId9" Type="http://schemas.openxmlformats.org/officeDocument/2006/relationships/tags" Target="../tags/tag98.xml"/><Relationship Id="rId37" Type="http://schemas.openxmlformats.org/officeDocument/2006/relationships/image" Target="../media/image34.svg"/><Relationship Id="rId38" Type="http://schemas.openxmlformats.org/officeDocument/2006/relationships/image" Target="../media/image55.png"/><Relationship Id="rId39" Type="http://schemas.openxmlformats.org/officeDocument/2006/relationships/image" Target="../media/image36.svg"/><Relationship Id="rId10" Type="http://schemas.openxmlformats.org/officeDocument/2006/relationships/tags" Target="../tags/tag99.xml"/><Relationship Id="rId11" Type="http://schemas.openxmlformats.org/officeDocument/2006/relationships/tags" Target="../tags/tag100.xml"/><Relationship Id="rId12" Type="http://schemas.openxmlformats.org/officeDocument/2006/relationships/tags" Target="../tags/tag101.xml"/><Relationship Id="rId13" Type="http://schemas.openxmlformats.org/officeDocument/2006/relationships/tags" Target="../tags/tag102.xml"/><Relationship Id="rId14" Type="http://schemas.openxmlformats.org/officeDocument/2006/relationships/tags" Target="../tags/tag103.xml"/><Relationship Id="rId15" Type="http://schemas.openxmlformats.org/officeDocument/2006/relationships/tags" Target="../tags/tag104.xml"/><Relationship Id="rId16" Type="http://schemas.openxmlformats.org/officeDocument/2006/relationships/tags" Target="../tags/tag105.xml"/><Relationship Id="rId17" Type="http://schemas.openxmlformats.org/officeDocument/2006/relationships/tags" Target="../tags/tag106.xml"/><Relationship Id="rId18" Type="http://schemas.openxmlformats.org/officeDocument/2006/relationships/tags" Target="../tags/tag107.xml"/><Relationship Id="rId19" Type="http://schemas.openxmlformats.org/officeDocument/2006/relationships/tags" Target="../tags/tag108.xml"/><Relationship Id="rId40" Type="http://schemas.openxmlformats.org/officeDocument/2006/relationships/image" Target="../media/image56.png"/><Relationship Id="rId41" Type="http://schemas.openxmlformats.org/officeDocument/2006/relationships/image" Target="../media/image38.svg"/><Relationship Id="rId42" Type="http://schemas.openxmlformats.org/officeDocument/2006/relationships/image" Target="../media/image42.png"/><Relationship Id="rId43" Type="http://schemas.openxmlformats.org/officeDocument/2006/relationships/image" Target="../media/image44.png"/><Relationship Id="rId44" Type="http://schemas.openxmlformats.org/officeDocument/2006/relationships/image" Target="../media/image13.svg"/><Relationship Id="rId45" Type="http://schemas.openxmlformats.org/officeDocument/2006/relationships/image" Target="../media/image4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4" Type="http://schemas.openxmlformats.org/officeDocument/2006/relationships/image" Target="../media/image58.png"/><Relationship Id="rId5" Type="http://schemas.openxmlformats.org/officeDocument/2006/relationships/image" Target="../media/image59.png"/><Relationship Id="rId6" Type="http://schemas.openxmlformats.org/officeDocument/2006/relationships/image" Target="../media/image60.png"/><Relationship Id="rId7" Type="http://schemas.openxmlformats.org/officeDocument/2006/relationships/image" Target="../media/image61.png"/><Relationship Id="rId8" Type="http://schemas.openxmlformats.org/officeDocument/2006/relationships/image" Target="../media/image62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4" Type="http://schemas.openxmlformats.org/officeDocument/2006/relationships/image" Target="../media/image58.png"/><Relationship Id="rId5" Type="http://schemas.openxmlformats.org/officeDocument/2006/relationships/image" Target="../media/image59.png"/><Relationship Id="rId6" Type="http://schemas.openxmlformats.org/officeDocument/2006/relationships/image" Target="../media/image60.png"/><Relationship Id="rId7" Type="http://schemas.openxmlformats.org/officeDocument/2006/relationships/image" Target="../media/image61.png"/><Relationship Id="rId8" Type="http://schemas.openxmlformats.org/officeDocument/2006/relationships/image" Target="../media/image62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4" Type="http://schemas.openxmlformats.org/officeDocument/2006/relationships/image" Target="../media/image27.png"/><Relationship Id="rId5" Type="http://schemas.openxmlformats.org/officeDocument/2006/relationships/image" Target="../media/image28.png"/><Relationship Id="rId6" Type="http://schemas.openxmlformats.org/officeDocument/2006/relationships/image" Target="../media/image29.png"/><Relationship Id="rId7" Type="http://schemas.openxmlformats.org/officeDocument/2006/relationships/image" Target="../media/image30.png"/><Relationship Id="rId1" Type="http://schemas.openxmlformats.org/officeDocument/2006/relationships/slideLayout" Target="../slideLayouts/slideLayout137.xml"/><Relationship Id="rId2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128.xml"/><Relationship Id="rId14" Type="http://schemas.openxmlformats.org/officeDocument/2006/relationships/tags" Target="../tags/tag129.xml"/><Relationship Id="rId15" Type="http://schemas.openxmlformats.org/officeDocument/2006/relationships/tags" Target="../tags/tag130.xml"/><Relationship Id="rId16" Type="http://schemas.openxmlformats.org/officeDocument/2006/relationships/tags" Target="../tags/tag131.xml"/><Relationship Id="rId17" Type="http://schemas.openxmlformats.org/officeDocument/2006/relationships/tags" Target="../tags/tag132.xml"/><Relationship Id="rId18" Type="http://schemas.openxmlformats.org/officeDocument/2006/relationships/tags" Target="../tags/tag133.xml"/><Relationship Id="rId19" Type="http://schemas.openxmlformats.org/officeDocument/2006/relationships/tags" Target="../tags/tag134.xml"/><Relationship Id="rId63" Type="http://schemas.openxmlformats.org/officeDocument/2006/relationships/diagramData" Target="../diagrams/data3.xml"/><Relationship Id="rId64" Type="http://schemas.openxmlformats.org/officeDocument/2006/relationships/diagramLayout" Target="../diagrams/layout3.xml"/><Relationship Id="rId65" Type="http://schemas.openxmlformats.org/officeDocument/2006/relationships/diagramQuickStyle" Target="../diagrams/quickStyle3.xml"/><Relationship Id="rId66" Type="http://schemas.openxmlformats.org/officeDocument/2006/relationships/diagramColors" Target="../diagrams/colors3.xml"/><Relationship Id="rId67" Type="http://schemas.microsoft.com/office/2007/relationships/diagramDrawing" Target="../diagrams/drawing3.xml"/><Relationship Id="rId68" Type="http://schemas.openxmlformats.org/officeDocument/2006/relationships/image" Target="../media/image88.png"/><Relationship Id="rId69" Type="http://schemas.openxmlformats.org/officeDocument/2006/relationships/image" Target="../media/image89.png"/><Relationship Id="rId50" Type="http://schemas.openxmlformats.org/officeDocument/2006/relationships/image" Target="../media/image80.emf"/><Relationship Id="rId51" Type="http://schemas.openxmlformats.org/officeDocument/2006/relationships/image" Target="../media/image81.emf"/><Relationship Id="rId52" Type="http://schemas.openxmlformats.org/officeDocument/2006/relationships/image" Target="../media/image82.emf"/><Relationship Id="rId53" Type="http://schemas.openxmlformats.org/officeDocument/2006/relationships/diagramData" Target="../diagrams/data2.xml"/><Relationship Id="rId54" Type="http://schemas.openxmlformats.org/officeDocument/2006/relationships/diagramLayout" Target="../diagrams/layout2.xml"/><Relationship Id="rId55" Type="http://schemas.openxmlformats.org/officeDocument/2006/relationships/diagramQuickStyle" Target="../diagrams/quickStyle2.xml"/><Relationship Id="rId56" Type="http://schemas.openxmlformats.org/officeDocument/2006/relationships/diagramColors" Target="../diagrams/colors2.xml"/><Relationship Id="rId57" Type="http://schemas.microsoft.com/office/2007/relationships/diagramDrawing" Target="../diagrams/drawing2.xml"/><Relationship Id="rId58" Type="http://schemas.openxmlformats.org/officeDocument/2006/relationships/image" Target="../media/image83.png"/><Relationship Id="rId59" Type="http://schemas.openxmlformats.org/officeDocument/2006/relationships/image" Target="../media/image84.png"/><Relationship Id="rId40" Type="http://schemas.openxmlformats.org/officeDocument/2006/relationships/image" Target="../media/image70.jpeg"/><Relationship Id="rId41" Type="http://schemas.openxmlformats.org/officeDocument/2006/relationships/image" Target="../media/image71.jpeg"/><Relationship Id="rId42" Type="http://schemas.openxmlformats.org/officeDocument/2006/relationships/image" Target="../media/image72.png"/><Relationship Id="rId43" Type="http://schemas.openxmlformats.org/officeDocument/2006/relationships/image" Target="../media/image73.emf"/><Relationship Id="rId44" Type="http://schemas.openxmlformats.org/officeDocument/2006/relationships/image" Target="../media/image74.png"/><Relationship Id="rId45" Type="http://schemas.openxmlformats.org/officeDocument/2006/relationships/image" Target="../media/image75.emf"/><Relationship Id="rId46" Type="http://schemas.openxmlformats.org/officeDocument/2006/relationships/image" Target="../media/image76.jpeg"/><Relationship Id="rId47" Type="http://schemas.openxmlformats.org/officeDocument/2006/relationships/image" Target="../media/image77.png"/><Relationship Id="rId48" Type="http://schemas.openxmlformats.org/officeDocument/2006/relationships/image" Target="../media/image78.png"/><Relationship Id="rId49" Type="http://schemas.openxmlformats.org/officeDocument/2006/relationships/image" Target="../media/image79.png"/><Relationship Id="rId1" Type="http://schemas.openxmlformats.org/officeDocument/2006/relationships/tags" Target="../tags/tag116.xml"/><Relationship Id="rId2" Type="http://schemas.openxmlformats.org/officeDocument/2006/relationships/tags" Target="../tags/tag117.xml"/><Relationship Id="rId3" Type="http://schemas.openxmlformats.org/officeDocument/2006/relationships/tags" Target="../tags/tag118.xml"/><Relationship Id="rId4" Type="http://schemas.openxmlformats.org/officeDocument/2006/relationships/tags" Target="../tags/tag119.xml"/><Relationship Id="rId5" Type="http://schemas.openxmlformats.org/officeDocument/2006/relationships/tags" Target="../tags/tag120.xml"/><Relationship Id="rId6" Type="http://schemas.openxmlformats.org/officeDocument/2006/relationships/tags" Target="../tags/tag121.xml"/><Relationship Id="rId7" Type="http://schemas.openxmlformats.org/officeDocument/2006/relationships/tags" Target="../tags/tag122.xml"/><Relationship Id="rId8" Type="http://schemas.openxmlformats.org/officeDocument/2006/relationships/tags" Target="../tags/tag123.xml"/><Relationship Id="rId9" Type="http://schemas.openxmlformats.org/officeDocument/2006/relationships/tags" Target="../tags/tag124.xml"/><Relationship Id="rId30" Type="http://schemas.openxmlformats.org/officeDocument/2006/relationships/diagramData" Target="../diagrams/data1.xml"/><Relationship Id="rId31" Type="http://schemas.openxmlformats.org/officeDocument/2006/relationships/diagramLayout" Target="../diagrams/layout1.xml"/><Relationship Id="rId32" Type="http://schemas.openxmlformats.org/officeDocument/2006/relationships/diagramQuickStyle" Target="../diagrams/quickStyle1.xml"/><Relationship Id="rId33" Type="http://schemas.openxmlformats.org/officeDocument/2006/relationships/diagramColors" Target="../diagrams/colors1.xml"/><Relationship Id="rId34" Type="http://schemas.microsoft.com/office/2007/relationships/diagramDrawing" Target="../diagrams/drawing1.xml"/><Relationship Id="rId35" Type="http://schemas.openxmlformats.org/officeDocument/2006/relationships/image" Target="../media/image65.png"/><Relationship Id="rId36" Type="http://schemas.openxmlformats.org/officeDocument/2006/relationships/image" Target="../media/image66.tmp"/><Relationship Id="rId37" Type="http://schemas.openxmlformats.org/officeDocument/2006/relationships/image" Target="../media/image67.png"/><Relationship Id="rId38" Type="http://schemas.openxmlformats.org/officeDocument/2006/relationships/image" Target="../media/image68.png"/><Relationship Id="rId39" Type="http://schemas.openxmlformats.org/officeDocument/2006/relationships/image" Target="../media/image69.png"/><Relationship Id="rId70" Type="http://schemas.openxmlformats.org/officeDocument/2006/relationships/image" Target="../media/image90.png"/><Relationship Id="rId71" Type="http://schemas.openxmlformats.org/officeDocument/2006/relationships/image" Target="../media/image91.png"/><Relationship Id="rId20" Type="http://schemas.openxmlformats.org/officeDocument/2006/relationships/tags" Target="../tags/tag135.xml"/><Relationship Id="rId21" Type="http://schemas.openxmlformats.org/officeDocument/2006/relationships/tags" Target="../tags/tag136.xml"/><Relationship Id="rId22" Type="http://schemas.openxmlformats.org/officeDocument/2006/relationships/tags" Target="../tags/tag137.xml"/><Relationship Id="rId23" Type="http://schemas.openxmlformats.org/officeDocument/2006/relationships/tags" Target="../tags/tag138.xml"/><Relationship Id="rId24" Type="http://schemas.openxmlformats.org/officeDocument/2006/relationships/tags" Target="../tags/tag139.xml"/><Relationship Id="rId25" Type="http://schemas.openxmlformats.org/officeDocument/2006/relationships/tags" Target="../tags/tag140.xml"/><Relationship Id="rId26" Type="http://schemas.openxmlformats.org/officeDocument/2006/relationships/tags" Target="../tags/tag141.xml"/><Relationship Id="rId27" Type="http://schemas.openxmlformats.org/officeDocument/2006/relationships/slideLayout" Target="../slideLayouts/slideLayout27.xml"/><Relationship Id="rId28" Type="http://schemas.openxmlformats.org/officeDocument/2006/relationships/image" Target="../media/image63.png"/><Relationship Id="rId29" Type="http://schemas.openxmlformats.org/officeDocument/2006/relationships/image" Target="../media/image64.png"/><Relationship Id="rId60" Type="http://schemas.openxmlformats.org/officeDocument/2006/relationships/image" Target="../media/image85.png"/><Relationship Id="rId61" Type="http://schemas.openxmlformats.org/officeDocument/2006/relationships/image" Target="../media/image86.png"/><Relationship Id="rId62" Type="http://schemas.openxmlformats.org/officeDocument/2006/relationships/image" Target="../media/image87.png"/><Relationship Id="rId10" Type="http://schemas.openxmlformats.org/officeDocument/2006/relationships/tags" Target="../tags/tag125.xml"/><Relationship Id="rId11" Type="http://schemas.openxmlformats.org/officeDocument/2006/relationships/tags" Target="../tags/tag126.xml"/><Relationship Id="rId12" Type="http://schemas.openxmlformats.org/officeDocument/2006/relationships/tags" Target="../tags/tag12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4" Type="http://schemas.openxmlformats.org/officeDocument/2006/relationships/image" Target="../media/image32.png"/><Relationship Id="rId1" Type="http://schemas.openxmlformats.org/officeDocument/2006/relationships/slideLayout" Target="../slideLayouts/slideLayout138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4" Type="http://schemas.openxmlformats.org/officeDocument/2006/relationships/image" Target="../media/image34.jpeg"/><Relationship Id="rId1" Type="http://schemas.openxmlformats.org/officeDocument/2006/relationships/slideLayout" Target="../slideLayouts/slideLayout109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9.xml"/><Relationship Id="rId4" Type="http://schemas.openxmlformats.org/officeDocument/2006/relationships/notesSlide" Target="../notesSlides/notesSlide4.xml"/><Relationship Id="rId5" Type="http://schemas.openxmlformats.org/officeDocument/2006/relationships/image" Target="../media/image35.jpeg"/><Relationship Id="rId6" Type="http://schemas.openxmlformats.org/officeDocument/2006/relationships/oleObject" Target="../embeddings/oleObject2.bin"/><Relationship Id="rId7" Type="http://schemas.openxmlformats.org/officeDocument/2006/relationships/image" Target="../media/image7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4" Type="http://schemas.openxmlformats.org/officeDocument/2006/relationships/image" Target="../media/image38.emf"/><Relationship Id="rId5" Type="http://schemas.openxmlformats.org/officeDocument/2006/relationships/image" Target="../media/image39.emf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>
            <a:extLst>
              <a:ext uri="{FF2B5EF4-FFF2-40B4-BE49-F238E27FC236}">
                <a16:creationId xmlns="" xmlns:a16="http://schemas.microsoft.com/office/drawing/2014/main" id="{93894206-7958-41E4-952D-4133A6B6D1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9496" y="3524704"/>
            <a:ext cx="8296421" cy="63219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latin typeface="CiscoSans ExtraLight" charset="0"/>
                <a:ea typeface="CiscoSans ExtraLight" charset="0"/>
                <a:cs typeface="CiscoSans ExtraLight" charset="0"/>
              </a:rPr>
              <a:t>Sam Rastogi - SP &amp; DC Security Product </a:t>
            </a:r>
            <a:r>
              <a:rPr lang="en-US" dirty="0" smtClean="0">
                <a:latin typeface="CiscoSans ExtraLight" charset="0"/>
                <a:ea typeface="CiscoSans ExtraLight" charset="0"/>
                <a:cs typeface="CiscoSans ExtraLight" charset="0"/>
              </a:rPr>
              <a:t>Marketing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 err="1" smtClean="0">
                <a:latin typeface="CiscoSans ExtraLight" charset="0"/>
                <a:ea typeface="CiscoSans ExtraLight" charset="0"/>
                <a:cs typeface="CiscoSans ExtraLight" charset="0"/>
              </a:rPr>
              <a:t>Taslimm</a:t>
            </a:r>
            <a:r>
              <a:rPr lang="en-US" dirty="0" smtClean="0">
                <a:latin typeface="CiscoSans ExtraLight" charset="0"/>
                <a:ea typeface="CiscoSans ExtraLight" charset="0"/>
                <a:cs typeface="CiscoSans ExtraLight" charset="0"/>
              </a:rPr>
              <a:t> </a:t>
            </a:r>
            <a:r>
              <a:rPr lang="en-US" dirty="0" smtClean="0">
                <a:latin typeface="CiscoSans ExtraLight" charset="0"/>
                <a:ea typeface="CiscoSans ExtraLight" charset="0"/>
                <a:cs typeface="CiscoSans ExtraLight" charset="0"/>
              </a:rPr>
              <a:t>Quraishi </a:t>
            </a:r>
            <a:r>
              <a:rPr lang="mr-IN" dirty="0" smtClean="0">
                <a:latin typeface="CiscoSans ExtraLight" charset="0"/>
                <a:ea typeface="CiscoSans ExtraLight" charset="0"/>
                <a:cs typeface="CiscoSans ExtraLight" charset="0"/>
              </a:rPr>
              <a:t>–</a:t>
            </a:r>
            <a:r>
              <a:rPr lang="en-US" dirty="0" smtClean="0">
                <a:latin typeface="CiscoSans ExtraLight" charset="0"/>
                <a:ea typeface="CiscoSans ExtraLight" charset="0"/>
                <a:cs typeface="CiscoSans ExtraLight" charset="0"/>
              </a:rPr>
              <a:t> GSP Director, Security Services</a:t>
            </a:r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C085B9A4-BFC9-44F8-9648-90BFF3CFED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9496" y="4043448"/>
            <a:ext cx="8296421" cy="288131"/>
          </a:xfrm>
        </p:spPr>
        <p:txBody>
          <a:bodyPr/>
          <a:lstStyle/>
          <a:p>
            <a:r>
              <a:rPr lang="en-US" dirty="0" smtClean="0">
                <a:latin typeface="CiscoSans ExtraLight" charset="0"/>
                <a:ea typeface="CiscoSans ExtraLight" charset="0"/>
                <a:cs typeface="CiscoSans ExtraLight" charset="0"/>
              </a:rPr>
              <a:t>Ron Hinderer – GSSO GSP Security Sales</a:t>
            </a:r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="" xmlns:a16="http://schemas.microsoft.com/office/drawing/2014/main" id="{3A1BF7B9-44FE-4C4B-BA16-CD9C2568D0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9496" y="4616796"/>
            <a:ext cx="8296421" cy="288131"/>
          </a:xfrm>
        </p:spPr>
        <p:txBody>
          <a:bodyPr/>
          <a:lstStyle/>
          <a:p>
            <a:r>
              <a:rPr lang="en-US">
                <a:latin typeface="CiscoSans ExtraLight" charset="0"/>
                <a:ea typeface="CiscoSans ExtraLight" charset="0"/>
                <a:cs typeface="CiscoSans ExtraLight" charset="0"/>
              </a:rPr>
              <a:t>November 15, 2017</a:t>
            </a:r>
          </a:p>
          <a:p>
            <a:endParaRPr lang="en-US" dirty="0" smtClean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5DCECAFD-3989-42A1-80FC-9F3F871950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CiscoSans ExtraLight" charset="0"/>
                <a:ea typeface="CiscoSans ExtraLight" charset="0"/>
                <a:cs typeface="CiscoSans ExtraLight" charset="0"/>
              </a:rPr>
              <a:t>Build Your Service Provider Data Center Right with Security &amp; Analytic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644900" y="55499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 smtClean="0">
              <a:latin typeface="+mn-lt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="" xmlns:a16="http://schemas.microsoft.com/office/drawing/2014/main" id="{C085B9A4-BFC9-44F8-9648-90BFF3CFED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9496" y="4259954"/>
            <a:ext cx="8296421" cy="288131"/>
          </a:xfrm>
        </p:spPr>
        <p:txBody>
          <a:bodyPr/>
          <a:lstStyle/>
          <a:p>
            <a:r>
              <a:rPr lang="en-US" dirty="0" smtClean="0">
                <a:latin typeface="CiscoSans ExtraLight" charset="0"/>
                <a:ea typeface="CiscoSans ExtraLight" charset="0"/>
                <a:cs typeface="CiscoSans ExtraLight" charset="0"/>
              </a:rPr>
              <a:t>Jeff Glass – Director, GSP Sales</a:t>
            </a:r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6459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9A1242C5-353F-4E0D-B96B-F4B4FCB66C4E}"/>
              </a:ext>
            </a:extLst>
          </p:cNvPr>
          <p:cNvSpPr/>
          <p:nvPr/>
        </p:nvSpPr>
        <p:spPr>
          <a:xfrm>
            <a:off x="0" y="4533900"/>
            <a:ext cx="4048125" cy="6096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1086" name="Group 2380">
            <a:extLst>
              <a:ext uri="{FF2B5EF4-FFF2-40B4-BE49-F238E27FC236}">
                <a16:creationId xmlns:a16="http://schemas.microsoft.com/office/drawing/2014/main" xmlns="" id="{122F786F-2B45-4A44-B0F3-ABED584B7C2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30929" y="-29937"/>
            <a:ext cx="6429375" cy="6374289"/>
            <a:chOff x="1246" y="0"/>
            <a:chExt cx="3268" cy="3240"/>
          </a:xfrm>
        </p:grpSpPr>
        <p:grpSp>
          <p:nvGrpSpPr>
            <p:cNvPr id="1087" name="Group 2581">
              <a:extLst>
                <a:ext uri="{FF2B5EF4-FFF2-40B4-BE49-F238E27FC236}">
                  <a16:creationId xmlns:a16="http://schemas.microsoft.com/office/drawing/2014/main" xmlns="" id="{158AD77C-2367-45D2-A7E6-A05F66DA1F2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76" y="30"/>
              <a:ext cx="3178" cy="3180"/>
              <a:chOff x="1276" y="30"/>
              <a:chExt cx="3178" cy="3180"/>
            </a:xfrm>
          </p:grpSpPr>
          <p:sp>
            <p:nvSpPr>
              <p:cNvPr id="1675" name="Line 2381">
                <a:extLst>
                  <a:ext uri="{FF2B5EF4-FFF2-40B4-BE49-F238E27FC236}">
                    <a16:creationId xmlns:a16="http://schemas.microsoft.com/office/drawing/2014/main" xmlns="" id="{B579939B-51FA-43FE-AFEF-0F8EE663871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47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6" name="Freeform 2382">
                <a:extLst>
                  <a:ext uri="{FF2B5EF4-FFF2-40B4-BE49-F238E27FC236}">
                    <a16:creationId xmlns:a16="http://schemas.microsoft.com/office/drawing/2014/main" xmlns="" id="{312E7995-F07F-47BE-A01A-8BD80A1551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1410"/>
                <a:ext cx="300" cy="210"/>
              </a:xfrm>
              <a:custGeom>
                <a:avLst/>
                <a:gdLst>
                  <a:gd name="T0" fmla="*/ 210 w 300"/>
                  <a:gd name="T1" fmla="*/ 90 h 210"/>
                  <a:gd name="T2" fmla="*/ 300 w 300"/>
                  <a:gd name="T3" fmla="*/ 30 h 210"/>
                  <a:gd name="T4" fmla="*/ 300 w 300"/>
                  <a:gd name="T5" fmla="*/ 120 h 210"/>
                  <a:gd name="T6" fmla="*/ 240 w 300"/>
                  <a:gd name="T7" fmla="*/ 210 h 210"/>
                  <a:gd name="T8" fmla="*/ 150 w 300"/>
                  <a:gd name="T9" fmla="*/ 150 h 210"/>
                  <a:gd name="T10" fmla="*/ 60 w 300"/>
                  <a:gd name="T11" fmla="*/ 90 h 210"/>
                  <a:gd name="T12" fmla="*/ 0 w 300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0" h="210">
                    <a:moveTo>
                      <a:pt x="210" y="90"/>
                    </a:moveTo>
                    <a:lnTo>
                      <a:pt x="300" y="30"/>
                    </a:lnTo>
                    <a:lnTo>
                      <a:pt x="300" y="120"/>
                    </a:lnTo>
                    <a:lnTo>
                      <a:pt x="240" y="210"/>
                    </a:lnTo>
                    <a:lnTo>
                      <a:pt x="150" y="150"/>
                    </a:lnTo>
                    <a:lnTo>
                      <a:pt x="60" y="9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7" name="Freeform 2383">
                <a:extLst>
                  <a:ext uri="{FF2B5EF4-FFF2-40B4-BE49-F238E27FC236}">
                    <a16:creationId xmlns:a16="http://schemas.microsoft.com/office/drawing/2014/main" xmlns="" id="{BBF0071E-C809-440C-8DFD-A241C2B5E2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5" y="1292"/>
                <a:ext cx="180" cy="208"/>
              </a:xfrm>
              <a:custGeom>
                <a:avLst/>
                <a:gdLst>
                  <a:gd name="T0" fmla="*/ 0 w 180"/>
                  <a:gd name="T1" fmla="*/ 149 h 208"/>
                  <a:gd name="T2" fmla="*/ 150 w 180"/>
                  <a:gd name="T3" fmla="*/ 208 h 208"/>
                  <a:gd name="T4" fmla="*/ 180 w 180"/>
                  <a:gd name="T5" fmla="*/ 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08">
                    <a:moveTo>
                      <a:pt x="0" y="149"/>
                    </a:moveTo>
                    <a:lnTo>
                      <a:pt x="150" y="208"/>
                    </a:lnTo>
                    <a:lnTo>
                      <a:pt x="1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8" name="Line 2384">
                <a:extLst>
                  <a:ext uri="{FF2B5EF4-FFF2-40B4-BE49-F238E27FC236}">
                    <a16:creationId xmlns:a16="http://schemas.microsoft.com/office/drawing/2014/main" xmlns="" id="{CAFF69D4-4F1E-4D07-8AFA-BEB1440370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535" y="1620"/>
                <a:ext cx="18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9" name="Line 2385">
                <a:extLst>
                  <a:ext uri="{FF2B5EF4-FFF2-40B4-BE49-F238E27FC236}">
                    <a16:creationId xmlns:a16="http://schemas.microsoft.com/office/drawing/2014/main" xmlns="" id="{6B41BA13-2870-40BA-A345-BF6F44EE5B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560"/>
                <a:ext cx="6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0" name="Freeform 2386">
                <a:extLst>
                  <a:ext uri="{FF2B5EF4-FFF2-40B4-BE49-F238E27FC236}">
                    <a16:creationId xmlns:a16="http://schemas.microsoft.com/office/drawing/2014/main" xmlns="" id="{C6593FCD-232E-408B-92AE-2F1189522A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5" y="1650"/>
                <a:ext cx="210" cy="330"/>
              </a:xfrm>
              <a:custGeom>
                <a:avLst/>
                <a:gdLst>
                  <a:gd name="T0" fmla="*/ 120 w 210"/>
                  <a:gd name="T1" fmla="*/ 60 h 330"/>
                  <a:gd name="T2" fmla="*/ 0 w 210"/>
                  <a:gd name="T3" fmla="*/ 0 h 330"/>
                  <a:gd name="T4" fmla="*/ 0 w 210"/>
                  <a:gd name="T5" fmla="*/ 330 h 330"/>
                  <a:gd name="T6" fmla="*/ 210 w 210"/>
                  <a:gd name="T7" fmla="*/ 270 h 330"/>
                  <a:gd name="T8" fmla="*/ 119 w 210"/>
                  <a:gd name="T9" fmla="*/ 182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0" h="330">
                    <a:moveTo>
                      <a:pt x="120" y="60"/>
                    </a:moveTo>
                    <a:lnTo>
                      <a:pt x="0" y="0"/>
                    </a:lnTo>
                    <a:lnTo>
                      <a:pt x="0" y="330"/>
                    </a:lnTo>
                    <a:lnTo>
                      <a:pt x="210" y="270"/>
                    </a:lnTo>
                    <a:lnTo>
                      <a:pt x="119" y="18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1" name="Freeform 2387">
                <a:extLst>
                  <a:ext uri="{FF2B5EF4-FFF2-40B4-BE49-F238E27FC236}">
                    <a16:creationId xmlns:a16="http://schemas.microsoft.com/office/drawing/2014/main" xmlns="" id="{4F948751-8892-41E9-9CFC-CD37787B90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4" y="1680"/>
                <a:ext cx="151" cy="152"/>
              </a:xfrm>
              <a:custGeom>
                <a:avLst/>
                <a:gdLst>
                  <a:gd name="T0" fmla="*/ 121 w 151"/>
                  <a:gd name="T1" fmla="*/ 0 h 152"/>
                  <a:gd name="T2" fmla="*/ 151 w 151"/>
                  <a:gd name="T3" fmla="*/ 120 h 152"/>
                  <a:gd name="T4" fmla="*/ 0 w 151"/>
                  <a:gd name="T5" fmla="*/ 152 h 152"/>
                  <a:gd name="T6" fmla="*/ 1 w 151"/>
                  <a:gd name="T7" fmla="*/ 30 h 152"/>
                  <a:gd name="T8" fmla="*/ 121 w 151"/>
                  <a:gd name="T9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1" h="152">
                    <a:moveTo>
                      <a:pt x="121" y="0"/>
                    </a:moveTo>
                    <a:lnTo>
                      <a:pt x="151" y="120"/>
                    </a:lnTo>
                    <a:lnTo>
                      <a:pt x="0" y="152"/>
                    </a:lnTo>
                    <a:lnTo>
                      <a:pt x="1" y="30"/>
                    </a:lnTo>
                    <a:lnTo>
                      <a:pt x="121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2" name="Freeform 2388">
                <a:extLst>
                  <a:ext uri="{FF2B5EF4-FFF2-40B4-BE49-F238E27FC236}">
                    <a16:creationId xmlns:a16="http://schemas.microsoft.com/office/drawing/2014/main" xmlns="" id="{F5E50EB5-3261-431C-AB7F-7C2AC889E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620"/>
                <a:ext cx="240" cy="270"/>
              </a:xfrm>
              <a:custGeom>
                <a:avLst/>
                <a:gdLst>
                  <a:gd name="T0" fmla="*/ 0 w 240"/>
                  <a:gd name="T1" fmla="*/ 180 h 270"/>
                  <a:gd name="T2" fmla="*/ 60 w 240"/>
                  <a:gd name="T3" fmla="*/ 0 h 270"/>
                  <a:gd name="T4" fmla="*/ 90 w 240"/>
                  <a:gd name="T5" fmla="*/ 90 h 270"/>
                  <a:gd name="T6" fmla="*/ 120 w 240"/>
                  <a:gd name="T7" fmla="*/ 180 h 270"/>
                  <a:gd name="T8" fmla="*/ 150 w 240"/>
                  <a:gd name="T9" fmla="*/ 270 h 270"/>
                  <a:gd name="T10" fmla="*/ 240 w 240"/>
                  <a:gd name="T11" fmla="*/ 15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0" h="270">
                    <a:moveTo>
                      <a:pt x="0" y="180"/>
                    </a:moveTo>
                    <a:lnTo>
                      <a:pt x="60" y="0"/>
                    </a:lnTo>
                    <a:lnTo>
                      <a:pt x="90" y="90"/>
                    </a:lnTo>
                    <a:lnTo>
                      <a:pt x="120" y="180"/>
                    </a:lnTo>
                    <a:lnTo>
                      <a:pt x="150" y="270"/>
                    </a:lnTo>
                    <a:lnTo>
                      <a:pt x="24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3" name="Freeform 2389">
                <a:extLst>
                  <a:ext uri="{FF2B5EF4-FFF2-40B4-BE49-F238E27FC236}">
                    <a16:creationId xmlns:a16="http://schemas.microsoft.com/office/drawing/2014/main" xmlns="" id="{FD077524-3FFD-4970-A344-74B143F365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8" y="1800"/>
                <a:ext cx="237" cy="270"/>
              </a:xfrm>
              <a:custGeom>
                <a:avLst/>
                <a:gdLst>
                  <a:gd name="T0" fmla="*/ 237 w 237"/>
                  <a:gd name="T1" fmla="*/ 0 h 270"/>
                  <a:gd name="T2" fmla="*/ 177 w 237"/>
                  <a:gd name="T3" fmla="*/ 122 h 270"/>
                  <a:gd name="T4" fmla="*/ 117 w 237"/>
                  <a:gd name="T5" fmla="*/ 0 h 270"/>
                  <a:gd name="T6" fmla="*/ 57 w 237"/>
                  <a:gd name="T7" fmla="*/ 120 h 270"/>
                  <a:gd name="T8" fmla="*/ 147 w 237"/>
                  <a:gd name="T9" fmla="*/ 270 h 270"/>
                  <a:gd name="T10" fmla="*/ 0 w 237"/>
                  <a:gd name="T11" fmla="*/ 213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7" h="270">
                    <a:moveTo>
                      <a:pt x="237" y="0"/>
                    </a:moveTo>
                    <a:lnTo>
                      <a:pt x="177" y="122"/>
                    </a:lnTo>
                    <a:lnTo>
                      <a:pt x="117" y="0"/>
                    </a:lnTo>
                    <a:lnTo>
                      <a:pt x="57" y="120"/>
                    </a:lnTo>
                    <a:lnTo>
                      <a:pt x="147" y="270"/>
                    </a:lnTo>
                    <a:lnTo>
                      <a:pt x="0" y="213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4" name="Freeform 2390">
                <a:extLst>
                  <a:ext uri="{FF2B5EF4-FFF2-40B4-BE49-F238E27FC236}">
                    <a16:creationId xmlns:a16="http://schemas.microsoft.com/office/drawing/2014/main" xmlns="" id="{631F4379-BC04-4FF9-81C1-D70EA69A54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440"/>
                <a:ext cx="390" cy="570"/>
              </a:xfrm>
              <a:custGeom>
                <a:avLst/>
                <a:gdLst>
                  <a:gd name="T0" fmla="*/ 390 w 390"/>
                  <a:gd name="T1" fmla="*/ 480 h 570"/>
                  <a:gd name="T2" fmla="*/ 330 w 390"/>
                  <a:gd name="T3" fmla="*/ 570 h 570"/>
                  <a:gd name="T4" fmla="*/ 180 w 390"/>
                  <a:gd name="T5" fmla="*/ 540 h 570"/>
                  <a:gd name="T6" fmla="*/ 300 w 390"/>
                  <a:gd name="T7" fmla="*/ 390 h 570"/>
                  <a:gd name="T8" fmla="*/ 120 w 390"/>
                  <a:gd name="T9" fmla="*/ 390 h 570"/>
                  <a:gd name="T10" fmla="*/ 180 w 390"/>
                  <a:gd name="T11" fmla="*/ 210 h 570"/>
                  <a:gd name="T12" fmla="*/ 60 w 390"/>
                  <a:gd name="T13" fmla="*/ 330 h 570"/>
                  <a:gd name="T14" fmla="*/ 0 w 390"/>
                  <a:gd name="T15" fmla="*/ 180 h 570"/>
                  <a:gd name="T16" fmla="*/ 60 w 390"/>
                  <a:gd name="T17" fmla="*/ 60 h 570"/>
                  <a:gd name="T18" fmla="*/ 240 w 390"/>
                  <a:gd name="T19" fmla="*/ 120 h 570"/>
                  <a:gd name="T20" fmla="*/ 180 w 390"/>
                  <a:gd name="T21" fmla="*/ 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0" h="570">
                    <a:moveTo>
                      <a:pt x="390" y="480"/>
                    </a:moveTo>
                    <a:lnTo>
                      <a:pt x="330" y="570"/>
                    </a:lnTo>
                    <a:lnTo>
                      <a:pt x="180" y="540"/>
                    </a:lnTo>
                    <a:lnTo>
                      <a:pt x="300" y="390"/>
                    </a:lnTo>
                    <a:lnTo>
                      <a:pt x="120" y="390"/>
                    </a:lnTo>
                    <a:lnTo>
                      <a:pt x="180" y="210"/>
                    </a:lnTo>
                    <a:lnTo>
                      <a:pt x="60" y="330"/>
                    </a:lnTo>
                    <a:lnTo>
                      <a:pt x="0" y="180"/>
                    </a:lnTo>
                    <a:lnTo>
                      <a:pt x="60" y="60"/>
                    </a:lnTo>
                    <a:lnTo>
                      <a:pt x="240" y="120"/>
                    </a:lnTo>
                    <a:lnTo>
                      <a:pt x="1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5" name="Freeform 2391">
                <a:extLst>
                  <a:ext uri="{FF2B5EF4-FFF2-40B4-BE49-F238E27FC236}">
                    <a16:creationId xmlns:a16="http://schemas.microsoft.com/office/drawing/2014/main" xmlns="" id="{BEA0B591-66A2-4889-90AE-9B0E3C9C64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410"/>
                <a:ext cx="480" cy="420"/>
              </a:xfrm>
              <a:custGeom>
                <a:avLst/>
                <a:gdLst>
                  <a:gd name="T0" fmla="*/ 300 w 480"/>
                  <a:gd name="T1" fmla="*/ 420 h 420"/>
                  <a:gd name="T2" fmla="*/ 0 w 480"/>
                  <a:gd name="T3" fmla="*/ 210 h 420"/>
                  <a:gd name="T4" fmla="*/ 180 w 480"/>
                  <a:gd name="T5" fmla="*/ 240 h 420"/>
                  <a:gd name="T6" fmla="*/ 90 w 480"/>
                  <a:gd name="T7" fmla="*/ 0 h 420"/>
                  <a:gd name="T8" fmla="*/ 240 w 480"/>
                  <a:gd name="T9" fmla="*/ 150 h 420"/>
                  <a:gd name="T10" fmla="*/ 270 w 480"/>
                  <a:gd name="T11" fmla="*/ 0 h 420"/>
                  <a:gd name="T12" fmla="*/ 420 w 480"/>
                  <a:gd name="T13" fmla="*/ 0 h 420"/>
                  <a:gd name="T14" fmla="*/ 480 w 480"/>
                  <a:gd name="T15" fmla="*/ 9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0" h="420">
                    <a:moveTo>
                      <a:pt x="300" y="420"/>
                    </a:moveTo>
                    <a:lnTo>
                      <a:pt x="0" y="210"/>
                    </a:lnTo>
                    <a:lnTo>
                      <a:pt x="180" y="240"/>
                    </a:lnTo>
                    <a:lnTo>
                      <a:pt x="90" y="0"/>
                    </a:lnTo>
                    <a:lnTo>
                      <a:pt x="240" y="150"/>
                    </a:lnTo>
                    <a:lnTo>
                      <a:pt x="270" y="0"/>
                    </a:lnTo>
                    <a:lnTo>
                      <a:pt x="420" y="0"/>
                    </a:lnTo>
                    <a:lnTo>
                      <a:pt x="4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6" name="Freeform 2392">
                <a:extLst>
                  <a:ext uri="{FF2B5EF4-FFF2-40B4-BE49-F238E27FC236}">
                    <a16:creationId xmlns:a16="http://schemas.microsoft.com/office/drawing/2014/main" xmlns="" id="{458BB506-2F35-499A-8A8F-8DB34A99B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" y="1260"/>
                <a:ext cx="120" cy="300"/>
              </a:xfrm>
              <a:custGeom>
                <a:avLst/>
                <a:gdLst>
                  <a:gd name="T0" fmla="*/ 0 w 120"/>
                  <a:gd name="T1" fmla="*/ 0 h 300"/>
                  <a:gd name="T2" fmla="*/ 0 w 120"/>
                  <a:gd name="T3" fmla="*/ 180 h 300"/>
                  <a:gd name="T4" fmla="*/ 120 w 120"/>
                  <a:gd name="T5" fmla="*/ 90 h 300"/>
                  <a:gd name="T6" fmla="*/ 120 w 120"/>
                  <a:gd name="T7" fmla="*/ 210 h 300"/>
                  <a:gd name="T8" fmla="*/ 90 w 120"/>
                  <a:gd name="T9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300">
                    <a:moveTo>
                      <a:pt x="0" y="0"/>
                    </a:moveTo>
                    <a:lnTo>
                      <a:pt x="0" y="180"/>
                    </a:lnTo>
                    <a:lnTo>
                      <a:pt x="120" y="90"/>
                    </a:lnTo>
                    <a:lnTo>
                      <a:pt x="120" y="210"/>
                    </a:lnTo>
                    <a:lnTo>
                      <a:pt x="9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7" name="Freeform 2393">
                <a:extLst>
                  <a:ext uri="{FF2B5EF4-FFF2-40B4-BE49-F238E27FC236}">
                    <a16:creationId xmlns:a16="http://schemas.microsoft.com/office/drawing/2014/main" xmlns="" id="{F211454E-B717-40EB-8830-94C832DFC5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292"/>
                <a:ext cx="330" cy="178"/>
              </a:xfrm>
              <a:custGeom>
                <a:avLst/>
                <a:gdLst>
                  <a:gd name="T0" fmla="*/ 0 w 330"/>
                  <a:gd name="T1" fmla="*/ 0 h 178"/>
                  <a:gd name="T2" fmla="*/ 60 w 330"/>
                  <a:gd name="T3" fmla="*/ 118 h 178"/>
                  <a:gd name="T4" fmla="*/ 150 w 330"/>
                  <a:gd name="T5" fmla="*/ 28 h 178"/>
                  <a:gd name="T6" fmla="*/ 330 w 330"/>
                  <a:gd name="T7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0" h="178">
                    <a:moveTo>
                      <a:pt x="0" y="0"/>
                    </a:moveTo>
                    <a:lnTo>
                      <a:pt x="60" y="118"/>
                    </a:lnTo>
                    <a:lnTo>
                      <a:pt x="150" y="28"/>
                    </a:lnTo>
                    <a:lnTo>
                      <a:pt x="330" y="17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8" name="Line 2394">
                <a:extLst>
                  <a:ext uri="{FF2B5EF4-FFF2-40B4-BE49-F238E27FC236}">
                    <a16:creationId xmlns:a16="http://schemas.microsoft.com/office/drawing/2014/main" xmlns="" id="{8991BB67-FD40-40B7-AC49-C9D2FB7200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925" y="1410"/>
                <a:ext cx="24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9" name="Freeform 2395">
                <a:extLst>
                  <a:ext uri="{FF2B5EF4-FFF2-40B4-BE49-F238E27FC236}">
                    <a16:creationId xmlns:a16="http://schemas.microsoft.com/office/drawing/2014/main" xmlns="" id="{FCE9CEAA-C3A5-4BA0-9D87-0B2E73671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2070"/>
                <a:ext cx="899" cy="720"/>
              </a:xfrm>
              <a:custGeom>
                <a:avLst/>
                <a:gdLst>
                  <a:gd name="T0" fmla="*/ 59 w 899"/>
                  <a:gd name="T1" fmla="*/ 240 h 720"/>
                  <a:gd name="T2" fmla="*/ 179 w 899"/>
                  <a:gd name="T3" fmla="*/ 390 h 720"/>
                  <a:gd name="T4" fmla="*/ 239 w 899"/>
                  <a:gd name="T5" fmla="*/ 300 h 720"/>
                  <a:gd name="T6" fmla="*/ 329 w 899"/>
                  <a:gd name="T7" fmla="*/ 360 h 720"/>
                  <a:gd name="T8" fmla="*/ 329 w 899"/>
                  <a:gd name="T9" fmla="*/ 240 h 720"/>
                  <a:gd name="T10" fmla="*/ 179 w 899"/>
                  <a:gd name="T11" fmla="*/ 181 h 720"/>
                  <a:gd name="T12" fmla="*/ 269 w 899"/>
                  <a:gd name="T13" fmla="*/ 150 h 720"/>
                  <a:gd name="T14" fmla="*/ 389 w 899"/>
                  <a:gd name="T15" fmla="*/ 120 h 720"/>
                  <a:gd name="T16" fmla="*/ 449 w 899"/>
                  <a:gd name="T17" fmla="*/ 300 h 720"/>
                  <a:gd name="T18" fmla="*/ 539 w 899"/>
                  <a:gd name="T19" fmla="*/ 180 h 720"/>
                  <a:gd name="T20" fmla="*/ 509 w 899"/>
                  <a:gd name="T21" fmla="*/ 60 h 720"/>
                  <a:gd name="T22" fmla="*/ 359 w 899"/>
                  <a:gd name="T23" fmla="*/ 30 h 720"/>
                  <a:gd name="T24" fmla="*/ 569 w 899"/>
                  <a:gd name="T25" fmla="*/ 0 h 720"/>
                  <a:gd name="T26" fmla="*/ 689 w 899"/>
                  <a:gd name="T27" fmla="*/ 90 h 720"/>
                  <a:gd name="T28" fmla="*/ 659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89 w 899"/>
                  <a:gd name="T41" fmla="*/ 390 h 720"/>
                  <a:gd name="T42" fmla="*/ 539 w 899"/>
                  <a:gd name="T43" fmla="*/ 330 h 720"/>
                  <a:gd name="T44" fmla="*/ 569 w 899"/>
                  <a:gd name="T45" fmla="*/ 450 h 720"/>
                  <a:gd name="T46" fmla="*/ 419 w 899"/>
                  <a:gd name="T47" fmla="*/ 420 h 720"/>
                  <a:gd name="T48" fmla="*/ 389 w 899"/>
                  <a:gd name="T49" fmla="*/ 540 h 720"/>
                  <a:gd name="T50" fmla="*/ 509 w 899"/>
                  <a:gd name="T51" fmla="*/ 570 h 720"/>
                  <a:gd name="T52" fmla="*/ 659 w 899"/>
                  <a:gd name="T53" fmla="*/ 570 h 720"/>
                  <a:gd name="T54" fmla="*/ 599 w 899"/>
                  <a:gd name="T55" fmla="*/ 720 h 720"/>
                  <a:gd name="T56" fmla="*/ 299 w 899"/>
                  <a:gd name="T57" fmla="*/ 630 h 720"/>
                  <a:gd name="T58" fmla="*/ 268 w 899"/>
                  <a:gd name="T59" fmla="*/ 482 h 720"/>
                  <a:gd name="T60" fmla="*/ 179 w 899"/>
                  <a:gd name="T61" fmla="*/ 570 h 720"/>
                  <a:gd name="T62" fmla="*/ 59 w 899"/>
                  <a:gd name="T63" fmla="*/ 480 h 720"/>
                  <a:gd name="T64" fmla="*/ 0 w 899"/>
                  <a:gd name="T65" fmla="*/ 360 h 720"/>
                  <a:gd name="T66" fmla="*/ 59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59" y="240"/>
                    </a:moveTo>
                    <a:lnTo>
                      <a:pt x="179" y="390"/>
                    </a:lnTo>
                    <a:lnTo>
                      <a:pt x="239" y="300"/>
                    </a:lnTo>
                    <a:lnTo>
                      <a:pt x="329" y="360"/>
                    </a:lnTo>
                    <a:lnTo>
                      <a:pt x="329" y="240"/>
                    </a:lnTo>
                    <a:lnTo>
                      <a:pt x="179" y="181"/>
                    </a:lnTo>
                    <a:lnTo>
                      <a:pt x="269" y="150"/>
                    </a:lnTo>
                    <a:lnTo>
                      <a:pt x="389" y="120"/>
                    </a:lnTo>
                    <a:lnTo>
                      <a:pt x="449" y="300"/>
                    </a:lnTo>
                    <a:lnTo>
                      <a:pt x="539" y="180"/>
                    </a:lnTo>
                    <a:lnTo>
                      <a:pt x="509" y="60"/>
                    </a:lnTo>
                    <a:lnTo>
                      <a:pt x="359" y="30"/>
                    </a:lnTo>
                    <a:lnTo>
                      <a:pt x="569" y="0"/>
                    </a:lnTo>
                    <a:lnTo>
                      <a:pt x="689" y="90"/>
                    </a:lnTo>
                    <a:lnTo>
                      <a:pt x="659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89" y="390"/>
                    </a:lnTo>
                    <a:lnTo>
                      <a:pt x="539" y="330"/>
                    </a:lnTo>
                    <a:lnTo>
                      <a:pt x="569" y="450"/>
                    </a:lnTo>
                    <a:lnTo>
                      <a:pt x="419" y="420"/>
                    </a:lnTo>
                    <a:lnTo>
                      <a:pt x="389" y="540"/>
                    </a:lnTo>
                    <a:lnTo>
                      <a:pt x="509" y="570"/>
                    </a:lnTo>
                    <a:lnTo>
                      <a:pt x="659" y="570"/>
                    </a:lnTo>
                    <a:lnTo>
                      <a:pt x="599" y="720"/>
                    </a:lnTo>
                    <a:lnTo>
                      <a:pt x="299" y="630"/>
                    </a:lnTo>
                    <a:lnTo>
                      <a:pt x="268" y="482"/>
                    </a:lnTo>
                    <a:lnTo>
                      <a:pt x="179" y="570"/>
                    </a:lnTo>
                    <a:lnTo>
                      <a:pt x="59" y="480"/>
                    </a:lnTo>
                    <a:lnTo>
                      <a:pt x="0" y="360"/>
                    </a:lnTo>
                    <a:lnTo>
                      <a:pt x="59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0" name="Line 2396">
                <a:extLst>
                  <a:ext uri="{FF2B5EF4-FFF2-40B4-BE49-F238E27FC236}">
                    <a16:creationId xmlns:a16="http://schemas.microsoft.com/office/drawing/2014/main" xmlns="" id="{965835E8-A918-45A7-8E29-2D712CB0A5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145" y="2251"/>
                <a:ext cx="120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1" name="Freeform 2397">
                <a:extLst>
                  <a:ext uri="{FF2B5EF4-FFF2-40B4-BE49-F238E27FC236}">
                    <a16:creationId xmlns:a16="http://schemas.microsoft.com/office/drawing/2014/main" xmlns="" id="{7C971CED-D5C0-4D62-B38D-8B1B2F5AD6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4" y="2430"/>
                <a:ext cx="121" cy="180"/>
              </a:xfrm>
              <a:custGeom>
                <a:avLst/>
                <a:gdLst>
                  <a:gd name="T0" fmla="*/ 61 w 121"/>
                  <a:gd name="T1" fmla="*/ 0 h 180"/>
                  <a:gd name="T2" fmla="*/ 121 w 121"/>
                  <a:gd name="T3" fmla="*/ 180 h 180"/>
                  <a:gd name="T4" fmla="*/ 0 w 121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1" h="180">
                    <a:moveTo>
                      <a:pt x="61" y="0"/>
                    </a:moveTo>
                    <a:lnTo>
                      <a:pt x="121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2" name="Freeform 2398">
                <a:extLst>
                  <a:ext uri="{FF2B5EF4-FFF2-40B4-BE49-F238E27FC236}">
                    <a16:creationId xmlns:a16="http://schemas.microsoft.com/office/drawing/2014/main" xmlns="" id="{D6A31853-4401-489D-AD79-8539549585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5" y="1980"/>
                <a:ext cx="240" cy="330"/>
              </a:xfrm>
              <a:custGeom>
                <a:avLst/>
                <a:gdLst>
                  <a:gd name="T0" fmla="*/ 180 w 240"/>
                  <a:gd name="T1" fmla="*/ 150 h 330"/>
                  <a:gd name="T2" fmla="*/ 120 w 240"/>
                  <a:gd name="T3" fmla="*/ 0 h 330"/>
                  <a:gd name="T4" fmla="*/ 240 w 240"/>
                  <a:gd name="T5" fmla="*/ 90 h 330"/>
                  <a:gd name="T6" fmla="*/ 210 w 240"/>
                  <a:gd name="T7" fmla="*/ 270 h 330"/>
                  <a:gd name="T8" fmla="*/ 0 w 240"/>
                  <a:gd name="T9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30">
                    <a:moveTo>
                      <a:pt x="180" y="150"/>
                    </a:moveTo>
                    <a:lnTo>
                      <a:pt x="120" y="0"/>
                    </a:lnTo>
                    <a:lnTo>
                      <a:pt x="240" y="90"/>
                    </a:lnTo>
                    <a:lnTo>
                      <a:pt x="210" y="270"/>
                    </a:lnTo>
                    <a:lnTo>
                      <a:pt x="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3" name="Line 2399">
                <a:extLst>
                  <a:ext uri="{FF2B5EF4-FFF2-40B4-BE49-F238E27FC236}">
                    <a16:creationId xmlns:a16="http://schemas.microsoft.com/office/drawing/2014/main" xmlns="" id="{FDBCF98A-C6C7-4D9D-BEF3-8EEDA28FB5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5" y="219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4" name="Freeform 2400">
                <a:extLst>
                  <a:ext uri="{FF2B5EF4-FFF2-40B4-BE49-F238E27FC236}">
                    <a16:creationId xmlns:a16="http://schemas.microsoft.com/office/drawing/2014/main" xmlns="" id="{A80D31DA-9F62-448C-9B33-30652DE06F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2070"/>
                <a:ext cx="899" cy="720"/>
              </a:xfrm>
              <a:custGeom>
                <a:avLst/>
                <a:gdLst>
                  <a:gd name="T0" fmla="*/ 60 w 899"/>
                  <a:gd name="T1" fmla="*/ 240 h 720"/>
                  <a:gd name="T2" fmla="*/ 180 w 899"/>
                  <a:gd name="T3" fmla="*/ 390 h 720"/>
                  <a:gd name="T4" fmla="*/ 240 w 899"/>
                  <a:gd name="T5" fmla="*/ 300 h 720"/>
                  <a:gd name="T6" fmla="*/ 330 w 899"/>
                  <a:gd name="T7" fmla="*/ 360 h 720"/>
                  <a:gd name="T8" fmla="*/ 330 w 899"/>
                  <a:gd name="T9" fmla="*/ 240 h 720"/>
                  <a:gd name="T10" fmla="*/ 180 w 899"/>
                  <a:gd name="T11" fmla="*/ 181 h 720"/>
                  <a:gd name="T12" fmla="*/ 270 w 899"/>
                  <a:gd name="T13" fmla="*/ 150 h 720"/>
                  <a:gd name="T14" fmla="*/ 390 w 899"/>
                  <a:gd name="T15" fmla="*/ 120 h 720"/>
                  <a:gd name="T16" fmla="*/ 450 w 899"/>
                  <a:gd name="T17" fmla="*/ 300 h 720"/>
                  <a:gd name="T18" fmla="*/ 540 w 899"/>
                  <a:gd name="T19" fmla="*/ 180 h 720"/>
                  <a:gd name="T20" fmla="*/ 510 w 899"/>
                  <a:gd name="T21" fmla="*/ 60 h 720"/>
                  <a:gd name="T22" fmla="*/ 360 w 899"/>
                  <a:gd name="T23" fmla="*/ 30 h 720"/>
                  <a:gd name="T24" fmla="*/ 570 w 899"/>
                  <a:gd name="T25" fmla="*/ 0 h 720"/>
                  <a:gd name="T26" fmla="*/ 690 w 899"/>
                  <a:gd name="T27" fmla="*/ 90 h 720"/>
                  <a:gd name="T28" fmla="*/ 660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90 w 899"/>
                  <a:gd name="T41" fmla="*/ 390 h 720"/>
                  <a:gd name="T42" fmla="*/ 540 w 899"/>
                  <a:gd name="T43" fmla="*/ 330 h 720"/>
                  <a:gd name="T44" fmla="*/ 570 w 899"/>
                  <a:gd name="T45" fmla="*/ 450 h 720"/>
                  <a:gd name="T46" fmla="*/ 420 w 899"/>
                  <a:gd name="T47" fmla="*/ 420 h 720"/>
                  <a:gd name="T48" fmla="*/ 390 w 899"/>
                  <a:gd name="T49" fmla="*/ 540 h 720"/>
                  <a:gd name="T50" fmla="*/ 510 w 899"/>
                  <a:gd name="T51" fmla="*/ 570 h 720"/>
                  <a:gd name="T52" fmla="*/ 660 w 899"/>
                  <a:gd name="T53" fmla="*/ 570 h 720"/>
                  <a:gd name="T54" fmla="*/ 600 w 899"/>
                  <a:gd name="T55" fmla="*/ 720 h 720"/>
                  <a:gd name="T56" fmla="*/ 300 w 899"/>
                  <a:gd name="T57" fmla="*/ 630 h 720"/>
                  <a:gd name="T58" fmla="*/ 268 w 899"/>
                  <a:gd name="T59" fmla="*/ 482 h 720"/>
                  <a:gd name="T60" fmla="*/ 180 w 899"/>
                  <a:gd name="T61" fmla="*/ 570 h 720"/>
                  <a:gd name="T62" fmla="*/ 60 w 899"/>
                  <a:gd name="T63" fmla="*/ 480 h 720"/>
                  <a:gd name="T64" fmla="*/ 0 w 899"/>
                  <a:gd name="T65" fmla="*/ 360 h 720"/>
                  <a:gd name="T66" fmla="*/ 60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60" y="240"/>
                    </a:moveTo>
                    <a:lnTo>
                      <a:pt x="180" y="390"/>
                    </a:lnTo>
                    <a:lnTo>
                      <a:pt x="240" y="300"/>
                    </a:lnTo>
                    <a:lnTo>
                      <a:pt x="330" y="360"/>
                    </a:lnTo>
                    <a:lnTo>
                      <a:pt x="330" y="240"/>
                    </a:lnTo>
                    <a:lnTo>
                      <a:pt x="180" y="181"/>
                    </a:lnTo>
                    <a:lnTo>
                      <a:pt x="270" y="150"/>
                    </a:lnTo>
                    <a:lnTo>
                      <a:pt x="390" y="120"/>
                    </a:lnTo>
                    <a:lnTo>
                      <a:pt x="450" y="300"/>
                    </a:lnTo>
                    <a:lnTo>
                      <a:pt x="540" y="180"/>
                    </a:lnTo>
                    <a:lnTo>
                      <a:pt x="510" y="60"/>
                    </a:lnTo>
                    <a:lnTo>
                      <a:pt x="360" y="30"/>
                    </a:lnTo>
                    <a:lnTo>
                      <a:pt x="570" y="0"/>
                    </a:lnTo>
                    <a:lnTo>
                      <a:pt x="690" y="90"/>
                    </a:lnTo>
                    <a:lnTo>
                      <a:pt x="660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90" y="390"/>
                    </a:lnTo>
                    <a:lnTo>
                      <a:pt x="540" y="330"/>
                    </a:lnTo>
                    <a:lnTo>
                      <a:pt x="570" y="450"/>
                    </a:lnTo>
                    <a:lnTo>
                      <a:pt x="420" y="420"/>
                    </a:lnTo>
                    <a:lnTo>
                      <a:pt x="390" y="540"/>
                    </a:lnTo>
                    <a:lnTo>
                      <a:pt x="510" y="570"/>
                    </a:lnTo>
                    <a:lnTo>
                      <a:pt x="660" y="570"/>
                    </a:lnTo>
                    <a:lnTo>
                      <a:pt x="600" y="720"/>
                    </a:lnTo>
                    <a:lnTo>
                      <a:pt x="300" y="630"/>
                    </a:lnTo>
                    <a:lnTo>
                      <a:pt x="268" y="482"/>
                    </a:lnTo>
                    <a:lnTo>
                      <a:pt x="180" y="570"/>
                    </a:lnTo>
                    <a:lnTo>
                      <a:pt x="60" y="480"/>
                    </a:lnTo>
                    <a:lnTo>
                      <a:pt x="0" y="360"/>
                    </a:lnTo>
                    <a:lnTo>
                      <a:pt x="6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5" name="Freeform 2401">
                <a:extLst>
                  <a:ext uri="{FF2B5EF4-FFF2-40B4-BE49-F238E27FC236}">
                    <a16:creationId xmlns:a16="http://schemas.microsoft.com/office/drawing/2014/main" xmlns="" id="{6B72A6C5-2F7E-4E85-ABF7-5076E907B6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2220"/>
                <a:ext cx="210" cy="150"/>
              </a:xfrm>
              <a:custGeom>
                <a:avLst/>
                <a:gdLst>
                  <a:gd name="T0" fmla="*/ 0 w 210"/>
                  <a:gd name="T1" fmla="*/ 90 h 150"/>
                  <a:gd name="T2" fmla="*/ 180 w 210"/>
                  <a:gd name="T3" fmla="*/ 150 h 150"/>
                  <a:gd name="T4" fmla="*/ 210 w 210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150">
                    <a:moveTo>
                      <a:pt x="0" y="90"/>
                    </a:moveTo>
                    <a:lnTo>
                      <a:pt x="180" y="150"/>
                    </a:lnTo>
                    <a:lnTo>
                      <a:pt x="21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6" name="Freeform 2402">
                <a:extLst>
                  <a:ext uri="{FF2B5EF4-FFF2-40B4-BE49-F238E27FC236}">
                    <a16:creationId xmlns:a16="http://schemas.microsoft.com/office/drawing/2014/main" xmlns="" id="{648965CD-7AD1-46E1-8031-A5AE1A4213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5" y="2251"/>
                <a:ext cx="240" cy="389"/>
              </a:xfrm>
              <a:custGeom>
                <a:avLst/>
                <a:gdLst>
                  <a:gd name="T0" fmla="*/ 240 w 240"/>
                  <a:gd name="T1" fmla="*/ 0 h 389"/>
                  <a:gd name="T2" fmla="*/ 120 w 240"/>
                  <a:gd name="T3" fmla="*/ 299 h 389"/>
                  <a:gd name="T4" fmla="*/ 0 w 240"/>
                  <a:gd name="T5" fmla="*/ 389 h 389"/>
                  <a:gd name="T6" fmla="*/ 60 w 240"/>
                  <a:gd name="T7" fmla="*/ 179 h 389"/>
                  <a:gd name="T8" fmla="*/ 0 w 240"/>
                  <a:gd name="T9" fmla="*/ 59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89">
                    <a:moveTo>
                      <a:pt x="240" y="0"/>
                    </a:moveTo>
                    <a:lnTo>
                      <a:pt x="120" y="299"/>
                    </a:lnTo>
                    <a:lnTo>
                      <a:pt x="0" y="389"/>
                    </a:lnTo>
                    <a:lnTo>
                      <a:pt x="60" y="179"/>
                    </a:lnTo>
                    <a:lnTo>
                      <a:pt x="0" y="5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7" name="Freeform 2403">
                <a:extLst>
                  <a:ext uri="{FF2B5EF4-FFF2-40B4-BE49-F238E27FC236}">
                    <a16:creationId xmlns:a16="http://schemas.microsoft.com/office/drawing/2014/main" xmlns="" id="{B18101E5-7F5E-41C1-B09A-BA936801A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2430"/>
                <a:ext cx="122" cy="180"/>
              </a:xfrm>
              <a:custGeom>
                <a:avLst/>
                <a:gdLst>
                  <a:gd name="T0" fmla="*/ 62 w 122"/>
                  <a:gd name="T1" fmla="*/ 0 h 180"/>
                  <a:gd name="T2" fmla="*/ 122 w 122"/>
                  <a:gd name="T3" fmla="*/ 180 h 180"/>
                  <a:gd name="T4" fmla="*/ 0 w 122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2" h="180">
                    <a:moveTo>
                      <a:pt x="62" y="0"/>
                    </a:moveTo>
                    <a:lnTo>
                      <a:pt x="122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8" name="Freeform 2404">
                <a:extLst>
                  <a:ext uri="{FF2B5EF4-FFF2-40B4-BE49-F238E27FC236}">
                    <a16:creationId xmlns:a16="http://schemas.microsoft.com/office/drawing/2014/main" xmlns="" id="{0AAB7BAE-B682-4155-887A-687FE2431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5" y="204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9" name="Line 2405">
                <a:extLst>
                  <a:ext uri="{FF2B5EF4-FFF2-40B4-BE49-F238E27FC236}">
                    <a16:creationId xmlns:a16="http://schemas.microsoft.com/office/drawing/2014/main" xmlns="" id="{FBCDA250-C749-4C76-B5B2-37252C370C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35" y="219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" name="Line 2406">
                <a:extLst>
                  <a:ext uri="{FF2B5EF4-FFF2-40B4-BE49-F238E27FC236}">
                    <a16:creationId xmlns:a16="http://schemas.microsoft.com/office/drawing/2014/main" xmlns="" id="{8D117F86-2EA9-4908-B9FA-A62AC50895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55" y="18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" name="Line 2407">
                <a:extLst>
                  <a:ext uri="{FF2B5EF4-FFF2-40B4-BE49-F238E27FC236}">
                    <a16:creationId xmlns:a16="http://schemas.microsoft.com/office/drawing/2014/main" xmlns="" id="{C5FB7460-5FF2-4A1A-9F15-6B3A9AF629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55" y="183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" name="Line 2408">
                <a:extLst>
                  <a:ext uri="{FF2B5EF4-FFF2-40B4-BE49-F238E27FC236}">
                    <a16:creationId xmlns:a16="http://schemas.microsoft.com/office/drawing/2014/main" xmlns="" id="{A248EA59-D951-4830-96F6-7B7A3EEBCA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77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3" name="Line 2409">
                <a:extLst>
                  <a:ext uri="{FF2B5EF4-FFF2-40B4-BE49-F238E27FC236}">
                    <a16:creationId xmlns:a16="http://schemas.microsoft.com/office/drawing/2014/main" xmlns="" id="{718F44DD-AC51-4985-BE7C-E6D89C725F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3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4" name="Line 2410">
                <a:extLst>
                  <a:ext uri="{FF2B5EF4-FFF2-40B4-BE49-F238E27FC236}">
                    <a16:creationId xmlns:a16="http://schemas.microsoft.com/office/drawing/2014/main" xmlns="" id="{D6C355D8-6C53-4939-856A-D7F24E1908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415" y="1770"/>
                <a:ext cx="6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5" name="Line 2411">
                <a:extLst>
                  <a:ext uri="{FF2B5EF4-FFF2-40B4-BE49-F238E27FC236}">
                    <a16:creationId xmlns:a16="http://schemas.microsoft.com/office/drawing/2014/main" xmlns="" id="{78865B49-53C5-4334-A13F-3BE435A406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5" y="1830"/>
                <a:ext cx="21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6" name="Line 2412">
                <a:extLst>
                  <a:ext uri="{FF2B5EF4-FFF2-40B4-BE49-F238E27FC236}">
                    <a16:creationId xmlns:a16="http://schemas.microsoft.com/office/drawing/2014/main" xmlns="" id="{42B88EBB-DE43-4673-8811-4689DA6752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35" y="165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7" name="Line 2413">
                <a:extLst>
                  <a:ext uri="{FF2B5EF4-FFF2-40B4-BE49-F238E27FC236}">
                    <a16:creationId xmlns:a16="http://schemas.microsoft.com/office/drawing/2014/main" xmlns="" id="{B9560962-661E-4778-B6EB-66CEB979A4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35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8" name="Line 2414">
                <a:extLst>
                  <a:ext uri="{FF2B5EF4-FFF2-40B4-BE49-F238E27FC236}">
                    <a16:creationId xmlns:a16="http://schemas.microsoft.com/office/drawing/2014/main" xmlns="" id="{F37DCC8E-C746-49EF-915E-723CCB6DAE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25" y="12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9" name="Freeform 2415">
                <a:extLst>
                  <a:ext uri="{FF2B5EF4-FFF2-40B4-BE49-F238E27FC236}">
                    <a16:creationId xmlns:a16="http://schemas.microsoft.com/office/drawing/2014/main" xmlns="" id="{7D32E2F1-2A58-4716-807B-6F41BBBA8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5" y="1710"/>
                <a:ext cx="240" cy="240"/>
              </a:xfrm>
              <a:custGeom>
                <a:avLst/>
                <a:gdLst>
                  <a:gd name="T0" fmla="*/ 240 w 240"/>
                  <a:gd name="T1" fmla="*/ 0 h 240"/>
                  <a:gd name="T2" fmla="*/ 210 w 240"/>
                  <a:gd name="T3" fmla="*/ 180 h 240"/>
                  <a:gd name="T4" fmla="*/ 180 w 240"/>
                  <a:gd name="T5" fmla="*/ 60 h 240"/>
                  <a:gd name="T6" fmla="*/ 150 w 240"/>
                  <a:gd name="T7" fmla="*/ 240 h 240"/>
                  <a:gd name="T8" fmla="*/ 90 w 240"/>
                  <a:gd name="T9" fmla="*/ 180 h 240"/>
                  <a:gd name="T10" fmla="*/ 0 w 240"/>
                  <a:gd name="T11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0" h="240">
                    <a:moveTo>
                      <a:pt x="240" y="0"/>
                    </a:moveTo>
                    <a:lnTo>
                      <a:pt x="210" y="180"/>
                    </a:lnTo>
                    <a:lnTo>
                      <a:pt x="180" y="60"/>
                    </a:lnTo>
                    <a:lnTo>
                      <a:pt x="150" y="240"/>
                    </a:lnTo>
                    <a:lnTo>
                      <a:pt x="90" y="18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0" name="Line 2416">
                <a:extLst>
                  <a:ext uri="{FF2B5EF4-FFF2-40B4-BE49-F238E27FC236}">
                    <a16:creationId xmlns:a16="http://schemas.microsoft.com/office/drawing/2014/main" xmlns="" id="{6065A6F2-FF4E-4724-ACDA-7E1042514E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9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1" name="Freeform 2417">
                <a:extLst>
                  <a:ext uri="{FF2B5EF4-FFF2-40B4-BE49-F238E27FC236}">
                    <a16:creationId xmlns:a16="http://schemas.microsoft.com/office/drawing/2014/main" xmlns="" id="{09857393-90B2-47D9-96D4-7DBA5FF2C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1770"/>
                <a:ext cx="180" cy="120"/>
              </a:xfrm>
              <a:custGeom>
                <a:avLst/>
                <a:gdLst>
                  <a:gd name="T0" fmla="*/ 150 w 180"/>
                  <a:gd name="T1" fmla="*/ 120 h 120"/>
                  <a:gd name="T2" fmla="*/ 180 w 180"/>
                  <a:gd name="T3" fmla="*/ 0 h 120"/>
                  <a:gd name="T4" fmla="*/ 30 w 180"/>
                  <a:gd name="T5" fmla="*/ 120 h 120"/>
                  <a:gd name="T6" fmla="*/ 150 w 180"/>
                  <a:gd name="T7" fmla="*/ 120 h 120"/>
                  <a:gd name="T8" fmla="*/ 0 w 180"/>
                  <a:gd name="T9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120">
                    <a:moveTo>
                      <a:pt x="150" y="120"/>
                    </a:moveTo>
                    <a:lnTo>
                      <a:pt x="180" y="0"/>
                    </a:lnTo>
                    <a:lnTo>
                      <a:pt x="30" y="120"/>
                    </a:lnTo>
                    <a:lnTo>
                      <a:pt x="150" y="12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2" name="Freeform 2418">
                <a:extLst>
                  <a:ext uri="{FF2B5EF4-FFF2-40B4-BE49-F238E27FC236}">
                    <a16:creationId xmlns:a16="http://schemas.microsoft.com/office/drawing/2014/main" xmlns="" id="{D2FD285E-37A9-4D78-9BE3-4A26EDE02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530"/>
                <a:ext cx="240" cy="360"/>
              </a:xfrm>
              <a:custGeom>
                <a:avLst/>
                <a:gdLst>
                  <a:gd name="T0" fmla="*/ 120 w 240"/>
                  <a:gd name="T1" fmla="*/ 240 h 360"/>
                  <a:gd name="T2" fmla="*/ 90 w 240"/>
                  <a:gd name="T3" fmla="*/ 120 h 360"/>
                  <a:gd name="T4" fmla="*/ 90 w 240"/>
                  <a:gd name="T5" fmla="*/ 0 h 360"/>
                  <a:gd name="T6" fmla="*/ 210 w 240"/>
                  <a:gd name="T7" fmla="*/ 30 h 360"/>
                  <a:gd name="T8" fmla="*/ 240 w 240"/>
                  <a:gd name="T9" fmla="*/ 180 h 360"/>
                  <a:gd name="T10" fmla="*/ 120 w 240"/>
                  <a:gd name="T11" fmla="*/ 240 h 360"/>
                  <a:gd name="T12" fmla="*/ 210 w 240"/>
                  <a:gd name="T13" fmla="*/ 330 h 360"/>
                  <a:gd name="T14" fmla="*/ 90 w 240"/>
                  <a:gd name="T15" fmla="*/ 360 h 360"/>
                  <a:gd name="T16" fmla="*/ 0 w 240"/>
                  <a:gd name="T17" fmla="*/ 18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360">
                    <a:moveTo>
                      <a:pt x="120" y="240"/>
                    </a:moveTo>
                    <a:lnTo>
                      <a:pt x="90" y="120"/>
                    </a:lnTo>
                    <a:lnTo>
                      <a:pt x="90" y="0"/>
                    </a:lnTo>
                    <a:lnTo>
                      <a:pt x="210" y="30"/>
                    </a:lnTo>
                    <a:lnTo>
                      <a:pt x="240" y="180"/>
                    </a:lnTo>
                    <a:lnTo>
                      <a:pt x="120" y="240"/>
                    </a:lnTo>
                    <a:lnTo>
                      <a:pt x="210" y="330"/>
                    </a:lnTo>
                    <a:lnTo>
                      <a:pt x="90" y="36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3" name="Freeform 2419">
                <a:extLst>
                  <a:ext uri="{FF2B5EF4-FFF2-40B4-BE49-F238E27FC236}">
                    <a16:creationId xmlns:a16="http://schemas.microsoft.com/office/drawing/2014/main" xmlns="" id="{7F37C3E9-B362-40B5-9301-B6072B43FE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590"/>
                <a:ext cx="90" cy="120"/>
              </a:xfrm>
              <a:custGeom>
                <a:avLst/>
                <a:gdLst>
                  <a:gd name="T0" fmla="*/ 0 w 90"/>
                  <a:gd name="T1" fmla="*/ 120 h 120"/>
                  <a:gd name="T2" fmla="*/ 90 w 90"/>
                  <a:gd name="T3" fmla="*/ 60 h 120"/>
                  <a:gd name="T4" fmla="*/ 0 w 90"/>
                  <a:gd name="T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120">
                    <a:moveTo>
                      <a:pt x="0" y="120"/>
                    </a:moveTo>
                    <a:lnTo>
                      <a:pt x="9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4" name="Line 2420">
                <a:extLst>
                  <a:ext uri="{FF2B5EF4-FFF2-40B4-BE49-F238E27FC236}">
                    <a16:creationId xmlns:a16="http://schemas.microsoft.com/office/drawing/2014/main" xmlns="" id="{86625301-B711-4209-9520-5D08B9D9DB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5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5" name="Freeform 2421">
                <a:extLst>
                  <a:ext uri="{FF2B5EF4-FFF2-40B4-BE49-F238E27FC236}">
                    <a16:creationId xmlns:a16="http://schemas.microsoft.com/office/drawing/2014/main" xmlns="" id="{FBFE9FF6-3414-489B-86C3-244AAA4E7E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230"/>
                <a:ext cx="450" cy="180"/>
              </a:xfrm>
              <a:custGeom>
                <a:avLst/>
                <a:gdLst>
                  <a:gd name="T0" fmla="*/ 450 w 450"/>
                  <a:gd name="T1" fmla="*/ 180 h 180"/>
                  <a:gd name="T2" fmla="*/ 450 w 450"/>
                  <a:gd name="T3" fmla="*/ 60 h 180"/>
                  <a:gd name="T4" fmla="*/ 330 w 450"/>
                  <a:gd name="T5" fmla="*/ 120 h 180"/>
                  <a:gd name="T6" fmla="*/ 210 w 450"/>
                  <a:gd name="T7" fmla="*/ 30 h 180"/>
                  <a:gd name="T8" fmla="*/ 90 w 450"/>
                  <a:gd name="T9" fmla="*/ 0 h 180"/>
                  <a:gd name="T10" fmla="*/ 150 w 450"/>
                  <a:gd name="T11" fmla="*/ 90 h 180"/>
                  <a:gd name="T12" fmla="*/ 0 w 450"/>
                  <a:gd name="T13" fmla="*/ 6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0" h="180">
                    <a:moveTo>
                      <a:pt x="450" y="180"/>
                    </a:moveTo>
                    <a:lnTo>
                      <a:pt x="450" y="60"/>
                    </a:lnTo>
                    <a:lnTo>
                      <a:pt x="330" y="120"/>
                    </a:lnTo>
                    <a:lnTo>
                      <a:pt x="210" y="30"/>
                    </a:lnTo>
                    <a:lnTo>
                      <a:pt x="90" y="0"/>
                    </a:lnTo>
                    <a:lnTo>
                      <a:pt x="150" y="9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6" name="Freeform 2422">
                <a:extLst>
                  <a:ext uri="{FF2B5EF4-FFF2-40B4-BE49-F238E27FC236}">
                    <a16:creationId xmlns:a16="http://schemas.microsoft.com/office/drawing/2014/main" xmlns="" id="{F469DE76-EC82-4AED-A11F-6A5EC95248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440"/>
                <a:ext cx="180" cy="150"/>
              </a:xfrm>
              <a:custGeom>
                <a:avLst/>
                <a:gdLst>
                  <a:gd name="T0" fmla="*/ 180 w 180"/>
                  <a:gd name="T1" fmla="*/ 0 h 150"/>
                  <a:gd name="T2" fmla="*/ 90 w 180"/>
                  <a:gd name="T3" fmla="*/ 90 h 150"/>
                  <a:gd name="T4" fmla="*/ 0 w 180"/>
                  <a:gd name="T5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180" y="0"/>
                    </a:moveTo>
                    <a:lnTo>
                      <a:pt x="90" y="90"/>
                    </a:lnTo>
                    <a:lnTo>
                      <a:pt x="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7" name="Freeform 2423">
                <a:extLst>
                  <a:ext uri="{FF2B5EF4-FFF2-40B4-BE49-F238E27FC236}">
                    <a16:creationId xmlns:a16="http://schemas.microsoft.com/office/drawing/2014/main" xmlns="" id="{FC070D4D-8AD6-46E0-B642-6502BD9D12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" y="1260"/>
                <a:ext cx="390" cy="390"/>
              </a:xfrm>
              <a:custGeom>
                <a:avLst/>
                <a:gdLst>
                  <a:gd name="T0" fmla="*/ 270 w 390"/>
                  <a:gd name="T1" fmla="*/ 390 h 390"/>
                  <a:gd name="T2" fmla="*/ 390 w 390"/>
                  <a:gd name="T3" fmla="*/ 300 h 390"/>
                  <a:gd name="T4" fmla="*/ 360 w 390"/>
                  <a:gd name="T5" fmla="*/ 180 h 390"/>
                  <a:gd name="T6" fmla="*/ 240 w 390"/>
                  <a:gd name="T7" fmla="*/ 30 h 390"/>
                  <a:gd name="T8" fmla="*/ 0 w 390"/>
                  <a:gd name="T9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0" h="390">
                    <a:moveTo>
                      <a:pt x="270" y="390"/>
                    </a:moveTo>
                    <a:lnTo>
                      <a:pt x="390" y="300"/>
                    </a:lnTo>
                    <a:lnTo>
                      <a:pt x="360" y="180"/>
                    </a:lnTo>
                    <a:lnTo>
                      <a:pt x="24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8" name="Freeform 2424">
                <a:extLst>
                  <a:ext uri="{FF2B5EF4-FFF2-40B4-BE49-F238E27FC236}">
                    <a16:creationId xmlns:a16="http://schemas.microsoft.com/office/drawing/2014/main" xmlns="" id="{A57E1E32-3592-4D18-BC84-501F2124E0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5" y="1230"/>
                <a:ext cx="360" cy="210"/>
              </a:xfrm>
              <a:custGeom>
                <a:avLst/>
                <a:gdLst>
                  <a:gd name="T0" fmla="*/ 90 w 360"/>
                  <a:gd name="T1" fmla="*/ 60 h 210"/>
                  <a:gd name="T2" fmla="*/ 0 w 360"/>
                  <a:gd name="T3" fmla="*/ 180 h 210"/>
                  <a:gd name="T4" fmla="*/ 90 w 360"/>
                  <a:gd name="T5" fmla="*/ 210 h 210"/>
                  <a:gd name="T6" fmla="*/ 180 w 360"/>
                  <a:gd name="T7" fmla="*/ 180 h 210"/>
                  <a:gd name="T8" fmla="*/ 90 w 360"/>
                  <a:gd name="T9" fmla="*/ 60 h 210"/>
                  <a:gd name="T10" fmla="*/ 270 w 360"/>
                  <a:gd name="T11" fmla="*/ 60 h 210"/>
                  <a:gd name="T12" fmla="*/ 360 w 360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0" h="210">
                    <a:moveTo>
                      <a:pt x="90" y="60"/>
                    </a:moveTo>
                    <a:lnTo>
                      <a:pt x="0" y="180"/>
                    </a:lnTo>
                    <a:lnTo>
                      <a:pt x="90" y="210"/>
                    </a:lnTo>
                    <a:lnTo>
                      <a:pt x="180" y="180"/>
                    </a:lnTo>
                    <a:lnTo>
                      <a:pt x="90" y="60"/>
                    </a:lnTo>
                    <a:lnTo>
                      <a:pt x="270" y="60"/>
                    </a:lnTo>
                    <a:lnTo>
                      <a:pt x="3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9" name="Line 2425">
                <a:extLst>
                  <a:ext uri="{FF2B5EF4-FFF2-40B4-BE49-F238E27FC236}">
                    <a16:creationId xmlns:a16="http://schemas.microsoft.com/office/drawing/2014/main" xmlns="" id="{41C03CBF-691F-4687-9CFA-A0CA811A25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3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0" name="Line 2426">
                <a:extLst>
                  <a:ext uri="{FF2B5EF4-FFF2-40B4-BE49-F238E27FC236}">
                    <a16:creationId xmlns:a16="http://schemas.microsoft.com/office/drawing/2014/main" xmlns="" id="{4AE2387C-AB68-477D-AFA4-A62C2ACF6BC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105" y="141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1" name="Freeform 2427">
                <a:extLst>
                  <a:ext uri="{FF2B5EF4-FFF2-40B4-BE49-F238E27FC236}">
                    <a16:creationId xmlns:a16="http://schemas.microsoft.com/office/drawing/2014/main" xmlns="" id="{9B5487DE-ECAB-4F23-A2EA-0C746DD36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5" y="2490"/>
                <a:ext cx="450" cy="300"/>
              </a:xfrm>
              <a:custGeom>
                <a:avLst/>
                <a:gdLst>
                  <a:gd name="T0" fmla="*/ 180 w 450"/>
                  <a:gd name="T1" fmla="*/ 300 h 300"/>
                  <a:gd name="T2" fmla="*/ 300 w 450"/>
                  <a:gd name="T3" fmla="*/ 240 h 300"/>
                  <a:gd name="T4" fmla="*/ 450 w 450"/>
                  <a:gd name="T5" fmla="*/ 300 h 300"/>
                  <a:gd name="T6" fmla="*/ 360 w 450"/>
                  <a:gd name="T7" fmla="*/ 90 h 300"/>
                  <a:gd name="T8" fmla="*/ 240 w 450"/>
                  <a:gd name="T9" fmla="*/ 150 h 300"/>
                  <a:gd name="T10" fmla="*/ 0 w 450"/>
                  <a:gd name="T11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0" h="300">
                    <a:moveTo>
                      <a:pt x="180" y="300"/>
                    </a:moveTo>
                    <a:lnTo>
                      <a:pt x="300" y="240"/>
                    </a:lnTo>
                    <a:lnTo>
                      <a:pt x="450" y="300"/>
                    </a:lnTo>
                    <a:lnTo>
                      <a:pt x="360" y="9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2" name="Line 2428">
                <a:extLst>
                  <a:ext uri="{FF2B5EF4-FFF2-40B4-BE49-F238E27FC236}">
                    <a16:creationId xmlns:a16="http://schemas.microsoft.com/office/drawing/2014/main" xmlns="" id="{DE2147CC-06CE-48CA-B9C3-57F5F6F83AA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925" y="243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3" name="Freeform 2429">
                <a:extLst>
                  <a:ext uri="{FF2B5EF4-FFF2-40B4-BE49-F238E27FC236}">
                    <a16:creationId xmlns:a16="http://schemas.microsoft.com/office/drawing/2014/main" xmlns="" id="{8585E7AE-1FDF-4BB2-8B71-96A7847B7F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2070"/>
                <a:ext cx="300" cy="240"/>
              </a:xfrm>
              <a:custGeom>
                <a:avLst/>
                <a:gdLst>
                  <a:gd name="T0" fmla="*/ 180 w 300"/>
                  <a:gd name="T1" fmla="*/ 0 h 240"/>
                  <a:gd name="T2" fmla="*/ 0 w 300"/>
                  <a:gd name="T3" fmla="*/ 0 h 240"/>
                  <a:gd name="T4" fmla="*/ 60 w 300"/>
                  <a:gd name="T5" fmla="*/ 120 h 240"/>
                  <a:gd name="T6" fmla="*/ 180 w 300"/>
                  <a:gd name="T7" fmla="*/ 0 h 240"/>
                  <a:gd name="T8" fmla="*/ 300 w 300"/>
                  <a:gd name="T9" fmla="*/ 150 h 240"/>
                  <a:gd name="T10" fmla="*/ 150 w 300"/>
                  <a:gd name="T11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0" h="240">
                    <a:moveTo>
                      <a:pt x="180" y="0"/>
                    </a:moveTo>
                    <a:lnTo>
                      <a:pt x="0" y="0"/>
                    </a:lnTo>
                    <a:lnTo>
                      <a:pt x="60" y="120"/>
                    </a:lnTo>
                    <a:lnTo>
                      <a:pt x="180" y="0"/>
                    </a:lnTo>
                    <a:lnTo>
                      <a:pt x="300" y="150"/>
                    </a:lnTo>
                    <a:lnTo>
                      <a:pt x="15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4" name="Line 2430">
                <a:extLst>
                  <a:ext uri="{FF2B5EF4-FFF2-40B4-BE49-F238E27FC236}">
                    <a16:creationId xmlns:a16="http://schemas.microsoft.com/office/drawing/2014/main" xmlns="" id="{F56972D3-CADE-49B0-BDE9-935FC712111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35" y="2040"/>
                <a:ext cx="90" cy="21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5" name="Freeform 2431">
                <a:extLst>
                  <a:ext uri="{FF2B5EF4-FFF2-40B4-BE49-F238E27FC236}">
                    <a16:creationId xmlns:a16="http://schemas.microsoft.com/office/drawing/2014/main" xmlns="" id="{B3190822-7218-4BB0-AD8A-4F7CC1C586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2310"/>
                <a:ext cx="690" cy="420"/>
              </a:xfrm>
              <a:custGeom>
                <a:avLst/>
                <a:gdLst>
                  <a:gd name="T0" fmla="*/ 120 w 690"/>
                  <a:gd name="T1" fmla="*/ 150 h 420"/>
                  <a:gd name="T2" fmla="*/ 330 w 690"/>
                  <a:gd name="T3" fmla="*/ 0 h 420"/>
                  <a:gd name="T4" fmla="*/ 180 w 690"/>
                  <a:gd name="T5" fmla="*/ 30 h 420"/>
                  <a:gd name="T6" fmla="*/ 270 w 690"/>
                  <a:gd name="T7" fmla="*/ 180 h 420"/>
                  <a:gd name="T8" fmla="*/ 0 w 690"/>
                  <a:gd name="T9" fmla="*/ 210 h 420"/>
                  <a:gd name="T10" fmla="*/ 210 w 690"/>
                  <a:gd name="T11" fmla="*/ 270 h 420"/>
                  <a:gd name="T12" fmla="*/ 330 w 690"/>
                  <a:gd name="T13" fmla="*/ 330 h 420"/>
                  <a:gd name="T14" fmla="*/ 420 w 690"/>
                  <a:gd name="T15" fmla="*/ 420 h 420"/>
                  <a:gd name="T16" fmla="*/ 450 w 690"/>
                  <a:gd name="T17" fmla="*/ 240 h 420"/>
                  <a:gd name="T18" fmla="*/ 570 w 690"/>
                  <a:gd name="T19" fmla="*/ 420 h 420"/>
                  <a:gd name="T20" fmla="*/ 690 w 690"/>
                  <a:gd name="T21" fmla="*/ 39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0" h="420">
                    <a:moveTo>
                      <a:pt x="120" y="150"/>
                    </a:moveTo>
                    <a:lnTo>
                      <a:pt x="330" y="0"/>
                    </a:lnTo>
                    <a:lnTo>
                      <a:pt x="180" y="30"/>
                    </a:lnTo>
                    <a:lnTo>
                      <a:pt x="270" y="180"/>
                    </a:lnTo>
                    <a:lnTo>
                      <a:pt x="0" y="210"/>
                    </a:lnTo>
                    <a:lnTo>
                      <a:pt x="210" y="270"/>
                    </a:lnTo>
                    <a:lnTo>
                      <a:pt x="330" y="330"/>
                    </a:lnTo>
                    <a:lnTo>
                      <a:pt x="420" y="420"/>
                    </a:lnTo>
                    <a:lnTo>
                      <a:pt x="450" y="240"/>
                    </a:lnTo>
                    <a:lnTo>
                      <a:pt x="570" y="420"/>
                    </a:lnTo>
                    <a:lnTo>
                      <a:pt x="690" y="3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6" name="Freeform 2432">
                <a:extLst>
                  <a:ext uri="{FF2B5EF4-FFF2-40B4-BE49-F238E27FC236}">
                    <a16:creationId xmlns:a16="http://schemas.microsoft.com/office/drawing/2014/main" xmlns="" id="{43421D69-CD11-4B48-933C-79F016C286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" y="2490"/>
                <a:ext cx="389" cy="300"/>
              </a:xfrm>
              <a:custGeom>
                <a:avLst/>
                <a:gdLst>
                  <a:gd name="T0" fmla="*/ 180 w 389"/>
                  <a:gd name="T1" fmla="*/ 300 h 300"/>
                  <a:gd name="T2" fmla="*/ 389 w 389"/>
                  <a:gd name="T3" fmla="*/ 270 h 300"/>
                  <a:gd name="T4" fmla="*/ 240 w 389"/>
                  <a:gd name="T5" fmla="*/ 150 h 300"/>
                  <a:gd name="T6" fmla="*/ 0 w 389"/>
                  <a:gd name="T7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9" h="300">
                    <a:moveTo>
                      <a:pt x="180" y="300"/>
                    </a:moveTo>
                    <a:lnTo>
                      <a:pt x="389" y="27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7" name="Freeform 2433">
                <a:extLst>
                  <a:ext uri="{FF2B5EF4-FFF2-40B4-BE49-F238E27FC236}">
                    <a16:creationId xmlns:a16="http://schemas.microsoft.com/office/drawing/2014/main" xmlns="" id="{57A21A57-D588-40E6-B509-3E60E58F73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5" y="2310"/>
                <a:ext cx="389" cy="360"/>
              </a:xfrm>
              <a:custGeom>
                <a:avLst/>
                <a:gdLst>
                  <a:gd name="T0" fmla="*/ 90 w 389"/>
                  <a:gd name="T1" fmla="*/ 330 h 360"/>
                  <a:gd name="T2" fmla="*/ 389 w 389"/>
                  <a:gd name="T3" fmla="*/ 360 h 360"/>
                  <a:gd name="T4" fmla="*/ 359 w 389"/>
                  <a:gd name="T5" fmla="*/ 240 h 360"/>
                  <a:gd name="T6" fmla="*/ 209 w 389"/>
                  <a:gd name="T7" fmla="*/ 270 h 360"/>
                  <a:gd name="T8" fmla="*/ 0 w 389"/>
                  <a:gd name="T9" fmla="*/ 210 h 360"/>
                  <a:gd name="T10" fmla="*/ 269 w 389"/>
                  <a:gd name="T11" fmla="*/ 180 h 360"/>
                  <a:gd name="T12" fmla="*/ 179 w 389"/>
                  <a:gd name="T13" fmla="*/ 30 h 360"/>
                  <a:gd name="T14" fmla="*/ 329 w 389"/>
                  <a:gd name="T15" fmla="*/ 0 h 360"/>
                  <a:gd name="T16" fmla="*/ 120 w 389"/>
                  <a:gd name="T17" fmla="*/ 15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9" h="360">
                    <a:moveTo>
                      <a:pt x="90" y="330"/>
                    </a:moveTo>
                    <a:lnTo>
                      <a:pt x="389" y="360"/>
                    </a:lnTo>
                    <a:lnTo>
                      <a:pt x="359" y="240"/>
                    </a:lnTo>
                    <a:lnTo>
                      <a:pt x="209" y="270"/>
                    </a:lnTo>
                    <a:lnTo>
                      <a:pt x="0" y="210"/>
                    </a:lnTo>
                    <a:lnTo>
                      <a:pt x="269" y="180"/>
                    </a:lnTo>
                    <a:lnTo>
                      <a:pt x="179" y="30"/>
                    </a:lnTo>
                    <a:lnTo>
                      <a:pt x="329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8" name="Line 2434">
                <a:extLst>
                  <a:ext uri="{FF2B5EF4-FFF2-40B4-BE49-F238E27FC236}">
                    <a16:creationId xmlns:a16="http://schemas.microsoft.com/office/drawing/2014/main" xmlns="" id="{83EABB78-9E78-4BA8-B9BF-54D3EE4950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44" y="2310"/>
                <a:ext cx="30" cy="24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9" name="Freeform 2435">
                <a:extLst>
                  <a:ext uri="{FF2B5EF4-FFF2-40B4-BE49-F238E27FC236}">
                    <a16:creationId xmlns:a16="http://schemas.microsoft.com/office/drawing/2014/main" xmlns="" id="{55B7A0C2-6377-41BE-A1E1-B540C17DDC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5" y="2160"/>
                <a:ext cx="239" cy="30"/>
              </a:xfrm>
              <a:custGeom>
                <a:avLst/>
                <a:gdLst>
                  <a:gd name="T0" fmla="*/ 0 w 239"/>
                  <a:gd name="T1" fmla="*/ 0 h 30"/>
                  <a:gd name="T2" fmla="*/ 119 w 239"/>
                  <a:gd name="T3" fmla="*/ 30 h 30"/>
                  <a:gd name="T4" fmla="*/ 239 w 239"/>
                  <a:gd name="T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30">
                    <a:moveTo>
                      <a:pt x="0" y="0"/>
                    </a:moveTo>
                    <a:lnTo>
                      <a:pt x="119" y="30"/>
                    </a:lnTo>
                    <a:lnTo>
                      <a:pt x="23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0" name="Freeform 2436">
                <a:extLst>
                  <a:ext uri="{FF2B5EF4-FFF2-40B4-BE49-F238E27FC236}">
                    <a16:creationId xmlns:a16="http://schemas.microsoft.com/office/drawing/2014/main" xmlns="" id="{7A4C7FBE-AEDF-484F-B9AB-2ACB74E6D8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2160"/>
                <a:ext cx="210" cy="510"/>
              </a:xfrm>
              <a:custGeom>
                <a:avLst/>
                <a:gdLst>
                  <a:gd name="T0" fmla="*/ 210 w 210"/>
                  <a:gd name="T1" fmla="*/ 180 h 510"/>
                  <a:gd name="T2" fmla="*/ 0 w 210"/>
                  <a:gd name="T3" fmla="*/ 510 h 510"/>
                  <a:gd name="T4" fmla="*/ 120 w 210"/>
                  <a:gd name="T5" fmla="*/ 480 h 510"/>
                  <a:gd name="T6" fmla="*/ 30 w 210"/>
                  <a:gd name="T7" fmla="*/ 330 h 510"/>
                  <a:gd name="T8" fmla="*/ 120 w 210"/>
                  <a:gd name="T9" fmla="*/ 240 h 510"/>
                  <a:gd name="T10" fmla="*/ 0 w 210"/>
                  <a:gd name="T11" fmla="*/ 180 h 510"/>
                  <a:gd name="T12" fmla="*/ 90 w 210"/>
                  <a:gd name="T13" fmla="*/ 0 h 510"/>
                  <a:gd name="T14" fmla="*/ 210 w 210"/>
                  <a:gd name="T15" fmla="*/ 18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0" h="510">
                    <a:moveTo>
                      <a:pt x="210" y="180"/>
                    </a:moveTo>
                    <a:lnTo>
                      <a:pt x="0" y="510"/>
                    </a:lnTo>
                    <a:lnTo>
                      <a:pt x="120" y="480"/>
                    </a:lnTo>
                    <a:lnTo>
                      <a:pt x="30" y="330"/>
                    </a:lnTo>
                    <a:lnTo>
                      <a:pt x="120" y="240"/>
                    </a:lnTo>
                    <a:lnTo>
                      <a:pt x="0" y="180"/>
                    </a:lnTo>
                    <a:lnTo>
                      <a:pt x="90" y="0"/>
                    </a:lnTo>
                    <a:lnTo>
                      <a:pt x="210" y="18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1" name="Freeform 2437">
                <a:extLst>
                  <a:ext uri="{FF2B5EF4-FFF2-40B4-BE49-F238E27FC236}">
                    <a16:creationId xmlns:a16="http://schemas.microsoft.com/office/drawing/2014/main" xmlns="" id="{2D925C62-6063-4D09-8699-31AD080409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2100"/>
                <a:ext cx="719" cy="690"/>
              </a:xfrm>
              <a:custGeom>
                <a:avLst/>
                <a:gdLst>
                  <a:gd name="T0" fmla="*/ 119 w 719"/>
                  <a:gd name="T1" fmla="*/ 120 h 690"/>
                  <a:gd name="T2" fmla="*/ 0 w 719"/>
                  <a:gd name="T3" fmla="*/ 30 h 690"/>
                  <a:gd name="T4" fmla="*/ 209 w 719"/>
                  <a:gd name="T5" fmla="*/ 0 h 690"/>
                  <a:gd name="T6" fmla="*/ 299 w 719"/>
                  <a:gd name="T7" fmla="*/ 120 h 690"/>
                  <a:gd name="T8" fmla="*/ 389 w 719"/>
                  <a:gd name="T9" fmla="*/ 0 h 690"/>
                  <a:gd name="T10" fmla="*/ 209 w 719"/>
                  <a:gd name="T11" fmla="*/ 0 h 690"/>
                  <a:gd name="T12" fmla="*/ 209 w 719"/>
                  <a:gd name="T13" fmla="*/ 151 h 690"/>
                  <a:gd name="T14" fmla="*/ 119 w 719"/>
                  <a:gd name="T15" fmla="*/ 120 h 690"/>
                  <a:gd name="T16" fmla="*/ 89 w 719"/>
                  <a:gd name="T17" fmla="*/ 210 h 690"/>
                  <a:gd name="T18" fmla="*/ 89 w 719"/>
                  <a:gd name="T19" fmla="*/ 450 h 690"/>
                  <a:gd name="T20" fmla="*/ 209 w 719"/>
                  <a:gd name="T21" fmla="*/ 360 h 690"/>
                  <a:gd name="T22" fmla="*/ 298 w 719"/>
                  <a:gd name="T23" fmla="*/ 452 h 690"/>
                  <a:gd name="T24" fmla="*/ 269 w 719"/>
                  <a:gd name="T25" fmla="*/ 270 h 690"/>
                  <a:gd name="T26" fmla="*/ 359 w 719"/>
                  <a:gd name="T27" fmla="*/ 210 h 690"/>
                  <a:gd name="T28" fmla="*/ 479 w 719"/>
                  <a:gd name="T29" fmla="*/ 270 h 690"/>
                  <a:gd name="T30" fmla="*/ 359 w 719"/>
                  <a:gd name="T31" fmla="*/ 330 h 690"/>
                  <a:gd name="T32" fmla="*/ 449 w 719"/>
                  <a:gd name="T33" fmla="*/ 390 h 690"/>
                  <a:gd name="T34" fmla="*/ 719 w 719"/>
                  <a:gd name="T35" fmla="*/ 360 h 690"/>
                  <a:gd name="T36" fmla="*/ 599 w 719"/>
                  <a:gd name="T37" fmla="*/ 420 h 690"/>
                  <a:gd name="T38" fmla="*/ 629 w 719"/>
                  <a:gd name="T39" fmla="*/ 690 h 690"/>
                  <a:gd name="T40" fmla="*/ 419 w 719"/>
                  <a:gd name="T41" fmla="*/ 510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9" h="690">
                    <a:moveTo>
                      <a:pt x="119" y="120"/>
                    </a:moveTo>
                    <a:lnTo>
                      <a:pt x="0" y="30"/>
                    </a:lnTo>
                    <a:lnTo>
                      <a:pt x="209" y="0"/>
                    </a:lnTo>
                    <a:lnTo>
                      <a:pt x="299" y="120"/>
                    </a:lnTo>
                    <a:lnTo>
                      <a:pt x="389" y="0"/>
                    </a:lnTo>
                    <a:lnTo>
                      <a:pt x="209" y="0"/>
                    </a:lnTo>
                    <a:lnTo>
                      <a:pt x="209" y="151"/>
                    </a:lnTo>
                    <a:lnTo>
                      <a:pt x="119" y="120"/>
                    </a:lnTo>
                    <a:lnTo>
                      <a:pt x="89" y="210"/>
                    </a:lnTo>
                    <a:lnTo>
                      <a:pt x="89" y="450"/>
                    </a:lnTo>
                    <a:lnTo>
                      <a:pt x="209" y="360"/>
                    </a:lnTo>
                    <a:lnTo>
                      <a:pt x="298" y="452"/>
                    </a:lnTo>
                    <a:lnTo>
                      <a:pt x="269" y="270"/>
                    </a:lnTo>
                    <a:lnTo>
                      <a:pt x="359" y="210"/>
                    </a:lnTo>
                    <a:lnTo>
                      <a:pt x="479" y="270"/>
                    </a:lnTo>
                    <a:lnTo>
                      <a:pt x="359" y="330"/>
                    </a:lnTo>
                    <a:lnTo>
                      <a:pt x="449" y="390"/>
                    </a:lnTo>
                    <a:lnTo>
                      <a:pt x="719" y="360"/>
                    </a:lnTo>
                    <a:lnTo>
                      <a:pt x="599" y="420"/>
                    </a:lnTo>
                    <a:lnTo>
                      <a:pt x="629" y="690"/>
                    </a:lnTo>
                    <a:lnTo>
                      <a:pt x="419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2" name="Freeform 2438">
                <a:extLst>
                  <a:ext uri="{FF2B5EF4-FFF2-40B4-BE49-F238E27FC236}">
                    <a16:creationId xmlns:a16="http://schemas.microsoft.com/office/drawing/2014/main" xmlns="" id="{6BB2A7DD-55F3-4159-B39B-77838B03EC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2190"/>
                <a:ext cx="359" cy="330"/>
              </a:xfrm>
              <a:custGeom>
                <a:avLst/>
                <a:gdLst>
                  <a:gd name="T0" fmla="*/ 300 w 359"/>
                  <a:gd name="T1" fmla="*/ 240 h 330"/>
                  <a:gd name="T2" fmla="*/ 210 w 359"/>
                  <a:gd name="T3" fmla="*/ 330 h 330"/>
                  <a:gd name="T4" fmla="*/ 30 w 359"/>
                  <a:gd name="T5" fmla="*/ 300 h 330"/>
                  <a:gd name="T6" fmla="*/ 0 w 359"/>
                  <a:gd name="T7" fmla="*/ 150 h 330"/>
                  <a:gd name="T8" fmla="*/ 210 w 359"/>
                  <a:gd name="T9" fmla="*/ 0 h 330"/>
                  <a:gd name="T10" fmla="*/ 359 w 359"/>
                  <a:gd name="T11" fmla="*/ 12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9" h="330">
                    <a:moveTo>
                      <a:pt x="300" y="240"/>
                    </a:moveTo>
                    <a:lnTo>
                      <a:pt x="210" y="330"/>
                    </a:lnTo>
                    <a:lnTo>
                      <a:pt x="30" y="300"/>
                    </a:lnTo>
                    <a:lnTo>
                      <a:pt x="0" y="150"/>
                    </a:lnTo>
                    <a:lnTo>
                      <a:pt x="210" y="0"/>
                    </a:lnTo>
                    <a:lnTo>
                      <a:pt x="359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3" name="Freeform 2439">
                <a:extLst>
                  <a:ext uri="{FF2B5EF4-FFF2-40B4-BE49-F238E27FC236}">
                    <a16:creationId xmlns:a16="http://schemas.microsoft.com/office/drawing/2014/main" xmlns="" id="{9CC9871F-E390-4DD7-86E4-08F4444DBD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6" y="2520"/>
                <a:ext cx="239" cy="120"/>
              </a:xfrm>
              <a:custGeom>
                <a:avLst/>
                <a:gdLst>
                  <a:gd name="T0" fmla="*/ 90 w 239"/>
                  <a:gd name="T1" fmla="*/ 0 h 120"/>
                  <a:gd name="T2" fmla="*/ 0 w 239"/>
                  <a:gd name="T3" fmla="*/ 120 h 120"/>
                  <a:gd name="T4" fmla="*/ 239 w 239"/>
                  <a:gd name="T5" fmla="*/ 3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120">
                    <a:moveTo>
                      <a:pt x="90" y="0"/>
                    </a:moveTo>
                    <a:lnTo>
                      <a:pt x="0" y="120"/>
                    </a:lnTo>
                    <a:lnTo>
                      <a:pt x="23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4" name="Freeform 2440">
                <a:extLst>
                  <a:ext uri="{FF2B5EF4-FFF2-40B4-BE49-F238E27FC236}">
                    <a16:creationId xmlns:a16="http://schemas.microsoft.com/office/drawing/2014/main" xmlns="" id="{725B25B6-4D98-41CB-BC4D-FA0E797F7E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540"/>
                <a:ext cx="899" cy="750"/>
              </a:xfrm>
              <a:custGeom>
                <a:avLst/>
                <a:gdLst>
                  <a:gd name="T0" fmla="*/ 299 w 899"/>
                  <a:gd name="T1" fmla="*/ 630 h 750"/>
                  <a:gd name="T2" fmla="*/ 268 w 899"/>
                  <a:gd name="T3" fmla="*/ 482 h 750"/>
                  <a:gd name="T4" fmla="*/ 179 w 899"/>
                  <a:gd name="T5" fmla="*/ 570 h 750"/>
                  <a:gd name="T6" fmla="*/ 59 w 899"/>
                  <a:gd name="T7" fmla="*/ 480 h 750"/>
                  <a:gd name="T8" fmla="*/ 0 w 899"/>
                  <a:gd name="T9" fmla="*/ 360 h 750"/>
                  <a:gd name="T10" fmla="*/ 59 w 899"/>
                  <a:gd name="T11" fmla="*/ 240 h 750"/>
                  <a:gd name="T12" fmla="*/ 179 w 899"/>
                  <a:gd name="T13" fmla="*/ 390 h 750"/>
                  <a:gd name="T14" fmla="*/ 239 w 899"/>
                  <a:gd name="T15" fmla="*/ 300 h 750"/>
                  <a:gd name="T16" fmla="*/ 329 w 899"/>
                  <a:gd name="T17" fmla="*/ 360 h 750"/>
                  <a:gd name="T18" fmla="*/ 329 w 899"/>
                  <a:gd name="T19" fmla="*/ 240 h 750"/>
                  <a:gd name="T20" fmla="*/ 179 w 899"/>
                  <a:gd name="T21" fmla="*/ 181 h 750"/>
                  <a:gd name="T22" fmla="*/ 269 w 899"/>
                  <a:gd name="T23" fmla="*/ 150 h 750"/>
                  <a:gd name="T24" fmla="*/ 389 w 899"/>
                  <a:gd name="T25" fmla="*/ 120 h 750"/>
                  <a:gd name="T26" fmla="*/ 449 w 899"/>
                  <a:gd name="T27" fmla="*/ 300 h 750"/>
                  <a:gd name="T28" fmla="*/ 539 w 899"/>
                  <a:gd name="T29" fmla="*/ 180 h 750"/>
                  <a:gd name="T30" fmla="*/ 509 w 899"/>
                  <a:gd name="T31" fmla="*/ 60 h 750"/>
                  <a:gd name="T32" fmla="*/ 359 w 899"/>
                  <a:gd name="T33" fmla="*/ 30 h 750"/>
                  <a:gd name="T34" fmla="*/ 569 w 899"/>
                  <a:gd name="T35" fmla="*/ 0 h 750"/>
                  <a:gd name="T36" fmla="*/ 689 w 899"/>
                  <a:gd name="T37" fmla="*/ 90 h 750"/>
                  <a:gd name="T38" fmla="*/ 659 w 899"/>
                  <a:gd name="T39" fmla="*/ 240 h 750"/>
                  <a:gd name="T40" fmla="*/ 749 w 899"/>
                  <a:gd name="T41" fmla="*/ 270 h 750"/>
                  <a:gd name="T42" fmla="*/ 809 w 899"/>
                  <a:gd name="T43" fmla="*/ 120 h 750"/>
                  <a:gd name="T44" fmla="*/ 899 w 899"/>
                  <a:gd name="T45" fmla="*/ 240 h 750"/>
                  <a:gd name="T46" fmla="*/ 839 w 899"/>
                  <a:gd name="T47" fmla="*/ 420 h 750"/>
                  <a:gd name="T48" fmla="*/ 779 w 899"/>
                  <a:gd name="T49" fmla="*/ 510 h 750"/>
                  <a:gd name="T50" fmla="*/ 689 w 899"/>
                  <a:gd name="T51" fmla="*/ 390 h 750"/>
                  <a:gd name="T52" fmla="*/ 539 w 899"/>
                  <a:gd name="T53" fmla="*/ 330 h 750"/>
                  <a:gd name="T54" fmla="*/ 569 w 899"/>
                  <a:gd name="T55" fmla="*/ 450 h 750"/>
                  <a:gd name="T56" fmla="*/ 419 w 899"/>
                  <a:gd name="T57" fmla="*/ 420 h 750"/>
                  <a:gd name="T58" fmla="*/ 389 w 899"/>
                  <a:gd name="T59" fmla="*/ 540 h 750"/>
                  <a:gd name="T60" fmla="*/ 509 w 899"/>
                  <a:gd name="T61" fmla="*/ 570 h 750"/>
                  <a:gd name="T62" fmla="*/ 659 w 899"/>
                  <a:gd name="T63" fmla="*/ 570 h 750"/>
                  <a:gd name="T64" fmla="*/ 659 w 899"/>
                  <a:gd name="T65" fmla="*/ 75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99" h="750">
                    <a:moveTo>
                      <a:pt x="299" y="630"/>
                    </a:moveTo>
                    <a:lnTo>
                      <a:pt x="268" y="482"/>
                    </a:lnTo>
                    <a:lnTo>
                      <a:pt x="179" y="570"/>
                    </a:lnTo>
                    <a:lnTo>
                      <a:pt x="59" y="480"/>
                    </a:lnTo>
                    <a:lnTo>
                      <a:pt x="0" y="360"/>
                    </a:lnTo>
                    <a:lnTo>
                      <a:pt x="59" y="240"/>
                    </a:lnTo>
                    <a:lnTo>
                      <a:pt x="179" y="390"/>
                    </a:lnTo>
                    <a:lnTo>
                      <a:pt x="239" y="300"/>
                    </a:lnTo>
                    <a:lnTo>
                      <a:pt x="329" y="360"/>
                    </a:lnTo>
                    <a:lnTo>
                      <a:pt x="329" y="240"/>
                    </a:lnTo>
                    <a:lnTo>
                      <a:pt x="179" y="181"/>
                    </a:lnTo>
                    <a:lnTo>
                      <a:pt x="269" y="150"/>
                    </a:lnTo>
                    <a:lnTo>
                      <a:pt x="389" y="120"/>
                    </a:lnTo>
                    <a:lnTo>
                      <a:pt x="449" y="300"/>
                    </a:lnTo>
                    <a:lnTo>
                      <a:pt x="539" y="180"/>
                    </a:lnTo>
                    <a:lnTo>
                      <a:pt x="509" y="60"/>
                    </a:lnTo>
                    <a:lnTo>
                      <a:pt x="359" y="30"/>
                    </a:lnTo>
                    <a:lnTo>
                      <a:pt x="569" y="0"/>
                    </a:lnTo>
                    <a:lnTo>
                      <a:pt x="689" y="90"/>
                    </a:lnTo>
                    <a:lnTo>
                      <a:pt x="659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89" y="390"/>
                    </a:lnTo>
                    <a:lnTo>
                      <a:pt x="539" y="330"/>
                    </a:lnTo>
                    <a:lnTo>
                      <a:pt x="569" y="450"/>
                    </a:lnTo>
                    <a:lnTo>
                      <a:pt x="419" y="420"/>
                    </a:lnTo>
                    <a:lnTo>
                      <a:pt x="389" y="540"/>
                    </a:lnTo>
                    <a:lnTo>
                      <a:pt x="509" y="570"/>
                    </a:lnTo>
                    <a:lnTo>
                      <a:pt x="659" y="570"/>
                    </a:lnTo>
                    <a:lnTo>
                      <a:pt x="659" y="7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5" name="Line 2441">
                <a:extLst>
                  <a:ext uri="{FF2B5EF4-FFF2-40B4-BE49-F238E27FC236}">
                    <a16:creationId xmlns:a16="http://schemas.microsoft.com/office/drawing/2014/main" xmlns="" id="{C773A67D-56EA-4077-A7F3-5E6770ECA7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115" y="721"/>
                <a:ext cx="120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6" name="Freeform 2442">
                <a:extLst>
                  <a:ext uri="{FF2B5EF4-FFF2-40B4-BE49-F238E27FC236}">
                    <a16:creationId xmlns:a16="http://schemas.microsoft.com/office/drawing/2014/main" xmlns="" id="{51E1BED8-5A19-4A5E-B23E-F02B9B9B66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" y="900"/>
                <a:ext cx="121" cy="180"/>
              </a:xfrm>
              <a:custGeom>
                <a:avLst/>
                <a:gdLst>
                  <a:gd name="T0" fmla="*/ 61 w 121"/>
                  <a:gd name="T1" fmla="*/ 0 h 180"/>
                  <a:gd name="T2" fmla="*/ 121 w 121"/>
                  <a:gd name="T3" fmla="*/ 180 h 180"/>
                  <a:gd name="T4" fmla="*/ 0 w 121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1" h="180">
                    <a:moveTo>
                      <a:pt x="61" y="0"/>
                    </a:moveTo>
                    <a:lnTo>
                      <a:pt x="121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7" name="Freeform 2443">
                <a:extLst>
                  <a:ext uri="{FF2B5EF4-FFF2-40B4-BE49-F238E27FC236}">
                    <a16:creationId xmlns:a16="http://schemas.microsoft.com/office/drawing/2014/main" xmlns="" id="{E6EC1C8B-362B-4938-879B-8A4D34CB94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5" y="51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8" name="Line 2444">
                <a:extLst>
                  <a:ext uri="{FF2B5EF4-FFF2-40B4-BE49-F238E27FC236}">
                    <a16:creationId xmlns:a16="http://schemas.microsoft.com/office/drawing/2014/main" xmlns="" id="{2980D62F-E3E6-48A3-A6D7-D2AC54D4DC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45" y="6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9" name="Freeform 2445">
                <a:extLst>
                  <a:ext uri="{FF2B5EF4-FFF2-40B4-BE49-F238E27FC236}">
                    <a16:creationId xmlns:a16="http://schemas.microsoft.com/office/drawing/2014/main" xmlns="" id="{0EC19ED2-A1B9-4634-9096-CE64B394DD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6" y="600"/>
                <a:ext cx="599" cy="630"/>
              </a:xfrm>
              <a:custGeom>
                <a:avLst/>
                <a:gdLst>
                  <a:gd name="T0" fmla="*/ 599 w 599"/>
                  <a:gd name="T1" fmla="*/ 510 h 630"/>
                  <a:gd name="T2" fmla="*/ 389 w 599"/>
                  <a:gd name="T3" fmla="*/ 570 h 630"/>
                  <a:gd name="T4" fmla="*/ 269 w 599"/>
                  <a:gd name="T5" fmla="*/ 510 h 630"/>
                  <a:gd name="T6" fmla="*/ 90 w 599"/>
                  <a:gd name="T7" fmla="*/ 540 h 630"/>
                  <a:gd name="T8" fmla="*/ 0 w 599"/>
                  <a:gd name="T9" fmla="*/ 390 h 630"/>
                  <a:gd name="T10" fmla="*/ 0 w 599"/>
                  <a:gd name="T11" fmla="*/ 630 h 630"/>
                  <a:gd name="T12" fmla="*/ 90 w 599"/>
                  <a:gd name="T13" fmla="*/ 300 h 630"/>
                  <a:gd name="T14" fmla="*/ 0 w 599"/>
                  <a:gd name="T15" fmla="*/ 210 h 630"/>
                  <a:gd name="T16" fmla="*/ 0 w 599"/>
                  <a:gd name="T17" fmla="*/ 60 h 630"/>
                  <a:gd name="T18" fmla="*/ 60 w 599"/>
                  <a:gd name="T19" fmla="*/ 0 h 630"/>
                  <a:gd name="T20" fmla="*/ 149 w 599"/>
                  <a:gd name="T21" fmla="*/ 180 h 630"/>
                  <a:gd name="T22" fmla="*/ 329 w 599"/>
                  <a:gd name="T23" fmla="*/ 240 h 630"/>
                  <a:gd name="T24" fmla="*/ 359 w 599"/>
                  <a:gd name="T25" fmla="*/ 9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9" h="630">
                    <a:moveTo>
                      <a:pt x="599" y="510"/>
                    </a:moveTo>
                    <a:lnTo>
                      <a:pt x="389" y="570"/>
                    </a:lnTo>
                    <a:lnTo>
                      <a:pt x="269" y="510"/>
                    </a:lnTo>
                    <a:lnTo>
                      <a:pt x="90" y="540"/>
                    </a:lnTo>
                    <a:lnTo>
                      <a:pt x="0" y="390"/>
                    </a:lnTo>
                    <a:lnTo>
                      <a:pt x="0" y="630"/>
                    </a:lnTo>
                    <a:lnTo>
                      <a:pt x="90" y="300"/>
                    </a:lnTo>
                    <a:lnTo>
                      <a:pt x="0" y="210"/>
                    </a:lnTo>
                    <a:lnTo>
                      <a:pt x="0" y="60"/>
                    </a:lnTo>
                    <a:lnTo>
                      <a:pt x="60" y="0"/>
                    </a:lnTo>
                    <a:lnTo>
                      <a:pt x="149" y="180"/>
                    </a:lnTo>
                    <a:lnTo>
                      <a:pt x="329" y="240"/>
                    </a:lnTo>
                    <a:lnTo>
                      <a:pt x="359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0" name="Freeform 2446">
                <a:extLst>
                  <a:ext uri="{FF2B5EF4-FFF2-40B4-BE49-F238E27FC236}">
                    <a16:creationId xmlns:a16="http://schemas.microsoft.com/office/drawing/2014/main" xmlns="" id="{75FCC61C-3AA7-4F8A-92DC-B966C4A100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5" y="540"/>
                <a:ext cx="899" cy="720"/>
              </a:xfrm>
              <a:custGeom>
                <a:avLst/>
                <a:gdLst>
                  <a:gd name="T0" fmla="*/ 60 w 899"/>
                  <a:gd name="T1" fmla="*/ 240 h 720"/>
                  <a:gd name="T2" fmla="*/ 180 w 899"/>
                  <a:gd name="T3" fmla="*/ 390 h 720"/>
                  <a:gd name="T4" fmla="*/ 240 w 899"/>
                  <a:gd name="T5" fmla="*/ 300 h 720"/>
                  <a:gd name="T6" fmla="*/ 330 w 899"/>
                  <a:gd name="T7" fmla="*/ 360 h 720"/>
                  <a:gd name="T8" fmla="*/ 330 w 899"/>
                  <a:gd name="T9" fmla="*/ 240 h 720"/>
                  <a:gd name="T10" fmla="*/ 180 w 899"/>
                  <a:gd name="T11" fmla="*/ 181 h 720"/>
                  <a:gd name="T12" fmla="*/ 270 w 899"/>
                  <a:gd name="T13" fmla="*/ 150 h 720"/>
                  <a:gd name="T14" fmla="*/ 390 w 899"/>
                  <a:gd name="T15" fmla="*/ 120 h 720"/>
                  <a:gd name="T16" fmla="*/ 450 w 899"/>
                  <a:gd name="T17" fmla="*/ 300 h 720"/>
                  <a:gd name="T18" fmla="*/ 540 w 899"/>
                  <a:gd name="T19" fmla="*/ 180 h 720"/>
                  <a:gd name="T20" fmla="*/ 510 w 899"/>
                  <a:gd name="T21" fmla="*/ 60 h 720"/>
                  <a:gd name="T22" fmla="*/ 360 w 899"/>
                  <a:gd name="T23" fmla="*/ 30 h 720"/>
                  <a:gd name="T24" fmla="*/ 570 w 899"/>
                  <a:gd name="T25" fmla="*/ 0 h 720"/>
                  <a:gd name="T26" fmla="*/ 690 w 899"/>
                  <a:gd name="T27" fmla="*/ 90 h 720"/>
                  <a:gd name="T28" fmla="*/ 660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90 w 899"/>
                  <a:gd name="T41" fmla="*/ 390 h 720"/>
                  <a:gd name="T42" fmla="*/ 540 w 899"/>
                  <a:gd name="T43" fmla="*/ 330 h 720"/>
                  <a:gd name="T44" fmla="*/ 570 w 899"/>
                  <a:gd name="T45" fmla="*/ 450 h 720"/>
                  <a:gd name="T46" fmla="*/ 420 w 899"/>
                  <a:gd name="T47" fmla="*/ 420 h 720"/>
                  <a:gd name="T48" fmla="*/ 390 w 899"/>
                  <a:gd name="T49" fmla="*/ 540 h 720"/>
                  <a:gd name="T50" fmla="*/ 510 w 899"/>
                  <a:gd name="T51" fmla="*/ 570 h 720"/>
                  <a:gd name="T52" fmla="*/ 660 w 899"/>
                  <a:gd name="T53" fmla="*/ 570 h 720"/>
                  <a:gd name="T54" fmla="*/ 600 w 899"/>
                  <a:gd name="T55" fmla="*/ 720 h 720"/>
                  <a:gd name="T56" fmla="*/ 300 w 899"/>
                  <a:gd name="T57" fmla="*/ 630 h 720"/>
                  <a:gd name="T58" fmla="*/ 268 w 899"/>
                  <a:gd name="T59" fmla="*/ 482 h 720"/>
                  <a:gd name="T60" fmla="*/ 180 w 899"/>
                  <a:gd name="T61" fmla="*/ 570 h 720"/>
                  <a:gd name="T62" fmla="*/ 60 w 899"/>
                  <a:gd name="T63" fmla="*/ 480 h 720"/>
                  <a:gd name="T64" fmla="*/ 0 w 899"/>
                  <a:gd name="T65" fmla="*/ 360 h 720"/>
                  <a:gd name="T66" fmla="*/ 60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60" y="240"/>
                    </a:moveTo>
                    <a:lnTo>
                      <a:pt x="180" y="390"/>
                    </a:lnTo>
                    <a:lnTo>
                      <a:pt x="240" y="300"/>
                    </a:lnTo>
                    <a:lnTo>
                      <a:pt x="330" y="360"/>
                    </a:lnTo>
                    <a:lnTo>
                      <a:pt x="330" y="240"/>
                    </a:lnTo>
                    <a:lnTo>
                      <a:pt x="180" y="181"/>
                    </a:lnTo>
                    <a:lnTo>
                      <a:pt x="270" y="150"/>
                    </a:lnTo>
                    <a:lnTo>
                      <a:pt x="390" y="120"/>
                    </a:lnTo>
                    <a:lnTo>
                      <a:pt x="450" y="300"/>
                    </a:lnTo>
                    <a:lnTo>
                      <a:pt x="540" y="180"/>
                    </a:lnTo>
                    <a:lnTo>
                      <a:pt x="510" y="60"/>
                    </a:lnTo>
                    <a:lnTo>
                      <a:pt x="360" y="30"/>
                    </a:lnTo>
                    <a:lnTo>
                      <a:pt x="570" y="0"/>
                    </a:lnTo>
                    <a:lnTo>
                      <a:pt x="690" y="90"/>
                    </a:lnTo>
                    <a:lnTo>
                      <a:pt x="660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90" y="390"/>
                    </a:lnTo>
                    <a:lnTo>
                      <a:pt x="540" y="330"/>
                    </a:lnTo>
                    <a:lnTo>
                      <a:pt x="570" y="450"/>
                    </a:lnTo>
                    <a:lnTo>
                      <a:pt x="420" y="420"/>
                    </a:lnTo>
                    <a:lnTo>
                      <a:pt x="390" y="540"/>
                    </a:lnTo>
                    <a:lnTo>
                      <a:pt x="510" y="570"/>
                    </a:lnTo>
                    <a:lnTo>
                      <a:pt x="660" y="570"/>
                    </a:lnTo>
                    <a:lnTo>
                      <a:pt x="600" y="720"/>
                    </a:lnTo>
                    <a:lnTo>
                      <a:pt x="300" y="630"/>
                    </a:lnTo>
                    <a:lnTo>
                      <a:pt x="268" y="482"/>
                    </a:lnTo>
                    <a:lnTo>
                      <a:pt x="180" y="570"/>
                    </a:lnTo>
                    <a:lnTo>
                      <a:pt x="60" y="480"/>
                    </a:lnTo>
                    <a:lnTo>
                      <a:pt x="0" y="360"/>
                    </a:lnTo>
                    <a:lnTo>
                      <a:pt x="6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1" name="Freeform 2447">
                <a:extLst>
                  <a:ext uri="{FF2B5EF4-FFF2-40B4-BE49-F238E27FC236}">
                    <a16:creationId xmlns:a16="http://schemas.microsoft.com/office/drawing/2014/main" xmlns="" id="{3F980634-D841-47EE-B41E-682284996A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690"/>
                <a:ext cx="210" cy="150"/>
              </a:xfrm>
              <a:custGeom>
                <a:avLst/>
                <a:gdLst>
                  <a:gd name="T0" fmla="*/ 0 w 210"/>
                  <a:gd name="T1" fmla="*/ 90 h 150"/>
                  <a:gd name="T2" fmla="*/ 180 w 210"/>
                  <a:gd name="T3" fmla="*/ 150 h 150"/>
                  <a:gd name="T4" fmla="*/ 210 w 210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150">
                    <a:moveTo>
                      <a:pt x="0" y="90"/>
                    </a:moveTo>
                    <a:lnTo>
                      <a:pt x="180" y="150"/>
                    </a:lnTo>
                    <a:lnTo>
                      <a:pt x="21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2" name="Freeform 2448">
                <a:extLst>
                  <a:ext uri="{FF2B5EF4-FFF2-40B4-BE49-F238E27FC236}">
                    <a16:creationId xmlns:a16="http://schemas.microsoft.com/office/drawing/2014/main" xmlns="" id="{A6D49242-74C4-4F3F-A8B8-1C13B5D79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721"/>
                <a:ext cx="240" cy="389"/>
              </a:xfrm>
              <a:custGeom>
                <a:avLst/>
                <a:gdLst>
                  <a:gd name="T0" fmla="*/ 240 w 240"/>
                  <a:gd name="T1" fmla="*/ 0 h 389"/>
                  <a:gd name="T2" fmla="*/ 120 w 240"/>
                  <a:gd name="T3" fmla="*/ 299 h 389"/>
                  <a:gd name="T4" fmla="*/ 0 w 240"/>
                  <a:gd name="T5" fmla="*/ 389 h 389"/>
                  <a:gd name="T6" fmla="*/ 60 w 240"/>
                  <a:gd name="T7" fmla="*/ 179 h 389"/>
                  <a:gd name="T8" fmla="*/ 0 w 240"/>
                  <a:gd name="T9" fmla="*/ 59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89">
                    <a:moveTo>
                      <a:pt x="240" y="0"/>
                    </a:moveTo>
                    <a:lnTo>
                      <a:pt x="120" y="299"/>
                    </a:lnTo>
                    <a:lnTo>
                      <a:pt x="0" y="389"/>
                    </a:lnTo>
                    <a:lnTo>
                      <a:pt x="60" y="179"/>
                    </a:lnTo>
                    <a:lnTo>
                      <a:pt x="0" y="5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3" name="Freeform 2449">
                <a:extLst>
                  <a:ext uri="{FF2B5EF4-FFF2-40B4-BE49-F238E27FC236}">
                    <a16:creationId xmlns:a16="http://schemas.microsoft.com/office/drawing/2014/main" xmlns="" id="{BA4D7E15-ED26-4A51-9AB7-94227C6E88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3" y="900"/>
                <a:ext cx="122" cy="180"/>
              </a:xfrm>
              <a:custGeom>
                <a:avLst/>
                <a:gdLst>
                  <a:gd name="T0" fmla="*/ 62 w 122"/>
                  <a:gd name="T1" fmla="*/ 0 h 180"/>
                  <a:gd name="T2" fmla="*/ 122 w 122"/>
                  <a:gd name="T3" fmla="*/ 180 h 180"/>
                  <a:gd name="T4" fmla="*/ 0 w 122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2" h="180">
                    <a:moveTo>
                      <a:pt x="62" y="0"/>
                    </a:moveTo>
                    <a:lnTo>
                      <a:pt x="122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4" name="Freeform 2450">
                <a:extLst>
                  <a:ext uri="{FF2B5EF4-FFF2-40B4-BE49-F238E27FC236}">
                    <a16:creationId xmlns:a16="http://schemas.microsoft.com/office/drawing/2014/main" xmlns="" id="{CAA9E147-4AF0-4A1E-9B2D-634451471B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5" y="51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5" name="Line 2451">
                <a:extLst>
                  <a:ext uri="{FF2B5EF4-FFF2-40B4-BE49-F238E27FC236}">
                    <a16:creationId xmlns:a16="http://schemas.microsoft.com/office/drawing/2014/main" xmlns="" id="{EA203C79-B140-4918-B1C2-2315090F77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05" y="6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6" name="Freeform 2452">
                <a:extLst>
                  <a:ext uri="{FF2B5EF4-FFF2-40B4-BE49-F238E27FC236}">
                    <a16:creationId xmlns:a16="http://schemas.microsoft.com/office/drawing/2014/main" xmlns="" id="{F50F26E6-F8EF-43F7-A8F7-A635121AD5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780"/>
                <a:ext cx="450" cy="390"/>
              </a:xfrm>
              <a:custGeom>
                <a:avLst/>
                <a:gdLst>
                  <a:gd name="T0" fmla="*/ 450 w 450"/>
                  <a:gd name="T1" fmla="*/ 330 h 390"/>
                  <a:gd name="T2" fmla="*/ 240 w 450"/>
                  <a:gd name="T3" fmla="*/ 390 h 390"/>
                  <a:gd name="T4" fmla="*/ 120 w 450"/>
                  <a:gd name="T5" fmla="*/ 330 h 390"/>
                  <a:gd name="T6" fmla="*/ 0 w 450"/>
                  <a:gd name="T7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0" h="390">
                    <a:moveTo>
                      <a:pt x="450" y="330"/>
                    </a:moveTo>
                    <a:lnTo>
                      <a:pt x="240" y="390"/>
                    </a:lnTo>
                    <a:lnTo>
                      <a:pt x="120" y="3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7" name="Freeform 2453">
                <a:extLst>
                  <a:ext uri="{FF2B5EF4-FFF2-40B4-BE49-F238E27FC236}">
                    <a16:creationId xmlns:a16="http://schemas.microsoft.com/office/drawing/2014/main" xmlns="" id="{2ED8CE35-28E8-4D6E-8498-FF219272AE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960"/>
                <a:ext cx="570" cy="300"/>
              </a:xfrm>
              <a:custGeom>
                <a:avLst/>
                <a:gdLst>
                  <a:gd name="T0" fmla="*/ 0 w 570"/>
                  <a:gd name="T1" fmla="*/ 0 h 300"/>
                  <a:gd name="T2" fmla="*/ 240 w 570"/>
                  <a:gd name="T3" fmla="*/ 150 h 300"/>
                  <a:gd name="T4" fmla="*/ 360 w 570"/>
                  <a:gd name="T5" fmla="*/ 90 h 300"/>
                  <a:gd name="T6" fmla="*/ 450 w 570"/>
                  <a:gd name="T7" fmla="*/ 300 h 300"/>
                  <a:gd name="T8" fmla="*/ 570 w 570"/>
                  <a:gd name="T9" fmla="*/ 24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0" h="300">
                    <a:moveTo>
                      <a:pt x="0" y="0"/>
                    </a:moveTo>
                    <a:lnTo>
                      <a:pt x="240" y="150"/>
                    </a:lnTo>
                    <a:lnTo>
                      <a:pt x="360" y="90"/>
                    </a:lnTo>
                    <a:lnTo>
                      <a:pt x="450" y="300"/>
                    </a:lnTo>
                    <a:lnTo>
                      <a:pt x="57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8" name="Line 2454">
                <a:extLst>
                  <a:ext uri="{FF2B5EF4-FFF2-40B4-BE49-F238E27FC236}">
                    <a16:creationId xmlns:a16="http://schemas.microsoft.com/office/drawing/2014/main" xmlns="" id="{917C94A9-5471-46A5-8E53-D3ED35E62A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95" y="90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9" name="Line 2455">
                <a:extLst>
                  <a:ext uri="{FF2B5EF4-FFF2-40B4-BE49-F238E27FC236}">
                    <a16:creationId xmlns:a16="http://schemas.microsoft.com/office/drawing/2014/main" xmlns="" id="{9F2E7F1C-6071-42D9-BDD1-CC318D40D85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05" y="510"/>
                <a:ext cx="90" cy="21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0" name="Freeform 2456">
                <a:extLst>
                  <a:ext uri="{FF2B5EF4-FFF2-40B4-BE49-F238E27FC236}">
                    <a16:creationId xmlns:a16="http://schemas.microsoft.com/office/drawing/2014/main" xmlns="" id="{5BD5B5E6-B388-4600-B069-8B51D3E9BF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5" y="960"/>
                <a:ext cx="389" cy="300"/>
              </a:xfrm>
              <a:custGeom>
                <a:avLst/>
                <a:gdLst>
                  <a:gd name="T0" fmla="*/ 180 w 389"/>
                  <a:gd name="T1" fmla="*/ 300 h 300"/>
                  <a:gd name="T2" fmla="*/ 389 w 389"/>
                  <a:gd name="T3" fmla="*/ 270 h 300"/>
                  <a:gd name="T4" fmla="*/ 240 w 389"/>
                  <a:gd name="T5" fmla="*/ 150 h 300"/>
                  <a:gd name="T6" fmla="*/ 0 w 389"/>
                  <a:gd name="T7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9" h="300">
                    <a:moveTo>
                      <a:pt x="180" y="300"/>
                    </a:moveTo>
                    <a:lnTo>
                      <a:pt x="389" y="27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1" name="Freeform 2457">
                <a:extLst>
                  <a:ext uri="{FF2B5EF4-FFF2-40B4-BE49-F238E27FC236}">
                    <a16:creationId xmlns:a16="http://schemas.microsoft.com/office/drawing/2014/main" xmlns="" id="{2E282A2B-9F19-4ADC-8241-EA5C1A51EF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780"/>
                <a:ext cx="389" cy="360"/>
              </a:xfrm>
              <a:custGeom>
                <a:avLst/>
                <a:gdLst>
                  <a:gd name="T0" fmla="*/ 90 w 389"/>
                  <a:gd name="T1" fmla="*/ 330 h 360"/>
                  <a:gd name="T2" fmla="*/ 389 w 389"/>
                  <a:gd name="T3" fmla="*/ 360 h 360"/>
                  <a:gd name="T4" fmla="*/ 359 w 389"/>
                  <a:gd name="T5" fmla="*/ 240 h 360"/>
                  <a:gd name="T6" fmla="*/ 209 w 389"/>
                  <a:gd name="T7" fmla="*/ 270 h 360"/>
                  <a:gd name="T8" fmla="*/ 0 w 389"/>
                  <a:gd name="T9" fmla="*/ 210 h 360"/>
                  <a:gd name="T10" fmla="*/ 269 w 389"/>
                  <a:gd name="T11" fmla="*/ 180 h 360"/>
                  <a:gd name="T12" fmla="*/ 179 w 389"/>
                  <a:gd name="T13" fmla="*/ 30 h 360"/>
                  <a:gd name="T14" fmla="*/ 329 w 389"/>
                  <a:gd name="T15" fmla="*/ 0 h 360"/>
                  <a:gd name="T16" fmla="*/ 120 w 389"/>
                  <a:gd name="T17" fmla="*/ 15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9" h="360">
                    <a:moveTo>
                      <a:pt x="90" y="330"/>
                    </a:moveTo>
                    <a:lnTo>
                      <a:pt x="389" y="360"/>
                    </a:lnTo>
                    <a:lnTo>
                      <a:pt x="359" y="240"/>
                    </a:lnTo>
                    <a:lnTo>
                      <a:pt x="209" y="270"/>
                    </a:lnTo>
                    <a:lnTo>
                      <a:pt x="0" y="210"/>
                    </a:lnTo>
                    <a:lnTo>
                      <a:pt x="269" y="180"/>
                    </a:lnTo>
                    <a:lnTo>
                      <a:pt x="179" y="30"/>
                    </a:lnTo>
                    <a:lnTo>
                      <a:pt x="329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2" name="Line 2458">
                <a:extLst>
                  <a:ext uri="{FF2B5EF4-FFF2-40B4-BE49-F238E27FC236}">
                    <a16:creationId xmlns:a16="http://schemas.microsoft.com/office/drawing/2014/main" xmlns="" id="{2137D392-7B8E-434E-8BA1-C2444A5B0F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14" y="780"/>
                <a:ext cx="30" cy="24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3" name="Freeform 2459">
                <a:extLst>
                  <a:ext uri="{FF2B5EF4-FFF2-40B4-BE49-F238E27FC236}">
                    <a16:creationId xmlns:a16="http://schemas.microsoft.com/office/drawing/2014/main" xmlns="" id="{98CA4021-4553-44E6-955D-4393423010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5" y="630"/>
                <a:ext cx="239" cy="30"/>
              </a:xfrm>
              <a:custGeom>
                <a:avLst/>
                <a:gdLst>
                  <a:gd name="T0" fmla="*/ 0 w 239"/>
                  <a:gd name="T1" fmla="*/ 0 h 30"/>
                  <a:gd name="T2" fmla="*/ 119 w 239"/>
                  <a:gd name="T3" fmla="*/ 30 h 30"/>
                  <a:gd name="T4" fmla="*/ 239 w 239"/>
                  <a:gd name="T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30">
                    <a:moveTo>
                      <a:pt x="0" y="0"/>
                    </a:moveTo>
                    <a:lnTo>
                      <a:pt x="119" y="30"/>
                    </a:lnTo>
                    <a:lnTo>
                      <a:pt x="23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4" name="Freeform 2460">
                <a:extLst>
                  <a:ext uri="{FF2B5EF4-FFF2-40B4-BE49-F238E27FC236}">
                    <a16:creationId xmlns:a16="http://schemas.microsoft.com/office/drawing/2014/main" xmlns="" id="{459D0F10-2F68-45E0-B3C1-F9B7B7DC9F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630"/>
                <a:ext cx="210" cy="510"/>
              </a:xfrm>
              <a:custGeom>
                <a:avLst/>
                <a:gdLst>
                  <a:gd name="T0" fmla="*/ 210 w 210"/>
                  <a:gd name="T1" fmla="*/ 180 h 510"/>
                  <a:gd name="T2" fmla="*/ 0 w 210"/>
                  <a:gd name="T3" fmla="*/ 510 h 510"/>
                  <a:gd name="T4" fmla="*/ 120 w 210"/>
                  <a:gd name="T5" fmla="*/ 480 h 510"/>
                  <a:gd name="T6" fmla="*/ 30 w 210"/>
                  <a:gd name="T7" fmla="*/ 330 h 510"/>
                  <a:gd name="T8" fmla="*/ 120 w 210"/>
                  <a:gd name="T9" fmla="*/ 240 h 510"/>
                  <a:gd name="T10" fmla="*/ 0 w 210"/>
                  <a:gd name="T11" fmla="*/ 180 h 510"/>
                  <a:gd name="T12" fmla="*/ 90 w 210"/>
                  <a:gd name="T13" fmla="*/ 0 h 510"/>
                  <a:gd name="T14" fmla="*/ 210 w 210"/>
                  <a:gd name="T15" fmla="*/ 18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0" h="510">
                    <a:moveTo>
                      <a:pt x="210" y="180"/>
                    </a:moveTo>
                    <a:lnTo>
                      <a:pt x="0" y="510"/>
                    </a:lnTo>
                    <a:lnTo>
                      <a:pt x="120" y="480"/>
                    </a:lnTo>
                    <a:lnTo>
                      <a:pt x="30" y="330"/>
                    </a:lnTo>
                    <a:lnTo>
                      <a:pt x="120" y="240"/>
                    </a:lnTo>
                    <a:lnTo>
                      <a:pt x="0" y="180"/>
                    </a:lnTo>
                    <a:lnTo>
                      <a:pt x="90" y="0"/>
                    </a:lnTo>
                    <a:lnTo>
                      <a:pt x="210" y="18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5" name="Freeform 2461">
                <a:extLst>
                  <a:ext uri="{FF2B5EF4-FFF2-40B4-BE49-F238E27FC236}">
                    <a16:creationId xmlns:a16="http://schemas.microsoft.com/office/drawing/2014/main" xmlns="" id="{53AF42A6-5C15-4DE4-994E-E870F2056C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6" y="570"/>
                <a:ext cx="719" cy="720"/>
              </a:xfrm>
              <a:custGeom>
                <a:avLst/>
                <a:gdLst>
                  <a:gd name="T0" fmla="*/ 119 w 719"/>
                  <a:gd name="T1" fmla="*/ 120 h 720"/>
                  <a:gd name="T2" fmla="*/ 0 w 719"/>
                  <a:gd name="T3" fmla="*/ 30 h 720"/>
                  <a:gd name="T4" fmla="*/ 209 w 719"/>
                  <a:gd name="T5" fmla="*/ 0 h 720"/>
                  <a:gd name="T6" fmla="*/ 299 w 719"/>
                  <a:gd name="T7" fmla="*/ 120 h 720"/>
                  <a:gd name="T8" fmla="*/ 389 w 719"/>
                  <a:gd name="T9" fmla="*/ 0 h 720"/>
                  <a:gd name="T10" fmla="*/ 209 w 719"/>
                  <a:gd name="T11" fmla="*/ 0 h 720"/>
                  <a:gd name="T12" fmla="*/ 209 w 719"/>
                  <a:gd name="T13" fmla="*/ 151 h 720"/>
                  <a:gd name="T14" fmla="*/ 119 w 719"/>
                  <a:gd name="T15" fmla="*/ 120 h 720"/>
                  <a:gd name="T16" fmla="*/ 89 w 719"/>
                  <a:gd name="T17" fmla="*/ 210 h 720"/>
                  <a:gd name="T18" fmla="*/ 89 w 719"/>
                  <a:gd name="T19" fmla="*/ 450 h 720"/>
                  <a:gd name="T20" fmla="*/ 209 w 719"/>
                  <a:gd name="T21" fmla="*/ 360 h 720"/>
                  <a:gd name="T22" fmla="*/ 298 w 719"/>
                  <a:gd name="T23" fmla="*/ 452 h 720"/>
                  <a:gd name="T24" fmla="*/ 269 w 719"/>
                  <a:gd name="T25" fmla="*/ 270 h 720"/>
                  <a:gd name="T26" fmla="*/ 359 w 719"/>
                  <a:gd name="T27" fmla="*/ 210 h 720"/>
                  <a:gd name="T28" fmla="*/ 479 w 719"/>
                  <a:gd name="T29" fmla="*/ 270 h 720"/>
                  <a:gd name="T30" fmla="*/ 359 w 719"/>
                  <a:gd name="T31" fmla="*/ 330 h 720"/>
                  <a:gd name="T32" fmla="*/ 449 w 719"/>
                  <a:gd name="T33" fmla="*/ 390 h 720"/>
                  <a:gd name="T34" fmla="*/ 719 w 719"/>
                  <a:gd name="T35" fmla="*/ 360 h 720"/>
                  <a:gd name="T36" fmla="*/ 599 w 719"/>
                  <a:gd name="T37" fmla="*/ 420 h 720"/>
                  <a:gd name="T38" fmla="*/ 689 w 719"/>
                  <a:gd name="T39" fmla="*/ 720 h 720"/>
                  <a:gd name="T40" fmla="*/ 419 w 719"/>
                  <a:gd name="T41" fmla="*/ 51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9" h="720">
                    <a:moveTo>
                      <a:pt x="119" y="120"/>
                    </a:moveTo>
                    <a:lnTo>
                      <a:pt x="0" y="30"/>
                    </a:lnTo>
                    <a:lnTo>
                      <a:pt x="209" y="0"/>
                    </a:lnTo>
                    <a:lnTo>
                      <a:pt x="299" y="120"/>
                    </a:lnTo>
                    <a:lnTo>
                      <a:pt x="389" y="0"/>
                    </a:lnTo>
                    <a:lnTo>
                      <a:pt x="209" y="0"/>
                    </a:lnTo>
                    <a:lnTo>
                      <a:pt x="209" y="151"/>
                    </a:lnTo>
                    <a:lnTo>
                      <a:pt x="119" y="120"/>
                    </a:lnTo>
                    <a:lnTo>
                      <a:pt x="89" y="210"/>
                    </a:lnTo>
                    <a:lnTo>
                      <a:pt x="89" y="450"/>
                    </a:lnTo>
                    <a:lnTo>
                      <a:pt x="209" y="360"/>
                    </a:lnTo>
                    <a:lnTo>
                      <a:pt x="298" y="452"/>
                    </a:lnTo>
                    <a:lnTo>
                      <a:pt x="269" y="270"/>
                    </a:lnTo>
                    <a:lnTo>
                      <a:pt x="359" y="210"/>
                    </a:lnTo>
                    <a:lnTo>
                      <a:pt x="479" y="270"/>
                    </a:lnTo>
                    <a:lnTo>
                      <a:pt x="359" y="330"/>
                    </a:lnTo>
                    <a:lnTo>
                      <a:pt x="449" y="390"/>
                    </a:lnTo>
                    <a:lnTo>
                      <a:pt x="719" y="360"/>
                    </a:lnTo>
                    <a:lnTo>
                      <a:pt x="599" y="420"/>
                    </a:lnTo>
                    <a:lnTo>
                      <a:pt x="689" y="720"/>
                    </a:lnTo>
                    <a:lnTo>
                      <a:pt x="419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6" name="Freeform 2462">
                <a:extLst>
                  <a:ext uri="{FF2B5EF4-FFF2-40B4-BE49-F238E27FC236}">
                    <a16:creationId xmlns:a16="http://schemas.microsoft.com/office/drawing/2014/main" xmlns="" id="{95B62442-30E2-4980-B6B3-6AE28AC2D6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660"/>
                <a:ext cx="359" cy="330"/>
              </a:xfrm>
              <a:custGeom>
                <a:avLst/>
                <a:gdLst>
                  <a:gd name="T0" fmla="*/ 300 w 359"/>
                  <a:gd name="T1" fmla="*/ 240 h 330"/>
                  <a:gd name="T2" fmla="*/ 210 w 359"/>
                  <a:gd name="T3" fmla="*/ 330 h 330"/>
                  <a:gd name="T4" fmla="*/ 30 w 359"/>
                  <a:gd name="T5" fmla="*/ 300 h 330"/>
                  <a:gd name="T6" fmla="*/ 0 w 359"/>
                  <a:gd name="T7" fmla="*/ 150 h 330"/>
                  <a:gd name="T8" fmla="*/ 210 w 359"/>
                  <a:gd name="T9" fmla="*/ 0 h 330"/>
                  <a:gd name="T10" fmla="*/ 359 w 359"/>
                  <a:gd name="T11" fmla="*/ 12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9" h="330">
                    <a:moveTo>
                      <a:pt x="300" y="240"/>
                    </a:moveTo>
                    <a:lnTo>
                      <a:pt x="210" y="330"/>
                    </a:lnTo>
                    <a:lnTo>
                      <a:pt x="30" y="300"/>
                    </a:lnTo>
                    <a:lnTo>
                      <a:pt x="0" y="150"/>
                    </a:lnTo>
                    <a:lnTo>
                      <a:pt x="210" y="0"/>
                    </a:lnTo>
                    <a:lnTo>
                      <a:pt x="359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7" name="Freeform 2463">
                <a:extLst>
                  <a:ext uri="{FF2B5EF4-FFF2-40B4-BE49-F238E27FC236}">
                    <a16:creationId xmlns:a16="http://schemas.microsoft.com/office/drawing/2014/main" xmlns="" id="{C3DE24A4-F278-4633-9D80-81D97F1506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990"/>
                <a:ext cx="239" cy="120"/>
              </a:xfrm>
              <a:custGeom>
                <a:avLst/>
                <a:gdLst>
                  <a:gd name="T0" fmla="*/ 90 w 239"/>
                  <a:gd name="T1" fmla="*/ 0 h 120"/>
                  <a:gd name="T2" fmla="*/ 0 w 239"/>
                  <a:gd name="T3" fmla="*/ 120 h 120"/>
                  <a:gd name="T4" fmla="*/ 239 w 239"/>
                  <a:gd name="T5" fmla="*/ 3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120">
                    <a:moveTo>
                      <a:pt x="90" y="0"/>
                    </a:moveTo>
                    <a:lnTo>
                      <a:pt x="0" y="120"/>
                    </a:lnTo>
                    <a:lnTo>
                      <a:pt x="23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8" name="Freeform 2464">
                <a:extLst>
                  <a:ext uri="{FF2B5EF4-FFF2-40B4-BE49-F238E27FC236}">
                    <a16:creationId xmlns:a16="http://schemas.microsoft.com/office/drawing/2014/main" xmlns="" id="{B2251C32-AFBA-47D2-9A3B-41ED23B89C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170"/>
                <a:ext cx="360" cy="120"/>
              </a:xfrm>
              <a:custGeom>
                <a:avLst/>
                <a:gdLst>
                  <a:gd name="T0" fmla="*/ 360 w 360"/>
                  <a:gd name="T1" fmla="*/ 120 h 120"/>
                  <a:gd name="T2" fmla="*/ 150 w 360"/>
                  <a:gd name="T3" fmla="*/ 30 h 120"/>
                  <a:gd name="T4" fmla="*/ 0 w 360"/>
                  <a:gd name="T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120">
                    <a:moveTo>
                      <a:pt x="360" y="120"/>
                    </a:moveTo>
                    <a:lnTo>
                      <a:pt x="15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9" name="Freeform 2465">
                <a:extLst>
                  <a:ext uri="{FF2B5EF4-FFF2-40B4-BE49-F238E27FC236}">
                    <a16:creationId xmlns:a16="http://schemas.microsoft.com/office/drawing/2014/main" xmlns="" id="{C4DE57F1-CD01-4AE6-B763-03D4C91924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5" y="930"/>
                <a:ext cx="720" cy="360"/>
              </a:xfrm>
              <a:custGeom>
                <a:avLst/>
                <a:gdLst>
                  <a:gd name="T0" fmla="*/ 510 w 720"/>
                  <a:gd name="T1" fmla="*/ 0 h 360"/>
                  <a:gd name="T2" fmla="*/ 570 w 720"/>
                  <a:gd name="T3" fmla="*/ 300 h 360"/>
                  <a:gd name="T4" fmla="*/ 720 w 720"/>
                  <a:gd name="T5" fmla="*/ 180 h 360"/>
                  <a:gd name="T6" fmla="*/ 480 w 720"/>
                  <a:gd name="T7" fmla="*/ 180 h 360"/>
                  <a:gd name="T8" fmla="*/ 300 w 720"/>
                  <a:gd name="T9" fmla="*/ 360 h 360"/>
                  <a:gd name="T10" fmla="*/ 270 w 720"/>
                  <a:gd name="T11" fmla="*/ 270 h 360"/>
                  <a:gd name="T12" fmla="*/ 120 w 720"/>
                  <a:gd name="T13" fmla="*/ 360 h 360"/>
                  <a:gd name="T14" fmla="*/ 0 w 720"/>
                  <a:gd name="T15" fmla="*/ 301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0" h="360">
                    <a:moveTo>
                      <a:pt x="510" y="0"/>
                    </a:moveTo>
                    <a:lnTo>
                      <a:pt x="570" y="300"/>
                    </a:lnTo>
                    <a:lnTo>
                      <a:pt x="720" y="180"/>
                    </a:lnTo>
                    <a:lnTo>
                      <a:pt x="480" y="180"/>
                    </a:lnTo>
                    <a:lnTo>
                      <a:pt x="300" y="360"/>
                    </a:lnTo>
                    <a:lnTo>
                      <a:pt x="270" y="270"/>
                    </a:lnTo>
                    <a:lnTo>
                      <a:pt x="120" y="360"/>
                    </a:lnTo>
                    <a:lnTo>
                      <a:pt x="0" y="301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0" name="Freeform 2466">
                <a:extLst>
                  <a:ext uri="{FF2B5EF4-FFF2-40B4-BE49-F238E27FC236}">
                    <a16:creationId xmlns:a16="http://schemas.microsoft.com/office/drawing/2014/main" xmlns="" id="{27E52581-A754-4E01-8F16-4D45560D41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1200"/>
                <a:ext cx="150" cy="90"/>
              </a:xfrm>
              <a:custGeom>
                <a:avLst/>
                <a:gdLst>
                  <a:gd name="T0" fmla="*/ 150 w 150"/>
                  <a:gd name="T1" fmla="*/ 0 h 90"/>
                  <a:gd name="T2" fmla="*/ 0 w 150"/>
                  <a:gd name="T3" fmla="*/ 0 h 90"/>
                  <a:gd name="T4" fmla="*/ 120 w 150"/>
                  <a:gd name="T5" fmla="*/ 90 h 90"/>
                  <a:gd name="T6" fmla="*/ 150 w 150"/>
                  <a:gd name="T7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0" h="90">
                    <a:moveTo>
                      <a:pt x="150" y="0"/>
                    </a:moveTo>
                    <a:lnTo>
                      <a:pt x="0" y="0"/>
                    </a:lnTo>
                    <a:lnTo>
                      <a:pt x="120" y="90"/>
                    </a:lnTo>
                    <a:lnTo>
                      <a:pt x="15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1" name="Freeform 2467">
                <a:extLst>
                  <a:ext uri="{FF2B5EF4-FFF2-40B4-BE49-F238E27FC236}">
                    <a16:creationId xmlns:a16="http://schemas.microsoft.com/office/drawing/2014/main" xmlns="" id="{EADE4340-37B1-428D-B160-5B27F9F881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480"/>
                <a:ext cx="390" cy="360"/>
              </a:xfrm>
              <a:custGeom>
                <a:avLst/>
                <a:gdLst>
                  <a:gd name="T0" fmla="*/ 180 w 390"/>
                  <a:gd name="T1" fmla="*/ 360 h 360"/>
                  <a:gd name="T2" fmla="*/ 150 w 390"/>
                  <a:gd name="T3" fmla="*/ 150 h 360"/>
                  <a:gd name="T4" fmla="*/ 30 w 390"/>
                  <a:gd name="T5" fmla="*/ 0 h 360"/>
                  <a:gd name="T6" fmla="*/ 330 w 390"/>
                  <a:gd name="T7" fmla="*/ 120 h 360"/>
                  <a:gd name="T8" fmla="*/ 390 w 390"/>
                  <a:gd name="T9" fmla="*/ 0 h 360"/>
                  <a:gd name="T10" fmla="*/ 210 w 390"/>
                  <a:gd name="T11" fmla="*/ 30 h 360"/>
                  <a:gd name="T12" fmla="*/ 0 w 390"/>
                  <a:gd name="T13" fmla="*/ 180 h 360"/>
                  <a:gd name="T14" fmla="*/ 270 w 390"/>
                  <a:gd name="T15" fmla="*/ 33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0" h="360">
                    <a:moveTo>
                      <a:pt x="180" y="360"/>
                    </a:moveTo>
                    <a:lnTo>
                      <a:pt x="150" y="150"/>
                    </a:lnTo>
                    <a:lnTo>
                      <a:pt x="30" y="0"/>
                    </a:lnTo>
                    <a:lnTo>
                      <a:pt x="330" y="120"/>
                    </a:lnTo>
                    <a:lnTo>
                      <a:pt x="390" y="0"/>
                    </a:lnTo>
                    <a:lnTo>
                      <a:pt x="210" y="30"/>
                    </a:lnTo>
                    <a:lnTo>
                      <a:pt x="0" y="180"/>
                    </a:lnTo>
                    <a:lnTo>
                      <a:pt x="27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2" name="Line 2468">
                <a:extLst>
                  <a:ext uri="{FF2B5EF4-FFF2-40B4-BE49-F238E27FC236}">
                    <a16:creationId xmlns:a16="http://schemas.microsoft.com/office/drawing/2014/main" xmlns="" id="{015C5569-E383-4E19-A255-AA03F0E5CC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846" y="510"/>
                <a:ext cx="6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3" name="Freeform 2469">
                <a:extLst>
                  <a:ext uri="{FF2B5EF4-FFF2-40B4-BE49-F238E27FC236}">
                    <a16:creationId xmlns:a16="http://schemas.microsoft.com/office/drawing/2014/main" xmlns="" id="{66A4023D-8ECA-453F-816E-6EBFFEDB44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450"/>
                <a:ext cx="239" cy="120"/>
              </a:xfrm>
              <a:custGeom>
                <a:avLst/>
                <a:gdLst>
                  <a:gd name="T0" fmla="*/ 239 w 239"/>
                  <a:gd name="T1" fmla="*/ 0 h 120"/>
                  <a:gd name="T2" fmla="*/ 0 w 239"/>
                  <a:gd name="T3" fmla="*/ 30 h 120"/>
                  <a:gd name="T4" fmla="*/ 149 w 239"/>
                  <a:gd name="T5" fmla="*/ 120 h 120"/>
                  <a:gd name="T6" fmla="*/ 239 w 239"/>
                  <a:gd name="T7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9" h="120">
                    <a:moveTo>
                      <a:pt x="239" y="0"/>
                    </a:moveTo>
                    <a:lnTo>
                      <a:pt x="0" y="30"/>
                    </a:lnTo>
                    <a:lnTo>
                      <a:pt x="149" y="120"/>
                    </a:lnTo>
                    <a:lnTo>
                      <a:pt x="239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4" name="Line 2470">
                <a:extLst>
                  <a:ext uri="{FF2B5EF4-FFF2-40B4-BE49-F238E27FC236}">
                    <a16:creationId xmlns:a16="http://schemas.microsoft.com/office/drawing/2014/main" xmlns="" id="{331A1084-AC92-43DC-8494-98CE35C28E7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25" y="540"/>
                <a:ext cx="18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5" name="Freeform 2471">
                <a:extLst>
                  <a:ext uri="{FF2B5EF4-FFF2-40B4-BE49-F238E27FC236}">
                    <a16:creationId xmlns:a16="http://schemas.microsoft.com/office/drawing/2014/main" xmlns="" id="{A6BA05AC-53A9-4F97-8E22-1562B3FC1A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450"/>
                <a:ext cx="300" cy="330"/>
              </a:xfrm>
              <a:custGeom>
                <a:avLst/>
                <a:gdLst>
                  <a:gd name="T0" fmla="*/ 90 w 300"/>
                  <a:gd name="T1" fmla="*/ 0 h 330"/>
                  <a:gd name="T2" fmla="*/ 180 w 300"/>
                  <a:gd name="T3" fmla="*/ 90 h 330"/>
                  <a:gd name="T4" fmla="*/ 0 w 300"/>
                  <a:gd name="T5" fmla="*/ 90 h 330"/>
                  <a:gd name="T6" fmla="*/ 60 w 300"/>
                  <a:gd name="T7" fmla="*/ 210 h 330"/>
                  <a:gd name="T8" fmla="*/ 180 w 300"/>
                  <a:gd name="T9" fmla="*/ 90 h 330"/>
                  <a:gd name="T10" fmla="*/ 300 w 300"/>
                  <a:gd name="T11" fmla="*/ 240 h 330"/>
                  <a:gd name="T12" fmla="*/ 150 w 300"/>
                  <a:gd name="T13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0" h="330">
                    <a:moveTo>
                      <a:pt x="90" y="0"/>
                    </a:moveTo>
                    <a:lnTo>
                      <a:pt x="180" y="90"/>
                    </a:lnTo>
                    <a:lnTo>
                      <a:pt x="0" y="90"/>
                    </a:lnTo>
                    <a:lnTo>
                      <a:pt x="60" y="210"/>
                    </a:lnTo>
                    <a:lnTo>
                      <a:pt x="180" y="90"/>
                    </a:lnTo>
                    <a:lnTo>
                      <a:pt x="300" y="240"/>
                    </a:lnTo>
                    <a:lnTo>
                      <a:pt x="15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6" name="Freeform 2472">
                <a:extLst>
                  <a:ext uri="{FF2B5EF4-FFF2-40B4-BE49-F238E27FC236}">
                    <a16:creationId xmlns:a16="http://schemas.microsoft.com/office/drawing/2014/main" xmlns="" id="{213E86A1-AD32-472D-982C-A3F1E06150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480"/>
                <a:ext cx="180" cy="90"/>
              </a:xfrm>
              <a:custGeom>
                <a:avLst/>
                <a:gdLst>
                  <a:gd name="T0" fmla="*/ 0 w 180"/>
                  <a:gd name="T1" fmla="*/ 90 h 90"/>
                  <a:gd name="T2" fmla="*/ 90 w 180"/>
                  <a:gd name="T3" fmla="*/ 0 h 90"/>
                  <a:gd name="T4" fmla="*/ 180 w 180"/>
                  <a:gd name="T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90">
                    <a:moveTo>
                      <a:pt x="0" y="90"/>
                    </a:moveTo>
                    <a:lnTo>
                      <a:pt x="90" y="0"/>
                    </a:lnTo>
                    <a:lnTo>
                      <a:pt x="1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7" name="Freeform 2473">
                <a:extLst>
                  <a:ext uri="{FF2B5EF4-FFF2-40B4-BE49-F238E27FC236}">
                    <a16:creationId xmlns:a16="http://schemas.microsoft.com/office/drawing/2014/main" xmlns="" id="{16E45EEA-1304-418E-8380-863525E33E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450"/>
                <a:ext cx="269" cy="210"/>
              </a:xfrm>
              <a:custGeom>
                <a:avLst/>
                <a:gdLst>
                  <a:gd name="T0" fmla="*/ 119 w 269"/>
                  <a:gd name="T1" fmla="*/ 60 h 210"/>
                  <a:gd name="T2" fmla="*/ 269 w 269"/>
                  <a:gd name="T3" fmla="*/ 30 h 210"/>
                  <a:gd name="T4" fmla="*/ 149 w 269"/>
                  <a:gd name="T5" fmla="*/ 210 h 210"/>
                  <a:gd name="T6" fmla="*/ 0 w 269"/>
                  <a:gd name="T7" fmla="*/ 0 h 210"/>
                  <a:gd name="T8" fmla="*/ 30 w 269"/>
                  <a:gd name="T9" fmla="*/ 18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9" h="210">
                    <a:moveTo>
                      <a:pt x="119" y="60"/>
                    </a:moveTo>
                    <a:lnTo>
                      <a:pt x="269" y="30"/>
                    </a:lnTo>
                    <a:lnTo>
                      <a:pt x="149" y="210"/>
                    </a:lnTo>
                    <a:lnTo>
                      <a:pt x="0" y="0"/>
                    </a:lnTo>
                    <a:lnTo>
                      <a:pt x="3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8" name="Freeform 2474">
                <a:extLst>
                  <a:ext uri="{FF2B5EF4-FFF2-40B4-BE49-F238E27FC236}">
                    <a16:creationId xmlns:a16="http://schemas.microsoft.com/office/drawing/2014/main" xmlns="" id="{F7FA7F8D-1497-430E-8B42-8ED584EFA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1530"/>
                <a:ext cx="180" cy="390"/>
              </a:xfrm>
              <a:custGeom>
                <a:avLst/>
                <a:gdLst>
                  <a:gd name="T0" fmla="*/ 0 w 216"/>
                  <a:gd name="T1" fmla="*/ 468 h 468"/>
                  <a:gd name="T2" fmla="*/ 216 w 216"/>
                  <a:gd name="T3" fmla="*/ 0 h 468"/>
                  <a:gd name="T4" fmla="*/ 36 w 216"/>
                  <a:gd name="T5" fmla="*/ 7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" h="468">
                    <a:moveTo>
                      <a:pt x="0" y="468"/>
                    </a:moveTo>
                    <a:cubicBezTo>
                      <a:pt x="0" y="432"/>
                      <a:pt x="216" y="0"/>
                      <a:pt x="216" y="0"/>
                    </a:cubicBezTo>
                    <a:cubicBezTo>
                      <a:pt x="36" y="72"/>
                      <a:pt x="36" y="72"/>
                      <a:pt x="36" y="72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9" name="Freeform 2475">
                <a:extLst>
                  <a:ext uri="{FF2B5EF4-FFF2-40B4-BE49-F238E27FC236}">
                    <a16:creationId xmlns:a16="http://schemas.microsoft.com/office/drawing/2014/main" xmlns="" id="{78F67FD2-2089-4433-AABE-67621291A2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" y="1470"/>
                <a:ext cx="179" cy="210"/>
              </a:xfrm>
              <a:custGeom>
                <a:avLst/>
                <a:gdLst>
                  <a:gd name="T0" fmla="*/ 0 w 179"/>
                  <a:gd name="T1" fmla="*/ 210 h 210"/>
                  <a:gd name="T2" fmla="*/ 120 w 179"/>
                  <a:gd name="T3" fmla="*/ 0 h 210"/>
                  <a:gd name="T4" fmla="*/ 179 w 179"/>
                  <a:gd name="T5" fmla="*/ 150 h 210"/>
                  <a:gd name="T6" fmla="*/ 0 w 179"/>
                  <a:gd name="T7" fmla="*/ 210 h 210"/>
                  <a:gd name="T8" fmla="*/ 0 w 179"/>
                  <a:gd name="T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210">
                    <a:moveTo>
                      <a:pt x="0" y="210"/>
                    </a:moveTo>
                    <a:lnTo>
                      <a:pt x="120" y="0"/>
                    </a:lnTo>
                    <a:lnTo>
                      <a:pt x="179" y="150"/>
                    </a:lnTo>
                    <a:lnTo>
                      <a:pt x="0" y="21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0" name="Freeform 2476">
                <a:extLst>
                  <a:ext uri="{FF2B5EF4-FFF2-40B4-BE49-F238E27FC236}">
                    <a16:creationId xmlns:a16="http://schemas.microsoft.com/office/drawing/2014/main" xmlns="" id="{04BDC346-701F-4199-A8E1-3FE782F483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1740"/>
                <a:ext cx="479" cy="270"/>
              </a:xfrm>
              <a:custGeom>
                <a:avLst/>
                <a:gdLst>
                  <a:gd name="T0" fmla="*/ 0 w 479"/>
                  <a:gd name="T1" fmla="*/ 90 h 270"/>
                  <a:gd name="T2" fmla="*/ 180 w 479"/>
                  <a:gd name="T3" fmla="*/ 30 h 270"/>
                  <a:gd name="T4" fmla="*/ 299 w 479"/>
                  <a:gd name="T5" fmla="*/ 150 h 270"/>
                  <a:gd name="T6" fmla="*/ 210 w 479"/>
                  <a:gd name="T7" fmla="*/ 270 h 270"/>
                  <a:gd name="T8" fmla="*/ 30 w 479"/>
                  <a:gd name="T9" fmla="*/ 270 h 270"/>
                  <a:gd name="T10" fmla="*/ 0 w 479"/>
                  <a:gd name="T11" fmla="*/ 90 h 270"/>
                  <a:gd name="T12" fmla="*/ 150 w 479"/>
                  <a:gd name="T13" fmla="*/ 150 h 270"/>
                  <a:gd name="T14" fmla="*/ 299 w 479"/>
                  <a:gd name="T15" fmla="*/ 0 h 270"/>
                  <a:gd name="T16" fmla="*/ 479 w 479"/>
                  <a:gd name="T17" fmla="*/ 210 h 270"/>
                  <a:gd name="T18" fmla="*/ 419 w 479"/>
                  <a:gd name="T19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9" h="270">
                    <a:moveTo>
                      <a:pt x="0" y="90"/>
                    </a:moveTo>
                    <a:lnTo>
                      <a:pt x="180" y="30"/>
                    </a:lnTo>
                    <a:lnTo>
                      <a:pt x="299" y="150"/>
                    </a:lnTo>
                    <a:lnTo>
                      <a:pt x="210" y="270"/>
                    </a:lnTo>
                    <a:lnTo>
                      <a:pt x="30" y="270"/>
                    </a:lnTo>
                    <a:lnTo>
                      <a:pt x="0" y="90"/>
                    </a:lnTo>
                    <a:lnTo>
                      <a:pt x="150" y="150"/>
                    </a:lnTo>
                    <a:lnTo>
                      <a:pt x="299" y="0"/>
                    </a:lnTo>
                    <a:lnTo>
                      <a:pt x="479" y="210"/>
                    </a:lnTo>
                    <a:lnTo>
                      <a:pt x="41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1" name="Freeform 2477">
                <a:extLst>
                  <a:ext uri="{FF2B5EF4-FFF2-40B4-BE49-F238E27FC236}">
                    <a16:creationId xmlns:a16="http://schemas.microsoft.com/office/drawing/2014/main" xmlns="" id="{A2B7F8C5-40F8-4208-BF69-6D84078A36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6" y="1740"/>
                <a:ext cx="149" cy="150"/>
              </a:xfrm>
              <a:custGeom>
                <a:avLst/>
                <a:gdLst>
                  <a:gd name="T0" fmla="*/ 0 w 149"/>
                  <a:gd name="T1" fmla="*/ 150 h 150"/>
                  <a:gd name="T2" fmla="*/ 30 w 149"/>
                  <a:gd name="T3" fmla="*/ 30 h 150"/>
                  <a:gd name="T4" fmla="*/ 149 w 149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150"/>
                    </a:moveTo>
                    <a:lnTo>
                      <a:pt x="30" y="30"/>
                    </a:lnTo>
                    <a:lnTo>
                      <a:pt x="14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2" name="Freeform 2478">
                <a:extLst>
                  <a:ext uri="{FF2B5EF4-FFF2-40B4-BE49-F238E27FC236}">
                    <a16:creationId xmlns:a16="http://schemas.microsoft.com/office/drawing/2014/main" xmlns="" id="{4DA6325F-62D4-4CF1-955B-7A06C87466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530"/>
                <a:ext cx="180" cy="390"/>
              </a:xfrm>
              <a:custGeom>
                <a:avLst/>
                <a:gdLst>
                  <a:gd name="T0" fmla="*/ 0 w 216"/>
                  <a:gd name="T1" fmla="*/ 468 h 468"/>
                  <a:gd name="T2" fmla="*/ 216 w 216"/>
                  <a:gd name="T3" fmla="*/ 0 h 468"/>
                  <a:gd name="T4" fmla="*/ 36 w 216"/>
                  <a:gd name="T5" fmla="*/ 7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" h="468">
                    <a:moveTo>
                      <a:pt x="0" y="468"/>
                    </a:moveTo>
                    <a:cubicBezTo>
                      <a:pt x="0" y="432"/>
                      <a:pt x="216" y="0"/>
                      <a:pt x="216" y="0"/>
                    </a:cubicBezTo>
                    <a:cubicBezTo>
                      <a:pt x="36" y="72"/>
                      <a:pt x="36" y="72"/>
                      <a:pt x="36" y="72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3" name="Freeform 2479">
                <a:extLst>
                  <a:ext uri="{FF2B5EF4-FFF2-40B4-BE49-F238E27FC236}">
                    <a16:creationId xmlns:a16="http://schemas.microsoft.com/office/drawing/2014/main" xmlns="" id="{D9F36E40-0090-420F-BEBC-6F17CC895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290"/>
                <a:ext cx="300" cy="540"/>
              </a:xfrm>
              <a:custGeom>
                <a:avLst/>
                <a:gdLst>
                  <a:gd name="T0" fmla="*/ 0 w 300"/>
                  <a:gd name="T1" fmla="*/ 390 h 540"/>
                  <a:gd name="T2" fmla="*/ 180 w 300"/>
                  <a:gd name="T3" fmla="*/ 240 h 540"/>
                  <a:gd name="T4" fmla="*/ 0 w 300"/>
                  <a:gd name="T5" fmla="*/ 150 h 540"/>
                  <a:gd name="T6" fmla="*/ 120 w 300"/>
                  <a:gd name="T7" fmla="*/ 120 h 540"/>
                  <a:gd name="T8" fmla="*/ 300 w 300"/>
                  <a:gd name="T9" fmla="*/ 180 h 540"/>
                  <a:gd name="T10" fmla="*/ 270 w 300"/>
                  <a:gd name="T11" fmla="*/ 30 h 540"/>
                  <a:gd name="T12" fmla="*/ 120 w 300"/>
                  <a:gd name="T13" fmla="*/ 120 h 540"/>
                  <a:gd name="T14" fmla="*/ 30 w 300"/>
                  <a:gd name="T15" fmla="*/ 0 h 540"/>
                  <a:gd name="T16" fmla="*/ 0 w 300"/>
                  <a:gd name="T17" fmla="*/ 150 h 540"/>
                  <a:gd name="T18" fmla="*/ 30 w 300"/>
                  <a:gd name="T19" fmla="*/ 300 h 540"/>
                  <a:gd name="T20" fmla="*/ 0 w 300"/>
                  <a:gd name="T21" fmla="*/ 390 h 540"/>
                  <a:gd name="T22" fmla="*/ 120 w 300"/>
                  <a:gd name="T23" fmla="*/ 54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00" h="540">
                    <a:moveTo>
                      <a:pt x="0" y="390"/>
                    </a:moveTo>
                    <a:lnTo>
                      <a:pt x="180" y="240"/>
                    </a:lnTo>
                    <a:lnTo>
                      <a:pt x="0" y="150"/>
                    </a:lnTo>
                    <a:lnTo>
                      <a:pt x="120" y="120"/>
                    </a:lnTo>
                    <a:lnTo>
                      <a:pt x="300" y="180"/>
                    </a:lnTo>
                    <a:lnTo>
                      <a:pt x="270" y="30"/>
                    </a:lnTo>
                    <a:lnTo>
                      <a:pt x="120" y="120"/>
                    </a:lnTo>
                    <a:lnTo>
                      <a:pt x="30" y="0"/>
                    </a:lnTo>
                    <a:lnTo>
                      <a:pt x="0" y="150"/>
                    </a:lnTo>
                    <a:lnTo>
                      <a:pt x="30" y="300"/>
                    </a:lnTo>
                    <a:lnTo>
                      <a:pt x="0" y="390"/>
                    </a:lnTo>
                    <a:lnTo>
                      <a:pt x="12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4" name="Freeform 2480">
                <a:extLst>
                  <a:ext uri="{FF2B5EF4-FFF2-40B4-BE49-F238E27FC236}">
                    <a16:creationId xmlns:a16="http://schemas.microsoft.com/office/drawing/2014/main" xmlns="" id="{2C1AE8FB-8689-4D6F-9BB2-478737DE1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1470"/>
                <a:ext cx="179" cy="210"/>
              </a:xfrm>
              <a:custGeom>
                <a:avLst/>
                <a:gdLst>
                  <a:gd name="T0" fmla="*/ 0 w 179"/>
                  <a:gd name="T1" fmla="*/ 210 h 210"/>
                  <a:gd name="T2" fmla="*/ 120 w 179"/>
                  <a:gd name="T3" fmla="*/ 0 h 210"/>
                  <a:gd name="T4" fmla="*/ 179 w 179"/>
                  <a:gd name="T5" fmla="*/ 150 h 210"/>
                  <a:gd name="T6" fmla="*/ 0 w 179"/>
                  <a:gd name="T7" fmla="*/ 210 h 210"/>
                  <a:gd name="T8" fmla="*/ 0 w 179"/>
                  <a:gd name="T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210">
                    <a:moveTo>
                      <a:pt x="0" y="210"/>
                    </a:moveTo>
                    <a:lnTo>
                      <a:pt x="120" y="0"/>
                    </a:lnTo>
                    <a:lnTo>
                      <a:pt x="179" y="150"/>
                    </a:lnTo>
                    <a:lnTo>
                      <a:pt x="0" y="21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5" name="Freeform 2481">
                <a:extLst>
                  <a:ext uri="{FF2B5EF4-FFF2-40B4-BE49-F238E27FC236}">
                    <a16:creationId xmlns:a16="http://schemas.microsoft.com/office/drawing/2014/main" xmlns="" id="{D395900B-C6E4-47A9-8F0F-E2C72A64AA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320"/>
                <a:ext cx="599" cy="750"/>
              </a:xfrm>
              <a:custGeom>
                <a:avLst/>
                <a:gdLst>
                  <a:gd name="T0" fmla="*/ 300 w 599"/>
                  <a:gd name="T1" fmla="*/ 150 h 750"/>
                  <a:gd name="T2" fmla="*/ 479 w 599"/>
                  <a:gd name="T3" fmla="*/ 210 h 750"/>
                  <a:gd name="T4" fmla="*/ 479 w 599"/>
                  <a:gd name="T5" fmla="*/ 60 h 750"/>
                  <a:gd name="T6" fmla="*/ 359 w 599"/>
                  <a:gd name="T7" fmla="*/ 300 h 750"/>
                  <a:gd name="T8" fmla="*/ 419 w 599"/>
                  <a:gd name="T9" fmla="*/ 420 h 750"/>
                  <a:gd name="T10" fmla="*/ 539 w 599"/>
                  <a:gd name="T11" fmla="*/ 480 h 750"/>
                  <a:gd name="T12" fmla="*/ 479 w 599"/>
                  <a:gd name="T13" fmla="*/ 210 h 750"/>
                  <a:gd name="T14" fmla="*/ 419 w 599"/>
                  <a:gd name="T15" fmla="*/ 420 h 750"/>
                  <a:gd name="T16" fmla="*/ 419 w 599"/>
                  <a:gd name="T17" fmla="*/ 570 h 750"/>
                  <a:gd name="T18" fmla="*/ 599 w 599"/>
                  <a:gd name="T19" fmla="*/ 630 h 750"/>
                  <a:gd name="T20" fmla="*/ 300 w 599"/>
                  <a:gd name="T21" fmla="*/ 660 h 750"/>
                  <a:gd name="T22" fmla="*/ 270 w 599"/>
                  <a:gd name="T23" fmla="*/ 570 h 750"/>
                  <a:gd name="T24" fmla="*/ 210 w 599"/>
                  <a:gd name="T25" fmla="*/ 750 h 750"/>
                  <a:gd name="T26" fmla="*/ 0 w 599"/>
                  <a:gd name="T27" fmla="*/ 600 h 750"/>
                  <a:gd name="T28" fmla="*/ 120 w 599"/>
                  <a:gd name="T29" fmla="*/ 510 h 750"/>
                  <a:gd name="T30" fmla="*/ 180 w 599"/>
                  <a:gd name="T31" fmla="*/ 360 h 750"/>
                  <a:gd name="T32" fmla="*/ 300 w 599"/>
                  <a:gd name="T33" fmla="*/ 450 h 750"/>
                  <a:gd name="T34" fmla="*/ 359 w 599"/>
                  <a:gd name="T35" fmla="*/ 300 h 750"/>
                  <a:gd name="T36" fmla="*/ 180 w 599"/>
                  <a:gd name="T37" fmla="*/ 210 h 750"/>
                  <a:gd name="T38" fmla="*/ 300 w 599"/>
                  <a:gd name="T39" fmla="*/ 150 h 750"/>
                  <a:gd name="T40" fmla="*/ 389 w 599"/>
                  <a:gd name="T41" fmla="*/ 90 h 750"/>
                  <a:gd name="T42" fmla="*/ 270 w 599"/>
                  <a:gd name="T43" fmla="*/ 0 h 750"/>
                  <a:gd name="T44" fmla="*/ 479 w 599"/>
                  <a:gd name="T45" fmla="*/ 6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99" h="750">
                    <a:moveTo>
                      <a:pt x="300" y="150"/>
                    </a:moveTo>
                    <a:lnTo>
                      <a:pt x="479" y="210"/>
                    </a:lnTo>
                    <a:lnTo>
                      <a:pt x="479" y="60"/>
                    </a:lnTo>
                    <a:lnTo>
                      <a:pt x="359" y="300"/>
                    </a:lnTo>
                    <a:lnTo>
                      <a:pt x="419" y="420"/>
                    </a:lnTo>
                    <a:lnTo>
                      <a:pt x="539" y="480"/>
                    </a:lnTo>
                    <a:lnTo>
                      <a:pt x="479" y="210"/>
                    </a:lnTo>
                    <a:lnTo>
                      <a:pt x="419" y="420"/>
                    </a:lnTo>
                    <a:lnTo>
                      <a:pt x="419" y="570"/>
                    </a:lnTo>
                    <a:lnTo>
                      <a:pt x="599" y="630"/>
                    </a:lnTo>
                    <a:lnTo>
                      <a:pt x="300" y="660"/>
                    </a:lnTo>
                    <a:lnTo>
                      <a:pt x="270" y="570"/>
                    </a:lnTo>
                    <a:lnTo>
                      <a:pt x="210" y="750"/>
                    </a:lnTo>
                    <a:lnTo>
                      <a:pt x="0" y="600"/>
                    </a:lnTo>
                    <a:lnTo>
                      <a:pt x="120" y="510"/>
                    </a:lnTo>
                    <a:lnTo>
                      <a:pt x="180" y="360"/>
                    </a:lnTo>
                    <a:lnTo>
                      <a:pt x="300" y="450"/>
                    </a:lnTo>
                    <a:lnTo>
                      <a:pt x="359" y="300"/>
                    </a:lnTo>
                    <a:lnTo>
                      <a:pt x="180" y="210"/>
                    </a:lnTo>
                    <a:lnTo>
                      <a:pt x="300" y="150"/>
                    </a:lnTo>
                    <a:lnTo>
                      <a:pt x="389" y="90"/>
                    </a:lnTo>
                    <a:lnTo>
                      <a:pt x="270" y="0"/>
                    </a:lnTo>
                    <a:lnTo>
                      <a:pt x="47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6" name="Freeform 2482">
                <a:extLst>
                  <a:ext uri="{FF2B5EF4-FFF2-40B4-BE49-F238E27FC236}">
                    <a16:creationId xmlns:a16="http://schemas.microsoft.com/office/drawing/2014/main" xmlns="" id="{9B038582-9B64-447F-866B-2C7A049FDF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" y="1770"/>
                <a:ext cx="299" cy="210"/>
              </a:xfrm>
              <a:custGeom>
                <a:avLst/>
                <a:gdLst>
                  <a:gd name="T0" fmla="*/ 0 w 299"/>
                  <a:gd name="T1" fmla="*/ 60 h 210"/>
                  <a:gd name="T2" fmla="*/ 180 w 299"/>
                  <a:gd name="T3" fmla="*/ 0 h 210"/>
                  <a:gd name="T4" fmla="*/ 299 w 299"/>
                  <a:gd name="T5" fmla="*/ 120 h 210"/>
                  <a:gd name="T6" fmla="*/ 180 w 299"/>
                  <a:gd name="T7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9" h="210">
                    <a:moveTo>
                      <a:pt x="0" y="60"/>
                    </a:moveTo>
                    <a:lnTo>
                      <a:pt x="180" y="0"/>
                    </a:lnTo>
                    <a:lnTo>
                      <a:pt x="299" y="120"/>
                    </a:lnTo>
                    <a:lnTo>
                      <a:pt x="18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7" name="Freeform 2483">
                <a:extLst>
                  <a:ext uri="{FF2B5EF4-FFF2-40B4-BE49-F238E27FC236}">
                    <a16:creationId xmlns:a16="http://schemas.microsoft.com/office/drawing/2014/main" xmlns="" id="{1165A5D9-006C-47DA-9676-A2ADAAE5C5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1740"/>
                <a:ext cx="149" cy="150"/>
              </a:xfrm>
              <a:custGeom>
                <a:avLst/>
                <a:gdLst>
                  <a:gd name="T0" fmla="*/ 0 w 149"/>
                  <a:gd name="T1" fmla="*/ 150 h 150"/>
                  <a:gd name="T2" fmla="*/ 30 w 149"/>
                  <a:gd name="T3" fmla="*/ 30 h 150"/>
                  <a:gd name="T4" fmla="*/ 149 w 149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150"/>
                    </a:moveTo>
                    <a:lnTo>
                      <a:pt x="30" y="30"/>
                    </a:lnTo>
                    <a:lnTo>
                      <a:pt x="14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8" name="Line 2484">
                <a:extLst>
                  <a:ext uri="{FF2B5EF4-FFF2-40B4-BE49-F238E27FC236}">
                    <a16:creationId xmlns:a16="http://schemas.microsoft.com/office/drawing/2014/main" xmlns="" id="{E2B1D4EB-B82B-4F49-BA67-F5929016FE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786" y="1233"/>
                <a:ext cx="181" cy="57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9" name="Line 2485">
                <a:extLst>
                  <a:ext uri="{FF2B5EF4-FFF2-40B4-BE49-F238E27FC236}">
                    <a16:creationId xmlns:a16="http://schemas.microsoft.com/office/drawing/2014/main" xmlns="" id="{591DC1C4-936A-44B6-9367-8B9E9127F6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936" y="1233"/>
                <a:ext cx="31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0" name="Freeform 2486">
                <a:extLst>
                  <a:ext uri="{FF2B5EF4-FFF2-40B4-BE49-F238E27FC236}">
                    <a16:creationId xmlns:a16="http://schemas.microsoft.com/office/drawing/2014/main" xmlns="" id="{40243202-3271-4EC2-A785-60B966562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5" y="1231"/>
                <a:ext cx="210" cy="302"/>
              </a:xfrm>
              <a:custGeom>
                <a:avLst/>
                <a:gdLst>
                  <a:gd name="T0" fmla="*/ 0 w 210"/>
                  <a:gd name="T1" fmla="*/ 0 h 302"/>
                  <a:gd name="T2" fmla="*/ 180 w 210"/>
                  <a:gd name="T3" fmla="*/ 269 h 302"/>
                  <a:gd name="T4" fmla="*/ 2 w 210"/>
                  <a:gd name="T5" fmla="*/ 302 h 302"/>
                  <a:gd name="T6" fmla="*/ 210 w 210"/>
                  <a:gd name="T7" fmla="*/ 179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0" h="302">
                    <a:moveTo>
                      <a:pt x="0" y="0"/>
                    </a:moveTo>
                    <a:lnTo>
                      <a:pt x="180" y="269"/>
                    </a:lnTo>
                    <a:lnTo>
                      <a:pt x="2" y="302"/>
                    </a:lnTo>
                    <a:lnTo>
                      <a:pt x="210" y="17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1" name="Line 2487">
                <a:extLst>
                  <a:ext uri="{FF2B5EF4-FFF2-40B4-BE49-F238E27FC236}">
                    <a16:creationId xmlns:a16="http://schemas.microsoft.com/office/drawing/2014/main" xmlns="" id="{58E72EC3-8FBB-49B3-99DB-BDFD3122D1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35" y="1380"/>
                <a:ext cx="21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2" name="Freeform 2488">
                <a:extLst>
                  <a:ext uri="{FF2B5EF4-FFF2-40B4-BE49-F238E27FC236}">
                    <a16:creationId xmlns:a16="http://schemas.microsoft.com/office/drawing/2014/main" xmlns="" id="{D34E6D68-3B2E-4D9A-8DE0-E36F1433FC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1140"/>
                <a:ext cx="599" cy="870"/>
              </a:xfrm>
              <a:custGeom>
                <a:avLst/>
                <a:gdLst>
                  <a:gd name="T0" fmla="*/ 300 w 599"/>
                  <a:gd name="T1" fmla="*/ 0 h 870"/>
                  <a:gd name="T2" fmla="*/ 479 w 599"/>
                  <a:gd name="T3" fmla="*/ 91 h 870"/>
                  <a:gd name="T4" fmla="*/ 300 w 599"/>
                  <a:gd name="T5" fmla="*/ 330 h 870"/>
                  <a:gd name="T6" fmla="*/ 479 w 599"/>
                  <a:gd name="T7" fmla="*/ 390 h 870"/>
                  <a:gd name="T8" fmla="*/ 479 w 599"/>
                  <a:gd name="T9" fmla="*/ 240 h 870"/>
                  <a:gd name="T10" fmla="*/ 359 w 599"/>
                  <a:gd name="T11" fmla="*/ 480 h 870"/>
                  <a:gd name="T12" fmla="*/ 419 w 599"/>
                  <a:gd name="T13" fmla="*/ 600 h 870"/>
                  <a:gd name="T14" fmla="*/ 539 w 599"/>
                  <a:gd name="T15" fmla="*/ 660 h 870"/>
                  <a:gd name="T16" fmla="*/ 479 w 599"/>
                  <a:gd name="T17" fmla="*/ 390 h 870"/>
                  <a:gd name="T18" fmla="*/ 419 w 599"/>
                  <a:gd name="T19" fmla="*/ 600 h 870"/>
                  <a:gd name="T20" fmla="*/ 419 w 599"/>
                  <a:gd name="T21" fmla="*/ 750 h 870"/>
                  <a:gd name="T22" fmla="*/ 599 w 599"/>
                  <a:gd name="T23" fmla="*/ 810 h 870"/>
                  <a:gd name="T24" fmla="*/ 330 w 599"/>
                  <a:gd name="T25" fmla="*/ 870 h 870"/>
                  <a:gd name="T26" fmla="*/ 270 w 599"/>
                  <a:gd name="T27" fmla="*/ 750 h 870"/>
                  <a:gd name="T28" fmla="*/ 150 w 599"/>
                  <a:gd name="T29" fmla="*/ 870 h 870"/>
                  <a:gd name="T30" fmla="*/ 0 w 599"/>
                  <a:gd name="T31" fmla="*/ 780 h 870"/>
                  <a:gd name="T32" fmla="*/ 120 w 599"/>
                  <a:gd name="T33" fmla="*/ 690 h 870"/>
                  <a:gd name="T34" fmla="*/ 180 w 599"/>
                  <a:gd name="T35" fmla="*/ 540 h 870"/>
                  <a:gd name="T36" fmla="*/ 300 w 599"/>
                  <a:gd name="T37" fmla="*/ 630 h 870"/>
                  <a:gd name="T38" fmla="*/ 359 w 599"/>
                  <a:gd name="T39" fmla="*/ 480 h 870"/>
                  <a:gd name="T40" fmla="*/ 180 w 599"/>
                  <a:gd name="T41" fmla="*/ 390 h 870"/>
                  <a:gd name="T42" fmla="*/ 300 w 599"/>
                  <a:gd name="T43" fmla="*/ 330 h 870"/>
                  <a:gd name="T44" fmla="*/ 389 w 599"/>
                  <a:gd name="T45" fmla="*/ 270 h 870"/>
                  <a:gd name="T46" fmla="*/ 270 w 599"/>
                  <a:gd name="T47" fmla="*/ 180 h 870"/>
                  <a:gd name="T48" fmla="*/ 479 w 599"/>
                  <a:gd name="T49" fmla="*/ 240 h 870"/>
                  <a:gd name="T50" fmla="*/ 479 w 599"/>
                  <a:gd name="T51" fmla="*/ 90 h 870"/>
                  <a:gd name="T52" fmla="*/ 210 w 599"/>
                  <a:gd name="T53" fmla="*/ 90 h 8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99" h="870">
                    <a:moveTo>
                      <a:pt x="300" y="0"/>
                    </a:moveTo>
                    <a:lnTo>
                      <a:pt x="479" y="91"/>
                    </a:lnTo>
                    <a:lnTo>
                      <a:pt x="300" y="330"/>
                    </a:lnTo>
                    <a:lnTo>
                      <a:pt x="479" y="390"/>
                    </a:lnTo>
                    <a:lnTo>
                      <a:pt x="479" y="240"/>
                    </a:lnTo>
                    <a:lnTo>
                      <a:pt x="359" y="480"/>
                    </a:lnTo>
                    <a:lnTo>
                      <a:pt x="419" y="600"/>
                    </a:lnTo>
                    <a:lnTo>
                      <a:pt x="539" y="660"/>
                    </a:lnTo>
                    <a:lnTo>
                      <a:pt x="479" y="390"/>
                    </a:lnTo>
                    <a:lnTo>
                      <a:pt x="419" y="600"/>
                    </a:lnTo>
                    <a:lnTo>
                      <a:pt x="419" y="750"/>
                    </a:lnTo>
                    <a:lnTo>
                      <a:pt x="599" y="810"/>
                    </a:lnTo>
                    <a:lnTo>
                      <a:pt x="330" y="870"/>
                    </a:lnTo>
                    <a:lnTo>
                      <a:pt x="270" y="750"/>
                    </a:lnTo>
                    <a:lnTo>
                      <a:pt x="150" y="870"/>
                    </a:lnTo>
                    <a:lnTo>
                      <a:pt x="0" y="780"/>
                    </a:lnTo>
                    <a:lnTo>
                      <a:pt x="120" y="690"/>
                    </a:lnTo>
                    <a:lnTo>
                      <a:pt x="180" y="540"/>
                    </a:lnTo>
                    <a:lnTo>
                      <a:pt x="300" y="630"/>
                    </a:lnTo>
                    <a:lnTo>
                      <a:pt x="359" y="480"/>
                    </a:lnTo>
                    <a:lnTo>
                      <a:pt x="180" y="390"/>
                    </a:lnTo>
                    <a:lnTo>
                      <a:pt x="300" y="330"/>
                    </a:lnTo>
                    <a:lnTo>
                      <a:pt x="389" y="270"/>
                    </a:lnTo>
                    <a:lnTo>
                      <a:pt x="270" y="180"/>
                    </a:lnTo>
                    <a:lnTo>
                      <a:pt x="479" y="240"/>
                    </a:lnTo>
                    <a:lnTo>
                      <a:pt x="479" y="90"/>
                    </a:lnTo>
                    <a:lnTo>
                      <a:pt x="21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3" name="Line 2489">
                <a:extLst>
                  <a:ext uri="{FF2B5EF4-FFF2-40B4-BE49-F238E27FC236}">
                    <a16:creationId xmlns:a16="http://schemas.microsoft.com/office/drawing/2014/main" xmlns="" id="{C5883A79-3149-4F1E-991E-64D7C4AF62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026" y="1110"/>
                <a:ext cx="209" cy="21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4" name="Freeform 2490">
                <a:extLst>
                  <a:ext uri="{FF2B5EF4-FFF2-40B4-BE49-F238E27FC236}">
                    <a16:creationId xmlns:a16="http://schemas.microsoft.com/office/drawing/2014/main" xmlns="" id="{48E93F8F-EED2-47CF-822C-1688BA2FBD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290"/>
                <a:ext cx="780" cy="1080"/>
              </a:xfrm>
              <a:custGeom>
                <a:avLst/>
                <a:gdLst>
                  <a:gd name="T0" fmla="*/ 630 w 780"/>
                  <a:gd name="T1" fmla="*/ 1080 h 1080"/>
                  <a:gd name="T2" fmla="*/ 600 w 780"/>
                  <a:gd name="T3" fmla="*/ 870 h 1080"/>
                  <a:gd name="T4" fmla="*/ 480 w 780"/>
                  <a:gd name="T5" fmla="*/ 630 h 1080"/>
                  <a:gd name="T6" fmla="*/ 390 w 780"/>
                  <a:gd name="T7" fmla="*/ 720 h 1080"/>
                  <a:gd name="T8" fmla="*/ 270 w 780"/>
                  <a:gd name="T9" fmla="*/ 870 h 1080"/>
                  <a:gd name="T10" fmla="*/ 180 w 780"/>
                  <a:gd name="T11" fmla="*/ 750 h 1080"/>
                  <a:gd name="T12" fmla="*/ 210 w 780"/>
                  <a:gd name="T13" fmla="*/ 600 h 1080"/>
                  <a:gd name="T14" fmla="*/ 90 w 780"/>
                  <a:gd name="T15" fmla="*/ 660 h 1080"/>
                  <a:gd name="T16" fmla="*/ 0 w 780"/>
                  <a:gd name="T17" fmla="*/ 870 h 1080"/>
                  <a:gd name="T18" fmla="*/ 60 w 780"/>
                  <a:gd name="T19" fmla="*/ 510 h 1080"/>
                  <a:gd name="T20" fmla="*/ 0 w 780"/>
                  <a:gd name="T21" fmla="*/ 420 h 1080"/>
                  <a:gd name="T22" fmla="*/ 120 w 780"/>
                  <a:gd name="T23" fmla="*/ 330 h 1080"/>
                  <a:gd name="T24" fmla="*/ 300 w 780"/>
                  <a:gd name="T25" fmla="*/ 390 h 1080"/>
                  <a:gd name="T26" fmla="*/ 330 w 780"/>
                  <a:gd name="T27" fmla="*/ 510 h 1080"/>
                  <a:gd name="T28" fmla="*/ 480 w 780"/>
                  <a:gd name="T29" fmla="*/ 390 h 1080"/>
                  <a:gd name="T30" fmla="*/ 660 w 780"/>
                  <a:gd name="T31" fmla="*/ 240 h 1080"/>
                  <a:gd name="T32" fmla="*/ 480 w 780"/>
                  <a:gd name="T33" fmla="*/ 150 h 1080"/>
                  <a:gd name="T34" fmla="*/ 600 w 780"/>
                  <a:gd name="T35" fmla="*/ 120 h 1080"/>
                  <a:gd name="T36" fmla="*/ 780 w 780"/>
                  <a:gd name="T37" fmla="*/ 180 h 1080"/>
                  <a:gd name="T38" fmla="*/ 750 w 780"/>
                  <a:gd name="T39" fmla="*/ 30 h 1080"/>
                  <a:gd name="T40" fmla="*/ 600 w 780"/>
                  <a:gd name="T41" fmla="*/ 120 h 1080"/>
                  <a:gd name="T42" fmla="*/ 510 w 780"/>
                  <a:gd name="T43" fmla="*/ 0 h 1080"/>
                  <a:gd name="T44" fmla="*/ 480 w 780"/>
                  <a:gd name="T45" fmla="*/ 150 h 1080"/>
                  <a:gd name="T46" fmla="*/ 510 w 780"/>
                  <a:gd name="T47" fmla="*/ 300 h 1080"/>
                  <a:gd name="T48" fmla="*/ 480 w 780"/>
                  <a:gd name="T49" fmla="*/ 390 h 1080"/>
                  <a:gd name="T50" fmla="*/ 600 w 780"/>
                  <a:gd name="T51" fmla="*/ 540 h 10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80" h="1080">
                    <a:moveTo>
                      <a:pt x="630" y="1080"/>
                    </a:moveTo>
                    <a:lnTo>
                      <a:pt x="600" y="870"/>
                    </a:lnTo>
                    <a:lnTo>
                      <a:pt x="480" y="630"/>
                    </a:lnTo>
                    <a:lnTo>
                      <a:pt x="390" y="720"/>
                    </a:lnTo>
                    <a:lnTo>
                      <a:pt x="270" y="870"/>
                    </a:lnTo>
                    <a:lnTo>
                      <a:pt x="180" y="750"/>
                    </a:lnTo>
                    <a:lnTo>
                      <a:pt x="210" y="600"/>
                    </a:lnTo>
                    <a:lnTo>
                      <a:pt x="90" y="660"/>
                    </a:lnTo>
                    <a:lnTo>
                      <a:pt x="0" y="870"/>
                    </a:lnTo>
                    <a:lnTo>
                      <a:pt x="60" y="510"/>
                    </a:lnTo>
                    <a:lnTo>
                      <a:pt x="0" y="420"/>
                    </a:lnTo>
                    <a:lnTo>
                      <a:pt x="120" y="330"/>
                    </a:lnTo>
                    <a:lnTo>
                      <a:pt x="300" y="390"/>
                    </a:lnTo>
                    <a:lnTo>
                      <a:pt x="330" y="510"/>
                    </a:lnTo>
                    <a:lnTo>
                      <a:pt x="480" y="390"/>
                    </a:lnTo>
                    <a:lnTo>
                      <a:pt x="660" y="240"/>
                    </a:lnTo>
                    <a:lnTo>
                      <a:pt x="480" y="150"/>
                    </a:lnTo>
                    <a:lnTo>
                      <a:pt x="600" y="120"/>
                    </a:lnTo>
                    <a:lnTo>
                      <a:pt x="780" y="180"/>
                    </a:lnTo>
                    <a:lnTo>
                      <a:pt x="750" y="30"/>
                    </a:lnTo>
                    <a:lnTo>
                      <a:pt x="600" y="120"/>
                    </a:lnTo>
                    <a:lnTo>
                      <a:pt x="510" y="0"/>
                    </a:lnTo>
                    <a:lnTo>
                      <a:pt x="480" y="150"/>
                    </a:lnTo>
                    <a:lnTo>
                      <a:pt x="510" y="300"/>
                    </a:lnTo>
                    <a:lnTo>
                      <a:pt x="480" y="390"/>
                    </a:lnTo>
                    <a:lnTo>
                      <a:pt x="60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5" name="Line 2491">
                <a:extLst>
                  <a:ext uri="{FF2B5EF4-FFF2-40B4-BE49-F238E27FC236}">
                    <a16:creationId xmlns:a16="http://schemas.microsoft.com/office/drawing/2014/main" xmlns="" id="{60C7357C-1819-486B-BCC2-A450ABDE28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09" y="2013"/>
                <a:ext cx="87" cy="177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6" name="Freeform 2492">
                <a:extLst>
                  <a:ext uri="{FF2B5EF4-FFF2-40B4-BE49-F238E27FC236}">
                    <a16:creationId xmlns:a16="http://schemas.microsoft.com/office/drawing/2014/main" xmlns="" id="{C6032E64-20A8-40A8-AB69-AFCCFF51E3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1890"/>
                <a:ext cx="210" cy="270"/>
              </a:xfrm>
              <a:custGeom>
                <a:avLst/>
                <a:gdLst>
                  <a:gd name="T0" fmla="*/ 210 w 210"/>
                  <a:gd name="T1" fmla="*/ 120 h 270"/>
                  <a:gd name="T2" fmla="*/ 0 w 210"/>
                  <a:gd name="T3" fmla="*/ 270 h 270"/>
                  <a:gd name="T4" fmla="*/ 150 w 210"/>
                  <a:gd name="T5" fmla="*/ 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270">
                    <a:moveTo>
                      <a:pt x="210" y="120"/>
                    </a:moveTo>
                    <a:lnTo>
                      <a:pt x="0" y="27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7" name="Freeform 2493">
                <a:extLst>
                  <a:ext uri="{FF2B5EF4-FFF2-40B4-BE49-F238E27FC236}">
                    <a16:creationId xmlns:a16="http://schemas.microsoft.com/office/drawing/2014/main" xmlns="" id="{B8FC9F19-A265-4B37-9343-A05B77362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5" y="1620"/>
                <a:ext cx="360" cy="483"/>
              </a:xfrm>
              <a:custGeom>
                <a:avLst/>
                <a:gdLst>
                  <a:gd name="T0" fmla="*/ 0 w 432"/>
                  <a:gd name="T1" fmla="*/ 146 h 579"/>
                  <a:gd name="T2" fmla="*/ 216 w 432"/>
                  <a:gd name="T3" fmla="*/ 0 h 579"/>
                  <a:gd name="T4" fmla="*/ 144 w 432"/>
                  <a:gd name="T5" fmla="*/ 216 h 579"/>
                  <a:gd name="T6" fmla="*/ 360 w 432"/>
                  <a:gd name="T7" fmla="*/ 252 h 579"/>
                  <a:gd name="T8" fmla="*/ 324 w 432"/>
                  <a:gd name="T9" fmla="*/ 578 h 579"/>
                  <a:gd name="T10" fmla="*/ 432 w 432"/>
                  <a:gd name="T11" fmla="*/ 432 h 579"/>
                  <a:gd name="T12" fmla="*/ 220 w 432"/>
                  <a:gd name="T13" fmla="*/ 399 h 579"/>
                  <a:gd name="T14" fmla="*/ 112 w 432"/>
                  <a:gd name="T15" fmla="*/ 579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2" h="579">
                    <a:moveTo>
                      <a:pt x="0" y="146"/>
                    </a:moveTo>
                    <a:cubicBezTo>
                      <a:pt x="216" y="0"/>
                      <a:pt x="216" y="0"/>
                      <a:pt x="216" y="0"/>
                    </a:cubicBezTo>
                    <a:cubicBezTo>
                      <a:pt x="144" y="216"/>
                      <a:pt x="144" y="216"/>
                      <a:pt x="144" y="216"/>
                    </a:cubicBezTo>
                    <a:cubicBezTo>
                      <a:pt x="360" y="252"/>
                      <a:pt x="360" y="252"/>
                      <a:pt x="360" y="252"/>
                    </a:cubicBezTo>
                    <a:cubicBezTo>
                      <a:pt x="324" y="578"/>
                      <a:pt x="324" y="578"/>
                      <a:pt x="324" y="578"/>
                    </a:cubicBezTo>
                    <a:cubicBezTo>
                      <a:pt x="432" y="432"/>
                      <a:pt x="432" y="432"/>
                      <a:pt x="432" y="432"/>
                    </a:cubicBezTo>
                    <a:cubicBezTo>
                      <a:pt x="220" y="399"/>
                      <a:pt x="220" y="399"/>
                      <a:pt x="220" y="399"/>
                    </a:cubicBezTo>
                    <a:cubicBezTo>
                      <a:pt x="220" y="399"/>
                      <a:pt x="108" y="576"/>
                      <a:pt x="112" y="579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8" name="Freeform 2494">
                <a:extLst>
                  <a:ext uri="{FF2B5EF4-FFF2-40B4-BE49-F238E27FC236}">
                    <a16:creationId xmlns:a16="http://schemas.microsoft.com/office/drawing/2014/main" xmlns="" id="{175710EA-84E3-44F8-9385-C891942DA9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5" y="1800"/>
                <a:ext cx="120" cy="303"/>
              </a:xfrm>
              <a:custGeom>
                <a:avLst/>
                <a:gdLst>
                  <a:gd name="T0" fmla="*/ 0 w 120"/>
                  <a:gd name="T1" fmla="*/ 90 h 303"/>
                  <a:gd name="T2" fmla="*/ 120 w 120"/>
                  <a:gd name="T3" fmla="*/ 0 h 303"/>
                  <a:gd name="T4" fmla="*/ 94 w 120"/>
                  <a:gd name="T5" fmla="*/ 30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0" h="303">
                    <a:moveTo>
                      <a:pt x="0" y="90"/>
                    </a:moveTo>
                    <a:lnTo>
                      <a:pt x="120" y="0"/>
                    </a:lnTo>
                    <a:lnTo>
                      <a:pt x="94" y="303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9" name="Freeform 2495">
                <a:extLst>
                  <a:ext uri="{FF2B5EF4-FFF2-40B4-BE49-F238E27FC236}">
                    <a16:creationId xmlns:a16="http://schemas.microsoft.com/office/drawing/2014/main" xmlns="" id="{93CA8811-B2D6-4DAA-A03C-CFFF8FF1F0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1922"/>
                <a:ext cx="1110" cy="868"/>
              </a:xfrm>
              <a:custGeom>
                <a:avLst/>
                <a:gdLst>
                  <a:gd name="T0" fmla="*/ 240 w 1110"/>
                  <a:gd name="T1" fmla="*/ 0 h 868"/>
                  <a:gd name="T2" fmla="*/ 210 w 1110"/>
                  <a:gd name="T3" fmla="*/ 148 h 868"/>
                  <a:gd name="T4" fmla="*/ 150 w 1110"/>
                  <a:gd name="T5" fmla="*/ 238 h 868"/>
                  <a:gd name="T6" fmla="*/ 0 w 1110"/>
                  <a:gd name="T7" fmla="*/ 328 h 868"/>
                  <a:gd name="T8" fmla="*/ 0 w 1110"/>
                  <a:gd name="T9" fmla="*/ 478 h 868"/>
                  <a:gd name="T10" fmla="*/ 120 w 1110"/>
                  <a:gd name="T11" fmla="*/ 388 h 868"/>
                  <a:gd name="T12" fmla="*/ 270 w 1110"/>
                  <a:gd name="T13" fmla="*/ 268 h 868"/>
                  <a:gd name="T14" fmla="*/ 510 w 1110"/>
                  <a:gd name="T15" fmla="*/ 118 h 868"/>
                  <a:gd name="T16" fmla="*/ 600 w 1110"/>
                  <a:gd name="T17" fmla="*/ 178 h 868"/>
                  <a:gd name="T18" fmla="*/ 690 w 1110"/>
                  <a:gd name="T19" fmla="*/ 298 h 868"/>
                  <a:gd name="T20" fmla="*/ 780 w 1110"/>
                  <a:gd name="T21" fmla="*/ 178 h 868"/>
                  <a:gd name="T22" fmla="*/ 600 w 1110"/>
                  <a:gd name="T23" fmla="*/ 178 h 868"/>
                  <a:gd name="T24" fmla="*/ 600 w 1110"/>
                  <a:gd name="T25" fmla="*/ 329 h 868"/>
                  <a:gd name="T26" fmla="*/ 510 w 1110"/>
                  <a:gd name="T27" fmla="*/ 298 h 868"/>
                  <a:gd name="T28" fmla="*/ 480 w 1110"/>
                  <a:gd name="T29" fmla="*/ 388 h 868"/>
                  <a:gd name="T30" fmla="*/ 480 w 1110"/>
                  <a:gd name="T31" fmla="*/ 628 h 868"/>
                  <a:gd name="T32" fmla="*/ 600 w 1110"/>
                  <a:gd name="T33" fmla="*/ 538 h 868"/>
                  <a:gd name="T34" fmla="*/ 688 w 1110"/>
                  <a:gd name="T35" fmla="*/ 630 h 868"/>
                  <a:gd name="T36" fmla="*/ 660 w 1110"/>
                  <a:gd name="T37" fmla="*/ 448 h 868"/>
                  <a:gd name="T38" fmla="*/ 750 w 1110"/>
                  <a:gd name="T39" fmla="*/ 388 h 868"/>
                  <a:gd name="T40" fmla="*/ 870 w 1110"/>
                  <a:gd name="T41" fmla="*/ 448 h 868"/>
                  <a:gd name="T42" fmla="*/ 750 w 1110"/>
                  <a:gd name="T43" fmla="*/ 508 h 868"/>
                  <a:gd name="T44" fmla="*/ 840 w 1110"/>
                  <a:gd name="T45" fmla="*/ 568 h 868"/>
                  <a:gd name="T46" fmla="*/ 1110 w 1110"/>
                  <a:gd name="T47" fmla="*/ 538 h 868"/>
                  <a:gd name="T48" fmla="*/ 990 w 1110"/>
                  <a:gd name="T49" fmla="*/ 598 h 868"/>
                  <a:gd name="T50" fmla="*/ 1020 w 1110"/>
                  <a:gd name="T51" fmla="*/ 868 h 868"/>
                  <a:gd name="T52" fmla="*/ 810 w 1110"/>
                  <a:gd name="T53" fmla="*/ 688 h 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10" h="868">
                    <a:moveTo>
                      <a:pt x="240" y="0"/>
                    </a:moveTo>
                    <a:lnTo>
                      <a:pt x="210" y="148"/>
                    </a:lnTo>
                    <a:lnTo>
                      <a:pt x="150" y="238"/>
                    </a:lnTo>
                    <a:lnTo>
                      <a:pt x="0" y="328"/>
                    </a:lnTo>
                    <a:lnTo>
                      <a:pt x="0" y="478"/>
                    </a:lnTo>
                    <a:lnTo>
                      <a:pt x="120" y="388"/>
                    </a:lnTo>
                    <a:lnTo>
                      <a:pt x="270" y="268"/>
                    </a:lnTo>
                    <a:lnTo>
                      <a:pt x="510" y="118"/>
                    </a:lnTo>
                    <a:lnTo>
                      <a:pt x="600" y="178"/>
                    </a:lnTo>
                    <a:lnTo>
                      <a:pt x="690" y="298"/>
                    </a:lnTo>
                    <a:lnTo>
                      <a:pt x="780" y="178"/>
                    </a:lnTo>
                    <a:lnTo>
                      <a:pt x="600" y="178"/>
                    </a:lnTo>
                    <a:lnTo>
                      <a:pt x="600" y="329"/>
                    </a:lnTo>
                    <a:lnTo>
                      <a:pt x="510" y="298"/>
                    </a:lnTo>
                    <a:lnTo>
                      <a:pt x="480" y="388"/>
                    </a:lnTo>
                    <a:lnTo>
                      <a:pt x="480" y="628"/>
                    </a:lnTo>
                    <a:lnTo>
                      <a:pt x="600" y="538"/>
                    </a:lnTo>
                    <a:lnTo>
                      <a:pt x="688" y="630"/>
                    </a:lnTo>
                    <a:lnTo>
                      <a:pt x="660" y="448"/>
                    </a:lnTo>
                    <a:lnTo>
                      <a:pt x="750" y="388"/>
                    </a:lnTo>
                    <a:lnTo>
                      <a:pt x="870" y="448"/>
                    </a:lnTo>
                    <a:lnTo>
                      <a:pt x="750" y="508"/>
                    </a:lnTo>
                    <a:lnTo>
                      <a:pt x="840" y="568"/>
                    </a:lnTo>
                    <a:lnTo>
                      <a:pt x="1110" y="538"/>
                    </a:lnTo>
                    <a:lnTo>
                      <a:pt x="990" y="598"/>
                    </a:lnTo>
                    <a:lnTo>
                      <a:pt x="1020" y="868"/>
                    </a:lnTo>
                    <a:lnTo>
                      <a:pt x="810" y="68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0" name="Line 2496">
                <a:extLst>
                  <a:ext uri="{FF2B5EF4-FFF2-40B4-BE49-F238E27FC236}">
                    <a16:creationId xmlns:a16="http://schemas.microsoft.com/office/drawing/2014/main" xmlns="" id="{DB667719-F5B3-4619-8BC9-8BBBA20E4B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35" y="1950"/>
                <a:ext cx="18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1" name="Line 2497">
                <a:extLst>
                  <a:ext uri="{FF2B5EF4-FFF2-40B4-BE49-F238E27FC236}">
                    <a16:creationId xmlns:a16="http://schemas.microsoft.com/office/drawing/2014/main" xmlns="" id="{1A572496-9372-4D17-887A-E9ADC210E9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865" y="1922"/>
                <a:ext cx="152" cy="15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2" name="Freeform 2498">
                <a:extLst>
                  <a:ext uri="{FF2B5EF4-FFF2-40B4-BE49-F238E27FC236}">
                    <a16:creationId xmlns:a16="http://schemas.microsoft.com/office/drawing/2014/main" xmlns="" id="{CAE4B8C3-D892-4F6B-B73D-460CC560E9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7" y="1713"/>
                <a:ext cx="328" cy="390"/>
              </a:xfrm>
              <a:custGeom>
                <a:avLst/>
                <a:gdLst>
                  <a:gd name="T0" fmla="*/ 271 w 328"/>
                  <a:gd name="T1" fmla="*/ 0 h 390"/>
                  <a:gd name="T2" fmla="*/ 238 w 328"/>
                  <a:gd name="T3" fmla="*/ 147 h 390"/>
                  <a:gd name="T4" fmla="*/ 151 w 328"/>
                  <a:gd name="T5" fmla="*/ 390 h 390"/>
                  <a:gd name="T6" fmla="*/ 328 w 328"/>
                  <a:gd name="T7" fmla="*/ 207 h 390"/>
                  <a:gd name="T8" fmla="*/ 328 w 328"/>
                  <a:gd name="T9" fmla="*/ 389 h 390"/>
                  <a:gd name="T10" fmla="*/ 118 w 328"/>
                  <a:gd name="T11" fmla="*/ 177 h 390"/>
                  <a:gd name="T12" fmla="*/ 58 w 328"/>
                  <a:gd name="T13" fmla="*/ 327 h 390"/>
                  <a:gd name="T14" fmla="*/ 0 w 328"/>
                  <a:gd name="T15" fmla="*/ 18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8" h="390">
                    <a:moveTo>
                      <a:pt x="271" y="0"/>
                    </a:moveTo>
                    <a:lnTo>
                      <a:pt x="238" y="147"/>
                    </a:lnTo>
                    <a:lnTo>
                      <a:pt x="151" y="390"/>
                    </a:lnTo>
                    <a:lnTo>
                      <a:pt x="328" y="207"/>
                    </a:lnTo>
                    <a:lnTo>
                      <a:pt x="328" y="389"/>
                    </a:lnTo>
                    <a:lnTo>
                      <a:pt x="118" y="177"/>
                    </a:lnTo>
                    <a:lnTo>
                      <a:pt x="58" y="327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3" name="Line 2499">
                <a:extLst>
                  <a:ext uri="{FF2B5EF4-FFF2-40B4-BE49-F238E27FC236}">
                    <a16:creationId xmlns:a16="http://schemas.microsoft.com/office/drawing/2014/main" xmlns="" id="{5B335E25-A49F-4CFF-BB79-587A4FC947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348" y="1713"/>
                <a:ext cx="177" cy="11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4" name="Line 2500">
                <a:extLst>
                  <a:ext uri="{FF2B5EF4-FFF2-40B4-BE49-F238E27FC236}">
                    <a16:creationId xmlns:a16="http://schemas.microsoft.com/office/drawing/2014/main" xmlns="" id="{7A81D75E-07F1-4693-B202-CCEDEAADB8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315" y="1442"/>
                <a:ext cx="88" cy="118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5" name="Freeform 2501">
                <a:extLst>
                  <a:ext uri="{FF2B5EF4-FFF2-40B4-BE49-F238E27FC236}">
                    <a16:creationId xmlns:a16="http://schemas.microsoft.com/office/drawing/2014/main" xmlns="" id="{DFB5D10B-568D-4965-BFCB-70016EC302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780"/>
                <a:ext cx="690" cy="630"/>
              </a:xfrm>
              <a:custGeom>
                <a:avLst/>
                <a:gdLst>
                  <a:gd name="T0" fmla="*/ 660 w 690"/>
                  <a:gd name="T1" fmla="*/ 630 h 630"/>
                  <a:gd name="T2" fmla="*/ 690 w 690"/>
                  <a:gd name="T3" fmla="*/ 390 h 630"/>
                  <a:gd name="T4" fmla="*/ 570 w 690"/>
                  <a:gd name="T5" fmla="*/ 420 h 630"/>
                  <a:gd name="T6" fmla="*/ 450 w 690"/>
                  <a:gd name="T7" fmla="*/ 240 h 630"/>
                  <a:gd name="T8" fmla="*/ 420 w 690"/>
                  <a:gd name="T9" fmla="*/ 420 h 630"/>
                  <a:gd name="T10" fmla="*/ 330 w 690"/>
                  <a:gd name="T11" fmla="*/ 330 h 630"/>
                  <a:gd name="T12" fmla="*/ 210 w 690"/>
                  <a:gd name="T13" fmla="*/ 270 h 630"/>
                  <a:gd name="T14" fmla="*/ 0 w 690"/>
                  <a:gd name="T15" fmla="*/ 210 h 630"/>
                  <a:gd name="T16" fmla="*/ 270 w 690"/>
                  <a:gd name="T17" fmla="*/ 180 h 630"/>
                  <a:gd name="T18" fmla="*/ 180 w 690"/>
                  <a:gd name="T19" fmla="*/ 30 h 630"/>
                  <a:gd name="T20" fmla="*/ 330 w 690"/>
                  <a:gd name="T21" fmla="*/ 0 h 630"/>
                  <a:gd name="T22" fmla="*/ 120 w 690"/>
                  <a:gd name="T23" fmla="*/ 15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90" h="630">
                    <a:moveTo>
                      <a:pt x="660" y="630"/>
                    </a:moveTo>
                    <a:lnTo>
                      <a:pt x="690" y="390"/>
                    </a:lnTo>
                    <a:lnTo>
                      <a:pt x="570" y="420"/>
                    </a:lnTo>
                    <a:lnTo>
                      <a:pt x="450" y="240"/>
                    </a:lnTo>
                    <a:lnTo>
                      <a:pt x="420" y="420"/>
                    </a:lnTo>
                    <a:lnTo>
                      <a:pt x="330" y="330"/>
                    </a:lnTo>
                    <a:lnTo>
                      <a:pt x="210" y="270"/>
                    </a:lnTo>
                    <a:lnTo>
                      <a:pt x="0" y="210"/>
                    </a:lnTo>
                    <a:lnTo>
                      <a:pt x="270" y="180"/>
                    </a:lnTo>
                    <a:lnTo>
                      <a:pt x="180" y="30"/>
                    </a:lnTo>
                    <a:lnTo>
                      <a:pt x="330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6" name="Line 2502">
                <a:extLst>
                  <a:ext uri="{FF2B5EF4-FFF2-40B4-BE49-F238E27FC236}">
                    <a16:creationId xmlns:a16="http://schemas.microsoft.com/office/drawing/2014/main" xmlns="" id="{504BB002-A753-4101-A5DC-70D7B8595B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285" y="1290"/>
                <a:ext cx="15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7" name="Freeform 2503">
                <a:extLst>
                  <a:ext uri="{FF2B5EF4-FFF2-40B4-BE49-F238E27FC236}">
                    <a16:creationId xmlns:a16="http://schemas.microsoft.com/office/drawing/2014/main" xmlns="" id="{89C0ECE4-7B59-43EF-8CC5-3F5A830A60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1082"/>
                <a:ext cx="120" cy="208"/>
              </a:xfrm>
              <a:custGeom>
                <a:avLst/>
                <a:gdLst>
                  <a:gd name="T0" fmla="*/ 120 w 120"/>
                  <a:gd name="T1" fmla="*/ 208 h 208"/>
                  <a:gd name="T2" fmla="*/ 90 w 120"/>
                  <a:gd name="T3" fmla="*/ 0 h 208"/>
                  <a:gd name="T4" fmla="*/ 0 w 120"/>
                  <a:gd name="T5" fmla="*/ 88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0" h="208">
                    <a:moveTo>
                      <a:pt x="120" y="208"/>
                    </a:moveTo>
                    <a:lnTo>
                      <a:pt x="90" y="0"/>
                    </a:lnTo>
                    <a:lnTo>
                      <a:pt x="0" y="8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8" name="Freeform 2504">
                <a:extLst>
                  <a:ext uri="{FF2B5EF4-FFF2-40B4-BE49-F238E27FC236}">
                    <a16:creationId xmlns:a16="http://schemas.microsoft.com/office/drawing/2014/main" xmlns="" id="{988F7DF6-DA07-4EFE-B7D4-A1426C25AE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1200"/>
                <a:ext cx="240" cy="242"/>
              </a:xfrm>
              <a:custGeom>
                <a:avLst/>
                <a:gdLst>
                  <a:gd name="T0" fmla="*/ 240 w 240"/>
                  <a:gd name="T1" fmla="*/ 90 h 242"/>
                  <a:gd name="T2" fmla="*/ 0 w 240"/>
                  <a:gd name="T3" fmla="*/ 0 h 242"/>
                  <a:gd name="T4" fmla="*/ 208 w 240"/>
                  <a:gd name="T5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0" h="242">
                    <a:moveTo>
                      <a:pt x="240" y="90"/>
                    </a:moveTo>
                    <a:lnTo>
                      <a:pt x="0" y="0"/>
                    </a:lnTo>
                    <a:lnTo>
                      <a:pt x="208" y="24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9" name="Line 2505">
                <a:extLst>
                  <a:ext uri="{FF2B5EF4-FFF2-40B4-BE49-F238E27FC236}">
                    <a16:creationId xmlns:a16="http://schemas.microsoft.com/office/drawing/2014/main" xmlns="" id="{6F05590E-81D0-4EA2-BE1C-A06157C9DE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85" y="1260"/>
                <a:ext cx="30" cy="272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0" name="Freeform 2506">
                <a:extLst>
                  <a:ext uri="{FF2B5EF4-FFF2-40B4-BE49-F238E27FC236}">
                    <a16:creationId xmlns:a16="http://schemas.microsoft.com/office/drawing/2014/main" xmlns="" id="{5B1E712C-0F26-473B-A963-173BBFD9E7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5" y="450"/>
                <a:ext cx="449" cy="1140"/>
              </a:xfrm>
              <a:custGeom>
                <a:avLst/>
                <a:gdLst>
                  <a:gd name="T0" fmla="*/ 449 w 449"/>
                  <a:gd name="T1" fmla="*/ 1140 h 1140"/>
                  <a:gd name="T2" fmla="*/ 329 w 449"/>
                  <a:gd name="T3" fmla="*/ 930 h 1140"/>
                  <a:gd name="T4" fmla="*/ 419 w 449"/>
                  <a:gd name="T5" fmla="*/ 690 h 1140"/>
                  <a:gd name="T6" fmla="*/ 239 w 449"/>
                  <a:gd name="T7" fmla="*/ 600 h 1140"/>
                  <a:gd name="T8" fmla="*/ 269 w 449"/>
                  <a:gd name="T9" fmla="*/ 780 h 1140"/>
                  <a:gd name="T10" fmla="*/ 389 w 449"/>
                  <a:gd name="T11" fmla="*/ 570 h 1140"/>
                  <a:gd name="T12" fmla="*/ 419 w 449"/>
                  <a:gd name="T13" fmla="*/ 450 h 1140"/>
                  <a:gd name="T14" fmla="*/ 359 w 449"/>
                  <a:gd name="T15" fmla="*/ 330 h 1140"/>
                  <a:gd name="T16" fmla="*/ 389 w 449"/>
                  <a:gd name="T17" fmla="*/ 180 h 1140"/>
                  <a:gd name="T18" fmla="*/ 239 w 449"/>
                  <a:gd name="T19" fmla="*/ 60 h 1140"/>
                  <a:gd name="T20" fmla="*/ 150 w 449"/>
                  <a:gd name="T21" fmla="*/ 180 h 1140"/>
                  <a:gd name="T22" fmla="*/ 0 w 449"/>
                  <a:gd name="T23" fmla="*/ 270 h 1140"/>
                  <a:gd name="T24" fmla="*/ 0 w 449"/>
                  <a:gd name="T25" fmla="*/ 420 h 1140"/>
                  <a:gd name="T26" fmla="*/ 120 w 449"/>
                  <a:gd name="T27" fmla="*/ 330 h 1140"/>
                  <a:gd name="T28" fmla="*/ 269 w 449"/>
                  <a:gd name="T29" fmla="*/ 210 h 1140"/>
                  <a:gd name="T30" fmla="*/ 239 w 449"/>
                  <a:gd name="T31" fmla="*/ 60 h 1140"/>
                  <a:gd name="T32" fmla="*/ 120 w 449"/>
                  <a:gd name="T33" fmla="*/ 0 h 1140"/>
                  <a:gd name="T34" fmla="*/ 30 w 449"/>
                  <a:gd name="T35" fmla="*/ 90 h 1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9" h="1140">
                    <a:moveTo>
                      <a:pt x="449" y="1140"/>
                    </a:moveTo>
                    <a:lnTo>
                      <a:pt x="329" y="930"/>
                    </a:lnTo>
                    <a:lnTo>
                      <a:pt x="419" y="690"/>
                    </a:lnTo>
                    <a:lnTo>
                      <a:pt x="239" y="600"/>
                    </a:lnTo>
                    <a:lnTo>
                      <a:pt x="269" y="780"/>
                    </a:lnTo>
                    <a:lnTo>
                      <a:pt x="389" y="570"/>
                    </a:lnTo>
                    <a:lnTo>
                      <a:pt x="419" y="450"/>
                    </a:lnTo>
                    <a:lnTo>
                      <a:pt x="359" y="330"/>
                    </a:lnTo>
                    <a:lnTo>
                      <a:pt x="389" y="180"/>
                    </a:lnTo>
                    <a:lnTo>
                      <a:pt x="239" y="60"/>
                    </a:lnTo>
                    <a:lnTo>
                      <a:pt x="150" y="180"/>
                    </a:lnTo>
                    <a:lnTo>
                      <a:pt x="0" y="270"/>
                    </a:lnTo>
                    <a:lnTo>
                      <a:pt x="0" y="420"/>
                    </a:lnTo>
                    <a:lnTo>
                      <a:pt x="120" y="330"/>
                    </a:lnTo>
                    <a:lnTo>
                      <a:pt x="269" y="210"/>
                    </a:lnTo>
                    <a:lnTo>
                      <a:pt x="239" y="60"/>
                    </a:lnTo>
                    <a:lnTo>
                      <a:pt x="120" y="0"/>
                    </a:lnTo>
                    <a:lnTo>
                      <a:pt x="3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1" name="Line 2507">
                <a:extLst>
                  <a:ext uri="{FF2B5EF4-FFF2-40B4-BE49-F238E27FC236}">
                    <a16:creationId xmlns:a16="http://schemas.microsoft.com/office/drawing/2014/main" xmlns="" id="{5AF02369-2618-46CC-8314-6BA32D0E1A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4" y="159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2" name="Freeform 2508">
                <a:extLst>
                  <a:ext uri="{FF2B5EF4-FFF2-40B4-BE49-F238E27FC236}">
                    <a16:creationId xmlns:a16="http://schemas.microsoft.com/office/drawing/2014/main" xmlns="" id="{9F2F7E21-4924-4E75-A0B1-9AE5E104FF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" y="1740"/>
                <a:ext cx="659" cy="423"/>
              </a:xfrm>
              <a:custGeom>
                <a:avLst/>
                <a:gdLst>
                  <a:gd name="T0" fmla="*/ 300 w 659"/>
                  <a:gd name="T1" fmla="*/ 303 h 423"/>
                  <a:gd name="T2" fmla="*/ 299 w 659"/>
                  <a:gd name="T3" fmla="*/ 150 h 423"/>
                  <a:gd name="T4" fmla="*/ 451 w 659"/>
                  <a:gd name="T5" fmla="*/ 423 h 423"/>
                  <a:gd name="T6" fmla="*/ 483 w 659"/>
                  <a:gd name="T7" fmla="*/ 213 h 423"/>
                  <a:gd name="T8" fmla="*/ 659 w 659"/>
                  <a:gd name="T9" fmla="*/ 300 h 423"/>
                  <a:gd name="T10" fmla="*/ 419 w 659"/>
                  <a:gd name="T11" fmla="*/ 60 h 423"/>
                  <a:gd name="T12" fmla="*/ 479 w 659"/>
                  <a:gd name="T13" fmla="*/ 210 h 423"/>
                  <a:gd name="T14" fmla="*/ 299 w 659"/>
                  <a:gd name="T15" fmla="*/ 0 h 423"/>
                  <a:gd name="T16" fmla="*/ 150 w 659"/>
                  <a:gd name="T17" fmla="*/ 150 h 423"/>
                  <a:gd name="T18" fmla="*/ 0 w 659"/>
                  <a:gd name="T19" fmla="*/ 90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9" h="423">
                    <a:moveTo>
                      <a:pt x="300" y="303"/>
                    </a:moveTo>
                    <a:lnTo>
                      <a:pt x="299" y="150"/>
                    </a:lnTo>
                    <a:lnTo>
                      <a:pt x="451" y="423"/>
                    </a:lnTo>
                    <a:lnTo>
                      <a:pt x="483" y="213"/>
                    </a:lnTo>
                    <a:lnTo>
                      <a:pt x="659" y="300"/>
                    </a:lnTo>
                    <a:lnTo>
                      <a:pt x="419" y="60"/>
                    </a:lnTo>
                    <a:lnTo>
                      <a:pt x="479" y="210"/>
                    </a:lnTo>
                    <a:lnTo>
                      <a:pt x="299" y="0"/>
                    </a:lnTo>
                    <a:lnTo>
                      <a:pt x="150" y="150"/>
                    </a:lnTo>
                    <a:lnTo>
                      <a:pt x="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3" name="Freeform 2509">
                <a:extLst>
                  <a:ext uri="{FF2B5EF4-FFF2-40B4-BE49-F238E27FC236}">
                    <a16:creationId xmlns:a16="http://schemas.microsoft.com/office/drawing/2014/main" xmlns="" id="{E70B1FC8-1011-4BF4-984B-39A02CFD00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1860"/>
                <a:ext cx="393" cy="123"/>
              </a:xfrm>
              <a:custGeom>
                <a:avLst/>
                <a:gdLst>
                  <a:gd name="T0" fmla="*/ 393 w 393"/>
                  <a:gd name="T1" fmla="*/ 123 h 123"/>
                  <a:gd name="T2" fmla="*/ 90 w 393"/>
                  <a:gd name="T3" fmla="*/ 60 h 123"/>
                  <a:gd name="T4" fmla="*/ 0 w 393"/>
                  <a:gd name="T5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3" h="123">
                    <a:moveTo>
                      <a:pt x="393" y="123"/>
                    </a:moveTo>
                    <a:lnTo>
                      <a:pt x="9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4" name="Freeform 2510">
                <a:extLst>
                  <a:ext uri="{FF2B5EF4-FFF2-40B4-BE49-F238E27FC236}">
                    <a16:creationId xmlns:a16="http://schemas.microsoft.com/office/drawing/2014/main" xmlns="" id="{B433AE19-11AB-47D1-B3C5-F01D7BFED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60"/>
                <a:ext cx="690" cy="600"/>
              </a:xfrm>
              <a:custGeom>
                <a:avLst/>
                <a:gdLst>
                  <a:gd name="T0" fmla="*/ 690 w 690"/>
                  <a:gd name="T1" fmla="*/ 600 h 600"/>
                  <a:gd name="T2" fmla="*/ 630 w 690"/>
                  <a:gd name="T3" fmla="*/ 450 h 600"/>
                  <a:gd name="T4" fmla="*/ 480 w 690"/>
                  <a:gd name="T5" fmla="*/ 210 h 600"/>
                  <a:gd name="T6" fmla="*/ 330 w 690"/>
                  <a:gd name="T7" fmla="*/ 0 h 600"/>
                  <a:gd name="T8" fmla="*/ 150 w 690"/>
                  <a:gd name="T9" fmla="*/ 90 h 600"/>
                  <a:gd name="T10" fmla="*/ 60 w 690"/>
                  <a:gd name="T11" fmla="*/ 210 h 600"/>
                  <a:gd name="T12" fmla="*/ 300 w 690"/>
                  <a:gd name="T13" fmla="*/ 210 h 600"/>
                  <a:gd name="T14" fmla="*/ 330 w 690"/>
                  <a:gd name="T15" fmla="*/ 0 h 600"/>
                  <a:gd name="T16" fmla="*/ 0 w 690"/>
                  <a:gd name="T17" fmla="*/ 60 h 600"/>
                  <a:gd name="T18" fmla="*/ 150 w 690"/>
                  <a:gd name="T19" fmla="*/ 90 h 600"/>
                  <a:gd name="T20" fmla="*/ 180 w 690"/>
                  <a:gd name="T21" fmla="*/ 240 h 600"/>
                  <a:gd name="T22" fmla="*/ 60 w 690"/>
                  <a:gd name="T23" fmla="*/ 210 h 600"/>
                  <a:gd name="T24" fmla="*/ 30 w 690"/>
                  <a:gd name="T25" fmla="*/ 360 h 600"/>
                  <a:gd name="T26" fmla="*/ 60 w 690"/>
                  <a:gd name="T27" fmla="*/ 51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90" h="600">
                    <a:moveTo>
                      <a:pt x="690" y="600"/>
                    </a:moveTo>
                    <a:lnTo>
                      <a:pt x="630" y="450"/>
                    </a:lnTo>
                    <a:lnTo>
                      <a:pt x="480" y="210"/>
                    </a:lnTo>
                    <a:lnTo>
                      <a:pt x="330" y="0"/>
                    </a:lnTo>
                    <a:lnTo>
                      <a:pt x="150" y="90"/>
                    </a:lnTo>
                    <a:lnTo>
                      <a:pt x="60" y="210"/>
                    </a:lnTo>
                    <a:lnTo>
                      <a:pt x="300" y="210"/>
                    </a:lnTo>
                    <a:lnTo>
                      <a:pt x="330" y="0"/>
                    </a:lnTo>
                    <a:lnTo>
                      <a:pt x="0" y="60"/>
                    </a:lnTo>
                    <a:lnTo>
                      <a:pt x="150" y="90"/>
                    </a:lnTo>
                    <a:lnTo>
                      <a:pt x="180" y="240"/>
                    </a:lnTo>
                    <a:lnTo>
                      <a:pt x="60" y="210"/>
                    </a:lnTo>
                    <a:lnTo>
                      <a:pt x="30" y="360"/>
                    </a:lnTo>
                    <a:lnTo>
                      <a:pt x="60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5" name="Freeform 2511">
                <a:extLst>
                  <a:ext uri="{FF2B5EF4-FFF2-40B4-BE49-F238E27FC236}">
                    <a16:creationId xmlns:a16="http://schemas.microsoft.com/office/drawing/2014/main" xmlns="" id="{EB31B513-5FDE-4BFB-9400-9CC81BFA52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2700"/>
                <a:ext cx="600" cy="510"/>
              </a:xfrm>
              <a:custGeom>
                <a:avLst/>
                <a:gdLst>
                  <a:gd name="T0" fmla="*/ 540 w 600"/>
                  <a:gd name="T1" fmla="*/ 90 h 510"/>
                  <a:gd name="T2" fmla="*/ 600 w 600"/>
                  <a:gd name="T3" fmla="*/ 270 h 510"/>
                  <a:gd name="T4" fmla="*/ 480 w 600"/>
                  <a:gd name="T5" fmla="*/ 270 h 510"/>
                  <a:gd name="T6" fmla="*/ 570 w 600"/>
                  <a:gd name="T7" fmla="*/ 420 h 510"/>
                  <a:gd name="T8" fmla="*/ 510 w 600"/>
                  <a:gd name="T9" fmla="*/ 510 h 510"/>
                  <a:gd name="T10" fmla="*/ 420 w 600"/>
                  <a:gd name="T11" fmla="*/ 360 h 510"/>
                  <a:gd name="T12" fmla="*/ 240 w 600"/>
                  <a:gd name="T13" fmla="*/ 450 h 510"/>
                  <a:gd name="T14" fmla="*/ 300 w 600"/>
                  <a:gd name="T15" fmla="*/ 270 h 510"/>
                  <a:gd name="T16" fmla="*/ 150 w 600"/>
                  <a:gd name="T17" fmla="*/ 420 h 510"/>
                  <a:gd name="T18" fmla="*/ 180 w 600"/>
                  <a:gd name="T19" fmla="*/ 300 h 510"/>
                  <a:gd name="T20" fmla="*/ 30 w 600"/>
                  <a:gd name="T21" fmla="*/ 360 h 510"/>
                  <a:gd name="T22" fmla="*/ 0 w 600"/>
                  <a:gd name="T23" fmla="*/ 510 h 510"/>
                  <a:gd name="T24" fmla="*/ 180 w 600"/>
                  <a:gd name="T25" fmla="*/ 210 h 510"/>
                  <a:gd name="T26" fmla="*/ 60 w 600"/>
                  <a:gd name="T27" fmla="*/ 120 h 510"/>
                  <a:gd name="T28" fmla="*/ 0 w 600"/>
                  <a:gd name="T29" fmla="*/ 210 h 510"/>
                  <a:gd name="T30" fmla="*/ 0 w 600"/>
                  <a:gd name="T31" fmla="*/ 0 h 510"/>
                  <a:gd name="T32" fmla="*/ 180 w 600"/>
                  <a:gd name="T33" fmla="*/ 30 h 510"/>
                  <a:gd name="T34" fmla="*/ 270 w 600"/>
                  <a:gd name="T35" fmla="*/ 120 h 510"/>
                  <a:gd name="T36" fmla="*/ 390 w 600"/>
                  <a:gd name="T37" fmla="*/ 150 h 510"/>
                  <a:gd name="T38" fmla="*/ 540 w 600"/>
                  <a:gd name="T39" fmla="*/ 9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00" h="510">
                    <a:moveTo>
                      <a:pt x="540" y="90"/>
                    </a:moveTo>
                    <a:lnTo>
                      <a:pt x="600" y="270"/>
                    </a:lnTo>
                    <a:lnTo>
                      <a:pt x="480" y="270"/>
                    </a:lnTo>
                    <a:lnTo>
                      <a:pt x="570" y="420"/>
                    </a:lnTo>
                    <a:lnTo>
                      <a:pt x="510" y="510"/>
                    </a:lnTo>
                    <a:lnTo>
                      <a:pt x="420" y="360"/>
                    </a:lnTo>
                    <a:lnTo>
                      <a:pt x="240" y="450"/>
                    </a:lnTo>
                    <a:lnTo>
                      <a:pt x="300" y="270"/>
                    </a:lnTo>
                    <a:lnTo>
                      <a:pt x="150" y="420"/>
                    </a:lnTo>
                    <a:lnTo>
                      <a:pt x="180" y="300"/>
                    </a:lnTo>
                    <a:lnTo>
                      <a:pt x="30" y="360"/>
                    </a:lnTo>
                    <a:lnTo>
                      <a:pt x="0" y="510"/>
                    </a:lnTo>
                    <a:lnTo>
                      <a:pt x="180" y="210"/>
                    </a:lnTo>
                    <a:lnTo>
                      <a:pt x="60" y="120"/>
                    </a:lnTo>
                    <a:lnTo>
                      <a:pt x="0" y="210"/>
                    </a:lnTo>
                    <a:lnTo>
                      <a:pt x="0" y="0"/>
                    </a:lnTo>
                    <a:lnTo>
                      <a:pt x="180" y="30"/>
                    </a:lnTo>
                    <a:lnTo>
                      <a:pt x="270" y="120"/>
                    </a:lnTo>
                    <a:lnTo>
                      <a:pt x="390" y="150"/>
                    </a:lnTo>
                    <a:lnTo>
                      <a:pt x="540" y="9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6" name="Freeform 2512">
                <a:extLst>
                  <a:ext uri="{FF2B5EF4-FFF2-40B4-BE49-F238E27FC236}">
                    <a16:creationId xmlns:a16="http://schemas.microsoft.com/office/drawing/2014/main" xmlns="" id="{261FF585-9AFA-4AC7-A326-4378DC2E2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6" y="2700"/>
                <a:ext cx="539" cy="360"/>
              </a:xfrm>
              <a:custGeom>
                <a:avLst/>
                <a:gdLst>
                  <a:gd name="T0" fmla="*/ 90 w 539"/>
                  <a:gd name="T1" fmla="*/ 360 h 360"/>
                  <a:gd name="T2" fmla="*/ 60 w 539"/>
                  <a:gd name="T3" fmla="*/ 150 h 360"/>
                  <a:gd name="T4" fmla="*/ 0 w 539"/>
                  <a:gd name="T5" fmla="*/ 0 h 360"/>
                  <a:gd name="T6" fmla="*/ 210 w 539"/>
                  <a:gd name="T7" fmla="*/ 90 h 360"/>
                  <a:gd name="T8" fmla="*/ 360 w 539"/>
                  <a:gd name="T9" fmla="*/ 180 h 360"/>
                  <a:gd name="T10" fmla="*/ 270 w 539"/>
                  <a:gd name="T11" fmla="*/ 270 h 360"/>
                  <a:gd name="T12" fmla="*/ 450 w 539"/>
                  <a:gd name="T13" fmla="*/ 330 h 360"/>
                  <a:gd name="T14" fmla="*/ 509 w 539"/>
                  <a:gd name="T15" fmla="*/ 210 h 360"/>
                  <a:gd name="T16" fmla="*/ 360 w 539"/>
                  <a:gd name="T17" fmla="*/ 60 h 360"/>
                  <a:gd name="T18" fmla="*/ 539 w 539"/>
                  <a:gd name="T19" fmla="*/ 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9" h="360">
                    <a:moveTo>
                      <a:pt x="90" y="360"/>
                    </a:moveTo>
                    <a:lnTo>
                      <a:pt x="60" y="150"/>
                    </a:lnTo>
                    <a:lnTo>
                      <a:pt x="0" y="0"/>
                    </a:lnTo>
                    <a:lnTo>
                      <a:pt x="210" y="90"/>
                    </a:lnTo>
                    <a:lnTo>
                      <a:pt x="360" y="180"/>
                    </a:lnTo>
                    <a:lnTo>
                      <a:pt x="270" y="270"/>
                    </a:lnTo>
                    <a:lnTo>
                      <a:pt x="450" y="330"/>
                    </a:lnTo>
                    <a:lnTo>
                      <a:pt x="509" y="210"/>
                    </a:lnTo>
                    <a:lnTo>
                      <a:pt x="360" y="60"/>
                    </a:lnTo>
                    <a:lnTo>
                      <a:pt x="53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7" name="Freeform 2513">
                <a:extLst>
                  <a:ext uri="{FF2B5EF4-FFF2-40B4-BE49-F238E27FC236}">
                    <a16:creationId xmlns:a16="http://schemas.microsoft.com/office/drawing/2014/main" xmlns="" id="{096A0028-B79F-4C19-B41A-AB2F909F26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6" y="3120"/>
                <a:ext cx="360" cy="90"/>
              </a:xfrm>
              <a:custGeom>
                <a:avLst/>
                <a:gdLst>
                  <a:gd name="T0" fmla="*/ 360 w 360"/>
                  <a:gd name="T1" fmla="*/ 90 h 90"/>
                  <a:gd name="T2" fmla="*/ 90 w 360"/>
                  <a:gd name="T3" fmla="*/ 30 h 90"/>
                  <a:gd name="T4" fmla="*/ 0 w 360"/>
                  <a:gd name="T5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90">
                    <a:moveTo>
                      <a:pt x="360" y="90"/>
                    </a:moveTo>
                    <a:lnTo>
                      <a:pt x="9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8" name="Freeform 2514">
                <a:extLst>
                  <a:ext uri="{FF2B5EF4-FFF2-40B4-BE49-F238E27FC236}">
                    <a16:creationId xmlns:a16="http://schemas.microsoft.com/office/drawing/2014/main" xmlns="" id="{7E846E13-1360-41F7-B6EF-5FA7CBECEE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2820"/>
                <a:ext cx="270" cy="240"/>
              </a:xfrm>
              <a:custGeom>
                <a:avLst/>
                <a:gdLst>
                  <a:gd name="T0" fmla="*/ 30 w 270"/>
                  <a:gd name="T1" fmla="*/ 240 h 240"/>
                  <a:gd name="T2" fmla="*/ 0 w 270"/>
                  <a:gd name="T3" fmla="*/ 90 h 240"/>
                  <a:gd name="T4" fmla="*/ 270 w 270"/>
                  <a:gd name="T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240">
                    <a:moveTo>
                      <a:pt x="30" y="240"/>
                    </a:moveTo>
                    <a:lnTo>
                      <a:pt x="0" y="90"/>
                    </a:lnTo>
                    <a:lnTo>
                      <a:pt x="27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9" name="Freeform 2515">
                <a:extLst>
                  <a:ext uri="{FF2B5EF4-FFF2-40B4-BE49-F238E27FC236}">
                    <a16:creationId xmlns:a16="http://schemas.microsoft.com/office/drawing/2014/main" xmlns="" id="{D76A665B-0CB2-4C07-82E2-BFBBF4F51A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90"/>
                <a:ext cx="210" cy="240"/>
              </a:xfrm>
              <a:custGeom>
                <a:avLst/>
                <a:gdLst>
                  <a:gd name="T0" fmla="*/ 0 w 210"/>
                  <a:gd name="T1" fmla="*/ 240 h 240"/>
                  <a:gd name="T2" fmla="*/ 150 w 210"/>
                  <a:gd name="T3" fmla="*/ 210 h 240"/>
                  <a:gd name="T4" fmla="*/ 120 w 210"/>
                  <a:gd name="T5" fmla="*/ 0 h 240"/>
                  <a:gd name="T6" fmla="*/ 210 w 210"/>
                  <a:gd name="T7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0" h="240">
                    <a:moveTo>
                      <a:pt x="0" y="240"/>
                    </a:moveTo>
                    <a:lnTo>
                      <a:pt x="150" y="210"/>
                    </a:lnTo>
                    <a:lnTo>
                      <a:pt x="120" y="0"/>
                    </a:lnTo>
                    <a:lnTo>
                      <a:pt x="21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0" name="Freeform 2516">
                <a:extLst>
                  <a:ext uri="{FF2B5EF4-FFF2-40B4-BE49-F238E27FC236}">
                    <a16:creationId xmlns:a16="http://schemas.microsoft.com/office/drawing/2014/main" xmlns="" id="{7091F68A-B25F-4982-9884-E3BA4CCE33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2190"/>
                <a:ext cx="510" cy="630"/>
              </a:xfrm>
              <a:custGeom>
                <a:avLst/>
                <a:gdLst>
                  <a:gd name="T0" fmla="*/ 270 w 510"/>
                  <a:gd name="T1" fmla="*/ 450 h 630"/>
                  <a:gd name="T2" fmla="*/ 0 w 510"/>
                  <a:gd name="T3" fmla="*/ 390 h 630"/>
                  <a:gd name="T4" fmla="*/ 30 w 510"/>
                  <a:gd name="T5" fmla="*/ 300 h 630"/>
                  <a:gd name="T6" fmla="*/ 210 w 510"/>
                  <a:gd name="T7" fmla="*/ 330 h 630"/>
                  <a:gd name="T8" fmla="*/ 150 w 510"/>
                  <a:gd name="T9" fmla="*/ 120 h 630"/>
                  <a:gd name="T10" fmla="*/ 90 w 510"/>
                  <a:gd name="T11" fmla="*/ 210 h 630"/>
                  <a:gd name="T12" fmla="*/ 60 w 510"/>
                  <a:gd name="T13" fmla="*/ 120 h 630"/>
                  <a:gd name="T14" fmla="*/ 180 w 510"/>
                  <a:gd name="T15" fmla="*/ 0 h 630"/>
                  <a:gd name="T16" fmla="*/ 300 w 510"/>
                  <a:gd name="T17" fmla="*/ 120 h 630"/>
                  <a:gd name="T18" fmla="*/ 510 w 510"/>
                  <a:gd name="T19" fmla="*/ 150 h 630"/>
                  <a:gd name="T20" fmla="*/ 330 w 510"/>
                  <a:gd name="T21" fmla="*/ 300 h 630"/>
                  <a:gd name="T22" fmla="*/ 270 w 510"/>
                  <a:gd name="T23" fmla="*/ 450 h 630"/>
                  <a:gd name="T24" fmla="*/ 30 w 510"/>
                  <a:gd name="T25" fmla="*/ 510 h 630"/>
                  <a:gd name="T26" fmla="*/ 300 w 510"/>
                  <a:gd name="T27" fmla="*/ 120 h 630"/>
                  <a:gd name="T28" fmla="*/ 30 w 510"/>
                  <a:gd name="T29" fmla="*/ 300 h 630"/>
                  <a:gd name="T30" fmla="*/ 90 w 510"/>
                  <a:gd name="T31" fmla="*/ 210 h 630"/>
                  <a:gd name="T32" fmla="*/ 330 w 510"/>
                  <a:gd name="T33" fmla="*/ 300 h 630"/>
                  <a:gd name="T34" fmla="*/ 210 w 510"/>
                  <a:gd name="T35" fmla="*/ 330 h 630"/>
                  <a:gd name="T36" fmla="*/ 270 w 510"/>
                  <a:gd name="T37" fmla="*/ 450 h 630"/>
                  <a:gd name="T38" fmla="*/ 210 w 510"/>
                  <a:gd name="T39" fmla="*/ 540 h 630"/>
                  <a:gd name="T40" fmla="*/ 90 w 510"/>
                  <a:gd name="T41" fmla="*/ 63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0" h="630">
                    <a:moveTo>
                      <a:pt x="270" y="450"/>
                    </a:moveTo>
                    <a:lnTo>
                      <a:pt x="0" y="390"/>
                    </a:lnTo>
                    <a:lnTo>
                      <a:pt x="30" y="300"/>
                    </a:lnTo>
                    <a:lnTo>
                      <a:pt x="210" y="330"/>
                    </a:lnTo>
                    <a:lnTo>
                      <a:pt x="150" y="120"/>
                    </a:lnTo>
                    <a:lnTo>
                      <a:pt x="90" y="210"/>
                    </a:lnTo>
                    <a:lnTo>
                      <a:pt x="60" y="120"/>
                    </a:lnTo>
                    <a:lnTo>
                      <a:pt x="180" y="0"/>
                    </a:lnTo>
                    <a:lnTo>
                      <a:pt x="300" y="120"/>
                    </a:lnTo>
                    <a:lnTo>
                      <a:pt x="510" y="150"/>
                    </a:lnTo>
                    <a:lnTo>
                      <a:pt x="330" y="300"/>
                    </a:lnTo>
                    <a:lnTo>
                      <a:pt x="270" y="450"/>
                    </a:lnTo>
                    <a:lnTo>
                      <a:pt x="30" y="510"/>
                    </a:lnTo>
                    <a:lnTo>
                      <a:pt x="300" y="120"/>
                    </a:lnTo>
                    <a:lnTo>
                      <a:pt x="30" y="300"/>
                    </a:lnTo>
                    <a:lnTo>
                      <a:pt x="90" y="210"/>
                    </a:lnTo>
                    <a:lnTo>
                      <a:pt x="330" y="300"/>
                    </a:lnTo>
                    <a:lnTo>
                      <a:pt x="210" y="330"/>
                    </a:lnTo>
                    <a:lnTo>
                      <a:pt x="270" y="450"/>
                    </a:lnTo>
                    <a:lnTo>
                      <a:pt x="210" y="540"/>
                    </a:lnTo>
                    <a:lnTo>
                      <a:pt x="90" y="6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1" name="Freeform 2517">
                <a:extLst>
                  <a:ext uri="{FF2B5EF4-FFF2-40B4-BE49-F238E27FC236}">
                    <a16:creationId xmlns:a16="http://schemas.microsoft.com/office/drawing/2014/main" xmlns="" id="{9E6338A9-5507-4E8C-BC04-1D98CA6574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2190"/>
                <a:ext cx="420" cy="480"/>
              </a:xfrm>
              <a:custGeom>
                <a:avLst/>
                <a:gdLst>
                  <a:gd name="T0" fmla="*/ 420 w 420"/>
                  <a:gd name="T1" fmla="*/ 150 h 480"/>
                  <a:gd name="T2" fmla="*/ 120 w 420"/>
                  <a:gd name="T3" fmla="*/ 0 h 480"/>
                  <a:gd name="T4" fmla="*/ 0 w 420"/>
                  <a:gd name="T5" fmla="*/ 120 h 480"/>
                  <a:gd name="T6" fmla="*/ 240 w 420"/>
                  <a:gd name="T7" fmla="*/ 300 h 480"/>
                  <a:gd name="T8" fmla="*/ 120 w 420"/>
                  <a:gd name="T9" fmla="*/ 360 h 480"/>
                  <a:gd name="T10" fmla="*/ 210 w 420"/>
                  <a:gd name="T11" fmla="*/ 48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0" h="480">
                    <a:moveTo>
                      <a:pt x="420" y="150"/>
                    </a:moveTo>
                    <a:lnTo>
                      <a:pt x="120" y="0"/>
                    </a:lnTo>
                    <a:lnTo>
                      <a:pt x="0" y="120"/>
                    </a:lnTo>
                    <a:lnTo>
                      <a:pt x="240" y="300"/>
                    </a:lnTo>
                    <a:lnTo>
                      <a:pt x="120" y="360"/>
                    </a:lnTo>
                    <a:lnTo>
                      <a:pt x="210" y="4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2" name="Freeform 2518">
                <a:extLst>
                  <a:ext uri="{FF2B5EF4-FFF2-40B4-BE49-F238E27FC236}">
                    <a16:creationId xmlns:a16="http://schemas.microsoft.com/office/drawing/2014/main" xmlns="" id="{9FB56C63-D9E4-46DD-9B87-CE25D56AC7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1620"/>
                <a:ext cx="420" cy="690"/>
              </a:xfrm>
              <a:custGeom>
                <a:avLst/>
                <a:gdLst>
                  <a:gd name="T0" fmla="*/ 240 w 420"/>
                  <a:gd name="T1" fmla="*/ 690 h 690"/>
                  <a:gd name="T2" fmla="*/ 210 w 420"/>
                  <a:gd name="T3" fmla="*/ 540 h 690"/>
                  <a:gd name="T4" fmla="*/ 150 w 420"/>
                  <a:gd name="T5" fmla="*/ 270 h 690"/>
                  <a:gd name="T6" fmla="*/ 60 w 420"/>
                  <a:gd name="T7" fmla="*/ 0 h 690"/>
                  <a:gd name="T8" fmla="*/ 0 w 420"/>
                  <a:gd name="T9" fmla="*/ 180 h 690"/>
                  <a:gd name="T10" fmla="*/ 150 w 420"/>
                  <a:gd name="T11" fmla="*/ 270 h 690"/>
                  <a:gd name="T12" fmla="*/ 330 w 420"/>
                  <a:gd name="T13" fmla="*/ 390 h 690"/>
                  <a:gd name="T14" fmla="*/ 270 w 420"/>
                  <a:gd name="T15" fmla="*/ 180 h 690"/>
                  <a:gd name="T16" fmla="*/ 420 w 420"/>
                  <a:gd name="T17" fmla="*/ 300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690">
                    <a:moveTo>
                      <a:pt x="240" y="690"/>
                    </a:moveTo>
                    <a:lnTo>
                      <a:pt x="210" y="540"/>
                    </a:lnTo>
                    <a:lnTo>
                      <a:pt x="150" y="270"/>
                    </a:lnTo>
                    <a:lnTo>
                      <a:pt x="60" y="0"/>
                    </a:lnTo>
                    <a:lnTo>
                      <a:pt x="0" y="180"/>
                    </a:lnTo>
                    <a:lnTo>
                      <a:pt x="150" y="270"/>
                    </a:lnTo>
                    <a:lnTo>
                      <a:pt x="330" y="390"/>
                    </a:lnTo>
                    <a:lnTo>
                      <a:pt x="270" y="180"/>
                    </a:lnTo>
                    <a:lnTo>
                      <a:pt x="42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3" name="Freeform 2519">
                <a:extLst>
                  <a:ext uri="{FF2B5EF4-FFF2-40B4-BE49-F238E27FC236}">
                    <a16:creationId xmlns:a16="http://schemas.microsoft.com/office/drawing/2014/main" xmlns="" id="{73AE36A4-255C-4CB2-A16A-D7F6D66F25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6" y="2010"/>
                <a:ext cx="420" cy="180"/>
              </a:xfrm>
              <a:custGeom>
                <a:avLst/>
                <a:gdLst>
                  <a:gd name="T0" fmla="*/ 210 w 420"/>
                  <a:gd name="T1" fmla="*/ 150 h 180"/>
                  <a:gd name="T2" fmla="*/ 0 w 420"/>
                  <a:gd name="T3" fmla="*/ 0 h 180"/>
                  <a:gd name="T4" fmla="*/ 30 w 420"/>
                  <a:gd name="T5" fmla="*/ 180 h 180"/>
                  <a:gd name="T6" fmla="*/ 243 w 420"/>
                  <a:gd name="T7" fmla="*/ 3 h 180"/>
                  <a:gd name="T8" fmla="*/ 390 w 420"/>
                  <a:gd name="T9" fmla="*/ 120 h 180"/>
                  <a:gd name="T10" fmla="*/ 420 w 420"/>
                  <a:gd name="T11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0" h="180">
                    <a:moveTo>
                      <a:pt x="210" y="150"/>
                    </a:moveTo>
                    <a:lnTo>
                      <a:pt x="0" y="0"/>
                    </a:lnTo>
                    <a:lnTo>
                      <a:pt x="30" y="180"/>
                    </a:lnTo>
                    <a:lnTo>
                      <a:pt x="243" y="3"/>
                    </a:lnTo>
                    <a:lnTo>
                      <a:pt x="390" y="120"/>
                    </a:lnTo>
                    <a:lnTo>
                      <a:pt x="42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4" name="Line 2520">
                <a:extLst>
                  <a:ext uri="{FF2B5EF4-FFF2-40B4-BE49-F238E27FC236}">
                    <a16:creationId xmlns:a16="http://schemas.microsoft.com/office/drawing/2014/main" xmlns="" id="{E5B4D081-5695-42F0-A693-348E99AE85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96" y="2190"/>
                <a:ext cx="0" cy="3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5" name="Line 2521">
                <a:extLst>
                  <a:ext uri="{FF2B5EF4-FFF2-40B4-BE49-F238E27FC236}">
                    <a16:creationId xmlns:a16="http://schemas.microsoft.com/office/drawing/2014/main" xmlns="" id="{50812251-8DEB-4CE0-ABA3-E8D87C98FC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426" y="2310"/>
                <a:ext cx="39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6" name="Freeform 2522">
                <a:extLst>
                  <a:ext uri="{FF2B5EF4-FFF2-40B4-BE49-F238E27FC236}">
                    <a16:creationId xmlns:a16="http://schemas.microsoft.com/office/drawing/2014/main" xmlns="" id="{AA7D0AB9-D00C-42F0-AE43-0B550CDB3E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950"/>
                <a:ext cx="180" cy="360"/>
              </a:xfrm>
              <a:custGeom>
                <a:avLst/>
                <a:gdLst>
                  <a:gd name="T0" fmla="*/ 180 w 180"/>
                  <a:gd name="T1" fmla="*/ 240 h 360"/>
                  <a:gd name="T2" fmla="*/ 0 w 180"/>
                  <a:gd name="T3" fmla="*/ 210 h 360"/>
                  <a:gd name="T4" fmla="*/ 60 w 180"/>
                  <a:gd name="T5" fmla="*/ 360 h 360"/>
                  <a:gd name="T6" fmla="*/ 180 w 180"/>
                  <a:gd name="T7" fmla="*/ 90 h 360"/>
                  <a:gd name="T8" fmla="*/ 90 w 180"/>
                  <a:gd name="T9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360">
                    <a:moveTo>
                      <a:pt x="180" y="240"/>
                    </a:moveTo>
                    <a:lnTo>
                      <a:pt x="0" y="210"/>
                    </a:lnTo>
                    <a:lnTo>
                      <a:pt x="60" y="360"/>
                    </a:lnTo>
                    <a:lnTo>
                      <a:pt x="180" y="90"/>
                    </a:lnTo>
                    <a:lnTo>
                      <a:pt x="9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7" name="Line 2523">
                <a:extLst>
                  <a:ext uri="{FF2B5EF4-FFF2-40B4-BE49-F238E27FC236}">
                    <a16:creationId xmlns:a16="http://schemas.microsoft.com/office/drawing/2014/main" xmlns="" id="{7591C5F4-B8AD-421B-831B-D541A40C7C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276" y="2040"/>
                <a:ext cx="18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8" name="Freeform 2524">
                <a:extLst>
                  <a:ext uri="{FF2B5EF4-FFF2-40B4-BE49-F238E27FC236}">
                    <a16:creationId xmlns:a16="http://schemas.microsoft.com/office/drawing/2014/main" xmlns="" id="{27A4D439-994B-458E-9DC6-DC7FC2C7A1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6" y="1260"/>
                <a:ext cx="180" cy="330"/>
              </a:xfrm>
              <a:custGeom>
                <a:avLst/>
                <a:gdLst>
                  <a:gd name="T0" fmla="*/ 60 w 180"/>
                  <a:gd name="T1" fmla="*/ 0 h 330"/>
                  <a:gd name="T2" fmla="*/ 180 w 180"/>
                  <a:gd name="T3" fmla="*/ 30 h 330"/>
                  <a:gd name="T4" fmla="*/ 0 w 180"/>
                  <a:gd name="T5" fmla="*/ 120 h 330"/>
                  <a:gd name="T6" fmla="*/ 180 w 180"/>
                  <a:gd name="T7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60" y="0"/>
                    </a:moveTo>
                    <a:lnTo>
                      <a:pt x="180" y="30"/>
                    </a:lnTo>
                    <a:lnTo>
                      <a:pt x="0" y="120"/>
                    </a:lnTo>
                    <a:lnTo>
                      <a:pt x="18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9" name="Freeform 2525">
                <a:extLst>
                  <a:ext uri="{FF2B5EF4-FFF2-40B4-BE49-F238E27FC236}">
                    <a16:creationId xmlns:a16="http://schemas.microsoft.com/office/drawing/2014/main" xmlns="" id="{2551C0F4-F76C-4A95-B9CF-41266C6ABE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1530"/>
                <a:ext cx="180" cy="150"/>
              </a:xfrm>
              <a:custGeom>
                <a:avLst/>
                <a:gdLst>
                  <a:gd name="T0" fmla="*/ 60 w 180"/>
                  <a:gd name="T1" fmla="*/ 0 h 150"/>
                  <a:gd name="T2" fmla="*/ 180 w 180"/>
                  <a:gd name="T3" fmla="*/ 150 h 150"/>
                  <a:gd name="T4" fmla="*/ 0 w 180"/>
                  <a:gd name="T5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60" y="0"/>
                    </a:moveTo>
                    <a:lnTo>
                      <a:pt x="180" y="150"/>
                    </a:lnTo>
                    <a:lnTo>
                      <a:pt x="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0" name="Freeform 2526">
                <a:extLst>
                  <a:ext uri="{FF2B5EF4-FFF2-40B4-BE49-F238E27FC236}">
                    <a16:creationId xmlns:a16="http://schemas.microsoft.com/office/drawing/2014/main" xmlns="" id="{EE619A26-280C-4FF7-B984-8DFB540B04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110"/>
                <a:ext cx="690" cy="300"/>
              </a:xfrm>
              <a:custGeom>
                <a:avLst/>
                <a:gdLst>
                  <a:gd name="T0" fmla="*/ 330 w 690"/>
                  <a:gd name="T1" fmla="*/ 270 h 300"/>
                  <a:gd name="T2" fmla="*/ 240 w 690"/>
                  <a:gd name="T3" fmla="*/ 150 h 300"/>
                  <a:gd name="T4" fmla="*/ 180 w 690"/>
                  <a:gd name="T5" fmla="*/ 300 h 300"/>
                  <a:gd name="T6" fmla="*/ 0 w 690"/>
                  <a:gd name="T7" fmla="*/ 210 h 300"/>
                  <a:gd name="T8" fmla="*/ 60 w 690"/>
                  <a:gd name="T9" fmla="*/ 90 h 300"/>
                  <a:gd name="T10" fmla="*/ 240 w 690"/>
                  <a:gd name="T11" fmla="*/ 150 h 300"/>
                  <a:gd name="T12" fmla="*/ 360 w 690"/>
                  <a:gd name="T13" fmla="*/ 30 h 300"/>
                  <a:gd name="T14" fmla="*/ 390 w 690"/>
                  <a:gd name="T15" fmla="*/ 150 h 300"/>
                  <a:gd name="T16" fmla="*/ 480 w 690"/>
                  <a:gd name="T17" fmla="*/ 30 h 300"/>
                  <a:gd name="T18" fmla="*/ 690 w 690"/>
                  <a:gd name="T19" fmla="*/ 120 h 300"/>
                  <a:gd name="T20" fmla="*/ 600 w 690"/>
                  <a:gd name="T21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0" h="300">
                    <a:moveTo>
                      <a:pt x="330" y="270"/>
                    </a:moveTo>
                    <a:lnTo>
                      <a:pt x="240" y="150"/>
                    </a:lnTo>
                    <a:lnTo>
                      <a:pt x="180" y="300"/>
                    </a:lnTo>
                    <a:lnTo>
                      <a:pt x="0" y="210"/>
                    </a:lnTo>
                    <a:lnTo>
                      <a:pt x="60" y="90"/>
                    </a:lnTo>
                    <a:lnTo>
                      <a:pt x="240" y="150"/>
                    </a:lnTo>
                    <a:lnTo>
                      <a:pt x="360" y="30"/>
                    </a:lnTo>
                    <a:lnTo>
                      <a:pt x="390" y="150"/>
                    </a:lnTo>
                    <a:lnTo>
                      <a:pt x="480" y="30"/>
                    </a:lnTo>
                    <a:lnTo>
                      <a:pt x="690" y="120"/>
                    </a:lnTo>
                    <a:lnTo>
                      <a:pt x="60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1" name="Freeform 2527">
                <a:extLst>
                  <a:ext uri="{FF2B5EF4-FFF2-40B4-BE49-F238E27FC236}">
                    <a16:creationId xmlns:a16="http://schemas.microsoft.com/office/drawing/2014/main" xmlns="" id="{5C263F90-24AE-412F-A6EA-E33349C27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600"/>
                <a:ext cx="480" cy="600"/>
              </a:xfrm>
              <a:custGeom>
                <a:avLst/>
                <a:gdLst>
                  <a:gd name="T0" fmla="*/ 60 w 480"/>
                  <a:gd name="T1" fmla="*/ 480 h 600"/>
                  <a:gd name="T2" fmla="*/ 180 w 480"/>
                  <a:gd name="T3" fmla="*/ 540 h 600"/>
                  <a:gd name="T4" fmla="*/ 300 w 480"/>
                  <a:gd name="T5" fmla="*/ 420 h 600"/>
                  <a:gd name="T6" fmla="*/ 330 w 480"/>
                  <a:gd name="T7" fmla="*/ 180 h 600"/>
                  <a:gd name="T8" fmla="*/ 390 w 480"/>
                  <a:gd name="T9" fmla="*/ 300 h 600"/>
                  <a:gd name="T10" fmla="*/ 480 w 480"/>
                  <a:gd name="T11" fmla="*/ 210 h 600"/>
                  <a:gd name="T12" fmla="*/ 420 w 480"/>
                  <a:gd name="T13" fmla="*/ 60 h 600"/>
                  <a:gd name="T14" fmla="*/ 300 w 480"/>
                  <a:gd name="T15" fmla="*/ 60 h 600"/>
                  <a:gd name="T16" fmla="*/ 210 w 480"/>
                  <a:gd name="T17" fmla="*/ 0 h 600"/>
                  <a:gd name="T18" fmla="*/ 150 w 480"/>
                  <a:gd name="T19" fmla="*/ 90 h 600"/>
                  <a:gd name="T20" fmla="*/ 180 w 480"/>
                  <a:gd name="T21" fmla="*/ 270 h 600"/>
                  <a:gd name="T22" fmla="*/ 30 w 480"/>
                  <a:gd name="T23" fmla="*/ 150 h 600"/>
                  <a:gd name="T24" fmla="*/ 0 w 480"/>
                  <a:gd name="T25" fmla="*/ 300 h 600"/>
                  <a:gd name="T26" fmla="*/ 120 w 480"/>
                  <a:gd name="T27" fmla="*/ 390 h 600"/>
                  <a:gd name="T28" fmla="*/ 60 w 480"/>
                  <a:gd name="T29" fmla="*/ 480 h 600"/>
                  <a:gd name="T30" fmla="*/ 60 w 480"/>
                  <a:gd name="T31" fmla="*/ 60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0" h="600">
                    <a:moveTo>
                      <a:pt x="60" y="480"/>
                    </a:moveTo>
                    <a:lnTo>
                      <a:pt x="180" y="540"/>
                    </a:lnTo>
                    <a:lnTo>
                      <a:pt x="300" y="420"/>
                    </a:lnTo>
                    <a:lnTo>
                      <a:pt x="330" y="180"/>
                    </a:lnTo>
                    <a:lnTo>
                      <a:pt x="390" y="300"/>
                    </a:lnTo>
                    <a:lnTo>
                      <a:pt x="480" y="210"/>
                    </a:lnTo>
                    <a:lnTo>
                      <a:pt x="420" y="60"/>
                    </a:lnTo>
                    <a:lnTo>
                      <a:pt x="300" y="60"/>
                    </a:lnTo>
                    <a:lnTo>
                      <a:pt x="210" y="0"/>
                    </a:lnTo>
                    <a:lnTo>
                      <a:pt x="150" y="90"/>
                    </a:lnTo>
                    <a:lnTo>
                      <a:pt x="180" y="270"/>
                    </a:lnTo>
                    <a:lnTo>
                      <a:pt x="30" y="150"/>
                    </a:lnTo>
                    <a:lnTo>
                      <a:pt x="0" y="300"/>
                    </a:lnTo>
                    <a:lnTo>
                      <a:pt x="120" y="390"/>
                    </a:lnTo>
                    <a:lnTo>
                      <a:pt x="60" y="480"/>
                    </a:lnTo>
                    <a:lnTo>
                      <a:pt x="60" y="6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2" name="Freeform 2528">
                <a:extLst>
                  <a:ext uri="{FF2B5EF4-FFF2-40B4-BE49-F238E27FC236}">
                    <a16:creationId xmlns:a16="http://schemas.microsoft.com/office/drawing/2014/main" xmlns="" id="{FF0B244D-65A4-4C70-BD4C-A32340960E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450"/>
                <a:ext cx="90" cy="240"/>
              </a:xfrm>
              <a:custGeom>
                <a:avLst/>
                <a:gdLst>
                  <a:gd name="T0" fmla="*/ 0 w 90"/>
                  <a:gd name="T1" fmla="*/ 120 h 240"/>
                  <a:gd name="T2" fmla="*/ 90 w 90"/>
                  <a:gd name="T3" fmla="*/ 240 h 240"/>
                  <a:gd name="T4" fmla="*/ 60 w 90"/>
                  <a:gd name="T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240">
                    <a:moveTo>
                      <a:pt x="0" y="120"/>
                    </a:moveTo>
                    <a:lnTo>
                      <a:pt x="90" y="240"/>
                    </a:lnTo>
                    <a:lnTo>
                      <a:pt x="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3" name="Freeform 2529">
                <a:extLst>
                  <a:ext uri="{FF2B5EF4-FFF2-40B4-BE49-F238E27FC236}">
                    <a16:creationId xmlns:a16="http://schemas.microsoft.com/office/drawing/2014/main" xmlns="" id="{8F01F2FD-3C9F-440E-9685-D0C6DB0694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6" y="690"/>
                <a:ext cx="180" cy="330"/>
              </a:xfrm>
              <a:custGeom>
                <a:avLst/>
                <a:gdLst>
                  <a:gd name="T0" fmla="*/ 180 w 180"/>
                  <a:gd name="T1" fmla="*/ 90 h 330"/>
                  <a:gd name="T2" fmla="*/ 30 w 180"/>
                  <a:gd name="T3" fmla="*/ 180 h 330"/>
                  <a:gd name="T4" fmla="*/ 150 w 180"/>
                  <a:gd name="T5" fmla="*/ 330 h 330"/>
                  <a:gd name="T6" fmla="*/ 0 w 180"/>
                  <a:gd name="T7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180" y="90"/>
                    </a:moveTo>
                    <a:lnTo>
                      <a:pt x="30" y="180"/>
                    </a:lnTo>
                    <a:lnTo>
                      <a:pt x="150" y="3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4" name="Freeform 2530">
                <a:extLst>
                  <a:ext uri="{FF2B5EF4-FFF2-40B4-BE49-F238E27FC236}">
                    <a16:creationId xmlns:a16="http://schemas.microsoft.com/office/drawing/2014/main" xmlns="" id="{9CAB8637-F947-484C-9CE4-A69DAF5B9A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900"/>
                <a:ext cx="210" cy="240"/>
              </a:xfrm>
              <a:custGeom>
                <a:avLst/>
                <a:gdLst>
                  <a:gd name="T0" fmla="*/ 90 w 210"/>
                  <a:gd name="T1" fmla="*/ 0 h 240"/>
                  <a:gd name="T2" fmla="*/ 60 w 210"/>
                  <a:gd name="T3" fmla="*/ 240 h 240"/>
                  <a:gd name="T4" fmla="*/ 0 w 210"/>
                  <a:gd name="T5" fmla="*/ 120 h 240"/>
                  <a:gd name="T6" fmla="*/ 180 w 210"/>
                  <a:gd name="T7" fmla="*/ 240 h 240"/>
                  <a:gd name="T8" fmla="*/ 210 w 210"/>
                  <a:gd name="T9" fmla="*/ 60 h 240"/>
                  <a:gd name="T10" fmla="*/ 90 w 210"/>
                  <a:gd name="T11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0" h="240">
                    <a:moveTo>
                      <a:pt x="90" y="0"/>
                    </a:moveTo>
                    <a:lnTo>
                      <a:pt x="60" y="240"/>
                    </a:lnTo>
                    <a:lnTo>
                      <a:pt x="0" y="120"/>
                    </a:lnTo>
                    <a:lnTo>
                      <a:pt x="180" y="240"/>
                    </a:lnTo>
                    <a:lnTo>
                      <a:pt x="210" y="60"/>
                    </a:lnTo>
                    <a:lnTo>
                      <a:pt x="9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5" name="Line 2531">
                <a:extLst>
                  <a:ext uri="{FF2B5EF4-FFF2-40B4-BE49-F238E27FC236}">
                    <a16:creationId xmlns:a16="http://schemas.microsoft.com/office/drawing/2014/main" xmlns="" id="{F21CF6CD-43EC-4F1B-8E2C-90589B00941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576" y="960"/>
                <a:ext cx="21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6" name="Freeform 2532">
                <a:extLst>
                  <a:ext uri="{FF2B5EF4-FFF2-40B4-BE49-F238E27FC236}">
                    <a16:creationId xmlns:a16="http://schemas.microsoft.com/office/drawing/2014/main" xmlns="" id="{C0ED3A2E-8202-4322-A61F-456C73DBFA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990"/>
                <a:ext cx="360" cy="330"/>
              </a:xfrm>
              <a:custGeom>
                <a:avLst/>
                <a:gdLst>
                  <a:gd name="T0" fmla="*/ 120 w 360"/>
                  <a:gd name="T1" fmla="*/ 0 h 330"/>
                  <a:gd name="T2" fmla="*/ 360 w 360"/>
                  <a:gd name="T3" fmla="*/ 150 h 330"/>
                  <a:gd name="T4" fmla="*/ 180 w 360"/>
                  <a:gd name="T5" fmla="*/ 150 h 330"/>
                  <a:gd name="T6" fmla="*/ 240 w 360"/>
                  <a:gd name="T7" fmla="*/ 270 h 330"/>
                  <a:gd name="T8" fmla="*/ 0 w 360"/>
                  <a:gd name="T9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0" h="330">
                    <a:moveTo>
                      <a:pt x="120" y="0"/>
                    </a:moveTo>
                    <a:lnTo>
                      <a:pt x="360" y="150"/>
                    </a:lnTo>
                    <a:lnTo>
                      <a:pt x="180" y="150"/>
                    </a:lnTo>
                    <a:lnTo>
                      <a:pt x="240" y="270"/>
                    </a:lnTo>
                    <a:lnTo>
                      <a:pt x="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7" name="Line 2533">
                <a:extLst>
                  <a:ext uri="{FF2B5EF4-FFF2-40B4-BE49-F238E27FC236}">
                    <a16:creationId xmlns:a16="http://schemas.microsoft.com/office/drawing/2014/main" xmlns="" id="{DB46801C-0795-4C29-9A5F-A9CAFA505F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336" y="1140"/>
                <a:ext cx="120" cy="3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8" name="Freeform 2534">
                <a:extLst>
                  <a:ext uri="{FF2B5EF4-FFF2-40B4-BE49-F238E27FC236}">
                    <a16:creationId xmlns:a16="http://schemas.microsoft.com/office/drawing/2014/main" xmlns="" id="{714714E9-AF56-44A3-8CBD-B99D263240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1290"/>
                <a:ext cx="450" cy="600"/>
              </a:xfrm>
              <a:custGeom>
                <a:avLst/>
                <a:gdLst>
                  <a:gd name="T0" fmla="*/ 270 w 450"/>
                  <a:gd name="T1" fmla="*/ 510 h 600"/>
                  <a:gd name="T2" fmla="*/ 150 w 450"/>
                  <a:gd name="T3" fmla="*/ 600 h 600"/>
                  <a:gd name="T4" fmla="*/ 270 w 450"/>
                  <a:gd name="T5" fmla="*/ 90 h 600"/>
                  <a:gd name="T6" fmla="*/ 60 w 450"/>
                  <a:gd name="T7" fmla="*/ 330 h 600"/>
                  <a:gd name="T8" fmla="*/ 0 w 450"/>
                  <a:gd name="T9" fmla="*/ 210 h 600"/>
                  <a:gd name="T10" fmla="*/ 120 w 450"/>
                  <a:gd name="T11" fmla="*/ 120 h 600"/>
                  <a:gd name="T12" fmla="*/ 240 w 450"/>
                  <a:gd name="T13" fmla="*/ 390 h 600"/>
                  <a:gd name="T14" fmla="*/ 300 w 450"/>
                  <a:gd name="T15" fmla="*/ 240 h 600"/>
                  <a:gd name="T16" fmla="*/ 450 w 450"/>
                  <a:gd name="T17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0" h="600">
                    <a:moveTo>
                      <a:pt x="270" y="510"/>
                    </a:moveTo>
                    <a:lnTo>
                      <a:pt x="150" y="600"/>
                    </a:lnTo>
                    <a:lnTo>
                      <a:pt x="270" y="90"/>
                    </a:lnTo>
                    <a:lnTo>
                      <a:pt x="60" y="330"/>
                    </a:lnTo>
                    <a:lnTo>
                      <a:pt x="0" y="210"/>
                    </a:lnTo>
                    <a:lnTo>
                      <a:pt x="120" y="120"/>
                    </a:lnTo>
                    <a:lnTo>
                      <a:pt x="240" y="390"/>
                    </a:lnTo>
                    <a:lnTo>
                      <a:pt x="300" y="240"/>
                    </a:lnTo>
                    <a:lnTo>
                      <a:pt x="4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9" name="Freeform 2535">
                <a:extLst>
                  <a:ext uri="{FF2B5EF4-FFF2-40B4-BE49-F238E27FC236}">
                    <a16:creationId xmlns:a16="http://schemas.microsoft.com/office/drawing/2014/main" xmlns="" id="{1B0B2ADD-3F99-4240-9E4A-B6B8396717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60"/>
                <a:ext cx="390" cy="540"/>
              </a:xfrm>
              <a:custGeom>
                <a:avLst/>
                <a:gdLst>
                  <a:gd name="T0" fmla="*/ 90 w 390"/>
                  <a:gd name="T1" fmla="*/ 210 h 540"/>
                  <a:gd name="T2" fmla="*/ 270 w 390"/>
                  <a:gd name="T3" fmla="*/ 0 h 540"/>
                  <a:gd name="T4" fmla="*/ 390 w 390"/>
                  <a:gd name="T5" fmla="*/ 90 h 540"/>
                  <a:gd name="T6" fmla="*/ 360 w 390"/>
                  <a:gd name="T7" fmla="*/ 240 h 540"/>
                  <a:gd name="T8" fmla="*/ 270 w 390"/>
                  <a:gd name="T9" fmla="*/ 210 h 540"/>
                  <a:gd name="T10" fmla="*/ 60 w 390"/>
                  <a:gd name="T11" fmla="*/ 360 h 540"/>
                  <a:gd name="T12" fmla="*/ 90 w 390"/>
                  <a:gd name="T13" fmla="*/ 210 h 540"/>
                  <a:gd name="T14" fmla="*/ 240 w 390"/>
                  <a:gd name="T15" fmla="*/ 300 h 540"/>
                  <a:gd name="T16" fmla="*/ 0 w 390"/>
                  <a:gd name="T17" fmla="*/ 54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0" h="540">
                    <a:moveTo>
                      <a:pt x="90" y="210"/>
                    </a:moveTo>
                    <a:lnTo>
                      <a:pt x="270" y="0"/>
                    </a:lnTo>
                    <a:lnTo>
                      <a:pt x="390" y="90"/>
                    </a:lnTo>
                    <a:lnTo>
                      <a:pt x="360" y="240"/>
                    </a:lnTo>
                    <a:lnTo>
                      <a:pt x="270" y="210"/>
                    </a:lnTo>
                    <a:lnTo>
                      <a:pt x="60" y="360"/>
                    </a:lnTo>
                    <a:lnTo>
                      <a:pt x="90" y="210"/>
                    </a:lnTo>
                    <a:lnTo>
                      <a:pt x="240" y="300"/>
                    </a:lnTo>
                    <a:lnTo>
                      <a:pt x="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0" name="Line 2536">
                <a:extLst>
                  <a:ext uri="{FF2B5EF4-FFF2-40B4-BE49-F238E27FC236}">
                    <a16:creationId xmlns:a16="http://schemas.microsoft.com/office/drawing/2014/main" xmlns="" id="{AAB5C264-5DBC-45FC-95D4-CEFC7DFF72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76" y="120"/>
                <a:ext cx="6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1" name="Freeform 2537">
                <a:extLst>
                  <a:ext uri="{FF2B5EF4-FFF2-40B4-BE49-F238E27FC236}">
                    <a16:creationId xmlns:a16="http://schemas.microsoft.com/office/drawing/2014/main" xmlns="" id="{0C96F257-B85D-457A-8197-0A8056A30E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420"/>
                <a:ext cx="300" cy="570"/>
              </a:xfrm>
              <a:custGeom>
                <a:avLst/>
                <a:gdLst>
                  <a:gd name="T0" fmla="*/ 90 w 300"/>
                  <a:gd name="T1" fmla="*/ 30 h 570"/>
                  <a:gd name="T2" fmla="*/ 240 w 300"/>
                  <a:gd name="T3" fmla="*/ 0 h 570"/>
                  <a:gd name="T4" fmla="*/ 180 w 300"/>
                  <a:gd name="T5" fmla="*/ 180 h 570"/>
                  <a:gd name="T6" fmla="*/ 90 w 300"/>
                  <a:gd name="T7" fmla="*/ 30 h 570"/>
                  <a:gd name="T8" fmla="*/ 30 w 300"/>
                  <a:gd name="T9" fmla="*/ 150 h 570"/>
                  <a:gd name="T10" fmla="*/ 0 w 300"/>
                  <a:gd name="T11" fmla="*/ 330 h 570"/>
                  <a:gd name="T12" fmla="*/ 90 w 300"/>
                  <a:gd name="T13" fmla="*/ 570 h 570"/>
                  <a:gd name="T14" fmla="*/ 150 w 300"/>
                  <a:gd name="T15" fmla="*/ 450 h 570"/>
                  <a:gd name="T16" fmla="*/ 270 w 300"/>
                  <a:gd name="T17" fmla="*/ 240 h 570"/>
                  <a:gd name="T18" fmla="*/ 300 w 300"/>
                  <a:gd name="T19" fmla="*/ 120 h 570"/>
                  <a:gd name="T20" fmla="*/ 240 w 300"/>
                  <a:gd name="T21" fmla="*/ 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0" h="570">
                    <a:moveTo>
                      <a:pt x="90" y="30"/>
                    </a:moveTo>
                    <a:lnTo>
                      <a:pt x="240" y="0"/>
                    </a:lnTo>
                    <a:lnTo>
                      <a:pt x="180" y="180"/>
                    </a:lnTo>
                    <a:lnTo>
                      <a:pt x="90" y="30"/>
                    </a:lnTo>
                    <a:lnTo>
                      <a:pt x="30" y="150"/>
                    </a:lnTo>
                    <a:lnTo>
                      <a:pt x="0" y="330"/>
                    </a:lnTo>
                    <a:lnTo>
                      <a:pt x="90" y="570"/>
                    </a:lnTo>
                    <a:lnTo>
                      <a:pt x="150" y="450"/>
                    </a:lnTo>
                    <a:lnTo>
                      <a:pt x="270" y="240"/>
                    </a:lnTo>
                    <a:lnTo>
                      <a:pt x="300" y="120"/>
                    </a:lnTo>
                    <a:lnTo>
                      <a:pt x="24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2" name="Freeform 2538">
                <a:extLst>
                  <a:ext uri="{FF2B5EF4-FFF2-40B4-BE49-F238E27FC236}">
                    <a16:creationId xmlns:a16="http://schemas.microsoft.com/office/drawing/2014/main" xmlns="" id="{BB313841-920E-465D-9A37-3204825B11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300"/>
                <a:ext cx="150" cy="360"/>
              </a:xfrm>
              <a:custGeom>
                <a:avLst/>
                <a:gdLst>
                  <a:gd name="T0" fmla="*/ 0 w 150"/>
                  <a:gd name="T1" fmla="*/ 360 h 360"/>
                  <a:gd name="T2" fmla="*/ 30 w 150"/>
                  <a:gd name="T3" fmla="*/ 180 h 360"/>
                  <a:gd name="T4" fmla="*/ 150 w 150"/>
                  <a:gd name="T5" fmla="*/ 0 h 360"/>
                  <a:gd name="T6" fmla="*/ 30 w 150"/>
                  <a:gd name="T7" fmla="*/ 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0" h="360">
                    <a:moveTo>
                      <a:pt x="0" y="360"/>
                    </a:moveTo>
                    <a:lnTo>
                      <a:pt x="30" y="180"/>
                    </a:lnTo>
                    <a:lnTo>
                      <a:pt x="150" y="0"/>
                    </a:lnTo>
                    <a:lnTo>
                      <a:pt x="3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3" name="Freeform 2539">
                <a:extLst>
                  <a:ext uri="{FF2B5EF4-FFF2-40B4-BE49-F238E27FC236}">
                    <a16:creationId xmlns:a16="http://schemas.microsoft.com/office/drawing/2014/main" xmlns="" id="{5ECCC733-C12B-407E-A7E7-63A60550FB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6" y="60"/>
                <a:ext cx="390" cy="240"/>
              </a:xfrm>
              <a:custGeom>
                <a:avLst/>
                <a:gdLst>
                  <a:gd name="T0" fmla="*/ 390 w 390"/>
                  <a:gd name="T1" fmla="*/ 210 h 240"/>
                  <a:gd name="T2" fmla="*/ 300 w 390"/>
                  <a:gd name="T3" fmla="*/ 0 h 240"/>
                  <a:gd name="T4" fmla="*/ 0 w 390"/>
                  <a:gd name="T5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0" h="240">
                    <a:moveTo>
                      <a:pt x="390" y="210"/>
                    </a:moveTo>
                    <a:lnTo>
                      <a:pt x="300" y="0"/>
                    </a:lnTo>
                    <a:lnTo>
                      <a:pt x="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4" name="Freeform 2540">
                <a:extLst>
                  <a:ext uri="{FF2B5EF4-FFF2-40B4-BE49-F238E27FC236}">
                    <a16:creationId xmlns:a16="http://schemas.microsoft.com/office/drawing/2014/main" xmlns="" id="{08CEE9C2-5569-4626-A54B-2CCBC61F96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2700"/>
                <a:ext cx="480" cy="360"/>
              </a:xfrm>
              <a:custGeom>
                <a:avLst/>
                <a:gdLst>
                  <a:gd name="T0" fmla="*/ 0 w 480"/>
                  <a:gd name="T1" fmla="*/ 300 h 360"/>
                  <a:gd name="T2" fmla="*/ 30 w 480"/>
                  <a:gd name="T3" fmla="*/ 150 h 360"/>
                  <a:gd name="T4" fmla="*/ 180 w 480"/>
                  <a:gd name="T5" fmla="*/ 360 h 360"/>
                  <a:gd name="T6" fmla="*/ 330 w 480"/>
                  <a:gd name="T7" fmla="*/ 300 h 360"/>
                  <a:gd name="T8" fmla="*/ 330 w 480"/>
                  <a:gd name="T9" fmla="*/ 210 h 360"/>
                  <a:gd name="T10" fmla="*/ 150 w 480"/>
                  <a:gd name="T11" fmla="*/ 210 h 360"/>
                  <a:gd name="T12" fmla="*/ 420 w 480"/>
                  <a:gd name="T13" fmla="*/ 120 h 360"/>
                  <a:gd name="T14" fmla="*/ 450 w 480"/>
                  <a:gd name="T15" fmla="*/ 270 h 360"/>
                  <a:gd name="T16" fmla="*/ 480 w 480"/>
                  <a:gd name="T1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0" h="360">
                    <a:moveTo>
                      <a:pt x="0" y="300"/>
                    </a:moveTo>
                    <a:lnTo>
                      <a:pt x="30" y="150"/>
                    </a:lnTo>
                    <a:lnTo>
                      <a:pt x="180" y="360"/>
                    </a:lnTo>
                    <a:lnTo>
                      <a:pt x="330" y="300"/>
                    </a:lnTo>
                    <a:lnTo>
                      <a:pt x="330" y="210"/>
                    </a:lnTo>
                    <a:lnTo>
                      <a:pt x="150" y="210"/>
                    </a:lnTo>
                    <a:lnTo>
                      <a:pt x="420" y="120"/>
                    </a:lnTo>
                    <a:lnTo>
                      <a:pt x="450" y="270"/>
                    </a:lnTo>
                    <a:lnTo>
                      <a:pt x="4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5" name="Freeform 2541">
                <a:extLst>
                  <a:ext uri="{FF2B5EF4-FFF2-40B4-BE49-F238E27FC236}">
                    <a16:creationId xmlns:a16="http://schemas.microsoft.com/office/drawing/2014/main" xmlns="" id="{D4D0D2B2-24DF-4700-8C73-C5CF222F8E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1950"/>
                <a:ext cx="570" cy="1260"/>
              </a:xfrm>
              <a:custGeom>
                <a:avLst/>
                <a:gdLst>
                  <a:gd name="T0" fmla="*/ 540 w 570"/>
                  <a:gd name="T1" fmla="*/ 1200 h 1260"/>
                  <a:gd name="T2" fmla="*/ 300 w 570"/>
                  <a:gd name="T3" fmla="*/ 1260 h 1260"/>
                  <a:gd name="T4" fmla="*/ 210 w 570"/>
                  <a:gd name="T5" fmla="*/ 1170 h 1260"/>
                  <a:gd name="T6" fmla="*/ 90 w 570"/>
                  <a:gd name="T7" fmla="*/ 1140 h 1260"/>
                  <a:gd name="T8" fmla="*/ 0 w 570"/>
                  <a:gd name="T9" fmla="*/ 990 h 1260"/>
                  <a:gd name="T10" fmla="*/ 180 w 570"/>
                  <a:gd name="T11" fmla="*/ 900 h 1260"/>
                  <a:gd name="T12" fmla="*/ 180 w 570"/>
                  <a:gd name="T13" fmla="*/ 720 h 1260"/>
                  <a:gd name="T14" fmla="*/ 300 w 570"/>
                  <a:gd name="T15" fmla="*/ 960 h 1260"/>
                  <a:gd name="T16" fmla="*/ 300 w 570"/>
                  <a:gd name="T17" fmla="*/ 750 h 1260"/>
                  <a:gd name="T18" fmla="*/ 480 w 570"/>
                  <a:gd name="T19" fmla="*/ 570 h 1260"/>
                  <a:gd name="T20" fmla="*/ 270 w 570"/>
                  <a:gd name="T21" fmla="*/ 630 h 1260"/>
                  <a:gd name="T22" fmla="*/ 150 w 570"/>
                  <a:gd name="T23" fmla="*/ 600 h 1260"/>
                  <a:gd name="T24" fmla="*/ 360 w 570"/>
                  <a:gd name="T25" fmla="*/ 450 h 1260"/>
                  <a:gd name="T26" fmla="*/ 240 w 570"/>
                  <a:gd name="T27" fmla="*/ 300 h 1260"/>
                  <a:gd name="T28" fmla="*/ 120 w 570"/>
                  <a:gd name="T29" fmla="*/ 360 h 1260"/>
                  <a:gd name="T30" fmla="*/ 360 w 570"/>
                  <a:gd name="T31" fmla="*/ 0 h 1260"/>
                  <a:gd name="T32" fmla="*/ 450 w 570"/>
                  <a:gd name="T33" fmla="*/ 210 h 1260"/>
                  <a:gd name="T34" fmla="*/ 570 w 570"/>
                  <a:gd name="T35" fmla="*/ 60 h 1260"/>
                  <a:gd name="T36" fmla="*/ 540 w 570"/>
                  <a:gd name="T37" fmla="*/ 420 h 1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0" h="1260">
                    <a:moveTo>
                      <a:pt x="540" y="1200"/>
                    </a:moveTo>
                    <a:lnTo>
                      <a:pt x="300" y="1260"/>
                    </a:lnTo>
                    <a:lnTo>
                      <a:pt x="210" y="1170"/>
                    </a:lnTo>
                    <a:lnTo>
                      <a:pt x="90" y="1140"/>
                    </a:lnTo>
                    <a:lnTo>
                      <a:pt x="0" y="990"/>
                    </a:lnTo>
                    <a:lnTo>
                      <a:pt x="180" y="900"/>
                    </a:lnTo>
                    <a:lnTo>
                      <a:pt x="180" y="720"/>
                    </a:lnTo>
                    <a:lnTo>
                      <a:pt x="300" y="960"/>
                    </a:lnTo>
                    <a:lnTo>
                      <a:pt x="300" y="750"/>
                    </a:lnTo>
                    <a:lnTo>
                      <a:pt x="480" y="570"/>
                    </a:lnTo>
                    <a:lnTo>
                      <a:pt x="270" y="630"/>
                    </a:lnTo>
                    <a:lnTo>
                      <a:pt x="150" y="600"/>
                    </a:lnTo>
                    <a:lnTo>
                      <a:pt x="360" y="450"/>
                    </a:lnTo>
                    <a:lnTo>
                      <a:pt x="240" y="300"/>
                    </a:lnTo>
                    <a:lnTo>
                      <a:pt x="120" y="360"/>
                    </a:lnTo>
                    <a:lnTo>
                      <a:pt x="360" y="0"/>
                    </a:lnTo>
                    <a:lnTo>
                      <a:pt x="450" y="210"/>
                    </a:lnTo>
                    <a:lnTo>
                      <a:pt x="570" y="60"/>
                    </a:lnTo>
                    <a:lnTo>
                      <a:pt x="540" y="4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6" name="Freeform 2542">
                <a:extLst>
                  <a:ext uri="{FF2B5EF4-FFF2-40B4-BE49-F238E27FC236}">
                    <a16:creationId xmlns:a16="http://schemas.microsoft.com/office/drawing/2014/main" xmlns="" id="{6B8DC269-1CE5-4EB4-975A-74C98435B0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1890"/>
                <a:ext cx="869" cy="1320"/>
              </a:xfrm>
              <a:custGeom>
                <a:avLst/>
                <a:gdLst>
                  <a:gd name="T0" fmla="*/ 869 w 869"/>
                  <a:gd name="T1" fmla="*/ 660 h 1320"/>
                  <a:gd name="T2" fmla="*/ 839 w 869"/>
                  <a:gd name="T3" fmla="*/ 300 h 1320"/>
                  <a:gd name="T4" fmla="*/ 809 w 869"/>
                  <a:gd name="T5" fmla="*/ 120 h 1320"/>
                  <a:gd name="T6" fmla="*/ 719 w 869"/>
                  <a:gd name="T7" fmla="*/ 0 h 1320"/>
                  <a:gd name="T8" fmla="*/ 599 w 869"/>
                  <a:gd name="T9" fmla="*/ 60 h 1320"/>
                  <a:gd name="T10" fmla="*/ 599 w 869"/>
                  <a:gd name="T11" fmla="*/ 150 h 1320"/>
                  <a:gd name="T12" fmla="*/ 509 w 869"/>
                  <a:gd name="T13" fmla="*/ 270 h 1320"/>
                  <a:gd name="T14" fmla="*/ 479 w 869"/>
                  <a:gd name="T15" fmla="*/ 360 h 1320"/>
                  <a:gd name="T16" fmla="*/ 599 w 869"/>
                  <a:gd name="T17" fmla="*/ 300 h 1320"/>
                  <a:gd name="T18" fmla="*/ 689 w 869"/>
                  <a:gd name="T19" fmla="*/ 270 h 1320"/>
                  <a:gd name="T20" fmla="*/ 659 w 869"/>
                  <a:gd name="T21" fmla="*/ 420 h 1320"/>
                  <a:gd name="T22" fmla="*/ 779 w 869"/>
                  <a:gd name="T23" fmla="*/ 480 h 1320"/>
                  <a:gd name="T24" fmla="*/ 869 w 869"/>
                  <a:gd name="T25" fmla="*/ 660 h 1320"/>
                  <a:gd name="T26" fmla="*/ 719 w 869"/>
                  <a:gd name="T27" fmla="*/ 630 h 1320"/>
                  <a:gd name="T28" fmla="*/ 599 w 869"/>
                  <a:gd name="T29" fmla="*/ 510 h 1320"/>
                  <a:gd name="T30" fmla="*/ 539 w 869"/>
                  <a:gd name="T31" fmla="*/ 600 h 1320"/>
                  <a:gd name="T32" fmla="*/ 509 w 869"/>
                  <a:gd name="T33" fmla="*/ 690 h 1320"/>
                  <a:gd name="T34" fmla="*/ 539 w 869"/>
                  <a:gd name="T35" fmla="*/ 810 h 1320"/>
                  <a:gd name="T36" fmla="*/ 269 w 869"/>
                  <a:gd name="T37" fmla="*/ 870 h 1320"/>
                  <a:gd name="T38" fmla="*/ 419 w 869"/>
                  <a:gd name="T39" fmla="*/ 960 h 1320"/>
                  <a:gd name="T40" fmla="*/ 539 w 869"/>
                  <a:gd name="T41" fmla="*/ 1020 h 1320"/>
                  <a:gd name="T42" fmla="*/ 599 w 869"/>
                  <a:gd name="T43" fmla="*/ 930 h 1320"/>
                  <a:gd name="T44" fmla="*/ 719 w 869"/>
                  <a:gd name="T45" fmla="*/ 840 h 1320"/>
                  <a:gd name="T46" fmla="*/ 779 w 869"/>
                  <a:gd name="T47" fmla="*/ 750 h 1320"/>
                  <a:gd name="T48" fmla="*/ 869 w 869"/>
                  <a:gd name="T49" fmla="*/ 810 h 1320"/>
                  <a:gd name="T50" fmla="*/ 809 w 869"/>
                  <a:gd name="T51" fmla="*/ 930 h 1320"/>
                  <a:gd name="T52" fmla="*/ 719 w 869"/>
                  <a:gd name="T53" fmla="*/ 1020 h 1320"/>
                  <a:gd name="T54" fmla="*/ 839 w 869"/>
                  <a:gd name="T55" fmla="*/ 1080 h 1320"/>
                  <a:gd name="T56" fmla="*/ 719 w 869"/>
                  <a:gd name="T57" fmla="*/ 1110 h 1320"/>
                  <a:gd name="T58" fmla="*/ 779 w 869"/>
                  <a:gd name="T59" fmla="*/ 1260 h 1320"/>
                  <a:gd name="T60" fmla="*/ 689 w 869"/>
                  <a:gd name="T61" fmla="*/ 1230 h 1320"/>
                  <a:gd name="T62" fmla="*/ 539 w 869"/>
                  <a:gd name="T63" fmla="*/ 1320 h 1320"/>
                  <a:gd name="T64" fmla="*/ 569 w 869"/>
                  <a:gd name="T65" fmla="*/ 1170 h 1320"/>
                  <a:gd name="T66" fmla="*/ 449 w 869"/>
                  <a:gd name="T67" fmla="*/ 1230 h 1320"/>
                  <a:gd name="T68" fmla="*/ 389 w 869"/>
                  <a:gd name="T69" fmla="*/ 1110 h 1320"/>
                  <a:gd name="T70" fmla="*/ 329 w 869"/>
                  <a:gd name="T71" fmla="*/ 1200 h 1320"/>
                  <a:gd name="T72" fmla="*/ 299 w 869"/>
                  <a:gd name="T73" fmla="*/ 960 h 1320"/>
                  <a:gd name="T74" fmla="*/ 239 w 869"/>
                  <a:gd name="T75" fmla="*/ 1050 h 1320"/>
                  <a:gd name="T76" fmla="*/ 269 w 869"/>
                  <a:gd name="T77" fmla="*/ 870 h 1320"/>
                  <a:gd name="T78" fmla="*/ 419 w 869"/>
                  <a:gd name="T79" fmla="*/ 780 h 1320"/>
                  <a:gd name="T80" fmla="*/ 239 w 869"/>
                  <a:gd name="T81" fmla="*/ 690 h 1320"/>
                  <a:gd name="T82" fmla="*/ 269 w 869"/>
                  <a:gd name="T83" fmla="*/ 870 h 1320"/>
                  <a:gd name="T84" fmla="*/ 389 w 869"/>
                  <a:gd name="T85" fmla="*/ 660 h 1320"/>
                  <a:gd name="T86" fmla="*/ 419 w 869"/>
                  <a:gd name="T87" fmla="*/ 540 h 1320"/>
                  <a:gd name="T88" fmla="*/ 359 w 869"/>
                  <a:gd name="T89" fmla="*/ 420 h 1320"/>
                  <a:gd name="T90" fmla="*/ 389 w 869"/>
                  <a:gd name="T91" fmla="*/ 270 h 1320"/>
                  <a:gd name="T92" fmla="*/ 239 w 869"/>
                  <a:gd name="T93" fmla="*/ 150 h 1320"/>
                  <a:gd name="T94" fmla="*/ 150 w 869"/>
                  <a:gd name="T95" fmla="*/ 270 h 1320"/>
                  <a:gd name="T96" fmla="*/ 0 w 869"/>
                  <a:gd name="T97" fmla="*/ 360 h 1320"/>
                  <a:gd name="T98" fmla="*/ 0 w 869"/>
                  <a:gd name="T99" fmla="*/ 510 h 1320"/>
                  <a:gd name="T100" fmla="*/ 120 w 869"/>
                  <a:gd name="T101" fmla="*/ 420 h 1320"/>
                  <a:gd name="T102" fmla="*/ 269 w 869"/>
                  <a:gd name="T103" fmla="*/ 300 h 1320"/>
                  <a:gd name="T104" fmla="*/ 239 w 869"/>
                  <a:gd name="T105" fmla="*/ 150 h 1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69" h="1320">
                    <a:moveTo>
                      <a:pt x="869" y="660"/>
                    </a:moveTo>
                    <a:lnTo>
                      <a:pt x="839" y="300"/>
                    </a:lnTo>
                    <a:lnTo>
                      <a:pt x="809" y="120"/>
                    </a:lnTo>
                    <a:lnTo>
                      <a:pt x="719" y="0"/>
                    </a:lnTo>
                    <a:lnTo>
                      <a:pt x="599" y="60"/>
                    </a:lnTo>
                    <a:lnTo>
                      <a:pt x="599" y="150"/>
                    </a:lnTo>
                    <a:lnTo>
                      <a:pt x="509" y="270"/>
                    </a:lnTo>
                    <a:lnTo>
                      <a:pt x="479" y="360"/>
                    </a:lnTo>
                    <a:lnTo>
                      <a:pt x="599" y="300"/>
                    </a:lnTo>
                    <a:lnTo>
                      <a:pt x="689" y="270"/>
                    </a:lnTo>
                    <a:lnTo>
                      <a:pt x="659" y="420"/>
                    </a:lnTo>
                    <a:lnTo>
                      <a:pt x="779" y="480"/>
                    </a:lnTo>
                    <a:lnTo>
                      <a:pt x="869" y="660"/>
                    </a:lnTo>
                    <a:lnTo>
                      <a:pt x="719" y="630"/>
                    </a:lnTo>
                    <a:lnTo>
                      <a:pt x="599" y="510"/>
                    </a:lnTo>
                    <a:lnTo>
                      <a:pt x="539" y="600"/>
                    </a:lnTo>
                    <a:lnTo>
                      <a:pt x="509" y="690"/>
                    </a:lnTo>
                    <a:lnTo>
                      <a:pt x="539" y="810"/>
                    </a:lnTo>
                    <a:lnTo>
                      <a:pt x="269" y="870"/>
                    </a:lnTo>
                    <a:lnTo>
                      <a:pt x="419" y="960"/>
                    </a:lnTo>
                    <a:lnTo>
                      <a:pt x="539" y="1020"/>
                    </a:lnTo>
                    <a:lnTo>
                      <a:pt x="599" y="930"/>
                    </a:lnTo>
                    <a:lnTo>
                      <a:pt x="719" y="840"/>
                    </a:lnTo>
                    <a:lnTo>
                      <a:pt x="779" y="750"/>
                    </a:lnTo>
                    <a:lnTo>
                      <a:pt x="869" y="810"/>
                    </a:lnTo>
                    <a:lnTo>
                      <a:pt x="809" y="930"/>
                    </a:lnTo>
                    <a:lnTo>
                      <a:pt x="719" y="1020"/>
                    </a:lnTo>
                    <a:lnTo>
                      <a:pt x="839" y="1080"/>
                    </a:lnTo>
                    <a:lnTo>
                      <a:pt x="719" y="1110"/>
                    </a:lnTo>
                    <a:lnTo>
                      <a:pt x="779" y="1260"/>
                    </a:lnTo>
                    <a:lnTo>
                      <a:pt x="689" y="1230"/>
                    </a:lnTo>
                    <a:lnTo>
                      <a:pt x="539" y="1320"/>
                    </a:lnTo>
                    <a:lnTo>
                      <a:pt x="569" y="1170"/>
                    </a:lnTo>
                    <a:lnTo>
                      <a:pt x="449" y="1230"/>
                    </a:lnTo>
                    <a:lnTo>
                      <a:pt x="389" y="1110"/>
                    </a:lnTo>
                    <a:lnTo>
                      <a:pt x="329" y="1200"/>
                    </a:lnTo>
                    <a:lnTo>
                      <a:pt x="299" y="960"/>
                    </a:lnTo>
                    <a:lnTo>
                      <a:pt x="239" y="1050"/>
                    </a:lnTo>
                    <a:lnTo>
                      <a:pt x="269" y="870"/>
                    </a:lnTo>
                    <a:lnTo>
                      <a:pt x="419" y="780"/>
                    </a:lnTo>
                    <a:lnTo>
                      <a:pt x="239" y="690"/>
                    </a:lnTo>
                    <a:lnTo>
                      <a:pt x="269" y="870"/>
                    </a:lnTo>
                    <a:lnTo>
                      <a:pt x="389" y="660"/>
                    </a:lnTo>
                    <a:lnTo>
                      <a:pt x="419" y="540"/>
                    </a:lnTo>
                    <a:lnTo>
                      <a:pt x="359" y="420"/>
                    </a:lnTo>
                    <a:lnTo>
                      <a:pt x="389" y="270"/>
                    </a:lnTo>
                    <a:lnTo>
                      <a:pt x="239" y="150"/>
                    </a:lnTo>
                    <a:lnTo>
                      <a:pt x="150" y="270"/>
                    </a:lnTo>
                    <a:lnTo>
                      <a:pt x="0" y="360"/>
                    </a:lnTo>
                    <a:lnTo>
                      <a:pt x="0" y="510"/>
                    </a:lnTo>
                    <a:lnTo>
                      <a:pt x="120" y="420"/>
                    </a:lnTo>
                    <a:lnTo>
                      <a:pt x="269" y="300"/>
                    </a:lnTo>
                    <a:lnTo>
                      <a:pt x="239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7" name="Freeform 2543">
                <a:extLst>
                  <a:ext uri="{FF2B5EF4-FFF2-40B4-BE49-F238E27FC236}">
                    <a16:creationId xmlns:a16="http://schemas.microsoft.com/office/drawing/2014/main" xmlns="" id="{B430A904-B7BF-47EC-8D1A-509334E976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2250"/>
                <a:ext cx="390" cy="570"/>
              </a:xfrm>
              <a:custGeom>
                <a:avLst/>
                <a:gdLst>
                  <a:gd name="T0" fmla="*/ 120 w 390"/>
                  <a:gd name="T1" fmla="*/ 450 h 570"/>
                  <a:gd name="T2" fmla="*/ 300 w 390"/>
                  <a:gd name="T3" fmla="*/ 480 h 570"/>
                  <a:gd name="T4" fmla="*/ 390 w 390"/>
                  <a:gd name="T5" fmla="*/ 570 h 570"/>
                  <a:gd name="T6" fmla="*/ 180 w 390"/>
                  <a:gd name="T7" fmla="*/ 570 h 570"/>
                  <a:gd name="T8" fmla="*/ 300 w 390"/>
                  <a:gd name="T9" fmla="*/ 270 h 570"/>
                  <a:gd name="T10" fmla="*/ 300 w 390"/>
                  <a:gd name="T11" fmla="*/ 480 h 570"/>
                  <a:gd name="T12" fmla="*/ 120 w 390"/>
                  <a:gd name="T13" fmla="*/ 240 h 570"/>
                  <a:gd name="T14" fmla="*/ 60 w 390"/>
                  <a:gd name="T15" fmla="*/ 0 h 570"/>
                  <a:gd name="T16" fmla="*/ 0 w 390"/>
                  <a:gd name="T17" fmla="*/ 18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0" h="570">
                    <a:moveTo>
                      <a:pt x="120" y="450"/>
                    </a:moveTo>
                    <a:lnTo>
                      <a:pt x="300" y="480"/>
                    </a:lnTo>
                    <a:lnTo>
                      <a:pt x="390" y="570"/>
                    </a:lnTo>
                    <a:lnTo>
                      <a:pt x="180" y="570"/>
                    </a:lnTo>
                    <a:lnTo>
                      <a:pt x="300" y="270"/>
                    </a:lnTo>
                    <a:lnTo>
                      <a:pt x="300" y="480"/>
                    </a:lnTo>
                    <a:lnTo>
                      <a:pt x="120" y="240"/>
                    </a:lnTo>
                    <a:lnTo>
                      <a:pt x="60" y="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8" name="Freeform 2544">
                <a:extLst>
                  <a:ext uri="{FF2B5EF4-FFF2-40B4-BE49-F238E27FC236}">
                    <a16:creationId xmlns:a16="http://schemas.microsoft.com/office/drawing/2014/main" xmlns="" id="{2AAE4913-6F8B-4155-A65C-07C1EE62FC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2850"/>
                <a:ext cx="420" cy="210"/>
              </a:xfrm>
              <a:custGeom>
                <a:avLst/>
                <a:gdLst>
                  <a:gd name="T0" fmla="*/ 0 w 420"/>
                  <a:gd name="T1" fmla="*/ 0 h 210"/>
                  <a:gd name="T2" fmla="*/ 90 w 420"/>
                  <a:gd name="T3" fmla="*/ 150 h 210"/>
                  <a:gd name="T4" fmla="*/ 270 w 420"/>
                  <a:gd name="T5" fmla="*/ 210 h 210"/>
                  <a:gd name="T6" fmla="*/ 420 w 420"/>
                  <a:gd name="T7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0" h="210">
                    <a:moveTo>
                      <a:pt x="0" y="0"/>
                    </a:moveTo>
                    <a:lnTo>
                      <a:pt x="90" y="150"/>
                    </a:lnTo>
                    <a:lnTo>
                      <a:pt x="270" y="210"/>
                    </a:lnTo>
                    <a:lnTo>
                      <a:pt x="42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9" name="Freeform 2545">
                <a:extLst>
                  <a:ext uri="{FF2B5EF4-FFF2-40B4-BE49-F238E27FC236}">
                    <a16:creationId xmlns:a16="http://schemas.microsoft.com/office/drawing/2014/main" xmlns="" id="{C2A020E0-71F3-44D6-8F68-6D76DC3883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" y="2910"/>
                <a:ext cx="180" cy="210"/>
              </a:xfrm>
              <a:custGeom>
                <a:avLst/>
                <a:gdLst>
                  <a:gd name="T0" fmla="*/ 150 w 180"/>
                  <a:gd name="T1" fmla="*/ 210 h 210"/>
                  <a:gd name="T2" fmla="*/ 30 w 180"/>
                  <a:gd name="T3" fmla="*/ 150 h 210"/>
                  <a:gd name="T4" fmla="*/ 0 w 180"/>
                  <a:gd name="T5" fmla="*/ 0 h 210"/>
                  <a:gd name="T6" fmla="*/ 180 w 180"/>
                  <a:gd name="T7" fmla="*/ 9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210">
                    <a:moveTo>
                      <a:pt x="150" y="210"/>
                    </a:moveTo>
                    <a:lnTo>
                      <a:pt x="30" y="150"/>
                    </a:lnTo>
                    <a:lnTo>
                      <a:pt x="0" y="0"/>
                    </a:lnTo>
                    <a:lnTo>
                      <a:pt x="1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0" name="Line 2546">
                <a:extLst>
                  <a:ext uri="{FF2B5EF4-FFF2-40B4-BE49-F238E27FC236}">
                    <a16:creationId xmlns:a16="http://schemas.microsoft.com/office/drawing/2014/main" xmlns="" id="{C2531023-A2AD-4C65-8BCF-D969A4F619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364" y="297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1" name="Freeform 2547">
                <a:extLst>
                  <a:ext uri="{FF2B5EF4-FFF2-40B4-BE49-F238E27FC236}">
                    <a16:creationId xmlns:a16="http://schemas.microsoft.com/office/drawing/2014/main" xmlns="" id="{52A56B3F-DA3A-4948-874B-AD31ABD50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4" y="2160"/>
                <a:ext cx="300" cy="150"/>
              </a:xfrm>
              <a:custGeom>
                <a:avLst/>
                <a:gdLst>
                  <a:gd name="T0" fmla="*/ 0 w 300"/>
                  <a:gd name="T1" fmla="*/ 150 h 150"/>
                  <a:gd name="T2" fmla="*/ 300 w 300"/>
                  <a:gd name="T3" fmla="*/ 150 h 150"/>
                  <a:gd name="T4" fmla="*/ 240 w 300"/>
                  <a:gd name="T5" fmla="*/ 30 h 150"/>
                  <a:gd name="T6" fmla="*/ 150 w 300"/>
                  <a:gd name="T7" fmla="*/ 0 h 150"/>
                  <a:gd name="T8" fmla="*/ 30 w 300"/>
                  <a:gd name="T9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0" h="150">
                    <a:moveTo>
                      <a:pt x="0" y="150"/>
                    </a:moveTo>
                    <a:lnTo>
                      <a:pt x="300" y="150"/>
                    </a:lnTo>
                    <a:lnTo>
                      <a:pt x="240" y="30"/>
                    </a:lnTo>
                    <a:lnTo>
                      <a:pt x="150" y="0"/>
                    </a:lnTo>
                    <a:lnTo>
                      <a:pt x="3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2" name="Freeform 2548">
                <a:extLst>
                  <a:ext uri="{FF2B5EF4-FFF2-40B4-BE49-F238E27FC236}">
                    <a16:creationId xmlns:a16="http://schemas.microsoft.com/office/drawing/2014/main" xmlns="" id="{5706BC9D-3B3A-440D-A52A-A91C691F3F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4" y="510"/>
                <a:ext cx="180" cy="390"/>
              </a:xfrm>
              <a:custGeom>
                <a:avLst/>
                <a:gdLst>
                  <a:gd name="T0" fmla="*/ 0 w 180"/>
                  <a:gd name="T1" fmla="*/ 270 h 390"/>
                  <a:gd name="T2" fmla="*/ 180 w 180"/>
                  <a:gd name="T3" fmla="*/ 390 h 390"/>
                  <a:gd name="T4" fmla="*/ 30 w 180"/>
                  <a:gd name="T5" fmla="*/ 120 h 390"/>
                  <a:gd name="T6" fmla="*/ 150 w 180"/>
                  <a:gd name="T7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90">
                    <a:moveTo>
                      <a:pt x="0" y="270"/>
                    </a:moveTo>
                    <a:lnTo>
                      <a:pt x="180" y="390"/>
                    </a:lnTo>
                    <a:lnTo>
                      <a:pt x="30" y="12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3" name="Freeform 2549">
                <a:extLst>
                  <a:ext uri="{FF2B5EF4-FFF2-40B4-BE49-F238E27FC236}">
                    <a16:creationId xmlns:a16="http://schemas.microsoft.com/office/drawing/2014/main" xmlns="" id="{A5A0BEC1-08F4-4B6F-9D76-61F3707C38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870"/>
                <a:ext cx="300" cy="330"/>
              </a:xfrm>
              <a:custGeom>
                <a:avLst/>
                <a:gdLst>
                  <a:gd name="T0" fmla="*/ 300 w 300"/>
                  <a:gd name="T1" fmla="*/ 0 h 330"/>
                  <a:gd name="T2" fmla="*/ 240 w 300"/>
                  <a:gd name="T3" fmla="*/ 120 h 330"/>
                  <a:gd name="T4" fmla="*/ 180 w 300"/>
                  <a:gd name="T5" fmla="*/ 330 h 330"/>
                  <a:gd name="T6" fmla="*/ 0 w 300"/>
                  <a:gd name="T7" fmla="*/ 27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0" h="330">
                    <a:moveTo>
                      <a:pt x="300" y="0"/>
                    </a:moveTo>
                    <a:lnTo>
                      <a:pt x="240" y="120"/>
                    </a:lnTo>
                    <a:lnTo>
                      <a:pt x="180" y="33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4" name="Freeform 2550">
                <a:extLst>
                  <a:ext uri="{FF2B5EF4-FFF2-40B4-BE49-F238E27FC236}">
                    <a16:creationId xmlns:a16="http://schemas.microsoft.com/office/drawing/2014/main" xmlns="" id="{ABE5A52B-1899-4C2B-A318-E933289585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1050"/>
                <a:ext cx="600" cy="750"/>
              </a:xfrm>
              <a:custGeom>
                <a:avLst/>
                <a:gdLst>
                  <a:gd name="T0" fmla="*/ 600 w 600"/>
                  <a:gd name="T1" fmla="*/ 750 h 750"/>
                  <a:gd name="T2" fmla="*/ 570 w 600"/>
                  <a:gd name="T3" fmla="*/ 630 h 750"/>
                  <a:gd name="T4" fmla="*/ 330 w 600"/>
                  <a:gd name="T5" fmla="*/ 750 h 750"/>
                  <a:gd name="T6" fmla="*/ 270 w 600"/>
                  <a:gd name="T7" fmla="*/ 660 h 750"/>
                  <a:gd name="T8" fmla="*/ 180 w 600"/>
                  <a:gd name="T9" fmla="*/ 540 h 750"/>
                  <a:gd name="T10" fmla="*/ 150 w 600"/>
                  <a:gd name="T11" fmla="*/ 90 h 750"/>
                  <a:gd name="T12" fmla="*/ 0 w 600"/>
                  <a:gd name="T13" fmla="*/ 180 h 750"/>
                  <a:gd name="T14" fmla="*/ 210 w 600"/>
                  <a:gd name="T15" fmla="*/ 300 h 750"/>
                  <a:gd name="T16" fmla="*/ 240 w 600"/>
                  <a:gd name="T17" fmla="*/ 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0" h="750">
                    <a:moveTo>
                      <a:pt x="600" y="750"/>
                    </a:moveTo>
                    <a:lnTo>
                      <a:pt x="570" y="630"/>
                    </a:lnTo>
                    <a:lnTo>
                      <a:pt x="330" y="750"/>
                    </a:lnTo>
                    <a:lnTo>
                      <a:pt x="270" y="660"/>
                    </a:lnTo>
                    <a:lnTo>
                      <a:pt x="180" y="540"/>
                    </a:lnTo>
                    <a:lnTo>
                      <a:pt x="150" y="90"/>
                    </a:lnTo>
                    <a:lnTo>
                      <a:pt x="0" y="180"/>
                    </a:lnTo>
                    <a:lnTo>
                      <a:pt x="210" y="300"/>
                    </a:lnTo>
                    <a:lnTo>
                      <a:pt x="24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5" name="Freeform 2551">
                <a:extLst>
                  <a:ext uri="{FF2B5EF4-FFF2-40B4-BE49-F238E27FC236}">
                    <a16:creationId xmlns:a16="http://schemas.microsoft.com/office/drawing/2014/main" xmlns="" id="{48DB6852-4FBA-4296-9656-84F4C3E291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1530"/>
                <a:ext cx="450" cy="420"/>
              </a:xfrm>
              <a:custGeom>
                <a:avLst/>
                <a:gdLst>
                  <a:gd name="T0" fmla="*/ 270 w 450"/>
                  <a:gd name="T1" fmla="*/ 270 h 420"/>
                  <a:gd name="T2" fmla="*/ 60 w 450"/>
                  <a:gd name="T3" fmla="*/ 270 h 420"/>
                  <a:gd name="T4" fmla="*/ 120 w 450"/>
                  <a:gd name="T5" fmla="*/ 60 h 420"/>
                  <a:gd name="T6" fmla="*/ 0 w 450"/>
                  <a:gd name="T7" fmla="*/ 0 h 420"/>
                  <a:gd name="T8" fmla="*/ 300 w 450"/>
                  <a:gd name="T9" fmla="*/ 420 h 420"/>
                  <a:gd name="T10" fmla="*/ 450 w 450"/>
                  <a:gd name="T11" fmla="*/ 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0" h="420">
                    <a:moveTo>
                      <a:pt x="270" y="270"/>
                    </a:moveTo>
                    <a:lnTo>
                      <a:pt x="60" y="270"/>
                    </a:lnTo>
                    <a:lnTo>
                      <a:pt x="120" y="60"/>
                    </a:lnTo>
                    <a:lnTo>
                      <a:pt x="0" y="0"/>
                    </a:lnTo>
                    <a:lnTo>
                      <a:pt x="300" y="420"/>
                    </a:lnTo>
                    <a:lnTo>
                      <a:pt x="4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6" name="Freeform 2552">
                <a:extLst>
                  <a:ext uri="{FF2B5EF4-FFF2-40B4-BE49-F238E27FC236}">
                    <a16:creationId xmlns:a16="http://schemas.microsoft.com/office/drawing/2014/main" xmlns="" id="{B9CF4336-DE99-4BDB-9B81-8ADC0DD318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1410"/>
                <a:ext cx="210" cy="210"/>
              </a:xfrm>
              <a:custGeom>
                <a:avLst/>
                <a:gdLst>
                  <a:gd name="T0" fmla="*/ 0 w 210"/>
                  <a:gd name="T1" fmla="*/ 180 h 210"/>
                  <a:gd name="T2" fmla="*/ 150 w 210"/>
                  <a:gd name="T3" fmla="*/ 0 h 210"/>
                  <a:gd name="T4" fmla="*/ 210 w 210"/>
                  <a:gd name="T5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210">
                    <a:moveTo>
                      <a:pt x="0" y="180"/>
                    </a:moveTo>
                    <a:lnTo>
                      <a:pt x="150" y="0"/>
                    </a:lnTo>
                    <a:lnTo>
                      <a:pt x="21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7" name="Freeform 2553">
                <a:extLst>
                  <a:ext uri="{FF2B5EF4-FFF2-40B4-BE49-F238E27FC236}">
                    <a16:creationId xmlns:a16="http://schemas.microsoft.com/office/drawing/2014/main" xmlns="" id="{5F97A9D7-E8B0-47FC-B011-316D5DE1C5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1710"/>
                <a:ext cx="90" cy="450"/>
              </a:xfrm>
              <a:custGeom>
                <a:avLst/>
                <a:gdLst>
                  <a:gd name="T0" fmla="*/ 90 w 90"/>
                  <a:gd name="T1" fmla="*/ 0 h 450"/>
                  <a:gd name="T2" fmla="*/ 0 w 90"/>
                  <a:gd name="T3" fmla="*/ 240 h 450"/>
                  <a:gd name="T4" fmla="*/ 90 w 90"/>
                  <a:gd name="T5" fmla="*/ 450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450">
                    <a:moveTo>
                      <a:pt x="90" y="0"/>
                    </a:moveTo>
                    <a:lnTo>
                      <a:pt x="0" y="240"/>
                    </a:lnTo>
                    <a:lnTo>
                      <a:pt x="90" y="4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8" name="Freeform 2554">
                <a:extLst>
                  <a:ext uri="{FF2B5EF4-FFF2-40B4-BE49-F238E27FC236}">
                    <a16:creationId xmlns:a16="http://schemas.microsoft.com/office/drawing/2014/main" xmlns="" id="{6E0CA23C-38E3-4101-A194-3E255EF345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4" y="2190"/>
                <a:ext cx="180" cy="330"/>
              </a:xfrm>
              <a:custGeom>
                <a:avLst/>
                <a:gdLst>
                  <a:gd name="T0" fmla="*/ 120 w 180"/>
                  <a:gd name="T1" fmla="*/ 330 h 330"/>
                  <a:gd name="T2" fmla="*/ 180 w 180"/>
                  <a:gd name="T3" fmla="*/ 180 h 330"/>
                  <a:gd name="T4" fmla="*/ 0 w 180"/>
                  <a:gd name="T5" fmla="*/ 210 h 330"/>
                  <a:gd name="T6" fmla="*/ 0 w 180"/>
                  <a:gd name="T7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120" y="330"/>
                    </a:moveTo>
                    <a:lnTo>
                      <a:pt x="180" y="180"/>
                    </a:lnTo>
                    <a:lnTo>
                      <a:pt x="0" y="21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9" name="Line 2555">
                <a:extLst>
                  <a:ext uri="{FF2B5EF4-FFF2-40B4-BE49-F238E27FC236}">
                    <a16:creationId xmlns:a16="http://schemas.microsoft.com/office/drawing/2014/main" xmlns="" id="{83E8172A-8EB5-4856-8E1E-DD75E6B3B7A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4" y="2670"/>
                <a:ext cx="18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0" name="Freeform 2556">
                <a:extLst>
                  <a:ext uri="{FF2B5EF4-FFF2-40B4-BE49-F238E27FC236}">
                    <a16:creationId xmlns:a16="http://schemas.microsoft.com/office/drawing/2014/main" xmlns="" id="{D75F0709-EB8A-4F08-921C-8EB260D699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2010"/>
                <a:ext cx="180" cy="300"/>
              </a:xfrm>
              <a:custGeom>
                <a:avLst/>
                <a:gdLst>
                  <a:gd name="T0" fmla="*/ 180 w 180"/>
                  <a:gd name="T1" fmla="*/ 180 h 300"/>
                  <a:gd name="T2" fmla="*/ 0 w 180"/>
                  <a:gd name="T3" fmla="*/ 300 h 300"/>
                  <a:gd name="T4" fmla="*/ 150 w 180"/>
                  <a:gd name="T5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300">
                    <a:moveTo>
                      <a:pt x="180" y="180"/>
                    </a:moveTo>
                    <a:lnTo>
                      <a:pt x="0" y="30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1" name="Freeform 2557">
                <a:extLst>
                  <a:ext uri="{FF2B5EF4-FFF2-40B4-BE49-F238E27FC236}">
                    <a16:creationId xmlns:a16="http://schemas.microsoft.com/office/drawing/2014/main" xmlns="" id="{0DD942B7-8612-4626-A79E-667CCB5D56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1140"/>
                <a:ext cx="180" cy="270"/>
              </a:xfrm>
              <a:custGeom>
                <a:avLst/>
                <a:gdLst>
                  <a:gd name="T0" fmla="*/ 0 w 180"/>
                  <a:gd name="T1" fmla="*/ 0 h 270"/>
                  <a:gd name="T2" fmla="*/ 180 w 180"/>
                  <a:gd name="T3" fmla="*/ 270 h 270"/>
                  <a:gd name="T4" fmla="*/ 180 w 180"/>
                  <a:gd name="T5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70">
                    <a:moveTo>
                      <a:pt x="0" y="0"/>
                    </a:moveTo>
                    <a:lnTo>
                      <a:pt x="180" y="270"/>
                    </a:lnTo>
                    <a:lnTo>
                      <a:pt x="18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2" name="Freeform 2558">
                <a:extLst>
                  <a:ext uri="{FF2B5EF4-FFF2-40B4-BE49-F238E27FC236}">
                    <a16:creationId xmlns:a16="http://schemas.microsoft.com/office/drawing/2014/main" xmlns="" id="{89D5D65C-36DF-4F07-B32D-D84737293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60"/>
                <a:ext cx="540" cy="1830"/>
              </a:xfrm>
              <a:custGeom>
                <a:avLst/>
                <a:gdLst>
                  <a:gd name="T0" fmla="*/ 180 w 540"/>
                  <a:gd name="T1" fmla="*/ 990 h 1830"/>
                  <a:gd name="T2" fmla="*/ 330 w 540"/>
                  <a:gd name="T3" fmla="*/ 930 h 1830"/>
                  <a:gd name="T4" fmla="*/ 330 w 540"/>
                  <a:gd name="T5" fmla="*/ 1560 h 1830"/>
                  <a:gd name="T6" fmla="*/ 270 w 540"/>
                  <a:gd name="T7" fmla="*/ 1350 h 1830"/>
                  <a:gd name="T8" fmla="*/ 540 w 540"/>
                  <a:gd name="T9" fmla="*/ 1740 h 1830"/>
                  <a:gd name="T10" fmla="*/ 330 w 540"/>
                  <a:gd name="T11" fmla="*/ 1560 h 1830"/>
                  <a:gd name="T12" fmla="*/ 450 w 540"/>
                  <a:gd name="T13" fmla="*/ 1470 h 1830"/>
                  <a:gd name="T14" fmla="*/ 480 w 540"/>
                  <a:gd name="T15" fmla="*/ 1200 h 1830"/>
                  <a:gd name="T16" fmla="*/ 150 w 540"/>
                  <a:gd name="T17" fmla="*/ 1290 h 1830"/>
                  <a:gd name="T18" fmla="*/ 270 w 540"/>
                  <a:gd name="T19" fmla="*/ 1140 h 1830"/>
                  <a:gd name="T20" fmla="*/ 510 w 540"/>
                  <a:gd name="T21" fmla="*/ 960 h 1830"/>
                  <a:gd name="T22" fmla="*/ 180 w 540"/>
                  <a:gd name="T23" fmla="*/ 990 h 1830"/>
                  <a:gd name="T24" fmla="*/ 390 w 540"/>
                  <a:gd name="T25" fmla="*/ 810 h 1830"/>
                  <a:gd name="T26" fmla="*/ 360 w 540"/>
                  <a:gd name="T27" fmla="*/ 630 h 1830"/>
                  <a:gd name="T28" fmla="*/ 150 w 540"/>
                  <a:gd name="T29" fmla="*/ 630 h 1830"/>
                  <a:gd name="T30" fmla="*/ 270 w 540"/>
                  <a:gd name="T31" fmla="*/ 510 h 1830"/>
                  <a:gd name="T32" fmla="*/ 510 w 540"/>
                  <a:gd name="T33" fmla="*/ 600 h 1830"/>
                  <a:gd name="T34" fmla="*/ 480 w 540"/>
                  <a:gd name="T35" fmla="*/ 360 h 1830"/>
                  <a:gd name="T36" fmla="*/ 240 w 540"/>
                  <a:gd name="T37" fmla="*/ 360 h 1830"/>
                  <a:gd name="T38" fmla="*/ 60 w 540"/>
                  <a:gd name="T39" fmla="*/ 300 h 1830"/>
                  <a:gd name="T40" fmla="*/ 270 w 540"/>
                  <a:gd name="T41" fmla="*/ 210 h 1830"/>
                  <a:gd name="T42" fmla="*/ 90 w 540"/>
                  <a:gd name="T43" fmla="*/ 0 h 1830"/>
                  <a:gd name="T44" fmla="*/ 210 w 540"/>
                  <a:gd name="T45" fmla="*/ 60 h 1830"/>
                  <a:gd name="T46" fmla="*/ 510 w 540"/>
                  <a:gd name="T47" fmla="*/ 210 h 1830"/>
                  <a:gd name="T48" fmla="*/ 390 w 540"/>
                  <a:gd name="T49" fmla="*/ 240 h 1830"/>
                  <a:gd name="T50" fmla="*/ 270 w 540"/>
                  <a:gd name="T51" fmla="*/ 210 h 1830"/>
                  <a:gd name="T52" fmla="*/ 180 w 540"/>
                  <a:gd name="T53" fmla="*/ 240 h 1830"/>
                  <a:gd name="T54" fmla="*/ 60 w 540"/>
                  <a:gd name="T55" fmla="*/ 300 h 1830"/>
                  <a:gd name="T56" fmla="*/ 330 w 540"/>
                  <a:gd name="T57" fmla="*/ 390 h 1830"/>
                  <a:gd name="T58" fmla="*/ 480 w 540"/>
                  <a:gd name="T59" fmla="*/ 360 h 1830"/>
                  <a:gd name="T60" fmla="*/ 360 w 540"/>
                  <a:gd name="T61" fmla="*/ 630 h 1830"/>
                  <a:gd name="T62" fmla="*/ 90 w 540"/>
                  <a:gd name="T63" fmla="*/ 840 h 18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40" h="1830">
                    <a:moveTo>
                      <a:pt x="60" y="960"/>
                    </a:moveTo>
                    <a:lnTo>
                      <a:pt x="180" y="990"/>
                    </a:lnTo>
                    <a:lnTo>
                      <a:pt x="390" y="1080"/>
                    </a:lnTo>
                    <a:lnTo>
                      <a:pt x="330" y="930"/>
                    </a:lnTo>
                    <a:lnTo>
                      <a:pt x="0" y="1320"/>
                    </a:lnTo>
                    <a:lnTo>
                      <a:pt x="330" y="1560"/>
                    </a:lnTo>
                    <a:lnTo>
                      <a:pt x="450" y="1470"/>
                    </a:lnTo>
                    <a:lnTo>
                      <a:pt x="270" y="1350"/>
                    </a:lnTo>
                    <a:lnTo>
                      <a:pt x="210" y="1650"/>
                    </a:lnTo>
                    <a:lnTo>
                      <a:pt x="540" y="1740"/>
                    </a:lnTo>
                    <a:lnTo>
                      <a:pt x="420" y="1830"/>
                    </a:lnTo>
                    <a:lnTo>
                      <a:pt x="330" y="1560"/>
                    </a:lnTo>
                    <a:lnTo>
                      <a:pt x="510" y="1620"/>
                    </a:lnTo>
                    <a:lnTo>
                      <a:pt x="450" y="1470"/>
                    </a:lnTo>
                    <a:lnTo>
                      <a:pt x="420" y="1320"/>
                    </a:lnTo>
                    <a:lnTo>
                      <a:pt x="480" y="1200"/>
                    </a:lnTo>
                    <a:lnTo>
                      <a:pt x="270" y="1350"/>
                    </a:lnTo>
                    <a:lnTo>
                      <a:pt x="150" y="1290"/>
                    </a:lnTo>
                    <a:lnTo>
                      <a:pt x="330" y="1200"/>
                    </a:lnTo>
                    <a:lnTo>
                      <a:pt x="270" y="1140"/>
                    </a:lnTo>
                    <a:lnTo>
                      <a:pt x="390" y="1080"/>
                    </a:lnTo>
                    <a:lnTo>
                      <a:pt x="510" y="960"/>
                    </a:lnTo>
                    <a:lnTo>
                      <a:pt x="330" y="930"/>
                    </a:lnTo>
                    <a:lnTo>
                      <a:pt x="180" y="990"/>
                    </a:lnTo>
                    <a:lnTo>
                      <a:pt x="210" y="840"/>
                    </a:lnTo>
                    <a:lnTo>
                      <a:pt x="390" y="810"/>
                    </a:lnTo>
                    <a:lnTo>
                      <a:pt x="540" y="720"/>
                    </a:lnTo>
                    <a:lnTo>
                      <a:pt x="360" y="630"/>
                    </a:lnTo>
                    <a:lnTo>
                      <a:pt x="240" y="690"/>
                    </a:lnTo>
                    <a:lnTo>
                      <a:pt x="150" y="630"/>
                    </a:lnTo>
                    <a:lnTo>
                      <a:pt x="180" y="450"/>
                    </a:lnTo>
                    <a:lnTo>
                      <a:pt x="270" y="510"/>
                    </a:lnTo>
                    <a:lnTo>
                      <a:pt x="420" y="540"/>
                    </a:lnTo>
                    <a:lnTo>
                      <a:pt x="510" y="600"/>
                    </a:lnTo>
                    <a:lnTo>
                      <a:pt x="540" y="480"/>
                    </a:lnTo>
                    <a:lnTo>
                      <a:pt x="480" y="360"/>
                    </a:lnTo>
                    <a:lnTo>
                      <a:pt x="330" y="390"/>
                    </a:lnTo>
                    <a:lnTo>
                      <a:pt x="240" y="360"/>
                    </a:lnTo>
                    <a:lnTo>
                      <a:pt x="60" y="420"/>
                    </a:lnTo>
                    <a:lnTo>
                      <a:pt x="60" y="300"/>
                    </a:lnTo>
                    <a:lnTo>
                      <a:pt x="180" y="240"/>
                    </a:lnTo>
                    <a:lnTo>
                      <a:pt x="270" y="210"/>
                    </a:lnTo>
                    <a:lnTo>
                      <a:pt x="210" y="60"/>
                    </a:lnTo>
                    <a:lnTo>
                      <a:pt x="90" y="0"/>
                    </a:lnTo>
                    <a:lnTo>
                      <a:pt x="540" y="0"/>
                    </a:lnTo>
                    <a:lnTo>
                      <a:pt x="210" y="60"/>
                    </a:lnTo>
                    <a:lnTo>
                      <a:pt x="360" y="90"/>
                    </a:lnTo>
                    <a:lnTo>
                      <a:pt x="510" y="210"/>
                    </a:lnTo>
                    <a:lnTo>
                      <a:pt x="480" y="360"/>
                    </a:lnTo>
                    <a:lnTo>
                      <a:pt x="390" y="240"/>
                    </a:lnTo>
                    <a:lnTo>
                      <a:pt x="330" y="390"/>
                    </a:lnTo>
                    <a:lnTo>
                      <a:pt x="270" y="210"/>
                    </a:lnTo>
                    <a:lnTo>
                      <a:pt x="240" y="360"/>
                    </a:lnTo>
                    <a:lnTo>
                      <a:pt x="180" y="240"/>
                    </a:lnTo>
                    <a:lnTo>
                      <a:pt x="90" y="210"/>
                    </a:lnTo>
                    <a:lnTo>
                      <a:pt x="60" y="300"/>
                    </a:lnTo>
                    <a:lnTo>
                      <a:pt x="180" y="450"/>
                    </a:lnTo>
                    <a:lnTo>
                      <a:pt x="330" y="390"/>
                    </a:lnTo>
                    <a:lnTo>
                      <a:pt x="420" y="540"/>
                    </a:lnTo>
                    <a:lnTo>
                      <a:pt x="480" y="360"/>
                    </a:lnTo>
                    <a:lnTo>
                      <a:pt x="270" y="510"/>
                    </a:lnTo>
                    <a:lnTo>
                      <a:pt x="360" y="630"/>
                    </a:lnTo>
                    <a:lnTo>
                      <a:pt x="150" y="630"/>
                    </a:lnTo>
                    <a:lnTo>
                      <a:pt x="90" y="840"/>
                    </a:lnTo>
                    <a:lnTo>
                      <a:pt x="330" y="9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3" name="Freeform 2559">
                <a:extLst>
                  <a:ext uri="{FF2B5EF4-FFF2-40B4-BE49-F238E27FC236}">
                    <a16:creationId xmlns:a16="http://schemas.microsoft.com/office/drawing/2014/main" xmlns="" id="{C8D3E9B5-5DF8-47B4-9726-346A9D5AF1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600"/>
                <a:ext cx="150" cy="420"/>
              </a:xfrm>
              <a:custGeom>
                <a:avLst/>
                <a:gdLst>
                  <a:gd name="T0" fmla="*/ 30 w 150"/>
                  <a:gd name="T1" fmla="*/ 270 h 420"/>
                  <a:gd name="T2" fmla="*/ 150 w 150"/>
                  <a:gd name="T3" fmla="*/ 420 h 420"/>
                  <a:gd name="T4" fmla="*/ 60 w 150"/>
                  <a:gd name="T5" fmla="*/ 0 h 420"/>
                  <a:gd name="T6" fmla="*/ 0 w 150"/>
                  <a:gd name="T7" fmla="*/ 90 h 420"/>
                  <a:gd name="T8" fmla="*/ 30 w 150"/>
                  <a:gd name="T9" fmla="*/ 27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420">
                    <a:moveTo>
                      <a:pt x="30" y="270"/>
                    </a:moveTo>
                    <a:lnTo>
                      <a:pt x="150" y="420"/>
                    </a:lnTo>
                    <a:lnTo>
                      <a:pt x="60" y="0"/>
                    </a:lnTo>
                    <a:lnTo>
                      <a:pt x="0" y="90"/>
                    </a:lnTo>
                    <a:lnTo>
                      <a:pt x="30" y="27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4" name="Freeform 2560">
                <a:extLst>
                  <a:ext uri="{FF2B5EF4-FFF2-40B4-BE49-F238E27FC236}">
                    <a16:creationId xmlns:a16="http://schemas.microsoft.com/office/drawing/2014/main" xmlns="" id="{238CEC40-FCF7-4128-857E-6BE292C840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4" y="570"/>
                <a:ext cx="180" cy="420"/>
              </a:xfrm>
              <a:custGeom>
                <a:avLst/>
                <a:gdLst>
                  <a:gd name="T0" fmla="*/ 180 w 180"/>
                  <a:gd name="T1" fmla="*/ 300 h 420"/>
                  <a:gd name="T2" fmla="*/ 30 w 180"/>
                  <a:gd name="T3" fmla="*/ 180 h 420"/>
                  <a:gd name="T4" fmla="*/ 0 w 180"/>
                  <a:gd name="T5" fmla="*/ 330 h 420"/>
                  <a:gd name="T6" fmla="*/ 120 w 180"/>
                  <a:gd name="T7" fmla="*/ 420 h 420"/>
                  <a:gd name="T8" fmla="*/ 60 w 180"/>
                  <a:gd name="T9" fmla="*/ 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420">
                    <a:moveTo>
                      <a:pt x="180" y="300"/>
                    </a:moveTo>
                    <a:lnTo>
                      <a:pt x="30" y="180"/>
                    </a:lnTo>
                    <a:lnTo>
                      <a:pt x="0" y="330"/>
                    </a:lnTo>
                    <a:lnTo>
                      <a:pt x="120" y="420"/>
                    </a:lnTo>
                    <a:lnTo>
                      <a:pt x="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5" name="Freeform 2561">
                <a:extLst>
                  <a:ext uri="{FF2B5EF4-FFF2-40B4-BE49-F238E27FC236}">
                    <a16:creationId xmlns:a16="http://schemas.microsoft.com/office/drawing/2014/main" xmlns="" id="{B661A496-4911-4A8D-BA25-FE50C661A7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60"/>
                <a:ext cx="180" cy="240"/>
              </a:xfrm>
              <a:custGeom>
                <a:avLst/>
                <a:gdLst>
                  <a:gd name="T0" fmla="*/ 30 w 180"/>
                  <a:gd name="T1" fmla="*/ 240 h 240"/>
                  <a:gd name="T2" fmla="*/ 0 w 180"/>
                  <a:gd name="T3" fmla="*/ 90 h 240"/>
                  <a:gd name="T4" fmla="*/ 180 w 180"/>
                  <a:gd name="T5" fmla="*/ 0 h 240"/>
                  <a:gd name="T6" fmla="*/ 150 w 180"/>
                  <a:gd name="T7" fmla="*/ 210 h 240"/>
                  <a:gd name="T8" fmla="*/ 30 w 180"/>
                  <a:gd name="T9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240">
                    <a:moveTo>
                      <a:pt x="30" y="240"/>
                    </a:moveTo>
                    <a:lnTo>
                      <a:pt x="0" y="90"/>
                    </a:lnTo>
                    <a:lnTo>
                      <a:pt x="180" y="0"/>
                    </a:lnTo>
                    <a:lnTo>
                      <a:pt x="150" y="210"/>
                    </a:lnTo>
                    <a:lnTo>
                      <a:pt x="3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6" name="Line 2562">
                <a:extLst>
                  <a:ext uri="{FF2B5EF4-FFF2-40B4-BE49-F238E27FC236}">
                    <a16:creationId xmlns:a16="http://schemas.microsoft.com/office/drawing/2014/main" xmlns="" id="{0E595BE8-0A1B-401E-9326-E18EB4CE4B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04" y="54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7" name="Freeform 2563">
                <a:extLst>
                  <a:ext uri="{FF2B5EF4-FFF2-40B4-BE49-F238E27FC236}">
                    <a16:creationId xmlns:a16="http://schemas.microsoft.com/office/drawing/2014/main" xmlns="" id="{835ACC42-615C-4DDE-9742-5C8240C9F6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5" y="330"/>
                <a:ext cx="120" cy="210"/>
              </a:xfrm>
              <a:custGeom>
                <a:avLst/>
                <a:gdLst>
                  <a:gd name="T0" fmla="*/ 90 w 120"/>
                  <a:gd name="T1" fmla="*/ 0 h 210"/>
                  <a:gd name="T2" fmla="*/ 0 w 120"/>
                  <a:gd name="T3" fmla="*/ 210 h 210"/>
                  <a:gd name="T4" fmla="*/ 120 w 120"/>
                  <a:gd name="T5" fmla="*/ 180 h 210"/>
                  <a:gd name="T6" fmla="*/ 90 w 120"/>
                  <a:gd name="T7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0">
                    <a:moveTo>
                      <a:pt x="90" y="0"/>
                    </a:moveTo>
                    <a:lnTo>
                      <a:pt x="0" y="210"/>
                    </a:lnTo>
                    <a:lnTo>
                      <a:pt x="120" y="180"/>
                    </a:lnTo>
                    <a:lnTo>
                      <a:pt x="9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8" name="Freeform 2564">
                <a:extLst>
                  <a:ext uri="{FF2B5EF4-FFF2-40B4-BE49-F238E27FC236}">
                    <a16:creationId xmlns:a16="http://schemas.microsoft.com/office/drawing/2014/main" xmlns="" id="{D8A720AB-20E8-4F41-B819-6DADADA490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240"/>
                <a:ext cx="480" cy="270"/>
              </a:xfrm>
              <a:custGeom>
                <a:avLst/>
                <a:gdLst>
                  <a:gd name="T0" fmla="*/ 0 w 480"/>
                  <a:gd name="T1" fmla="*/ 0 h 270"/>
                  <a:gd name="T2" fmla="*/ 90 w 480"/>
                  <a:gd name="T3" fmla="*/ 240 h 270"/>
                  <a:gd name="T4" fmla="*/ 300 w 480"/>
                  <a:gd name="T5" fmla="*/ 150 h 270"/>
                  <a:gd name="T6" fmla="*/ 480 w 480"/>
                  <a:gd name="T7" fmla="*/ 210 h 270"/>
                  <a:gd name="T8" fmla="*/ 270 w 480"/>
                  <a:gd name="T9" fmla="*/ 270 h 270"/>
                  <a:gd name="T10" fmla="*/ 120 w 480"/>
                  <a:gd name="T11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0" h="270">
                    <a:moveTo>
                      <a:pt x="0" y="0"/>
                    </a:moveTo>
                    <a:lnTo>
                      <a:pt x="90" y="240"/>
                    </a:lnTo>
                    <a:lnTo>
                      <a:pt x="300" y="150"/>
                    </a:lnTo>
                    <a:lnTo>
                      <a:pt x="480" y="210"/>
                    </a:lnTo>
                    <a:lnTo>
                      <a:pt x="270" y="270"/>
                    </a:lnTo>
                    <a:lnTo>
                      <a:pt x="12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9" name="Freeform 2565">
                <a:extLst>
                  <a:ext uri="{FF2B5EF4-FFF2-40B4-BE49-F238E27FC236}">
                    <a16:creationId xmlns:a16="http://schemas.microsoft.com/office/drawing/2014/main" xmlns="" id="{0C21479E-3135-4128-AF66-A9CC785AD0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60"/>
                <a:ext cx="1289" cy="300"/>
              </a:xfrm>
              <a:custGeom>
                <a:avLst/>
                <a:gdLst>
                  <a:gd name="T0" fmla="*/ 1169 w 1289"/>
                  <a:gd name="T1" fmla="*/ 210 h 300"/>
                  <a:gd name="T2" fmla="*/ 1169 w 1289"/>
                  <a:gd name="T3" fmla="*/ 0 h 300"/>
                  <a:gd name="T4" fmla="*/ 1049 w 1289"/>
                  <a:gd name="T5" fmla="*/ 90 h 300"/>
                  <a:gd name="T6" fmla="*/ 1169 w 1289"/>
                  <a:gd name="T7" fmla="*/ 210 h 300"/>
                  <a:gd name="T8" fmla="*/ 1289 w 1289"/>
                  <a:gd name="T9" fmla="*/ 60 h 300"/>
                  <a:gd name="T10" fmla="*/ 1259 w 1289"/>
                  <a:gd name="T11" fmla="*/ 240 h 300"/>
                  <a:gd name="T12" fmla="*/ 1169 w 1289"/>
                  <a:gd name="T13" fmla="*/ 0 h 300"/>
                  <a:gd name="T14" fmla="*/ 870 w 1289"/>
                  <a:gd name="T15" fmla="*/ 30 h 300"/>
                  <a:gd name="T16" fmla="*/ 780 w 1289"/>
                  <a:gd name="T17" fmla="*/ 240 h 300"/>
                  <a:gd name="T18" fmla="*/ 660 w 1289"/>
                  <a:gd name="T19" fmla="*/ 90 h 300"/>
                  <a:gd name="T20" fmla="*/ 450 w 1289"/>
                  <a:gd name="T21" fmla="*/ 90 h 300"/>
                  <a:gd name="T22" fmla="*/ 630 w 1289"/>
                  <a:gd name="T23" fmla="*/ 210 h 300"/>
                  <a:gd name="T24" fmla="*/ 390 w 1289"/>
                  <a:gd name="T25" fmla="*/ 180 h 300"/>
                  <a:gd name="T26" fmla="*/ 270 w 1289"/>
                  <a:gd name="T27" fmla="*/ 30 h 300"/>
                  <a:gd name="T28" fmla="*/ 210 w 1289"/>
                  <a:gd name="T29" fmla="*/ 150 h 300"/>
                  <a:gd name="T30" fmla="*/ 90 w 1289"/>
                  <a:gd name="T31" fmla="*/ 210 h 300"/>
                  <a:gd name="T32" fmla="*/ 0 w 1289"/>
                  <a:gd name="T33" fmla="*/ 60 h 300"/>
                  <a:gd name="T34" fmla="*/ 150 w 1289"/>
                  <a:gd name="T35" fmla="*/ 30 h 300"/>
                  <a:gd name="T36" fmla="*/ 150 w 1289"/>
                  <a:gd name="T37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89" h="300">
                    <a:moveTo>
                      <a:pt x="1169" y="210"/>
                    </a:moveTo>
                    <a:lnTo>
                      <a:pt x="1169" y="0"/>
                    </a:lnTo>
                    <a:lnTo>
                      <a:pt x="1049" y="90"/>
                    </a:lnTo>
                    <a:lnTo>
                      <a:pt x="1169" y="210"/>
                    </a:lnTo>
                    <a:lnTo>
                      <a:pt x="1289" y="60"/>
                    </a:lnTo>
                    <a:lnTo>
                      <a:pt x="1259" y="240"/>
                    </a:lnTo>
                    <a:lnTo>
                      <a:pt x="1169" y="0"/>
                    </a:lnTo>
                    <a:lnTo>
                      <a:pt x="870" y="30"/>
                    </a:lnTo>
                    <a:lnTo>
                      <a:pt x="780" y="240"/>
                    </a:lnTo>
                    <a:lnTo>
                      <a:pt x="660" y="90"/>
                    </a:lnTo>
                    <a:lnTo>
                      <a:pt x="450" y="90"/>
                    </a:lnTo>
                    <a:lnTo>
                      <a:pt x="630" y="210"/>
                    </a:lnTo>
                    <a:lnTo>
                      <a:pt x="390" y="180"/>
                    </a:lnTo>
                    <a:lnTo>
                      <a:pt x="270" y="30"/>
                    </a:lnTo>
                    <a:lnTo>
                      <a:pt x="210" y="150"/>
                    </a:lnTo>
                    <a:lnTo>
                      <a:pt x="90" y="210"/>
                    </a:lnTo>
                    <a:lnTo>
                      <a:pt x="0" y="60"/>
                    </a:lnTo>
                    <a:lnTo>
                      <a:pt x="150" y="30"/>
                    </a:lnTo>
                    <a:lnTo>
                      <a:pt x="15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0" name="Freeform 2566">
                <a:extLst>
                  <a:ext uri="{FF2B5EF4-FFF2-40B4-BE49-F238E27FC236}">
                    <a16:creationId xmlns:a16="http://schemas.microsoft.com/office/drawing/2014/main" xmlns="" id="{D749438B-5FAC-4C3C-B32A-CDB5A9E644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90"/>
                <a:ext cx="269" cy="270"/>
              </a:xfrm>
              <a:custGeom>
                <a:avLst/>
                <a:gdLst>
                  <a:gd name="T0" fmla="*/ 0 w 269"/>
                  <a:gd name="T1" fmla="*/ 0 h 270"/>
                  <a:gd name="T2" fmla="*/ 179 w 269"/>
                  <a:gd name="T3" fmla="*/ 60 h 270"/>
                  <a:gd name="T4" fmla="*/ 269 w 269"/>
                  <a:gd name="T5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69" h="270">
                    <a:moveTo>
                      <a:pt x="0" y="0"/>
                    </a:moveTo>
                    <a:lnTo>
                      <a:pt x="179" y="60"/>
                    </a:lnTo>
                    <a:lnTo>
                      <a:pt x="26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1" name="Freeform 2567">
                <a:extLst>
                  <a:ext uri="{FF2B5EF4-FFF2-40B4-BE49-F238E27FC236}">
                    <a16:creationId xmlns:a16="http://schemas.microsoft.com/office/drawing/2014/main" xmlns="" id="{295EFBFF-0F03-45D9-8E8C-BED10BBCF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30"/>
                <a:ext cx="360" cy="60"/>
              </a:xfrm>
              <a:custGeom>
                <a:avLst/>
                <a:gdLst>
                  <a:gd name="T0" fmla="*/ 360 w 360"/>
                  <a:gd name="T1" fmla="*/ 0 h 60"/>
                  <a:gd name="T2" fmla="*/ 150 w 360"/>
                  <a:gd name="T3" fmla="*/ 60 h 60"/>
                  <a:gd name="T4" fmla="*/ 0 w 360"/>
                  <a:gd name="T5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60">
                    <a:moveTo>
                      <a:pt x="360" y="0"/>
                    </a:moveTo>
                    <a:lnTo>
                      <a:pt x="15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2" name="Freeform 2568">
                <a:extLst>
                  <a:ext uri="{FF2B5EF4-FFF2-40B4-BE49-F238E27FC236}">
                    <a16:creationId xmlns:a16="http://schemas.microsoft.com/office/drawing/2014/main" xmlns="" id="{ABB817F1-3988-4687-BD91-B613F5295D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6" y="210"/>
                <a:ext cx="389" cy="300"/>
              </a:xfrm>
              <a:custGeom>
                <a:avLst/>
                <a:gdLst>
                  <a:gd name="T0" fmla="*/ 120 w 389"/>
                  <a:gd name="T1" fmla="*/ 150 h 300"/>
                  <a:gd name="T2" fmla="*/ 0 w 389"/>
                  <a:gd name="T3" fmla="*/ 90 h 300"/>
                  <a:gd name="T4" fmla="*/ 60 w 389"/>
                  <a:gd name="T5" fmla="*/ 300 h 300"/>
                  <a:gd name="T6" fmla="*/ 269 w 389"/>
                  <a:gd name="T7" fmla="*/ 120 h 300"/>
                  <a:gd name="T8" fmla="*/ 389 w 389"/>
                  <a:gd name="T9" fmla="*/ 180 h 300"/>
                  <a:gd name="T10" fmla="*/ 210 w 389"/>
                  <a:gd name="T11" fmla="*/ 0 h 300"/>
                  <a:gd name="T12" fmla="*/ 0 w 389"/>
                  <a:gd name="T13" fmla="*/ 9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9" h="300">
                    <a:moveTo>
                      <a:pt x="120" y="150"/>
                    </a:moveTo>
                    <a:lnTo>
                      <a:pt x="0" y="90"/>
                    </a:lnTo>
                    <a:lnTo>
                      <a:pt x="60" y="300"/>
                    </a:lnTo>
                    <a:lnTo>
                      <a:pt x="269" y="120"/>
                    </a:lnTo>
                    <a:lnTo>
                      <a:pt x="389" y="180"/>
                    </a:lnTo>
                    <a:lnTo>
                      <a:pt x="210" y="0"/>
                    </a:lnTo>
                    <a:lnTo>
                      <a:pt x="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3" name="Freeform 2569">
                <a:extLst>
                  <a:ext uri="{FF2B5EF4-FFF2-40B4-BE49-F238E27FC236}">
                    <a16:creationId xmlns:a16="http://schemas.microsoft.com/office/drawing/2014/main" xmlns="" id="{97A2BC5A-DECF-4A57-924C-823CE2784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6" y="60"/>
                <a:ext cx="149" cy="150"/>
              </a:xfrm>
              <a:custGeom>
                <a:avLst/>
                <a:gdLst>
                  <a:gd name="T0" fmla="*/ 0 w 149"/>
                  <a:gd name="T1" fmla="*/ 0 h 150"/>
                  <a:gd name="T2" fmla="*/ 90 w 149"/>
                  <a:gd name="T3" fmla="*/ 150 h 150"/>
                  <a:gd name="T4" fmla="*/ 149 w 149"/>
                  <a:gd name="T5" fmla="*/ 3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0"/>
                    </a:moveTo>
                    <a:lnTo>
                      <a:pt x="90" y="150"/>
                    </a:lnTo>
                    <a:lnTo>
                      <a:pt x="14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4" name="Freeform 2570">
                <a:extLst>
                  <a:ext uri="{FF2B5EF4-FFF2-40B4-BE49-F238E27FC236}">
                    <a16:creationId xmlns:a16="http://schemas.microsoft.com/office/drawing/2014/main" xmlns="" id="{F57F2A99-A264-4F89-AAFB-29DC01609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210"/>
                <a:ext cx="1649" cy="1050"/>
              </a:xfrm>
              <a:custGeom>
                <a:avLst/>
                <a:gdLst>
                  <a:gd name="T0" fmla="*/ 0 w 1649"/>
                  <a:gd name="T1" fmla="*/ 0 h 1050"/>
                  <a:gd name="T2" fmla="*/ 179 w 1649"/>
                  <a:gd name="T3" fmla="*/ 30 h 1050"/>
                  <a:gd name="T4" fmla="*/ 299 w 1649"/>
                  <a:gd name="T5" fmla="*/ 120 h 1050"/>
                  <a:gd name="T6" fmla="*/ 269 w 1649"/>
                  <a:gd name="T7" fmla="*/ 240 h 1050"/>
                  <a:gd name="T8" fmla="*/ 479 w 1649"/>
                  <a:gd name="T9" fmla="*/ 180 h 1050"/>
                  <a:gd name="T10" fmla="*/ 449 w 1649"/>
                  <a:gd name="T11" fmla="*/ 300 h 1050"/>
                  <a:gd name="T12" fmla="*/ 269 w 1649"/>
                  <a:gd name="T13" fmla="*/ 240 h 1050"/>
                  <a:gd name="T14" fmla="*/ 359 w 1649"/>
                  <a:gd name="T15" fmla="*/ 360 h 1050"/>
                  <a:gd name="T16" fmla="*/ 449 w 1649"/>
                  <a:gd name="T17" fmla="*/ 300 h 1050"/>
                  <a:gd name="T18" fmla="*/ 839 w 1649"/>
                  <a:gd name="T19" fmla="*/ 240 h 1050"/>
                  <a:gd name="T20" fmla="*/ 749 w 1649"/>
                  <a:gd name="T21" fmla="*/ 330 h 1050"/>
                  <a:gd name="T22" fmla="*/ 689 w 1649"/>
                  <a:gd name="T23" fmla="*/ 420 h 1050"/>
                  <a:gd name="T24" fmla="*/ 539 w 1649"/>
                  <a:gd name="T25" fmla="*/ 510 h 1050"/>
                  <a:gd name="T26" fmla="*/ 539 w 1649"/>
                  <a:gd name="T27" fmla="*/ 660 h 1050"/>
                  <a:gd name="T28" fmla="*/ 659 w 1649"/>
                  <a:gd name="T29" fmla="*/ 570 h 1050"/>
                  <a:gd name="T30" fmla="*/ 809 w 1649"/>
                  <a:gd name="T31" fmla="*/ 450 h 1050"/>
                  <a:gd name="T32" fmla="*/ 1049 w 1649"/>
                  <a:gd name="T33" fmla="*/ 300 h 1050"/>
                  <a:gd name="T34" fmla="*/ 1139 w 1649"/>
                  <a:gd name="T35" fmla="*/ 360 h 1050"/>
                  <a:gd name="T36" fmla="*/ 1229 w 1649"/>
                  <a:gd name="T37" fmla="*/ 480 h 1050"/>
                  <a:gd name="T38" fmla="*/ 1319 w 1649"/>
                  <a:gd name="T39" fmla="*/ 360 h 1050"/>
                  <a:gd name="T40" fmla="*/ 1139 w 1649"/>
                  <a:gd name="T41" fmla="*/ 360 h 1050"/>
                  <a:gd name="T42" fmla="*/ 1139 w 1649"/>
                  <a:gd name="T43" fmla="*/ 511 h 1050"/>
                  <a:gd name="T44" fmla="*/ 1049 w 1649"/>
                  <a:gd name="T45" fmla="*/ 480 h 1050"/>
                  <a:gd name="T46" fmla="*/ 1019 w 1649"/>
                  <a:gd name="T47" fmla="*/ 570 h 1050"/>
                  <a:gd name="T48" fmla="*/ 1019 w 1649"/>
                  <a:gd name="T49" fmla="*/ 810 h 1050"/>
                  <a:gd name="T50" fmla="*/ 1139 w 1649"/>
                  <a:gd name="T51" fmla="*/ 720 h 1050"/>
                  <a:gd name="T52" fmla="*/ 1227 w 1649"/>
                  <a:gd name="T53" fmla="*/ 812 h 1050"/>
                  <a:gd name="T54" fmla="*/ 1199 w 1649"/>
                  <a:gd name="T55" fmla="*/ 630 h 1050"/>
                  <a:gd name="T56" fmla="*/ 1289 w 1649"/>
                  <a:gd name="T57" fmla="*/ 570 h 1050"/>
                  <a:gd name="T58" fmla="*/ 1409 w 1649"/>
                  <a:gd name="T59" fmla="*/ 630 h 1050"/>
                  <a:gd name="T60" fmla="*/ 1289 w 1649"/>
                  <a:gd name="T61" fmla="*/ 690 h 1050"/>
                  <a:gd name="T62" fmla="*/ 1379 w 1649"/>
                  <a:gd name="T63" fmla="*/ 750 h 1050"/>
                  <a:gd name="T64" fmla="*/ 1649 w 1649"/>
                  <a:gd name="T65" fmla="*/ 720 h 1050"/>
                  <a:gd name="T66" fmla="*/ 1529 w 1649"/>
                  <a:gd name="T67" fmla="*/ 780 h 1050"/>
                  <a:gd name="T68" fmla="*/ 1559 w 1649"/>
                  <a:gd name="T69" fmla="*/ 1050 h 1050"/>
                  <a:gd name="T70" fmla="*/ 1349 w 1649"/>
                  <a:gd name="T71" fmla="*/ 870 h 10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649" h="1050">
                    <a:moveTo>
                      <a:pt x="0" y="0"/>
                    </a:moveTo>
                    <a:lnTo>
                      <a:pt x="179" y="30"/>
                    </a:lnTo>
                    <a:lnTo>
                      <a:pt x="299" y="120"/>
                    </a:lnTo>
                    <a:lnTo>
                      <a:pt x="269" y="240"/>
                    </a:lnTo>
                    <a:lnTo>
                      <a:pt x="479" y="180"/>
                    </a:lnTo>
                    <a:lnTo>
                      <a:pt x="449" y="300"/>
                    </a:lnTo>
                    <a:lnTo>
                      <a:pt x="269" y="240"/>
                    </a:lnTo>
                    <a:lnTo>
                      <a:pt x="359" y="360"/>
                    </a:lnTo>
                    <a:lnTo>
                      <a:pt x="449" y="300"/>
                    </a:lnTo>
                    <a:lnTo>
                      <a:pt x="839" y="240"/>
                    </a:lnTo>
                    <a:lnTo>
                      <a:pt x="749" y="330"/>
                    </a:lnTo>
                    <a:lnTo>
                      <a:pt x="689" y="420"/>
                    </a:lnTo>
                    <a:lnTo>
                      <a:pt x="539" y="510"/>
                    </a:lnTo>
                    <a:lnTo>
                      <a:pt x="539" y="660"/>
                    </a:lnTo>
                    <a:lnTo>
                      <a:pt x="659" y="570"/>
                    </a:lnTo>
                    <a:lnTo>
                      <a:pt x="809" y="450"/>
                    </a:lnTo>
                    <a:lnTo>
                      <a:pt x="1049" y="300"/>
                    </a:lnTo>
                    <a:lnTo>
                      <a:pt x="1139" y="360"/>
                    </a:lnTo>
                    <a:lnTo>
                      <a:pt x="1229" y="480"/>
                    </a:lnTo>
                    <a:lnTo>
                      <a:pt x="1319" y="360"/>
                    </a:lnTo>
                    <a:lnTo>
                      <a:pt x="1139" y="360"/>
                    </a:lnTo>
                    <a:lnTo>
                      <a:pt x="1139" y="511"/>
                    </a:lnTo>
                    <a:lnTo>
                      <a:pt x="1049" y="480"/>
                    </a:lnTo>
                    <a:lnTo>
                      <a:pt x="1019" y="570"/>
                    </a:lnTo>
                    <a:lnTo>
                      <a:pt x="1019" y="810"/>
                    </a:lnTo>
                    <a:lnTo>
                      <a:pt x="1139" y="720"/>
                    </a:lnTo>
                    <a:lnTo>
                      <a:pt x="1227" y="812"/>
                    </a:lnTo>
                    <a:lnTo>
                      <a:pt x="1199" y="630"/>
                    </a:lnTo>
                    <a:lnTo>
                      <a:pt x="1289" y="570"/>
                    </a:lnTo>
                    <a:lnTo>
                      <a:pt x="1409" y="630"/>
                    </a:lnTo>
                    <a:lnTo>
                      <a:pt x="1289" y="690"/>
                    </a:lnTo>
                    <a:lnTo>
                      <a:pt x="1379" y="750"/>
                    </a:lnTo>
                    <a:lnTo>
                      <a:pt x="1649" y="720"/>
                    </a:lnTo>
                    <a:lnTo>
                      <a:pt x="1529" y="780"/>
                    </a:lnTo>
                    <a:lnTo>
                      <a:pt x="1559" y="1050"/>
                    </a:lnTo>
                    <a:lnTo>
                      <a:pt x="1349" y="8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5" name="Freeform 2571">
                <a:extLst>
                  <a:ext uri="{FF2B5EF4-FFF2-40B4-BE49-F238E27FC236}">
                    <a16:creationId xmlns:a16="http://schemas.microsoft.com/office/drawing/2014/main" xmlns="" id="{A587BA3F-2790-4406-91A1-F09CDBE70E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5" y="300"/>
                <a:ext cx="270" cy="210"/>
              </a:xfrm>
              <a:custGeom>
                <a:avLst/>
                <a:gdLst>
                  <a:gd name="T0" fmla="*/ 120 w 270"/>
                  <a:gd name="T1" fmla="*/ 0 h 210"/>
                  <a:gd name="T2" fmla="*/ 270 w 270"/>
                  <a:gd name="T3" fmla="*/ 60 h 210"/>
                  <a:gd name="T4" fmla="*/ 0 w 270"/>
                  <a:gd name="T5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210">
                    <a:moveTo>
                      <a:pt x="120" y="0"/>
                    </a:moveTo>
                    <a:lnTo>
                      <a:pt x="270" y="6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6" name="Freeform 2572">
                <a:extLst>
                  <a:ext uri="{FF2B5EF4-FFF2-40B4-BE49-F238E27FC236}">
                    <a16:creationId xmlns:a16="http://schemas.microsoft.com/office/drawing/2014/main" xmlns="" id="{2624BF5C-6D1E-43AF-8A89-4A592ECC5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5" y="360"/>
                <a:ext cx="180" cy="90"/>
              </a:xfrm>
              <a:custGeom>
                <a:avLst/>
                <a:gdLst>
                  <a:gd name="T0" fmla="*/ 120 w 180"/>
                  <a:gd name="T1" fmla="*/ 90 h 90"/>
                  <a:gd name="T2" fmla="*/ 0 w 180"/>
                  <a:gd name="T3" fmla="*/ 0 h 90"/>
                  <a:gd name="T4" fmla="*/ 180 w 180"/>
                  <a:gd name="T5" fmla="*/ 0 h 90"/>
                  <a:gd name="T6" fmla="*/ 120 w 180"/>
                  <a:gd name="T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90">
                    <a:moveTo>
                      <a:pt x="120" y="90"/>
                    </a:moveTo>
                    <a:lnTo>
                      <a:pt x="0" y="0"/>
                    </a:lnTo>
                    <a:lnTo>
                      <a:pt x="180" y="0"/>
                    </a:lnTo>
                    <a:lnTo>
                      <a:pt x="120" y="9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7" name="Freeform 2573">
                <a:extLst>
                  <a:ext uri="{FF2B5EF4-FFF2-40B4-BE49-F238E27FC236}">
                    <a16:creationId xmlns:a16="http://schemas.microsoft.com/office/drawing/2014/main" xmlns="" id="{60FA8E15-73F7-4C32-AB4B-2FA9DD2E1A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5" y="30"/>
                <a:ext cx="210" cy="150"/>
              </a:xfrm>
              <a:custGeom>
                <a:avLst/>
                <a:gdLst>
                  <a:gd name="T0" fmla="*/ 120 w 210"/>
                  <a:gd name="T1" fmla="*/ 60 h 150"/>
                  <a:gd name="T2" fmla="*/ 210 w 210"/>
                  <a:gd name="T3" fmla="*/ 90 h 150"/>
                  <a:gd name="T4" fmla="*/ 0 w 210"/>
                  <a:gd name="T5" fmla="*/ 150 h 150"/>
                  <a:gd name="T6" fmla="*/ 0 w 210"/>
                  <a:gd name="T7" fmla="*/ 0 h 150"/>
                  <a:gd name="T8" fmla="*/ 120 w 210"/>
                  <a:gd name="T9" fmla="*/ 6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0" h="150">
                    <a:moveTo>
                      <a:pt x="120" y="60"/>
                    </a:moveTo>
                    <a:lnTo>
                      <a:pt x="210" y="90"/>
                    </a:lnTo>
                    <a:lnTo>
                      <a:pt x="0" y="150"/>
                    </a:lnTo>
                    <a:lnTo>
                      <a:pt x="0" y="0"/>
                    </a:lnTo>
                    <a:lnTo>
                      <a:pt x="120" y="6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8" name="Line 2574">
                <a:extLst>
                  <a:ext uri="{FF2B5EF4-FFF2-40B4-BE49-F238E27FC236}">
                    <a16:creationId xmlns:a16="http://schemas.microsoft.com/office/drawing/2014/main" xmlns="" id="{22AED9B5-AC91-4BB5-A385-A5B24BD741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385" y="15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9" name="Freeform 2575">
                <a:extLst>
                  <a:ext uri="{FF2B5EF4-FFF2-40B4-BE49-F238E27FC236}">
                    <a16:creationId xmlns:a16="http://schemas.microsoft.com/office/drawing/2014/main" xmlns="" id="{5F9D952A-2AB9-440A-8631-E0B648A036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30"/>
                <a:ext cx="2398" cy="390"/>
              </a:xfrm>
              <a:custGeom>
                <a:avLst/>
                <a:gdLst>
                  <a:gd name="T0" fmla="*/ 509 w 2398"/>
                  <a:gd name="T1" fmla="*/ 60 h 390"/>
                  <a:gd name="T2" fmla="*/ 419 w 2398"/>
                  <a:gd name="T3" fmla="*/ 120 h 390"/>
                  <a:gd name="T4" fmla="*/ 239 w 2398"/>
                  <a:gd name="T5" fmla="*/ 60 h 390"/>
                  <a:gd name="T6" fmla="*/ 90 w 2398"/>
                  <a:gd name="T7" fmla="*/ 30 h 390"/>
                  <a:gd name="T8" fmla="*/ 0 w 2398"/>
                  <a:gd name="T9" fmla="*/ 120 h 390"/>
                  <a:gd name="T10" fmla="*/ 180 w 2398"/>
                  <a:gd name="T11" fmla="*/ 180 h 390"/>
                  <a:gd name="T12" fmla="*/ 90 w 2398"/>
                  <a:gd name="T13" fmla="*/ 330 h 390"/>
                  <a:gd name="T14" fmla="*/ 239 w 2398"/>
                  <a:gd name="T15" fmla="*/ 300 h 390"/>
                  <a:gd name="T16" fmla="*/ 239 w 2398"/>
                  <a:gd name="T17" fmla="*/ 60 h 390"/>
                  <a:gd name="T18" fmla="*/ 359 w 2398"/>
                  <a:gd name="T19" fmla="*/ 210 h 390"/>
                  <a:gd name="T20" fmla="*/ 359 w 2398"/>
                  <a:gd name="T21" fmla="*/ 360 h 390"/>
                  <a:gd name="T22" fmla="*/ 479 w 2398"/>
                  <a:gd name="T23" fmla="*/ 300 h 390"/>
                  <a:gd name="T24" fmla="*/ 419 w 2398"/>
                  <a:gd name="T25" fmla="*/ 120 h 390"/>
                  <a:gd name="T26" fmla="*/ 509 w 2398"/>
                  <a:gd name="T27" fmla="*/ 180 h 390"/>
                  <a:gd name="T28" fmla="*/ 509 w 2398"/>
                  <a:gd name="T29" fmla="*/ 60 h 390"/>
                  <a:gd name="T30" fmla="*/ 629 w 2398"/>
                  <a:gd name="T31" fmla="*/ 30 h 390"/>
                  <a:gd name="T32" fmla="*/ 719 w 2398"/>
                  <a:gd name="T33" fmla="*/ 0 h 390"/>
                  <a:gd name="T34" fmla="*/ 629 w 2398"/>
                  <a:gd name="T35" fmla="*/ 120 h 390"/>
                  <a:gd name="T36" fmla="*/ 719 w 2398"/>
                  <a:gd name="T37" fmla="*/ 150 h 390"/>
                  <a:gd name="T38" fmla="*/ 599 w 2398"/>
                  <a:gd name="T39" fmla="*/ 240 h 390"/>
                  <a:gd name="T40" fmla="*/ 659 w 2398"/>
                  <a:gd name="T41" fmla="*/ 360 h 390"/>
                  <a:gd name="T42" fmla="*/ 749 w 2398"/>
                  <a:gd name="T43" fmla="*/ 270 h 390"/>
                  <a:gd name="T44" fmla="*/ 839 w 2398"/>
                  <a:gd name="T45" fmla="*/ 60 h 390"/>
                  <a:gd name="T46" fmla="*/ 869 w 2398"/>
                  <a:gd name="T47" fmla="*/ 210 h 390"/>
                  <a:gd name="T48" fmla="*/ 929 w 2398"/>
                  <a:gd name="T49" fmla="*/ 90 h 390"/>
                  <a:gd name="T50" fmla="*/ 899 w 2398"/>
                  <a:gd name="T51" fmla="*/ 330 h 390"/>
                  <a:gd name="T52" fmla="*/ 1019 w 2398"/>
                  <a:gd name="T53" fmla="*/ 240 h 390"/>
                  <a:gd name="T54" fmla="*/ 1079 w 2398"/>
                  <a:gd name="T55" fmla="*/ 330 h 390"/>
                  <a:gd name="T56" fmla="*/ 1139 w 2398"/>
                  <a:gd name="T57" fmla="*/ 180 h 390"/>
                  <a:gd name="T58" fmla="*/ 1079 w 2398"/>
                  <a:gd name="T59" fmla="*/ 60 h 390"/>
                  <a:gd name="T60" fmla="*/ 1199 w 2398"/>
                  <a:gd name="T61" fmla="*/ 60 h 390"/>
                  <a:gd name="T62" fmla="*/ 1319 w 2398"/>
                  <a:gd name="T63" fmla="*/ 0 h 390"/>
                  <a:gd name="T64" fmla="*/ 1319 w 2398"/>
                  <a:gd name="T65" fmla="*/ 210 h 390"/>
                  <a:gd name="T66" fmla="*/ 1199 w 2398"/>
                  <a:gd name="T67" fmla="*/ 300 h 390"/>
                  <a:gd name="T68" fmla="*/ 1319 w 2398"/>
                  <a:gd name="T69" fmla="*/ 360 h 390"/>
                  <a:gd name="T70" fmla="*/ 1439 w 2398"/>
                  <a:gd name="T71" fmla="*/ 270 h 390"/>
                  <a:gd name="T72" fmla="*/ 1379 w 2398"/>
                  <a:gd name="T73" fmla="*/ 120 h 390"/>
                  <a:gd name="T74" fmla="*/ 1469 w 2398"/>
                  <a:gd name="T75" fmla="*/ 60 h 390"/>
                  <a:gd name="T76" fmla="*/ 1589 w 2398"/>
                  <a:gd name="T77" fmla="*/ 120 h 390"/>
                  <a:gd name="T78" fmla="*/ 1559 w 2398"/>
                  <a:gd name="T79" fmla="*/ 240 h 390"/>
                  <a:gd name="T80" fmla="*/ 1619 w 2398"/>
                  <a:gd name="T81" fmla="*/ 360 h 390"/>
                  <a:gd name="T82" fmla="*/ 1709 w 2398"/>
                  <a:gd name="T83" fmla="*/ 270 h 390"/>
                  <a:gd name="T84" fmla="*/ 1679 w 2398"/>
                  <a:gd name="T85" fmla="*/ 150 h 390"/>
                  <a:gd name="T86" fmla="*/ 1679 w 2398"/>
                  <a:gd name="T87" fmla="*/ 0 h 390"/>
                  <a:gd name="T88" fmla="*/ 1799 w 2398"/>
                  <a:gd name="T89" fmla="*/ 60 h 390"/>
                  <a:gd name="T90" fmla="*/ 1829 w 2398"/>
                  <a:gd name="T91" fmla="*/ 210 h 390"/>
                  <a:gd name="T92" fmla="*/ 1978 w 2398"/>
                  <a:gd name="T93" fmla="*/ 120 h 390"/>
                  <a:gd name="T94" fmla="*/ 1948 w 2398"/>
                  <a:gd name="T95" fmla="*/ 240 h 390"/>
                  <a:gd name="T96" fmla="*/ 1888 w 2398"/>
                  <a:gd name="T97" fmla="*/ 360 h 390"/>
                  <a:gd name="T98" fmla="*/ 2068 w 2398"/>
                  <a:gd name="T99" fmla="*/ 330 h 390"/>
                  <a:gd name="T100" fmla="*/ 2248 w 2398"/>
                  <a:gd name="T101" fmla="*/ 390 h 390"/>
                  <a:gd name="T102" fmla="*/ 2398 w 2398"/>
                  <a:gd name="T103" fmla="*/ 270 h 390"/>
                  <a:gd name="T104" fmla="*/ 2278 w 2398"/>
                  <a:gd name="T105" fmla="*/ 240 h 390"/>
                  <a:gd name="T106" fmla="*/ 2368 w 2398"/>
                  <a:gd name="T107" fmla="*/ 12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98" h="390">
                    <a:moveTo>
                      <a:pt x="509" y="60"/>
                    </a:moveTo>
                    <a:lnTo>
                      <a:pt x="419" y="120"/>
                    </a:lnTo>
                    <a:lnTo>
                      <a:pt x="239" y="60"/>
                    </a:lnTo>
                    <a:lnTo>
                      <a:pt x="90" y="30"/>
                    </a:lnTo>
                    <a:lnTo>
                      <a:pt x="0" y="120"/>
                    </a:lnTo>
                    <a:lnTo>
                      <a:pt x="180" y="180"/>
                    </a:lnTo>
                    <a:lnTo>
                      <a:pt x="90" y="330"/>
                    </a:lnTo>
                    <a:lnTo>
                      <a:pt x="239" y="300"/>
                    </a:lnTo>
                    <a:lnTo>
                      <a:pt x="239" y="60"/>
                    </a:lnTo>
                    <a:lnTo>
                      <a:pt x="359" y="210"/>
                    </a:lnTo>
                    <a:lnTo>
                      <a:pt x="359" y="360"/>
                    </a:lnTo>
                    <a:lnTo>
                      <a:pt x="479" y="300"/>
                    </a:lnTo>
                    <a:lnTo>
                      <a:pt x="419" y="120"/>
                    </a:lnTo>
                    <a:lnTo>
                      <a:pt x="509" y="180"/>
                    </a:lnTo>
                    <a:lnTo>
                      <a:pt x="509" y="60"/>
                    </a:lnTo>
                    <a:lnTo>
                      <a:pt x="629" y="30"/>
                    </a:lnTo>
                    <a:lnTo>
                      <a:pt x="719" y="0"/>
                    </a:lnTo>
                    <a:lnTo>
                      <a:pt x="629" y="120"/>
                    </a:lnTo>
                    <a:lnTo>
                      <a:pt x="719" y="150"/>
                    </a:lnTo>
                    <a:lnTo>
                      <a:pt x="599" y="240"/>
                    </a:lnTo>
                    <a:lnTo>
                      <a:pt x="659" y="360"/>
                    </a:lnTo>
                    <a:lnTo>
                      <a:pt x="749" y="270"/>
                    </a:lnTo>
                    <a:lnTo>
                      <a:pt x="839" y="60"/>
                    </a:lnTo>
                    <a:lnTo>
                      <a:pt x="869" y="210"/>
                    </a:lnTo>
                    <a:lnTo>
                      <a:pt x="929" y="90"/>
                    </a:lnTo>
                    <a:lnTo>
                      <a:pt x="899" y="330"/>
                    </a:lnTo>
                    <a:lnTo>
                      <a:pt x="1019" y="240"/>
                    </a:lnTo>
                    <a:lnTo>
                      <a:pt x="1079" y="330"/>
                    </a:lnTo>
                    <a:lnTo>
                      <a:pt x="1139" y="180"/>
                    </a:lnTo>
                    <a:lnTo>
                      <a:pt x="1079" y="60"/>
                    </a:lnTo>
                    <a:lnTo>
                      <a:pt x="1199" y="60"/>
                    </a:lnTo>
                    <a:lnTo>
                      <a:pt x="1319" y="0"/>
                    </a:lnTo>
                    <a:lnTo>
                      <a:pt x="1319" y="210"/>
                    </a:lnTo>
                    <a:lnTo>
                      <a:pt x="1199" y="300"/>
                    </a:lnTo>
                    <a:lnTo>
                      <a:pt x="1319" y="360"/>
                    </a:lnTo>
                    <a:lnTo>
                      <a:pt x="1439" y="270"/>
                    </a:lnTo>
                    <a:lnTo>
                      <a:pt x="1379" y="120"/>
                    </a:lnTo>
                    <a:lnTo>
                      <a:pt x="1469" y="60"/>
                    </a:lnTo>
                    <a:lnTo>
                      <a:pt x="1589" y="120"/>
                    </a:lnTo>
                    <a:lnTo>
                      <a:pt x="1559" y="240"/>
                    </a:lnTo>
                    <a:lnTo>
                      <a:pt x="1619" y="360"/>
                    </a:lnTo>
                    <a:lnTo>
                      <a:pt x="1709" y="270"/>
                    </a:lnTo>
                    <a:lnTo>
                      <a:pt x="1679" y="150"/>
                    </a:lnTo>
                    <a:lnTo>
                      <a:pt x="1679" y="0"/>
                    </a:lnTo>
                    <a:lnTo>
                      <a:pt x="1799" y="60"/>
                    </a:lnTo>
                    <a:lnTo>
                      <a:pt x="1829" y="210"/>
                    </a:lnTo>
                    <a:lnTo>
                      <a:pt x="1978" y="120"/>
                    </a:lnTo>
                    <a:lnTo>
                      <a:pt x="1948" y="240"/>
                    </a:lnTo>
                    <a:lnTo>
                      <a:pt x="1888" y="360"/>
                    </a:lnTo>
                    <a:lnTo>
                      <a:pt x="2068" y="330"/>
                    </a:lnTo>
                    <a:lnTo>
                      <a:pt x="2248" y="390"/>
                    </a:lnTo>
                    <a:lnTo>
                      <a:pt x="2398" y="270"/>
                    </a:lnTo>
                    <a:lnTo>
                      <a:pt x="2278" y="240"/>
                    </a:lnTo>
                    <a:lnTo>
                      <a:pt x="2368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0" name="Line 2576">
                <a:extLst>
                  <a:ext uri="{FF2B5EF4-FFF2-40B4-BE49-F238E27FC236}">
                    <a16:creationId xmlns:a16="http://schemas.microsoft.com/office/drawing/2014/main" xmlns="" id="{4273CC83-4FB2-48B9-BD51-E69291D2509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35" y="150"/>
                <a:ext cx="60" cy="9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1" name="Freeform 2577">
                <a:extLst>
                  <a:ext uri="{FF2B5EF4-FFF2-40B4-BE49-F238E27FC236}">
                    <a16:creationId xmlns:a16="http://schemas.microsoft.com/office/drawing/2014/main" xmlns="" id="{21536F86-F7CD-4ADA-BAF3-2A151B702B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210"/>
                <a:ext cx="180" cy="360"/>
              </a:xfrm>
              <a:custGeom>
                <a:avLst/>
                <a:gdLst>
                  <a:gd name="T0" fmla="*/ 180 w 180"/>
                  <a:gd name="T1" fmla="*/ 180 h 360"/>
                  <a:gd name="T2" fmla="*/ 0 w 180"/>
                  <a:gd name="T3" fmla="*/ 120 h 360"/>
                  <a:gd name="T4" fmla="*/ 30 w 180"/>
                  <a:gd name="T5" fmla="*/ 0 h 360"/>
                  <a:gd name="T6" fmla="*/ 120 w 180"/>
                  <a:gd name="T7" fmla="*/ 60 h 360"/>
                  <a:gd name="T8" fmla="*/ 60 w 180"/>
                  <a:gd name="T9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360">
                    <a:moveTo>
                      <a:pt x="180" y="180"/>
                    </a:moveTo>
                    <a:lnTo>
                      <a:pt x="0" y="120"/>
                    </a:lnTo>
                    <a:lnTo>
                      <a:pt x="30" y="0"/>
                    </a:lnTo>
                    <a:lnTo>
                      <a:pt x="120" y="60"/>
                    </a:lnTo>
                    <a:lnTo>
                      <a:pt x="60" y="3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2" name="Line 2578">
                <a:extLst>
                  <a:ext uri="{FF2B5EF4-FFF2-40B4-BE49-F238E27FC236}">
                    <a16:creationId xmlns:a16="http://schemas.microsoft.com/office/drawing/2014/main" xmlns="" id="{DD9312FB-EE84-424B-871A-D2834A98659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35" y="390"/>
                <a:ext cx="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3" name="Freeform 2579">
                <a:extLst>
                  <a:ext uri="{FF2B5EF4-FFF2-40B4-BE49-F238E27FC236}">
                    <a16:creationId xmlns:a16="http://schemas.microsoft.com/office/drawing/2014/main" xmlns="" id="{27F07B01-4388-4B1D-B0AC-636CB4C62A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300"/>
                <a:ext cx="180" cy="330"/>
              </a:xfrm>
              <a:custGeom>
                <a:avLst/>
                <a:gdLst>
                  <a:gd name="T0" fmla="*/ 180 w 180"/>
                  <a:gd name="T1" fmla="*/ 240 h 330"/>
                  <a:gd name="T2" fmla="*/ 0 w 180"/>
                  <a:gd name="T3" fmla="*/ 0 h 330"/>
                  <a:gd name="T4" fmla="*/ 120 w 180"/>
                  <a:gd name="T5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330">
                    <a:moveTo>
                      <a:pt x="180" y="240"/>
                    </a:moveTo>
                    <a:lnTo>
                      <a:pt x="0" y="0"/>
                    </a:lnTo>
                    <a:lnTo>
                      <a:pt x="12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4" name="Line 2580">
                <a:extLst>
                  <a:ext uri="{FF2B5EF4-FFF2-40B4-BE49-F238E27FC236}">
                    <a16:creationId xmlns:a16="http://schemas.microsoft.com/office/drawing/2014/main" xmlns="" id="{B9CF1FE9-7808-4429-8B33-A3E9629E114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80"/>
                <a:ext cx="3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088" name="Group 2782">
              <a:extLst>
                <a:ext uri="{FF2B5EF4-FFF2-40B4-BE49-F238E27FC236}">
                  <a16:creationId xmlns:a16="http://schemas.microsoft.com/office/drawing/2014/main" xmlns="" id="{AF27766C-62F1-40FC-ACFE-85E8373C08E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46" y="0"/>
              <a:ext cx="3268" cy="3210"/>
              <a:chOff x="1246" y="0"/>
              <a:chExt cx="3268" cy="3210"/>
            </a:xfrm>
          </p:grpSpPr>
          <p:sp>
            <p:nvSpPr>
              <p:cNvPr id="1475" name="Freeform 2582">
                <a:extLst>
                  <a:ext uri="{FF2B5EF4-FFF2-40B4-BE49-F238E27FC236}">
                    <a16:creationId xmlns:a16="http://schemas.microsoft.com/office/drawing/2014/main" xmlns="" id="{CB1CE386-1EE6-40CA-BB2D-BF2D7658E3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90"/>
                <a:ext cx="180" cy="240"/>
              </a:xfrm>
              <a:custGeom>
                <a:avLst/>
                <a:gdLst>
                  <a:gd name="T0" fmla="*/ 180 w 180"/>
                  <a:gd name="T1" fmla="*/ 0 h 240"/>
                  <a:gd name="T2" fmla="*/ 180 w 180"/>
                  <a:gd name="T3" fmla="*/ 240 h 240"/>
                  <a:gd name="T4" fmla="*/ 0 w 180"/>
                  <a:gd name="T5" fmla="*/ 18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40">
                    <a:moveTo>
                      <a:pt x="180" y="0"/>
                    </a:moveTo>
                    <a:lnTo>
                      <a:pt x="180" y="24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6" name="Freeform 2583">
                <a:extLst>
                  <a:ext uri="{FF2B5EF4-FFF2-40B4-BE49-F238E27FC236}">
                    <a16:creationId xmlns:a16="http://schemas.microsoft.com/office/drawing/2014/main" xmlns="" id="{9B41CF7E-E1A4-438E-95F9-9084F07C2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20"/>
                <a:ext cx="450" cy="90"/>
              </a:xfrm>
              <a:custGeom>
                <a:avLst/>
                <a:gdLst>
                  <a:gd name="T0" fmla="*/ 0 w 450"/>
                  <a:gd name="T1" fmla="*/ 0 h 90"/>
                  <a:gd name="T2" fmla="*/ 210 w 450"/>
                  <a:gd name="T3" fmla="*/ 90 h 90"/>
                  <a:gd name="T4" fmla="*/ 450 w 450"/>
                  <a:gd name="T5" fmla="*/ 3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50" h="90">
                    <a:moveTo>
                      <a:pt x="0" y="0"/>
                    </a:moveTo>
                    <a:lnTo>
                      <a:pt x="210" y="90"/>
                    </a:lnTo>
                    <a:lnTo>
                      <a:pt x="45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7" name="Freeform 2584">
                <a:extLst>
                  <a:ext uri="{FF2B5EF4-FFF2-40B4-BE49-F238E27FC236}">
                    <a16:creationId xmlns:a16="http://schemas.microsoft.com/office/drawing/2014/main" xmlns="" id="{49A5FDDD-5F40-4AAC-84FD-1BF0C1DFC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270"/>
                <a:ext cx="480" cy="240"/>
              </a:xfrm>
              <a:custGeom>
                <a:avLst/>
                <a:gdLst>
                  <a:gd name="T0" fmla="*/ 480 w 480"/>
                  <a:gd name="T1" fmla="*/ 0 h 240"/>
                  <a:gd name="T2" fmla="*/ 330 w 480"/>
                  <a:gd name="T3" fmla="*/ 210 h 240"/>
                  <a:gd name="T4" fmla="*/ 0 w 480"/>
                  <a:gd name="T5" fmla="*/ 90 h 240"/>
                  <a:gd name="T6" fmla="*/ 150 w 480"/>
                  <a:gd name="T7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0" h="240">
                    <a:moveTo>
                      <a:pt x="480" y="0"/>
                    </a:moveTo>
                    <a:lnTo>
                      <a:pt x="330" y="210"/>
                    </a:lnTo>
                    <a:lnTo>
                      <a:pt x="0" y="90"/>
                    </a:lnTo>
                    <a:lnTo>
                      <a:pt x="15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8" name="Line 2585">
                <a:extLst>
                  <a:ext uri="{FF2B5EF4-FFF2-40B4-BE49-F238E27FC236}">
                    <a16:creationId xmlns:a16="http://schemas.microsoft.com/office/drawing/2014/main" xmlns="" id="{13D89080-2D12-4534-9B7D-116533C03D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465" y="390"/>
                <a:ext cx="3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9" name="Freeform 2586">
                <a:extLst>
                  <a:ext uri="{FF2B5EF4-FFF2-40B4-BE49-F238E27FC236}">
                    <a16:creationId xmlns:a16="http://schemas.microsoft.com/office/drawing/2014/main" xmlns="" id="{E1FBC28E-DA26-457A-9C00-B14F44972C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240"/>
                <a:ext cx="209" cy="270"/>
              </a:xfrm>
              <a:custGeom>
                <a:avLst/>
                <a:gdLst>
                  <a:gd name="T0" fmla="*/ 0 w 209"/>
                  <a:gd name="T1" fmla="*/ 60 h 270"/>
                  <a:gd name="T2" fmla="*/ 90 w 209"/>
                  <a:gd name="T3" fmla="*/ 210 h 270"/>
                  <a:gd name="T4" fmla="*/ 120 w 209"/>
                  <a:gd name="T5" fmla="*/ 0 h 270"/>
                  <a:gd name="T6" fmla="*/ 179 w 209"/>
                  <a:gd name="T7" fmla="*/ 150 h 270"/>
                  <a:gd name="T8" fmla="*/ 209 w 209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270">
                    <a:moveTo>
                      <a:pt x="0" y="60"/>
                    </a:moveTo>
                    <a:lnTo>
                      <a:pt x="90" y="210"/>
                    </a:lnTo>
                    <a:lnTo>
                      <a:pt x="120" y="0"/>
                    </a:lnTo>
                    <a:lnTo>
                      <a:pt x="179" y="150"/>
                    </a:lnTo>
                    <a:lnTo>
                      <a:pt x="20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0" name="Freeform 2587">
                <a:extLst>
                  <a:ext uri="{FF2B5EF4-FFF2-40B4-BE49-F238E27FC236}">
                    <a16:creationId xmlns:a16="http://schemas.microsoft.com/office/drawing/2014/main" xmlns="" id="{FE7BE6C8-291F-4472-BE12-BB2F721797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5" y="90"/>
                <a:ext cx="389" cy="270"/>
              </a:xfrm>
              <a:custGeom>
                <a:avLst/>
                <a:gdLst>
                  <a:gd name="T0" fmla="*/ 150 w 389"/>
                  <a:gd name="T1" fmla="*/ 150 h 270"/>
                  <a:gd name="T2" fmla="*/ 0 w 389"/>
                  <a:gd name="T3" fmla="*/ 90 h 270"/>
                  <a:gd name="T4" fmla="*/ 120 w 389"/>
                  <a:gd name="T5" fmla="*/ 0 h 270"/>
                  <a:gd name="T6" fmla="*/ 269 w 389"/>
                  <a:gd name="T7" fmla="*/ 180 h 270"/>
                  <a:gd name="T8" fmla="*/ 389 w 389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9" h="270">
                    <a:moveTo>
                      <a:pt x="150" y="150"/>
                    </a:moveTo>
                    <a:lnTo>
                      <a:pt x="0" y="90"/>
                    </a:lnTo>
                    <a:lnTo>
                      <a:pt x="120" y="0"/>
                    </a:lnTo>
                    <a:lnTo>
                      <a:pt x="269" y="180"/>
                    </a:lnTo>
                    <a:lnTo>
                      <a:pt x="38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1" name="Freeform 2588">
                <a:extLst>
                  <a:ext uri="{FF2B5EF4-FFF2-40B4-BE49-F238E27FC236}">
                    <a16:creationId xmlns:a16="http://schemas.microsoft.com/office/drawing/2014/main" xmlns="" id="{EC497FDA-339E-458F-BEEF-655B814748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390"/>
                <a:ext cx="360" cy="360"/>
              </a:xfrm>
              <a:custGeom>
                <a:avLst/>
                <a:gdLst>
                  <a:gd name="T0" fmla="*/ 0 w 360"/>
                  <a:gd name="T1" fmla="*/ 0 h 360"/>
                  <a:gd name="T2" fmla="*/ 180 w 360"/>
                  <a:gd name="T3" fmla="*/ 90 h 360"/>
                  <a:gd name="T4" fmla="*/ 360 w 360"/>
                  <a:gd name="T5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360">
                    <a:moveTo>
                      <a:pt x="0" y="0"/>
                    </a:moveTo>
                    <a:lnTo>
                      <a:pt x="180" y="90"/>
                    </a:lnTo>
                    <a:lnTo>
                      <a:pt x="360" y="3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2" name="Freeform 2589">
                <a:extLst>
                  <a:ext uri="{FF2B5EF4-FFF2-40B4-BE49-F238E27FC236}">
                    <a16:creationId xmlns:a16="http://schemas.microsoft.com/office/drawing/2014/main" xmlns="" id="{CCA228F3-8FFD-4583-8181-0F9A76DF64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60"/>
                <a:ext cx="600" cy="240"/>
              </a:xfrm>
              <a:custGeom>
                <a:avLst/>
                <a:gdLst>
                  <a:gd name="T0" fmla="*/ 600 w 600"/>
                  <a:gd name="T1" fmla="*/ 0 h 240"/>
                  <a:gd name="T2" fmla="*/ 450 w 600"/>
                  <a:gd name="T3" fmla="*/ 240 h 240"/>
                  <a:gd name="T4" fmla="*/ 270 w 600"/>
                  <a:gd name="T5" fmla="*/ 60 h 240"/>
                  <a:gd name="T6" fmla="*/ 0 w 600"/>
                  <a:gd name="T7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0" h="240">
                    <a:moveTo>
                      <a:pt x="600" y="0"/>
                    </a:moveTo>
                    <a:lnTo>
                      <a:pt x="450" y="240"/>
                    </a:lnTo>
                    <a:lnTo>
                      <a:pt x="270" y="6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3" name="Freeform 2590">
                <a:extLst>
                  <a:ext uri="{FF2B5EF4-FFF2-40B4-BE49-F238E27FC236}">
                    <a16:creationId xmlns:a16="http://schemas.microsoft.com/office/drawing/2014/main" xmlns="" id="{E95A32C2-FF88-4A1C-8E4E-51D1C72F1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2550"/>
                <a:ext cx="2338" cy="660"/>
              </a:xfrm>
              <a:custGeom>
                <a:avLst/>
                <a:gdLst>
                  <a:gd name="T0" fmla="*/ 30 w 2338"/>
                  <a:gd name="T1" fmla="*/ 420 h 660"/>
                  <a:gd name="T2" fmla="*/ 0 w 2338"/>
                  <a:gd name="T3" fmla="*/ 270 h 660"/>
                  <a:gd name="T4" fmla="*/ 150 w 2338"/>
                  <a:gd name="T5" fmla="*/ 510 h 660"/>
                  <a:gd name="T6" fmla="*/ 210 w 2338"/>
                  <a:gd name="T7" fmla="*/ 420 h 660"/>
                  <a:gd name="T8" fmla="*/ 210 w 2338"/>
                  <a:gd name="T9" fmla="*/ 120 h 660"/>
                  <a:gd name="T10" fmla="*/ 60 w 2338"/>
                  <a:gd name="T11" fmla="*/ 150 h 660"/>
                  <a:gd name="T12" fmla="*/ 120 w 2338"/>
                  <a:gd name="T13" fmla="*/ 0 h 660"/>
                  <a:gd name="T14" fmla="*/ 330 w 2338"/>
                  <a:gd name="T15" fmla="*/ 90 h 660"/>
                  <a:gd name="T16" fmla="*/ 420 w 2338"/>
                  <a:gd name="T17" fmla="*/ 210 h 660"/>
                  <a:gd name="T18" fmla="*/ 210 w 2338"/>
                  <a:gd name="T19" fmla="*/ 120 h 660"/>
                  <a:gd name="T20" fmla="*/ 270 w 2338"/>
                  <a:gd name="T21" fmla="*/ 240 h 660"/>
                  <a:gd name="T22" fmla="*/ 420 w 2338"/>
                  <a:gd name="T23" fmla="*/ 210 h 660"/>
                  <a:gd name="T24" fmla="*/ 510 w 2338"/>
                  <a:gd name="T25" fmla="*/ 120 h 660"/>
                  <a:gd name="T26" fmla="*/ 599 w 2338"/>
                  <a:gd name="T27" fmla="*/ 210 h 660"/>
                  <a:gd name="T28" fmla="*/ 809 w 2338"/>
                  <a:gd name="T29" fmla="*/ 150 h 660"/>
                  <a:gd name="T30" fmla="*/ 719 w 2338"/>
                  <a:gd name="T31" fmla="*/ 240 h 660"/>
                  <a:gd name="T32" fmla="*/ 510 w 2338"/>
                  <a:gd name="T33" fmla="*/ 480 h 660"/>
                  <a:gd name="T34" fmla="*/ 689 w 2338"/>
                  <a:gd name="T35" fmla="*/ 510 h 660"/>
                  <a:gd name="T36" fmla="*/ 689 w 2338"/>
                  <a:gd name="T37" fmla="*/ 660 h 660"/>
                  <a:gd name="T38" fmla="*/ 569 w 2338"/>
                  <a:gd name="T39" fmla="*/ 600 h 660"/>
                  <a:gd name="T40" fmla="*/ 300 w 2338"/>
                  <a:gd name="T41" fmla="*/ 570 h 660"/>
                  <a:gd name="T42" fmla="*/ 420 w 2338"/>
                  <a:gd name="T43" fmla="*/ 330 h 660"/>
                  <a:gd name="T44" fmla="*/ 569 w 2338"/>
                  <a:gd name="T45" fmla="*/ 360 h 660"/>
                  <a:gd name="T46" fmla="*/ 599 w 2338"/>
                  <a:gd name="T47" fmla="*/ 210 h 660"/>
                  <a:gd name="T48" fmla="*/ 749 w 2338"/>
                  <a:gd name="T49" fmla="*/ 420 h 660"/>
                  <a:gd name="T50" fmla="*/ 689 w 2338"/>
                  <a:gd name="T51" fmla="*/ 510 h 660"/>
                  <a:gd name="T52" fmla="*/ 809 w 2338"/>
                  <a:gd name="T53" fmla="*/ 600 h 660"/>
                  <a:gd name="T54" fmla="*/ 929 w 2338"/>
                  <a:gd name="T55" fmla="*/ 540 h 660"/>
                  <a:gd name="T56" fmla="*/ 1079 w 2338"/>
                  <a:gd name="T57" fmla="*/ 570 h 660"/>
                  <a:gd name="T58" fmla="*/ 1049 w 2338"/>
                  <a:gd name="T59" fmla="*/ 450 h 660"/>
                  <a:gd name="T60" fmla="*/ 959 w 2338"/>
                  <a:gd name="T61" fmla="*/ 420 h 660"/>
                  <a:gd name="T62" fmla="*/ 1049 w 2338"/>
                  <a:gd name="T63" fmla="*/ 300 h 660"/>
                  <a:gd name="T64" fmla="*/ 1169 w 2338"/>
                  <a:gd name="T65" fmla="*/ 360 h 660"/>
                  <a:gd name="T66" fmla="*/ 1259 w 2338"/>
                  <a:gd name="T67" fmla="*/ 390 h 660"/>
                  <a:gd name="T68" fmla="*/ 1199 w 2338"/>
                  <a:gd name="T69" fmla="*/ 510 h 660"/>
                  <a:gd name="T70" fmla="*/ 1349 w 2338"/>
                  <a:gd name="T71" fmla="*/ 540 h 660"/>
                  <a:gd name="T72" fmla="*/ 1409 w 2338"/>
                  <a:gd name="T73" fmla="*/ 360 h 660"/>
                  <a:gd name="T74" fmla="*/ 1469 w 2338"/>
                  <a:gd name="T75" fmla="*/ 480 h 660"/>
                  <a:gd name="T76" fmla="*/ 1529 w 2338"/>
                  <a:gd name="T77" fmla="*/ 360 h 660"/>
                  <a:gd name="T78" fmla="*/ 1529 w 2338"/>
                  <a:gd name="T79" fmla="*/ 600 h 660"/>
                  <a:gd name="T80" fmla="*/ 1409 w 2338"/>
                  <a:gd name="T81" fmla="*/ 630 h 660"/>
                  <a:gd name="T82" fmla="*/ 1649 w 2338"/>
                  <a:gd name="T83" fmla="*/ 300 h 660"/>
                  <a:gd name="T84" fmla="*/ 1649 w 2338"/>
                  <a:gd name="T85" fmla="*/ 510 h 660"/>
                  <a:gd name="T86" fmla="*/ 1709 w 2338"/>
                  <a:gd name="T87" fmla="*/ 420 h 660"/>
                  <a:gd name="T88" fmla="*/ 1799 w 2338"/>
                  <a:gd name="T89" fmla="*/ 360 h 660"/>
                  <a:gd name="T90" fmla="*/ 1799 w 2338"/>
                  <a:gd name="T91" fmla="*/ 480 h 660"/>
                  <a:gd name="T92" fmla="*/ 1739 w 2338"/>
                  <a:gd name="T93" fmla="*/ 600 h 660"/>
                  <a:gd name="T94" fmla="*/ 1889 w 2338"/>
                  <a:gd name="T95" fmla="*/ 540 h 660"/>
                  <a:gd name="T96" fmla="*/ 1949 w 2338"/>
                  <a:gd name="T97" fmla="*/ 660 h 660"/>
                  <a:gd name="T98" fmla="*/ 2039 w 2338"/>
                  <a:gd name="T99" fmla="*/ 570 h 660"/>
                  <a:gd name="T100" fmla="*/ 2009 w 2338"/>
                  <a:gd name="T101" fmla="*/ 450 h 660"/>
                  <a:gd name="T102" fmla="*/ 1919 w 2338"/>
                  <a:gd name="T103" fmla="*/ 420 h 660"/>
                  <a:gd name="T104" fmla="*/ 2009 w 2338"/>
                  <a:gd name="T105" fmla="*/ 300 h 660"/>
                  <a:gd name="T106" fmla="*/ 2129 w 2338"/>
                  <a:gd name="T107" fmla="*/ 360 h 660"/>
                  <a:gd name="T108" fmla="*/ 2159 w 2338"/>
                  <a:gd name="T109" fmla="*/ 510 h 660"/>
                  <a:gd name="T110" fmla="*/ 2338 w 2338"/>
                  <a:gd name="T111" fmla="*/ 540 h 660"/>
                  <a:gd name="T112" fmla="*/ 2218 w 2338"/>
                  <a:gd name="T113" fmla="*/ 660 h 660"/>
                  <a:gd name="T114" fmla="*/ 2248 w 2338"/>
                  <a:gd name="T115" fmla="*/ 390 h 660"/>
                  <a:gd name="T116" fmla="*/ 2069 w 2338"/>
                  <a:gd name="T117" fmla="*/ 24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38" h="660">
                    <a:moveTo>
                      <a:pt x="30" y="420"/>
                    </a:moveTo>
                    <a:lnTo>
                      <a:pt x="0" y="270"/>
                    </a:lnTo>
                    <a:lnTo>
                      <a:pt x="150" y="510"/>
                    </a:lnTo>
                    <a:lnTo>
                      <a:pt x="210" y="420"/>
                    </a:lnTo>
                    <a:lnTo>
                      <a:pt x="210" y="120"/>
                    </a:lnTo>
                    <a:lnTo>
                      <a:pt x="60" y="150"/>
                    </a:lnTo>
                    <a:lnTo>
                      <a:pt x="120" y="0"/>
                    </a:lnTo>
                    <a:lnTo>
                      <a:pt x="330" y="90"/>
                    </a:lnTo>
                    <a:lnTo>
                      <a:pt x="420" y="210"/>
                    </a:lnTo>
                    <a:lnTo>
                      <a:pt x="210" y="120"/>
                    </a:lnTo>
                    <a:lnTo>
                      <a:pt x="270" y="240"/>
                    </a:lnTo>
                    <a:lnTo>
                      <a:pt x="420" y="210"/>
                    </a:lnTo>
                    <a:lnTo>
                      <a:pt x="510" y="120"/>
                    </a:lnTo>
                    <a:lnTo>
                      <a:pt x="599" y="210"/>
                    </a:lnTo>
                    <a:lnTo>
                      <a:pt x="809" y="150"/>
                    </a:lnTo>
                    <a:lnTo>
                      <a:pt x="719" y="240"/>
                    </a:lnTo>
                    <a:lnTo>
                      <a:pt x="510" y="480"/>
                    </a:lnTo>
                    <a:lnTo>
                      <a:pt x="689" y="510"/>
                    </a:lnTo>
                    <a:lnTo>
                      <a:pt x="689" y="660"/>
                    </a:lnTo>
                    <a:lnTo>
                      <a:pt x="569" y="600"/>
                    </a:lnTo>
                    <a:lnTo>
                      <a:pt x="300" y="570"/>
                    </a:lnTo>
                    <a:lnTo>
                      <a:pt x="420" y="330"/>
                    </a:lnTo>
                    <a:lnTo>
                      <a:pt x="569" y="360"/>
                    </a:lnTo>
                    <a:lnTo>
                      <a:pt x="599" y="210"/>
                    </a:lnTo>
                    <a:lnTo>
                      <a:pt x="749" y="420"/>
                    </a:lnTo>
                    <a:lnTo>
                      <a:pt x="689" y="510"/>
                    </a:lnTo>
                    <a:lnTo>
                      <a:pt x="809" y="600"/>
                    </a:lnTo>
                    <a:lnTo>
                      <a:pt x="929" y="540"/>
                    </a:lnTo>
                    <a:lnTo>
                      <a:pt x="1079" y="570"/>
                    </a:lnTo>
                    <a:lnTo>
                      <a:pt x="1049" y="450"/>
                    </a:lnTo>
                    <a:lnTo>
                      <a:pt x="959" y="420"/>
                    </a:lnTo>
                    <a:lnTo>
                      <a:pt x="1049" y="300"/>
                    </a:lnTo>
                    <a:lnTo>
                      <a:pt x="1169" y="360"/>
                    </a:lnTo>
                    <a:lnTo>
                      <a:pt x="1259" y="390"/>
                    </a:lnTo>
                    <a:lnTo>
                      <a:pt x="1199" y="510"/>
                    </a:lnTo>
                    <a:lnTo>
                      <a:pt x="1349" y="540"/>
                    </a:lnTo>
                    <a:lnTo>
                      <a:pt x="1409" y="360"/>
                    </a:lnTo>
                    <a:lnTo>
                      <a:pt x="1469" y="480"/>
                    </a:lnTo>
                    <a:lnTo>
                      <a:pt x="1529" y="360"/>
                    </a:lnTo>
                    <a:lnTo>
                      <a:pt x="1529" y="600"/>
                    </a:lnTo>
                    <a:lnTo>
                      <a:pt x="1409" y="630"/>
                    </a:lnTo>
                    <a:lnTo>
                      <a:pt x="1649" y="300"/>
                    </a:lnTo>
                    <a:lnTo>
                      <a:pt x="1649" y="510"/>
                    </a:lnTo>
                    <a:lnTo>
                      <a:pt x="1709" y="420"/>
                    </a:lnTo>
                    <a:lnTo>
                      <a:pt x="1799" y="360"/>
                    </a:lnTo>
                    <a:lnTo>
                      <a:pt x="1799" y="480"/>
                    </a:lnTo>
                    <a:lnTo>
                      <a:pt x="1739" y="600"/>
                    </a:lnTo>
                    <a:lnTo>
                      <a:pt x="1889" y="540"/>
                    </a:lnTo>
                    <a:lnTo>
                      <a:pt x="1949" y="660"/>
                    </a:lnTo>
                    <a:lnTo>
                      <a:pt x="2039" y="570"/>
                    </a:lnTo>
                    <a:lnTo>
                      <a:pt x="2009" y="450"/>
                    </a:lnTo>
                    <a:lnTo>
                      <a:pt x="1919" y="420"/>
                    </a:lnTo>
                    <a:lnTo>
                      <a:pt x="2009" y="300"/>
                    </a:lnTo>
                    <a:lnTo>
                      <a:pt x="2129" y="360"/>
                    </a:lnTo>
                    <a:lnTo>
                      <a:pt x="2159" y="510"/>
                    </a:lnTo>
                    <a:lnTo>
                      <a:pt x="2338" y="540"/>
                    </a:lnTo>
                    <a:lnTo>
                      <a:pt x="2218" y="660"/>
                    </a:lnTo>
                    <a:lnTo>
                      <a:pt x="2248" y="390"/>
                    </a:lnTo>
                    <a:lnTo>
                      <a:pt x="2069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4" name="Freeform 2591">
                <a:extLst>
                  <a:ext uri="{FF2B5EF4-FFF2-40B4-BE49-F238E27FC236}">
                    <a16:creationId xmlns:a16="http://schemas.microsoft.com/office/drawing/2014/main" xmlns="" id="{61E8B349-6463-46DF-AC6B-5C154E6692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2760"/>
                <a:ext cx="269" cy="300"/>
              </a:xfrm>
              <a:custGeom>
                <a:avLst/>
                <a:gdLst>
                  <a:gd name="T0" fmla="*/ 269 w 269"/>
                  <a:gd name="T1" fmla="*/ 0 h 300"/>
                  <a:gd name="T2" fmla="*/ 120 w 269"/>
                  <a:gd name="T3" fmla="*/ 150 h 300"/>
                  <a:gd name="T4" fmla="*/ 0 w 269"/>
                  <a:gd name="T5" fmla="*/ 240 h 300"/>
                  <a:gd name="T6" fmla="*/ 150 w 269"/>
                  <a:gd name="T7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9" h="300">
                    <a:moveTo>
                      <a:pt x="269" y="0"/>
                    </a:moveTo>
                    <a:lnTo>
                      <a:pt x="120" y="150"/>
                    </a:lnTo>
                    <a:lnTo>
                      <a:pt x="0" y="240"/>
                    </a:lnTo>
                    <a:lnTo>
                      <a:pt x="15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5" name="Freeform 2592">
                <a:extLst>
                  <a:ext uri="{FF2B5EF4-FFF2-40B4-BE49-F238E27FC236}">
                    <a16:creationId xmlns:a16="http://schemas.microsoft.com/office/drawing/2014/main" xmlns="" id="{CB8C6787-2151-4549-B622-336CE9358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2790"/>
                <a:ext cx="1289" cy="420"/>
              </a:xfrm>
              <a:custGeom>
                <a:avLst/>
                <a:gdLst>
                  <a:gd name="T0" fmla="*/ 210 w 1289"/>
                  <a:gd name="T1" fmla="*/ 240 h 420"/>
                  <a:gd name="T2" fmla="*/ 150 w 1289"/>
                  <a:gd name="T3" fmla="*/ 390 h 420"/>
                  <a:gd name="T4" fmla="*/ 90 w 1289"/>
                  <a:gd name="T5" fmla="*/ 300 h 420"/>
                  <a:gd name="T6" fmla="*/ 0 w 1289"/>
                  <a:gd name="T7" fmla="*/ 150 h 420"/>
                  <a:gd name="T8" fmla="*/ 150 w 1289"/>
                  <a:gd name="T9" fmla="*/ 120 h 420"/>
                  <a:gd name="T10" fmla="*/ 300 w 1289"/>
                  <a:gd name="T11" fmla="*/ 30 h 420"/>
                  <a:gd name="T12" fmla="*/ 390 w 1289"/>
                  <a:gd name="T13" fmla="*/ 60 h 420"/>
                  <a:gd name="T14" fmla="*/ 450 w 1289"/>
                  <a:gd name="T15" fmla="*/ 180 h 420"/>
                  <a:gd name="T16" fmla="*/ 480 w 1289"/>
                  <a:gd name="T17" fmla="*/ 30 h 420"/>
                  <a:gd name="T18" fmla="*/ 600 w 1289"/>
                  <a:gd name="T19" fmla="*/ 0 h 420"/>
                  <a:gd name="T20" fmla="*/ 540 w 1289"/>
                  <a:gd name="T21" fmla="*/ 120 h 420"/>
                  <a:gd name="T22" fmla="*/ 660 w 1289"/>
                  <a:gd name="T23" fmla="*/ 180 h 420"/>
                  <a:gd name="T24" fmla="*/ 630 w 1289"/>
                  <a:gd name="T25" fmla="*/ 300 h 420"/>
                  <a:gd name="T26" fmla="*/ 780 w 1289"/>
                  <a:gd name="T27" fmla="*/ 330 h 420"/>
                  <a:gd name="T28" fmla="*/ 959 w 1289"/>
                  <a:gd name="T29" fmla="*/ 420 h 420"/>
                  <a:gd name="T30" fmla="*/ 1289 w 1289"/>
                  <a:gd name="T31" fmla="*/ 42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89" h="420">
                    <a:moveTo>
                      <a:pt x="210" y="240"/>
                    </a:moveTo>
                    <a:lnTo>
                      <a:pt x="150" y="390"/>
                    </a:lnTo>
                    <a:lnTo>
                      <a:pt x="90" y="300"/>
                    </a:lnTo>
                    <a:lnTo>
                      <a:pt x="0" y="150"/>
                    </a:lnTo>
                    <a:lnTo>
                      <a:pt x="150" y="120"/>
                    </a:lnTo>
                    <a:lnTo>
                      <a:pt x="300" y="30"/>
                    </a:lnTo>
                    <a:lnTo>
                      <a:pt x="390" y="60"/>
                    </a:lnTo>
                    <a:lnTo>
                      <a:pt x="450" y="180"/>
                    </a:lnTo>
                    <a:lnTo>
                      <a:pt x="480" y="30"/>
                    </a:lnTo>
                    <a:lnTo>
                      <a:pt x="600" y="0"/>
                    </a:lnTo>
                    <a:lnTo>
                      <a:pt x="540" y="120"/>
                    </a:lnTo>
                    <a:lnTo>
                      <a:pt x="660" y="180"/>
                    </a:lnTo>
                    <a:lnTo>
                      <a:pt x="630" y="300"/>
                    </a:lnTo>
                    <a:lnTo>
                      <a:pt x="780" y="330"/>
                    </a:lnTo>
                    <a:lnTo>
                      <a:pt x="959" y="420"/>
                    </a:lnTo>
                    <a:lnTo>
                      <a:pt x="1289" y="4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6" name="Freeform 2593">
                <a:extLst>
                  <a:ext uri="{FF2B5EF4-FFF2-40B4-BE49-F238E27FC236}">
                    <a16:creationId xmlns:a16="http://schemas.microsoft.com/office/drawing/2014/main" xmlns="" id="{3F87CB06-0890-4B3F-A2A9-5FBD539A40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6" y="2130"/>
                <a:ext cx="629" cy="720"/>
              </a:xfrm>
              <a:custGeom>
                <a:avLst/>
                <a:gdLst>
                  <a:gd name="T0" fmla="*/ 629 w 629"/>
                  <a:gd name="T1" fmla="*/ 720 h 720"/>
                  <a:gd name="T2" fmla="*/ 479 w 629"/>
                  <a:gd name="T3" fmla="*/ 690 h 720"/>
                  <a:gd name="T4" fmla="*/ 599 w 629"/>
                  <a:gd name="T5" fmla="*/ 510 h 720"/>
                  <a:gd name="T6" fmla="*/ 389 w 629"/>
                  <a:gd name="T7" fmla="*/ 570 h 720"/>
                  <a:gd name="T8" fmla="*/ 269 w 629"/>
                  <a:gd name="T9" fmla="*/ 510 h 720"/>
                  <a:gd name="T10" fmla="*/ 90 w 629"/>
                  <a:gd name="T11" fmla="*/ 540 h 720"/>
                  <a:gd name="T12" fmla="*/ 0 w 629"/>
                  <a:gd name="T13" fmla="*/ 390 h 720"/>
                  <a:gd name="T14" fmla="*/ 0 w 629"/>
                  <a:gd name="T15" fmla="*/ 630 h 720"/>
                  <a:gd name="T16" fmla="*/ 90 w 629"/>
                  <a:gd name="T17" fmla="*/ 300 h 720"/>
                  <a:gd name="T18" fmla="*/ 0 w 629"/>
                  <a:gd name="T19" fmla="*/ 210 h 720"/>
                  <a:gd name="T20" fmla="*/ 0 w 629"/>
                  <a:gd name="T21" fmla="*/ 60 h 720"/>
                  <a:gd name="T22" fmla="*/ 60 w 629"/>
                  <a:gd name="T23" fmla="*/ 0 h 720"/>
                  <a:gd name="T24" fmla="*/ 149 w 629"/>
                  <a:gd name="T25" fmla="*/ 180 h 720"/>
                  <a:gd name="T26" fmla="*/ 329 w 629"/>
                  <a:gd name="T27" fmla="*/ 240 h 720"/>
                  <a:gd name="T28" fmla="*/ 359 w 629"/>
                  <a:gd name="T29" fmla="*/ 9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29" h="720">
                    <a:moveTo>
                      <a:pt x="629" y="720"/>
                    </a:moveTo>
                    <a:lnTo>
                      <a:pt x="479" y="690"/>
                    </a:lnTo>
                    <a:lnTo>
                      <a:pt x="599" y="510"/>
                    </a:lnTo>
                    <a:lnTo>
                      <a:pt x="389" y="570"/>
                    </a:lnTo>
                    <a:lnTo>
                      <a:pt x="269" y="510"/>
                    </a:lnTo>
                    <a:lnTo>
                      <a:pt x="90" y="540"/>
                    </a:lnTo>
                    <a:lnTo>
                      <a:pt x="0" y="390"/>
                    </a:lnTo>
                    <a:lnTo>
                      <a:pt x="0" y="630"/>
                    </a:lnTo>
                    <a:lnTo>
                      <a:pt x="90" y="300"/>
                    </a:lnTo>
                    <a:lnTo>
                      <a:pt x="0" y="210"/>
                    </a:lnTo>
                    <a:lnTo>
                      <a:pt x="0" y="60"/>
                    </a:lnTo>
                    <a:lnTo>
                      <a:pt x="60" y="0"/>
                    </a:lnTo>
                    <a:lnTo>
                      <a:pt x="149" y="180"/>
                    </a:lnTo>
                    <a:lnTo>
                      <a:pt x="329" y="240"/>
                    </a:lnTo>
                    <a:lnTo>
                      <a:pt x="359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7" name="Freeform 2594">
                <a:extLst>
                  <a:ext uri="{FF2B5EF4-FFF2-40B4-BE49-F238E27FC236}">
                    <a16:creationId xmlns:a16="http://schemas.microsoft.com/office/drawing/2014/main" xmlns="" id="{4548C39E-0139-47DF-8364-444C19EDF5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5" y="2640"/>
                <a:ext cx="780" cy="480"/>
              </a:xfrm>
              <a:custGeom>
                <a:avLst/>
                <a:gdLst>
                  <a:gd name="T0" fmla="*/ 330 w 780"/>
                  <a:gd name="T1" fmla="*/ 360 h 480"/>
                  <a:gd name="T2" fmla="*/ 210 w 780"/>
                  <a:gd name="T3" fmla="*/ 450 h 480"/>
                  <a:gd name="T4" fmla="*/ 120 w 780"/>
                  <a:gd name="T5" fmla="*/ 390 h 480"/>
                  <a:gd name="T6" fmla="*/ 120 w 780"/>
                  <a:gd name="T7" fmla="*/ 270 h 480"/>
                  <a:gd name="T8" fmla="*/ 180 w 780"/>
                  <a:gd name="T9" fmla="*/ 180 h 480"/>
                  <a:gd name="T10" fmla="*/ 0 w 780"/>
                  <a:gd name="T11" fmla="*/ 150 h 480"/>
                  <a:gd name="T12" fmla="*/ 30 w 780"/>
                  <a:gd name="T13" fmla="*/ 330 h 480"/>
                  <a:gd name="T14" fmla="*/ 120 w 780"/>
                  <a:gd name="T15" fmla="*/ 270 h 480"/>
                  <a:gd name="T16" fmla="*/ 240 w 780"/>
                  <a:gd name="T17" fmla="*/ 330 h 480"/>
                  <a:gd name="T18" fmla="*/ 360 w 780"/>
                  <a:gd name="T19" fmla="*/ 480 h 480"/>
                  <a:gd name="T20" fmla="*/ 480 w 780"/>
                  <a:gd name="T21" fmla="*/ 420 h 480"/>
                  <a:gd name="T22" fmla="*/ 330 w 780"/>
                  <a:gd name="T23" fmla="*/ 360 h 480"/>
                  <a:gd name="T24" fmla="*/ 450 w 780"/>
                  <a:gd name="T25" fmla="*/ 270 h 480"/>
                  <a:gd name="T26" fmla="*/ 510 w 780"/>
                  <a:gd name="T27" fmla="*/ 90 h 480"/>
                  <a:gd name="T28" fmla="*/ 690 w 780"/>
                  <a:gd name="T29" fmla="*/ 0 h 480"/>
                  <a:gd name="T30" fmla="*/ 450 w 780"/>
                  <a:gd name="T31" fmla="*/ 0 h 480"/>
                  <a:gd name="T32" fmla="*/ 780 w 780"/>
                  <a:gd name="T33" fmla="*/ 9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80" h="480">
                    <a:moveTo>
                      <a:pt x="330" y="360"/>
                    </a:moveTo>
                    <a:lnTo>
                      <a:pt x="210" y="450"/>
                    </a:lnTo>
                    <a:lnTo>
                      <a:pt x="120" y="390"/>
                    </a:lnTo>
                    <a:lnTo>
                      <a:pt x="120" y="270"/>
                    </a:lnTo>
                    <a:lnTo>
                      <a:pt x="180" y="180"/>
                    </a:lnTo>
                    <a:lnTo>
                      <a:pt x="0" y="150"/>
                    </a:lnTo>
                    <a:lnTo>
                      <a:pt x="30" y="330"/>
                    </a:lnTo>
                    <a:lnTo>
                      <a:pt x="120" y="270"/>
                    </a:lnTo>
                    <a:lnTo>
                      <a:pt x="240" y="330"/>
                    </a:lnTo>
                    <a:lnTo>
                      <a:pt x="360" y="480"/>
                    </a:lnTo>
                    <a:lnTo>
                      <a:pt x="480" y="420"/>
                    </a:lnTo>
                    <a:lnTo>
                      <a:pt x="330" y="360"/>
                    </a:lnTo>
                    <a:lnTo>
                      <a:pt x="450" y="270"/>
                    </a:lnTo>
                    <a:lnTo>
                      <a:pt x="510" y="90"/>
                    </a:lnTo>
                    <a:lnTo>
                      <a:pt x="690" y="0"/>
                    </a:lnTo>
                    <a:lnTo>
                      <a:pt x="450" y="0"/>
                    </a:lnTo>
                    <a:lnTo>
                      <a:pt x="7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8" name="Line 2595">
                <a:extLst>
                  <a:ext uri="{FF2B5EF4-FFF2-40B4-BE49-F238E27FC236}">
                    <a16:creationId xmlns:a16="http://schemas.microsoft.com/office/drawing/2014/main" xmlns="" id="{02A9CA6B-F6F4-4EFA-B080-E6C82310B0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325" y="297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9" name="Freeform 2596">
                <a:extLst>
                  <a:ext uri="{FF2B5EF4-FFF2-40B4-BE49-F238E27FC236}">
                    <a16:creationId xmlns:a16="http://schemas.microsoft.com/office/drawing/2014/main" xmlns="" id="{E4963B18-43DB-47F0-8683-55CC8709EF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2820"/>
                <a:ext cx="449" cy="390"/>
              </a:xfrm>
              <a:custGeom>
                <a:avLst/>
                <a:gdLst>
                  <a:gd name="T0" fmla="*/ 179 w 449"/>
                  <a:gd name="T1" fmla="*/ 390 h 390"/>
                  <a:gd name="T2" fmla="*/ 329 w 449"/>
                  <a:gd name="T3" fmla="*/ 210 h 390"/>
                  <a:gd name="T4" fmla="*/ 449 w 449"/>
                  <a:gd name="T5" fmla="*/ 150 h 390"/>
                  <a:gd name="T6" fmla="*/ 389 w 449"/>
                  <a:gd name="T7" fmla="*/ 0 h 390"/>
                  <a:gd name="T8" fmla="*/ 0 w 449"/>
                  <a:gd name="T9" fmla="*/ 21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9" h="390">
                    <a:moveTo>
                      <a:pt x="179" y="390"/>
                    </a:moveTo>
                    <a:lnTo>
                      <a:pt x="329" y="210"/>
                    </a:lnTo>
                    <a:lnTo>
                      <a:pt x="449" y="150"/>
                    </a:lnTo>
                    <a:lnTo>
                      <a:pt x="389" y="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0" name="Freeform 2597">
                <a:extLst>
                  <a:ext uri="{FF2B5EF4-FFF2-40B4-BE49-F238E27FC236}">
                    <a16:creationId xmlns:a16="http://schemas.microsoft.com/office/drawing/2014/main" xmlns="" id="{4162F866-4D98-4462-9131-55ED627942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5" y="2310"/>
                <a:ext cx="870" cy="600"/>
              </a:xfrm>
              <a:custGeom>
                <a:avLst/>
                <a:gdLst>
                  <a:gd name="T0" fmla="*/ 0 w 870"/>
                  <a:gd name="T1" fmla="*/ 480 h 600"/>
                  <a:gd name="T2" fmla="*/ 60 w 870"/>
                  <a:gd name="T3" fmla="*/ 600 h 600"/>
                  <a:gd name="T4" fmla="*/ 270 w 870"/>
                  <a:gd name="T5" fmla="*/ 480 h 600"/>
                  <a:gd name="T6" fmla="*/ 390 w 870"/>
                  <a:gd name="T7" fmla="*/ 420 h 600"/>
                  <a:gd name="T8" fmla="*/ 540 w 870"/>
                  <a:gd name="T9" fmla="*/ 420 h 600"/>
                  <a:gd name="T10" fmla="*/ 750 w 870"/>
                  <a:gd name="T11" fmla="*/ 480 h 600"/>
                  <a:gd name="T12" fmla="*/ 870 w 870"/>
                  <a:gd name="T13" fmla="*/ 330 h 600"/>
                  <a:gd name="T14" fmla="*/ 660 w 870"/>
                  <a:gd name="T15" fmla="*/ 390 h 600"/>
                  <a:gd name="T16" fmla="*/ 540 w 870"/>
                  <a:gd name="T17" fmla="*/ 330 h 600"/>
                  <a:gd name="T18" fmla="*/ 420 w 870"/>
                  <a:gd name="T19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70" h="600">
                    <a:moveTo>
                      <a:pt x="0" y="480"/>
                    </a:moveTo>
                    <a:lnTo>
                      <a:pt x="60" y="600"/>
                    </a:lnTo>
                    <a:lnTo>
                      <a:pt x="270" y="480"/>
                    </a:lnTo>
                    <a:lnTo>
                      <a:pt x="390" y="420"/>
                    </a:lnTo>
                    <a:lnTo>
                      <a:pt x="540" y="420"/>
                    </a:lnTo>
                    <a:lnTo>
                      <a:pt x="750" y="480"/>
                    </a:lnTo>
                    <a:lnTo>
                      <a:pt x="870" y="330"/>
                    </a:lnTo>
                    <a:lnTo>
                      <a:pt x="660" y="390"/>
                    </a:lnTo>
                    <a:lnTo>
                      <a:pt x="540" y="330"/>
                    </a:lnTo>
                    <a:lnTo>
                      <a:pt x="42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1" name="Line 2598">
                <a:extLst>
                  <a:ext uri="{FF2B5EF4-FFF2-40B4-BE49-F238E27FC236}">
                    <a16:creationId xmlns:a16="http://schemas.microsoft.com/office/drawing/2014/main" xmlns="" id="{B149B913-9F5F-4B5B-8555-E78A75B084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745" y="2910"/>
                <a:ext cx="3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2" name="Freeform 2599">
                <a:extLst>
                  <a:ext uri="{FF2B5EF4-FFF2-40B4-BE49-F238E27FC236}">
                    <a16:creationId xmlns:a16="http://schemas.microsoft.com/office/drawing/2014/main" xmlns="" id="{3B698112-32DC-43FE-B317-EFA7B3D3FB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3060"/>
                <a:ext cx="210" cy="90"/>
              </a:xfrm>
              <a:custGeom>
                <a:avLst/>
                <a:gdLst>
                  <a:gd name="T0" fmla="*/ 0 w 210"/>
                  <a:gd name="T1" fmla="*/ 90 h 90"/>
                  <a:gd name="T2" fmla="*/ 120 w 210"/>
                  <a:gd name="T3" fmla="*/ 0 h 90"/>
                  <a:gd name="T4" fmla="*/ 210 w 210"/>
                  <a:gd name="T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90">
                    <a:moveTo>
                      <a:pt x="0" y="90"/>
                    </a:moveTo>
                    <a:lnTo>
                      <a:pt x="120" y="0"/>
                    </a:lnTo>
                    <a:lnTo>
                      <a:pt x="21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3" name="Line 2600">
                <a:extLst>
                  <a:ext uri="{FF2B5EF4-FFF2-40B4-BE49-F238E27FC236}">
                    <a16:creationId xmlns:a16="http://schemas.microsoft.com/office/drawing/2014/main" xmlns="" id="{C11FB5F8-B4A0-46C0-A487-FC21AAAE75F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805" y="2730"/>
                <a:ext cx="30" cy="21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4" name="Freeform 2601">
                <a:extLst>
                  <a:ext uri="{FF2B5EF4-FFF2-40B4-BE49-F238E27FC236}">
                    <a16:creationId xmlns:a16="http://schemas.microsoft.com/office/drawing/2014/main" xmlns="" id="{85AB6DE3-9020-40FD-B526-F7C3861B6A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5" y="2730"/>
                <a:ext cx="90" cy="120"/>
              </a:xfrm>
              <a:custGeom>
                <a:avLst/>
                <a:gdLst>
                  <a:gd name="T0" fmla="*/ 0 w 90"/>
                  <a:gd name="T1" fmla="*/ 0 h 120"/>
                  <a:gd name="T2" fmla="*/ 90 w 90"/>
                  <a:gd name="T3" fmla="*/ 90 h 120"/>
                  <a:gd name="T4" fmla="*/ 0 w 90"/>
                  <a:gd name="T5" fmla="*/ 120 h 120"/>
                  <a:gd name="T6" fmla="*/ 0 w 90"/>
                  <a:gd name="T7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120">
                    <a:moveTo>
                      <a:pt x="0" y="0"/>
                    </a:moveTo>
                    <a:lnTo>
                      <a:pt x="90" y="90"/>
                    </a:lnTo>
                    <a:lnTo>
                      <a:pt x="0" y="1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5" name="Freeform 2602">
                <a:extLst>
                  <a:ext uri="{FF2B5EF4-FFF2-40B4-BE49-F238E27FC236}">
                    <a16:creationId xmlns:a16="http://schemas.microsoft.com/office/drawing/2014/main" xmlns="" id="{AF7CE624-D278-4160-97B2-C67FF8656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2820"/>
                <a:ext cx="270" cy="90"/>
              </a:xfrm>
              <a:custGeom>
                <a:avLst/>
                <a:gdLst>
                  <a:gd name="T0" fmla="*/ 60 w 270"/>
                  <a:gd name="T1" fmla="*/ 90 h 90"/>
                  <a:gd name="T2" fmla="*/ 0 w 270"/>
                  <a:gd name="T3" fmla="*/ 0 h 90"/>
                  <a:gd name="T4" fmla="*/ 270 w 270"/>
                  <a:gd name="T5" fmla="*/ 3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90">
                    <a:moveTo>
                      <a:pt x="60" y="90"/>
                    </a:moveTo>
                    <a:lnTo>
                      <a:pt x="0" y="0"/>
                    </a:lnTo>
                    <a:lnTo>
                      <a:pt x="27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6" name="Freeform 2603">
                <a:extLst>
                  <a:ext uri="{FF2B5EF4-FFF2-40B4-BE49-F238E27FC236}">
                    <a16:creationId xmlns:a16="http://schemas.microsoft.com/office/drawing/2014/main" xmlns="" id="{B75A4F43-CEBD-42D1-93F6-07298FA721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2730"/>
                <a:ext cx="540" cy="330"/>
              </a:xfrm>
              <a:custGeom>
                <a:avLst/>
                <a:gdLst>
                  <a:gd name="T0" fmla="*/ 540 w 540"/>
                  <a:gd name="T1" fmla="*/ 240 h 330"/>
                  <a:gd name="T2" fmla="*/ 420 w 540"/>
                  <a:gd name="T3" fmla="*/ 300 h 330"/>
                  <a:gd name="T4" fmla="*/ 270 w 540"/>
                  <a:gd name="T5" fmla="*/ 330 h 330"/>
                  <a:gd name="T6" fmla="*/ 150 w 540"/>
                  <a:gd name="T7" fmla="*/ 180 h 330"/>
                  <a:gd name="T8" fmla="*/ 180 w 540"/>
                  <a:gd name="T9" fmla="*/ 90 h 330"/>
                  <a:gd name="T10" fmla="*/ 120 w 540"/>
                  <a:gd name="T11" fmla="*/ 0 h 330"/>
                  <a:gd name="T12" fmla="*/ 30 w 540"/>
                  <a:gd name="T13" fmla="*/ 180 h 330"/>
                  <a:gd name="T14" fmla="*/ 0 w 540"/>
                  <a:gd name="T15" fmla="*/ 6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0" h="330">
                    <a:moveTo>
                      <a:pt x="540" y="240"/>
                    </a:moveTo>
                    <a:lnTo>
                      <a:pt x="420" y="300"/>
                    </a:lnTo>
                    <a:lnTo>
                      <a:pt x="270" y="330"/>
                    </a:lnTo>
                    <a:lnTo>
                      <a:pt x="150" y="180"/>
                    </a:lnTo>
                    <a:lnTo>
                      <a:pt x="180" y="90"/>
                    </a:lnTo>
                    <a:lnTo>
                      <a:pt x="120" y="0"/>
                    </a:lnTo>
                    <a:lnTo>
                      <a:pt x="30" y="18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7" name="Line 2604">
                <a:extLst>
                  <a:ext uri="{FF2B5EF4-FFF2-40B4-BE49-F238E27FC236}">
                    <a16:creationId xmlns:a16="http://schemas.microsoft.com/office/drawing/2014/main" xmlns="" id="{05CB103C-1AAD-4077-A180-D136EB7803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95" y="153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8" name="Freeform 2605">
                <a:extLst>
                  <a:ext uri="{FF2B5EF4-FFF2-40B4-BE49-F238E27FC236}">
                    <a16:creationId xmlns:a16="http://schemas.microsoft.com/office/drawing/2014/main" xmlns="" id="{B6BF3D62-DD5F-40F9-836C-0EDABED165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5" y="1620"/>
                <a:ext cx="180" cy="150"/>
              </a:xfrm>
              <a:custGeom>
                <a:avLst/>
                <a:gdLst>
                  <a:gd name="T0" fmla="*/ 0 w 180"/>
                  <a:gd name="T1" fmla="*/ 0 h 150"/>
                  <a:gd name="T2" fmla="*/ 180 w 180"/>
                  <a:gd name="T3" fmla="*/ 150 h 150"/>
                  <a:gd name="T4" fmla="*/ 120 w 180"/>
                  <a:gd name="T5" fmla="*/ 3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0" y="0"/>
                    </a:moveTo>
                    <a:lnTo>
                      <a:pt x="180" y="150"/>
                    </a:lnTo>
                    <a:lnTo>
                      <a:pt x="12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9" name="Line 2606">
                <a:extLst>
                  <a:ext uri="{FF2B5EF4-FFF2-40B4-BE49-F238E27FC236}">
                    <a16:creationId xmlns:a16="http://schemas.microsoft.com/office/drawing/2014/main" xmlns="" id="{A8AE8648-EA71-424F-A9F5-862929EB2BA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985" y="165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0" name="Line 2607">
                <a:extLst>
                  <a:ext uri="{FF2B5EF4-FFF2-40B4-BE49-F238E27FC236}">
                    <a16:creationId xmlns:a16="http://schemas.microsoft.com/office/drawing/2014/main" xmlns="" id="{2799DE3B-B91D-41C0-BD37-0BDF2DC18F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15" y="159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1" name="Line 2608">
                <a:extLst>
                  <a:ext uri="{FF2B5EF4-FFF2-40B4-BE49-F238E27FC236}">
                    <a16:creationId xmlns:a16="http://schemas.microsoft.com/office/drawing/2014/main" xmlns="" id="{99F71AAF-D0BB-4EE3-AB40-71403026BA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85" y="150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2" name="Freeform 2609">
                <a:extLst>
                  <a:ext uri="{FF2B5EF4-FFF2-40B4-BE49-F238E27FC236}">
                    <a16:creationId xmlns:a16="http://schemas.microsoft.com/office/drawing/2014/main" xmlns="" id="{510EBC42-E500-4B5D-9B53-DAB2D35C19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470"/>
                <a:ext cx="330" cy="210"/>
              </a:xfrm>
              <a:custGeom>
                <a:avLst/>
                <a:gdLst>
                  <a:gd name="T0" fmla="*/ 0 w 330"/>
                  <a:gd name="T1" fmla="*/ 150 h 210"/>
                  <a:gd name="T2" fmla="*/ 60 w 330"/>
                  <a:gd name="T3" fmla="*/ 210 h 210"/>
                  <a:gd name="T4" fmla="*/ 150 w 330"/>
                  <a:gd name="T5" fmla="*/ 150 h 210"/>
                  <a:gd name="T6" fmla="*/ 210 w 330"/>
                  <a:gd name="T7" fmla="*/ 60 h 210"/>
                  <a:gd name="T8" fmla="*/ 330 w 330"/>
                  <a:gd name="T9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0" h="210">
                    <a:moveTo>
                      <a:pt x="0" y="150"/>
                    </a:moveTo>
                    <a:lnTo>
                      <a:pt x="60" y="210"/>
                    </a:lnTo>
                    <a:lnTo>
                      <a:pt x="150" y="150"/>
                    </a:lnTo>
                    <a:lnTo>
                      <a:pt x="210" y="60"/>
                    </a:lnTo>
                    <a:lnTo>
                      <a:pt x="33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3" name="Freeform 2610">
                <a:extLst>
                  <a:ext uri="{FF2B5EF4-FFF2-40B4-BE49-F238E27FC236}">
                    <a16:creationId xmlns:a16="http://schemas.microsoft.com/office/drawing/2014/main" xmlns="" id="{7A39BFA6-27B9-479D-866C-9CD3133227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1500"/>
                <a:ext cx="270" cy="150"/>
              </a:xfrm>
              <a:custGeom>
                <a:avLst/>
                <a:gdLst>
                  <a:gd name="T0" fmla="*/ 270 w 270"/>
                  <a:gd name="T1" fmla="*/ 90 h 150"/>
                  <a:gd name="T2" fmla="*/ 150 w 270"/>
                  <a:gd name="T3" fmla="*/ 150 h 150"/>
                  <a:gd name="T4" fmla="*/ 30 w 270"/>
                  <a:gd name="T5" fmla="*/ 120 h 150"/>
                  <a:gd name="T6" fmla="*/ 0 w 270"/>
                  <a:gd name="T7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0" h="150">
                    <a:moveTo>
                      <a:pt x="270" y="90"/>
                    </a:moveTo>
                    <a:lnTo>
                      <a:pt x="150" y="150"/>
                    </a:lnTo>
                    <a:lnTo>
                      <a:pt x="30" y="12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4" name="Line 2611">
                <a:extLst>
                  <a:ext uri="{FF2B5EF4-FFF2-40B4-BE49-F238E27FC236}">
                    <a16:creationId xmlns:a16="http://schemas.microsoft.com/office/drawing/2014/main" xmlns="" id="{DC98F95C-6E7D-4060-B7ED-63AB231152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47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5" name="Line 2612">
                <a:extLst>
                  <a:ext uri="{FF2B5EF4-FFF2-40B4-BE49-F238E27FC236}">
                    <a16:creationId xmlns:a16="http://schemas.microsoft.com/office/drawing/2014/main" xmlns="" id="{55DD2FA0-CD80-4BA0-A443-9D8E4D6DFE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75" y="1410"/>
                <a:ext cx="60" cy="9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6" name="Line 2613">
                <a:extLst>
                  <a:ext uri="{FF2B5EF4-FFF2-40B4-BE49-F238E27FC236}">
                    <a16:creationId xmlns:a16="http://schemas.microsoft.com/office/drawing/2014/main" xmlns="" id="{491449A6-FAE7-4F47-8D81-D084F454E7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65" y="15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7" name="Freeform 2614">
                <a:extLst>
                  <a:ext uri="{FF2B5EF4-FFF2-40B4-BE49-F238E27FC236}">
                    <a16:creationId xmlns:a16="http://schemas.microsoft.com/office/drawing/2014/main" xmlns="" id="{A2899F53-D7A7-4CAD-90CB-CE10EF9F7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5" y="1500"/>
                <a:ext cx="180" cy="120"/>
              </a:xfrm>
              <a:custGeom>
                <a:avLst/>
                <a:gdLst>
                  <a:gd name="T0" fmla="*/ 150 w 180"/>
                  <a:gd name="T1" fmla="*/ 0 h 120"/>
                  <a:gd name="T2" fmla="*/ 0 w 180"/>
                  <a:gd name="T3" fmla="*/ 0 h 120"/>
                  <a:gd name="T4" fmla="*/ 30 w 180"/>
                  <a:gd name="T5" fmla="*/ 120 h 120"/>
                  <a:gd name="T6" fmla="*/ 180 w 180"/>
                  <a:gd name="T7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120">
                    <a:moveTo>
                      <a:pt x="150" y="0"/>
                    </a:moveTo>
                    <a:lnTo>
                      <a:pt x="0" y="0"/>
                    </a:lnTo>
                    <a:lnTo>
                      <a:pt x="30" y="120"/>
                    </a:lnTo>
                    <a:lnTo>
                      <a:pt x="180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8" name="Freeform 2615">
                <a:extLst>
                  <a:ext uri="{FF2B5EF4-FFF2-40B4-BE49-F238E27FC236}">
                    <a16:creationId xmlns:a16="http://schemas.microsoft.com/office/drawing/2014/main" xmlns="" id="{A163D17E-1999-4726-8400-10110953F6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4" y="125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9" name="Freeform 2616">
                <a:extLst>
                  <a:ext uri="{FF2B5EF4-FFF2-40B4-BE49-F238E27FC236}">
                    <a16:creationId xmlns:a16="http://schemas.microsoft.com/office/drawing/2014/main" xmlns="" id="{D408923C-239C-44BF-AADA-7C3091343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4" y="206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0" name="Freeform 2617">
                <a:extLst>
                  <a:ext uri="{FF2B5EF4-FFF2-40B4-BE49-F238E27FC236}">
                    <a16:creationId xmlns:a16="http://schemas.microsoft.com/office/drawing/2014/main" xmlns="" id="{32AE745B-ABFE-41D7-9DA7-B24C80C9F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" y="206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1" name="Freeform 2618">
                <a:extLst>
                  <a:ext uri="{FF2B5EF4-FFF2-40B4-BE49-F238E27FC236}">
                    <a16:creationId xmlns:a16="http://schemas.microsoft.com/office/drawing/2014/main" xmlns="" id="{D8991CB3-FE45-4387-9A6C-3B4A0B36DF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4" y="53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2" name="Freeform 2619">
                <a:extLst>
                  <a:ext uri="{FF2B5EF4-FFF2-40B4-BE49-F238E27FC236}">
                    <a16:creationId xmlns:a16="http://schemas.microsoft.com/office/drawing/2014/main" xmlns="" id="{EAF04EAC-D93A-4A1E-97C6-AF806D03AA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3" y="53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3" name="Oval 2620">
                <a:extLst>
                  <a:ext uri="{FF2B5EF4-FFF2-40B4-BE49-F238E27FC236}">
                    <a16:creationId xmlns:a16="http://schemas.microsoft.com/office/drawing/2014/main" xmlns="" id="{1BA75349-6F7C-47B1-B3E9-CE6C30C5A3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4" name="Oval 2621">
                <a:extLst>
                  <a:ext uri="{FF2B5EF4-FFF2-40B4-BE49-F238E27FC236}">
                    <a16:creationId xmlns:a16="http://schemas.microsoft.com/office/drawing/2014/main" xmlns="" id="{53A35804-8EDF-460A-8343-60FC118DFB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5" name="Oval 2622">
                <a:extLst>
                  <a:ext uri="{FF2B5EF4-FFF2-40B4-BE49-F238E27FC236}">
                    <a16:creationId xmlns:a16="http://schemas.microsoft.com/office/drawing/2014/main" xmlns="" id="{E7D85EC5-41DF-49A7-B7A2-722EA3738B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6" name="Oval 2623">
                <a:extLst>
                  <a:ext uri="{FF2B5EF4-FFF2-40B4-BE49-F238E27FC236}">
                    <a16:creationId xmlns:a16="http://schemas.microsoft.com/office/drawing/2014/main" xmlns="" id="{D6C0C636-13DA-4DBE-876C-E4800E8665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7" name="Oval 2624">
                <a:extLst>
                  <a:ext uri="{FF2B5EF4-FFF2-40B4-BE49-F238E27FC236}">
                    <a16:creationId xmlns:a16="http://schemas.microsoft.com/office/drawing/2014/main" xmlns="" id="{82CB0395-2B7E-4696-A21C-A9593D71A6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4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8" name="Oval 2625">
                <a:extLst>
                  <a:ext uri="{FF2B5EF4-FFF2-40B4-BE49-F238E27FC236}">
                    <a16:creationId xmlns:a16="http://schemas.microsoft.com/office/drawing/2014/main" xmlns="" id="{1015450C-3D00-4D5B-A305-286540F7AC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4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9" name="Oval 2626">
                <a:extLst>
                  <a:ext uri="{FF2B5EF4-FFF2-40B4-BE49-F238E27FC236}">
                    <a16:creationId xmlns:a16="http://schemas.microsoft.com/office/drawing/2014/main" xmlns="" id="{3177E992-D42A-45C2-BCA6-86AD3FE483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4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0" name="Oval 2627">
                <a:extLst>
                  <a:ext uri="{FF2B5EF4-FFF2-40B4-BE49-F238E27FC236}">
                    <a16:creationId xmlns:a16="http://schemas.microsoft.com/office/drawing/2014/main" xmlns="" id="{93CF6796-48A1-47C1-B1A8-13FB0D9E7A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1" name="Oval 2628">
                <a:extLst>
                  <a:ext uri="{FF2B5EF4-FFF2-40B4-BE49-F238E27FC236}">
                    <a16:creationId xmlns:a16="http://schemas.microsoft.com/office/drawing/2014/main" xmlns="" id="{A4CB2156-0440-4C44-8D88-24EFB6A5D4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2" name="Oval 2629">
                <a:extLst>
                  <a:ext uri="{FF2B5EF4-FFF2-40B4-BE49-F238E27FC236}">
                    <a16:creationId xmlns:a16="http://schemas.microsoft.com/office/drawing/2014/main" xmlns="" id="{74A8F74F-17BA-4CE7-9602-9D37F62B16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4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3" name="Oval 2630">
                <a:extLst>
                  <a:ext uri="{FF2B5EF4-FFF2-40B4-BE49-F238E27FC236}">
                    <a16:creationId xmlns:a16="http://schemas.microsoft.com/office/drawing/2014/main" xmlns="" id="{2CE83A19-E707-4A95-A8EE-7431A3D5E0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4" name="Oval 2631">
                <a:extLst>
                  <a:ext uri="{FF2B5EF4-FFF2-40B4-BE49-F238E27FC236}">
                    <a16:creationId xmlns:a16="http://schemas.microsoft.com/office/drawing/2014/main" xmlns="" id="{2FA4D728-CC8D-44CE-9C5D-74112ADC99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4" y="26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5" name="Oval 2632">
                <a:extLst>
                  <a:ext uri="{FF2B5EF4-FFF2-40B4-BE49-F238E27FC236}">
                    <a16:creationId xmlns:a16="http://schemas.microsoft.com/office/drawing/2014/main" xmlns="" id="{7B6DCB10-70BF-48F3-A0DB-BCAC68A188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4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6" name="Oval 2633">
                <a:extLst>
                  <a:ext uri="{FF2B5EF4-FFF2-40B4-BE49-F238E27FC236}">
                    <a16:creationId xmlns:a16="http://schemas.microsoft.com/office/drawing/2014/main" xmlns="" id="{074E3816-0241-4DF2-9AB6-C36268158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7" name="Oval 2634">
                <a:extLst>
                  <a:ext uri="{FF2B5EF4-FFF2-40B4-BE49-F238E27FC236}">
                    <a16:creationId xmlns:a16="http://schemas.microsoft.com/office/drawing/2014/main" xmlns="" id="{3F2929A6-4D33-4CED-AFBC-34B8BAF868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8" name="Oval 2635">
                <a:extLst>
                  <a:ext uri="{FF2B5EF4-FFF2-40B4-BE49-F238E27FC236}">
                    <a16:creationId xmlns:a16="http://schemas.microsoft.com/office/drawing/2014/main" xmlns="" id="{39B08D00-5F86-466D-991E-FC2273B2DE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9" name="Oval 2636">
                <a:extLst>
                  <a:ext uri="{FF2B5EF4-FFF2-40B4-BE49-F238E27FC236}">
                    <a16:creationId xmlns:a16="http://schemas.microsoft.com/office/drawing/2014/main" xmlns="" id="{994CD30C-CECB-4683-97D8-E2B1B6E4BD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0" name="Oval 2637">
                <a:extLst>
                  <a:ext uri="{FF2B5EF4-FFF2-40B4-BE49-F238E27FC236}">
                    <a16:creationId xmlns:a16="http://schemas.microsoft.com/office/drawing/2014/main" xmlns="" id="{D433C875-362A-4282-A2B7-927CE5D4F6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4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1" name="Oval 2638">
                <a:extLst>
                  <a:ext uri="{FF2B5EF4-FFF2-40B4-BE49-F238E27FC236}">
                    <a16:creationId xmlns:a16="http://schemas.microsoft.com/office/drawing/2014/main" xmlns="" id="{FA710E17-7935-4735-8B00-76697AE19C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2" name="Oval 2639">
                <a:extLst>
                  <a:ext uri="{FF2B5EF4-FFF2-40B4-BE49-F238E27FC236}">
                    <a16:creationId xmlns:a16="http://schemas.microsoft.com/office/drawing/2014/main" xmlns="" id="{082FDC71-0C35-432F-B8D0-96424030CF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3" name="Oval 2640">
                <a:extLst>
                  <a:ext uri="{FF2B5EF4-FFF2-40B4-BE49-F238E27FC236}">
                    <a16:creationId xmlns:a16="http://schemas.microsoft.com/office/drawing/2014/main" xmlns="" id="{2D9658D2-5933-4788-AFFA-56230DD2FC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4" name="Oval 2641">
                <a:extLst>
                  <a:ext uri="{FF2B5EF4-FFF2-40B4-BE49-F238E27FC236}">
                    <a16:creationId xmlns:a16="http://schemas.microsoft.com/office/drawing/2014/main" xmlns="" id="{BFE6CC91-B264-4B8A-A9F3-87195124DE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4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5" name="Oval 2642">
                <a:extLst>
                  <a:ext uri="{FF2B5EF4-FFF2-40B4-BE49-F238E27FC236}">
                    <a16:creationId xmlns:a16="http://schemas.microsoft.com/office/drawing/2014/main" xmlns="" id="{20D63817-0354-4485-87BE-57BB8B421F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6" name="Oval 2643">
                <a:extLst>
                  <a:ext uri="{FF2B5EF4-FFF2-40B4-BE49-F238E27FC236}">
                    <a16:creationId xmlns:a16="http://schemas.microsoft.com/office/drawing/2014/main" xmlns="" id="{40B1346B-AFBC-4F1F-929E-1B1937A7A7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7" name="Oval 2644">
                <a:extLst>
                  <a:ext uri="{FF2B5EF4-FFF2-40B4-BE49-F238E27FC236}">
                    <a16:creationId xmlns:a16="http://schemas.microsoft.com/office/drawing/2014/main" xmlns="" id="{73BA1F61-A862-4738-855B-300DDA1352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04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8" name="Oval 2645">
                <a:extLst>
                  <a:ext uri="{FF2B5EF4-FFF2-40B4-BE49-F238E27FC236}">
                    <a16:creationId xmlns:a16="http://schemas.microsoft.com/office/drawing/2014/main" xmlns="" id="{AE27323E-09FC-4B42-BD0C-02BF6AAACE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13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9" name="Oval 2646">
                <a:extLst>
                  <a:ext uri="{FF2B5EF4-FFF2-40B4-BE49-F238E27FC236}">
                    <a16:creationId xmlns:a16="http://schemas.microsoft.com/office/drawing/2014/main" xmlns="" id="{37FDC3D0-6D74-48DE-9882-D3EEA22FCC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0" name="Oval 2647">
                <a:extLst>
                  <a:ext uri="{FF2B5EF4-FFF2-40B4-BE49-F238E27FC236}">
                    <a16:creationId xmlns:a16="http://schemas.microsoft.com/office/drawing/2014/main" xmlns="" id="{09FDB0E2-5E26-492E-8A9D-E8CA68CB1E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4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1" name="Oval 2648">
                <a:extLst>
                  <a:ext uri="{FF2B5EF4-FFF2-40B4-BE49-F238E27FC236}">
                    <a16:creationId xmlns:a16="http://schemas.microsoft.com/office/drawing/2014/main" xmlns="" id="{98438851-5EF0-4AA4-B5C6-710D8B94B0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2" name="Oval 2649">
                <a:extLst>
                  <a:ext uri="{FF2B5EF4-FFF2-40B4-BE49-F238E27FC236}">
                    <a16:creationId xmlns:a16="http://schemas.microsoft.com/office/drawing/2014/main" xmlns="" id="{DC227799-9F53-420D-8591-E725783E8E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3" name="Oval 2650">
                <a:extLst>
                  <a:ext uri="{FF2B5EF4-FFF2-40B4-BE49-F238E27FC236}">
                    <a16:creationId xmlns:a16="http://schemas.microsoft.com/office/drawing/2014/main" xmlns="" id="{4BCCFF0E-27C3-4469-A23C-3D3EF4F9F0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4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4" name="Oval 2651">
                <a:extLst>
                  <a:ext uri="{FF2B5EF4-FFF2-40B4-BE49-F238E27FC236}">
                    <a16:creationId xmlns:a16="http://schemas.microsoft.com/office/drawing/2014/main" xmlns="" id="{3BD60203-1D6F-4905-9211-B8A20A776F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5" name="Oval 2652">
                <a:extLst>
                  <a:ext uri="{FF2B5EF4-FFF2-40B4-BE49-F238E27FC236}">
                    <a16:creationId xmlns:a16="http://schemas.microsoft.com/office/drawing/2014/main" xmlns="" id="{A909D700-3F90-41A8-98AA-22DEB68CE5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6" name="Oval 2653">
                <a:extLst>
                  <a:ext uri="{FF2B5EF4-FFF2-40B4-BE49-F238E27FC236}">
                    <a16:creationId xmlns:a16="http://schemas.microsoft.com/office/drawing/2014/main" xmlns="" id="{480C7D37-4765-4FA8-A473-745EB2AE11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7" name="Oval 2654">
                <a:extLst>
                  <a:ext uri="{FF2B5EF4-FFF2-40B4-BE49-F238E27FC236}">
                    <a16:creationId xmlns:a16="http://schemas.microsoft.com/office/drawing/2014/main" xmlns="" id="{DA8E16FC-37E0-4FD2-B453-F7E6E4DA39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8" name="Oval 2655">
                <a:extLst>
                  <a:ext uri="{FF2B5EF4-FFF2-40B4-BE49-F238E27FC236}">
                    <a16:creationId xmlns:a16="http://schemas.microsoft.com/office/drawing/2014/main" xmlns="" id="{E80F5B49-171A-4C3E-AA96-579E286221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9" name="Oval 2656">
                <a:extLst>
                  <a:ext uri="{FF2B5EF4-FFF2-40B4-BE49-F238E27FC236}">
                    <a16:creationId xmlns:a16="http://schemas.microsoft.com/office/drawing/2014/main" xmlns="" id="{4B70A942-F690-4D3C-BF7F-1FA62C3D35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0" name="Oval 2657">
                <a:extLst>
                  <a:ext uri="{FF2B5EF4-FFF2-40B4-BE49-F238E27FC236}">
                    <a16:creationId xmlns:a16="http://schemas.microsoft.com/office/drawing/2014/main" xmlns="" id="{A6B1A306-CF72-4F94-9517-B60EF10528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1" name="Oval 2658">
                <a:extLst>
                  <a:ext uri="{FF2B5EF4-FFF2-40B4-BE49-F238E27FC236}">
                    <a16:creationId xmlns:a16="http://schemas.microsoft.com/office/drawing/2014/main" xmlns="" id="{F5D55E94-DC29-408D-B9A2-D49BCFE197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14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2" name="Oval 2659">
                <a:extLst>
                  <a:ext uri="{FF2B5EF4-FFF2-40B4-BE49-F238E27FC236}">
                    <a16:creationId xmlns:a16="http://schemas.microsoft.com/office/drawing/2014/main" xmlns="" id="{0712EF6B-C6FA-4AAE-8410-ECECE641D5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3" name="Oval 2660">
                <a:extLst>
                  <a:ext uri="{FF2B5EF4-FFF2-40B4-BE49-F238E27FC236}">
                    <a16:creationId xmlns:a16="http://schemas.microsoft.com/office/drawing/2014/main" xmlns="" id="{D8627EAA-6886-4A6A-B87A-0055880CFA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4" name="Oval 2661">
                <a:extLst>
                  <a:ext uri="{FF2B5EF4-FFF2-40B4-BE49-F238E27FC236}">
                    <a16:creationId xmlns:a16="http://schemas.microsoft.com/office/drawing/2014/main" xmlns="" id="{166F0075-6CF1-428F-9DA5-5CA4DD4F20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5" name="Oval 2662">
                <a:extLst>
                  <a:ext uri="{FF2B5EF4-FFF2-40B4-BE49-F238E27FC236}">
                    <a16:creationId xmlns:a16="http://schemas.microsoft.com/office/drawing/2014/main" xmlns="" id="{10640E33-30CA-4539-8948-520A135E93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6" name="Oval 2663">
                <a:extLst>
                  <a:ext uri="{FF2B5EF4-FFF2-40B4-BE49-F238E27FC236}">
                    <a16:creationId xmlns:a16="http://schemas.microsoft.com/office/drawing/2014/main" xmlns="" id="{19F9CA48-264A-4B5A-B366-0723135B5C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34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7" name="Oval 2664">
                <a:extLst>
                  <a:ext uri="{FF2B5EF4-FFF2-40B4-BE49-F238E27FC236}">
                    <a16:creationId xmlns:a16="http://schemas.microsoft.com/office/drawing/2014/main" xmlns="" id="{18CF45C3-43EE-4AA1-8C4C-DE8899382D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4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8" name="Oval 2665">
                <a:extLst>
                  <a:ext uri="{FF2B5EF4-FFF2-40B4-BE49-F238E27FC236}">
                    <a16:creationId xmlns:a16="http://schemas.microsoft.com/office/drawing/2014/main" xmlns="" id="{8026271E-B578-40B6-8455-72C1B19B8C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4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9" name="Oval 2666">
                <a:extLst>
                  <a:ext uri="{FF2B5EF4-FFF2-40B4-BE49-F238E27FC236}">
                    <a16:creationId xmlns:a16="http://schemas.microsoft.com/office/drawing/2014/main" xmlns="" id="{770ABB7B-D47E-4FCE-865C-3607346EB5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4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0" name="Oval 2667">
                <a:extLst>
                  <a:ext uri="{FF2B5EF4-FFF2-40B4-BE49-F238E27FC236}">
                    <a16:creationId xmlns:a16="http://schemas.microsoft.com/office/drawing/2014/main" xmlns="" id="{E7750432-194C-4C85-8703-0E69E15B91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1" name="Oval 2668">
                <a:extLst>
                  <a:ext uri="{FF2B5EF4-FFF2-40B4-BE49-F238E27FC236}">
                    <a16:creationId xmlns:a16="http://schemas.microsoft.com/office/drawing/2014/main" xmlns="" id="{B8585185-56F9-4BB6-A8E7-A3CEB35CB4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2" name="Oval 2669">
                <a:extLst>
                  <a:ext uri="{FF2B5EF4-FFF2-40B4-BE49-F238E27FC236}">
                    <a16:creationId xmlns:a16="http://schemas.microsoft.com/office/drawing/2014/main" xmlns="" id="{96A830D1-46BD-4AC0-85EC-0952F609EF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3" name="Oval 2670">
                <a:extLst>
                  <a:ext uri="{FF2B5EF4-FFF2-40B4-BE49-F238E27FC236}">
                    <a16:creationId xmlns:a16="http://schemas.microsoft.com/office/drawing/2014/main" xmlns="" id="{561D99A4-FB17-46B8-A625-A207DDB8E2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5" y="36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4" name="Oval 2671">
                <a:extLst>
                  <a:ext uri="{FF2B5EF4-FFF2-40B4-BE49-F238E27FC236}">
                    <a16:creationId xmlns:a16="http://schemas.microsoft.com/office/drawing/2014/main" xmlns="" id="{843837D4-E06B-45D8-B665-BBC79BD85E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4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5" name="Oval 2672">
                <a:extLst>
                  <a:ext uri="{FF2B5EF4-FFF2-40B4-BE49-F238E27FC236}">
                    <a16:creationId xmlns:a16="http://schemas.microsoft.com/office/drawing/2014/main" xmlns="" id="{B9DA3510-511E-46B6-B0F1-AAC1CE349A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6" name="Oval 2673">
                <a:extLst>
                  <a:ext uri="{FF2B5EF4-FFF2-40B4-BE49-F238E27FC236}">
                    <a16:creationId xmlns:a16="http://schemas.microsoft.com/office/drawing/2014/main" xmlns="" id="{8FF4DBCA-A643-422A-A431-D66D10F416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5" y="78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7" name="Oval 2674">
                <a:extLst>
                  <a:ext uri="{FF2B5EF4-FFF2-40B4-BE49-F238E27FC236}">
                    <a16:creationId xmlns:a16="http://schemas.microsoft.com/office/drawing/2014/main" xmlns="" id="{A9B0FED0-99CD-4D96-98BA-140A35E56F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8" name="Oval 2675">
                <a:extLst>
                  <a:ext uri="{FF2B5EF4-FFF2-40B4-BE49-F238E27FC236}">
                    <a16:creationId xmlns:a16="http://schemas.microsoft.com/office/drawing/2014/main" xmlns="" id="{08FF1296-AFEC-4B11-8678-24D1F239BB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9" name="Oval 2676">
                <a:extLst>
                  <a:ext uri="{FF2B5EF4-FFF2-40B4-BE49-F238E27FC236}">
                    <a16:creationId xmlns:a16="http://schemas.microsoft.com/office/drawing/2014/main" xmlns="" id="{4A6B3B94-A34E-4E40-8D1C-23D409B8AD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0" name="Oval 2677">
                <a:extLst>
                  <a:ext uri="{FF2B5EF4-FFF2-40B4-BE49-F238E27FC236}">
                    <a16:creationId xmlns:a16="http://schemas.microsoft.com/office/drawing/2014/main" xmlns="" id="{FBAA5B3E-CA2A-4468-A07D-E395399996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1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1" name="Oval 2678">
                <a:extLst>
                  <a:ext uri="{FF2B5EF4-FFF2-40B4-BE49-F238E27FC236}">
                    <a16:creationId xmlns:a16="http://schemas.microsoft.com/office/drawing/2014/main" xmlns="" id="{91510E67-3D2B-476D-809D-61DDA0AA12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5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2" name="Oval 2679">
                <a:extLst>
                  <a:ext uri="{FF2B5EF4-FFF2-40B4-BE49-F238E27FC236}">
                    <a16:creationId xmlns:a16="http://schemas.microsoft.com/office/drawing/2014/main" xmlns="" id="{60B5554F-605B-4333-9B53-5CB6B49AEC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3" name="Oval 2680">
                <a:extLst>
                  <a:ext uri="{FF2B5EF4-FFF2-40B4-BE49-F238E27FC236}">
                    <a16:creationId xmlns:a16="http://schemas.microsoft.com/office/drawing/2014/main" xmlns="" id="{76E7D0F1-E2FC-4335-B4A3-D10B153DA0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5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4" name="Oval 2681">
                <a:extLst>
                  <a:ext uri="{FF2B5EF4-FFF2-40B4-BE49-F238E27FC236}">
                    <a16:creationId xmlns:a16="http://schemas.microsoft.com/office/drawing/2014/main" xmlns="" id="{14A591AC-6D08-4E06-9374-0F58DBA6A8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5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5" name="Oval 2682">
                <a:extLst>
                  <a:ext uri="{FF2B5EF4-FFF2-40B4-BE49-F238E27FC236}">
                    <a16:creationId xmlns:a16="http://schemas.microsoft.com/office/drawing/2014/main" xmlns="" id="{C2B0EEB4-7988-4260-B04C-425914BECE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6" name="Oval 2683">
                <a:extLst>
                  <a:ext uri="{FF2B5EF4-FFF2-40B4-BE49-F238E27FC236}">
                    <a16:creationId xmlns:a16="http://schemas.microsoft.com/office/drawing/2014/main" xmlns="" id="{B453DFEB-DB7B-4E62-8285-7A79C4843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7" name="Oval 2684">
                <a:extLst>
                  <a:ext uri="{FF2B5EF4-FFF2-40B4-BE49-F238E27FC236}">
                    <a16:creationId xmlns:a16="http://schemas.microsoft.com/office/drawing/2014/main" xmlns="" id="{CCA6EFF8-55EF-45CA-898C-39E814A3CB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8" name="Oval 2685">
                <a:extLst>
                  <a:ext uri="{FF2B5EF4-FFF2-40B4-BE49-F238E27FC236}">
                    <a16:creationId xmlns:a16="http://schemas.microsoft.com/office/drawing/2014/main" xmlns="" id="{A5B28798-D2C8-4CAD-B336-57EA06B6BD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5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9" name="Oval 2686">
                <a:extLst>
                  <a:ext uri="{FF2B5EF4-FFF2-40B4-BE49-F238E27FC236}">
                    <a16:creationId xmlns:a16="http://schemas.microsoft.com/office/drawing/2014/main" xmlns="" id="{92020DF8-E80B-4257-8F43-BA3FB7C925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0" name="Oval 2687">
                <a:extLst>
                  <a:ext uri="{FF2B5EF4-FFF2-40B4-BE49-F238E27FC236}">
                    <a16:creationId xmlns:a16="http://schemas.microsoft.com/office/drawing/2014/main" xmlns="" id="{40B24B88-D2EC-4526-9DF4-C7E1B69881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1" name="Oval 2688">
                <a:extLst>
                  <a:ext uri="{FF2B5EF4-FFF2-40B4-BE49-F238E27FC236}">
                    <a16:creationId xmlns:a16="http://schemas.microsoft.com/office/drawing/2014/main" xmlns="" id="{E3669B56-5142-4453-BB05-A1A70F449D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3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2" name="Oval 2689">
                <a:extLst>
                  <a:ext uri="{FF2B5EF4-FFF2-40B4-BE49-F238E27FC236}">
                    <a16:creationId xmlns:a16="http://schemas.microsoft.com/office/drawing/2014/main" xmlns="" id="{729E8A79-907C-4C63-B6DB-9E572AD2E0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3" name="Oval 2690">
                <a:extLst>
                  <a:ext uri="{FF2B5EF4-FFF2-40B4-BE49-F238E27FC236}">
                    <a16:creationId xmlns:a16="http://schemas.microsoft.com/office/drawing/2014/main" xmlns="" id="{7A5EDE3F-8D1F-4D5D-B0D0-3EAEEDA8C3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4" name="Oval 2691">
                <a:extLst>
                  <a:ext uri="{FF2B5EF4-FFF2-40B4-BE49-F238E27FC236}">
                    <a16:creationId xmlns:a16="http://schemas.microsoft.com/office/drawing/2014/main" xmlns="" id="{A07C25C8-B315-4B38-91C9-F906332DCA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5" name="Oval 2692">
                <a:extLst>
                  <a:ext uri="{FF2B5EF4-FFF2-40B4-BE49-F238E27FC236}">
                    <a16:creationId xmlns:a16="http://schemas.microsoft.com/office/drawing/2014/main" xmlns="" id="{285B0E07-4FCC-4FDA-865A-89F9D0E5BB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4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6" name="Oval 2693">
                <a:extLst>
                  <a:ext uri="{FF2B5EF4-FFF2-40B4-BE49-F238E27FC236}">
                    <a16:creationId xmlns:a16="http://schemas.microsoft.com/office/drawing/2014/main" xmlns="" id="{BD8D3CC7-36FF-4618-99A1-EB09DEBEE5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7" name="Oval 2694">
                <a:extLst>
                  <a:ext uri="{FF2B5EF4-FFF2-40B4-BE49-F238E27FC236}">
                    <a16:creationId xmlns:a16="http://schemas.microsoft.com/office/drawing/2014/main" xmlns="" id="{D548DC32-BE8B-444A-BBC5-0E111DA00A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8" name="Oval 2695">
                <a:extLst>
                  <a:ext uri="{FF2B5EF4-FFF2-40B4-BE49-F238E27FC236}">
                    <a16:creationId xmlns:a16="http://schemas.microsoft.com/office/drawing/2014/main" xmlns="" id="{0F668C87-F609-4DFB-9B19-D57EB70BDE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9" name="Oval 2696">
                <a:extLst>
                  <a:ext uri="{FF2B5EF4-FFF2-40B4-BE49-F238E27FC236}">
                    <a16:creationId xmlns:a16="http://schemas.microsoft.com/office/drawing/2014/main" xmlns="" id="{CBC903D7-70BB-482A-AC3E-D5B68C6D52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0" name="Oval 2697">
                <a:extLst>
                  <a:ext uri="{FF2B5EF4-FFF2-40B4-BE49-F238E27FC236}">
                    <a16:creationId xmlns:a16="http://schemas.microsoft.com/office/drawing/2014/main" xmlns="" id="{73CD1506-6C8D-4710-A305-9B4007EC7B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1" name="Oval 2698">
                <a:extLst>
                  <a:ext uri="{FF2B5EF4-FFF2-40B4-BE49-F238E27FC236}">
                    <a16:creationId xmlns:a16="http://schemas.microsoft.com/office/drawing/2014/main" xmlns="" id="{6C709E7A-C19A-4EA0-81F2-8116AD98D4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2" name="Oval 2699">
                <a:extLst>
                  <a:ext uri="{FF2B5EF4-FFF2-40B4-BE49-F238E27FC236}">
                    <a16:creationId xmlns:a16="http://schemas.microsoft.com/office/drawing/2014/main" xmlns="" id="{A5B57B98-B852-47BA-AE6B-CDB349F71D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3" name="Oval 2700">
                <a:extLst>
                  <a:ext uri="{FF2B5EF4-FFF2-40B4-BE49-F238E27FC236}">
                    <a16:creationId xmlns:a16="http://schemas.microsoft.com/office/drawing/2014/main" xmlns="" id="{44A38ED6-1D3E-4AAD-BF3F-76325B0E76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4" name="Oval 2701">
                <a:extLst>
                  <a:ext uri="{FF2B5EF4-FFF2-40B4-BE49-F238E27FC236}">
                    <a16:creationId xmlns:a16="http://schemas.microsoft.com/office/drawing/2014/main" xmlns="" id="{DB006338-9643-43F1-98BE-EAB1D36683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5" name="Oval 2702">
                <a:extLst>
                  <a:ext uri="{FF2B5EF4-FFF2-40B4-BE49-F238E27FC236}">
                    <a16:creationId xmlns:a16="http://schemas.microsoft.com/office/drawing/2014/main" xmlns="" id="{BE769C90-C01F-4C69-8CEE-2DFA3D47A1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15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6" name="Oval 2703">
                <a:extLst>
                  <a:ext uri="{FF2B5EF4-FFF2-40B4-BE49-F238E27FC236}">
                    <a16:creationId xmlns:a16="http://schemas.microsoft.com/office/drawing/2014/main" xmlns="" id="{4A8C6E44-F56C-4B3E-9EF4-2196C6B171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7" name="Oval 2704">
                <a:extLst>
                  <a:ext uri="{FF2B5EF4-FFF2-40B4-BE49-F238E27FC236}">
                    <a16:creationId xmlns:a16="http://schemas.microsoft.com/office/drawing/2014/main" xmlns="" id="{88BE2A61-A9D2-4EB6-BCC4-C2702C8EC8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8" name="Oval 2705">
                <a:extLst>
                  <a:ext uri="{FF2B5EF4-FFF2-40B4-BE49-F238E27FC236}">
                    <a16:creationId xmlns:a16="http://schemas.microsoft.com/office/drawing/2014/main" xmlns="" id="{15A8DEB7-E14D-4C30-A1AC-247ACDD9A3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9" name="Oval 2706">
                <a:extLst>
                  <a:ext uri="{FF2B5EF4-FFF2-40B4-BE49-F238E27FC236}">
                    <a16:creationId xmlns:a16="http://schemas.microsoft.com/office/drawing/2014/main" xmlns="" id="{AB29DF7C-B757-46C6-907E-4221509F95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0" name="Oval 2707">
                <a:extLst>
                  <a:ext uri="{FF2B5EF4-FFF2-40B4-BE49-F238E27FC236}">
                    <a16:creationId xmlns:a16="http://schemas.microsoft.com/office/drawing/2014/main" xmlns="" id="{CFD1C391-8CCC-4028-BF36-58C67DD3B2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10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1" name="Oval 2708">
                <a:extLst>
                  <a:ext uri="{FF2B5EF4-FFF2-40B4-BE49-F238E27FC236}">
                    <a16:creationId xmlns:a16="http://schemas.microsoft.com/office/drawing/2014/main" xmlns="" id="{68BC3752-19A0-4EF5-9E22-3D39098F65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2" name="Oval 2709">
                <a:extLst>
                  <a:ext uri="{FF2B5EF4-FFF2-40B4-BE49-F238E27FC236}">
                    <a16:creationId xmlns:a16="http://schemas.microsoft.com/office/drawing/2014/main" xmlns="" id="{AE79926D-70DD-4E93-9FEF-FB5853022E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3" name="Oval 2710">
                <a:extLst>
                  <a:ext uri="{FF2B5EF4-FFF2-40B4-BE49-F238E27FC236}">
                    <a16:creationId xmlns:a16="http://schemas.microsoft.com/office/drawing/2014/main" xmlns="" id="{6A20358D-DAFB-4D75-905D-73450C41A7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4" name="Oval 2711">
                <a:extLst>
                  <a:ext uri="{FF2B5EF4-FFF2-40B4-BE49-F238E27FC236}">
                    <a16:creationId xmlns:a16="http://schemas.microsoft.com/office/drawing/2014/main" xmlns="" id="{64E50368-4813-40E7-B4AF-1C5308C10B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5" name="Oval 2712">
                <a:extLst>
                  <a:ext uri="{FF2B5EF4-FFF2-40B4-BE49-F238E27FC236}">
                    <a16:creationId xmlns:a16="http://schemas.microsoft.com/office/drawing/2014/main" xmlns="" id="{EACE46AD-16AB-4729-8CDF-BFD953176C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6" name="Oval 2713">
                <a:extLst>
                  <a:ext uri="{FF2B5EF4-FFF2-40B4-BE49-F238E27FC236}">
                    <a16:creationId xmlns:a16="http://schemas.microsoft.com/office/drawing/2014/main" xmlns="" id="{8E244473-B15D-4E12-A540-1D298CC045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7" name="Oval 2714">
                <a:extLst>
                  <a:ext uri="{FF2B5EF4-FFF2-40B4-BE49-F238E27FC236}">
                    <a16:creationId xmlns:a16="http://schemas.microsoft.com/office/drawing/2014/main" xmlns="" id="{5DBEAEAB-6D72-448D-8A5A-8C918AE343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1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8" name="Oval 2715">
                <a:extLst>
                  <a:ext uri="{FF2B5EF4-FFF2-40B4-BE49-F238E27FC236}">
                    <a16:creationId xmlns:a16="http://schemas.microsoft.com/office/drawing/2014/main" xmlns="" id="{8776B105-7813-4E4D-ACD4-F56B433BCF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9" name="Oval 2716">
                <a:extLst>
                  <a:ext uri="{FF2B5EF4-FFF2-40B4-BE49-F238E27FC236}">
                    <a16:creationId xmlns:a16="http://schemas.microsoft.com/office/drawing/2014/main" xmlns="" id="{8C58A3DE-6672-4385-AD7C-E70751CB96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0" name="Oval 2717">
                <a:extLst>
                  <a:ext uri="{FF2B5EF4-FFF2-40B4-BE49-F238E27FC236}">
                    <a16:creationId xmlns:a16="http://schemas.microsoft.com/office/drawing/2014/main" xmlns="" id="{9A60840B-86CB-44C8-9009-1A7DF628DF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1" name="Oval 2718">
                <a:extLst>
                  <a:ext uri="{FF2B5EF4-FFF2-40B4-BE49-F238E27FC236}">
                    <a16:creationId xmlns:a16="http://schemas.microsoft.com/office/drawing/2014/main" xmlns="" id="{53A70F48-EB57-40A0-A3D2-C6AC4921A1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2" name="Oval 2719">
                <a:extLst>
                  <a:ext uri="{FF2B5EF4-FFF2-40B4-BE49-F238E27FC236}">
                    <a16:creationId xmlns:a16="http://schemas.microsoft.com/office/drawing/2014/main" xmlns="" id="{38D5FE0D-891E-4DFE-AF48-ED7142F9A4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3" name="Oval 2720">
                <a:extLst>
                  <a:ext uri="{FF2B5EF4-FFF2-40B4-BE49-F238E27FC236}">
                    <a16:creationId xmlns:a16="http://schemas.microsoft.com/office/drawing/2014/main" xmlns="" id="{E7F71740-59C3-4B4F-8EB4-92EACB233E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4" name="Oval 2721">
                <a:extLst>
                  <a:ext uri="{FF2B5EF4-FFF2-40B4-BE49-F238E27FC236}">
                    <a16:creationId xmlns:a16="http://schemas.microsoft.com/office/drawing/2014/main" xmlns="" id="{ABB683D1-49E2-412E-97A3-F1E2D282FD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5" name="Oval 2722">
                <a:extLst>
                  <a:ext uri="{FF2B5EF4-FFF2-40B4-BE49-F238E27FC236}">
                    <a16:creationId xmlns:a16="http://schemas.microsoft.com/office/drawing/2014/main" xmlns="" id="{398B046F-938E-4F71-8C6A-62A37E3E6C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6" name="Oval 2723">
                <a:extLst>
                  <a:ext uri="{FF2B5EF4-FFF2-40B4-BE49-F238E27FC236}">
                    <a16:creationId xmlns:a16="http://schemas.microsoft.com/office/drawing/2014/main" xmlns="" id="{6D192A87-B527-48F8-AF16-FD570BD5F8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7" name="Oval 2724">
                <a:extLst>
                  <a:ext uri="{FF2B5EF4-FFF2-40B4-BE49-F238E27FC236}">
                    <a16:creationId xmlns:a16="http://schemas.microsoft.com/office/drawing/2014/main" xmlns="" id="{3A6C1FC9-8C32-4CC9-900B-5AAFCE9641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8" name="Oval 2725">
                <a:extLst>
                  <a:ext uri="{FF2B5EF4-FFF2-40B4-BE49-F238E27FC236}">
                    <a16:creationId xmlns:a16="http://schemas.microsoft.com/office/drawing/2014/main" xmlns="" id="{145A3DF8-8F62-4F77-A633-92CDB7E057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9" name="Oval 2726">
                <a:extLst>
                  <a:ext uri="{FF2B5EF4-FFF2-40B4-BE49-F238E27FC236}">
                    <a16:creationId xmlns:a16="http://schemas.microsoft.com/office/drawing/2014/main" xmlns="" id="{2F270551-C23B-49E0-B7B9-E9DD7C2E5E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0" name="Oval 2727">
                <a:extLst>
                  <a:ext uri="{FF2B5EF4-FFF2-40B4-BE49-F238E27FC236}">
                    <a16:creationId xmlns:a16="http://schemas.microsoft.com/office/drawing/2014/main" xmlns="" id="{A812CC9B-E3C3-429C-831D-EB504A009D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1" name="Oval 2728">
                <a:extLst>
                  <a:ext uri="{FF2B5EF4-FFF2-40B4-BE49-F238E27FC236}">
                    <a16:creationId xmlns:a16="http://schemas.microsoft.com/office/drawing/2014/main" xmlns="" id="{B6380F10-4A61-4DDB-A454-B3E5E1C70C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2" name="Oval 2729">
                <a:extLst>
                  <a:ext uri="{FF2B5EF4-FFF2-40B4-BE49-F238E27FC236}">
                    <a16:creationId xmlns:a16="http://schemas.microsoft.com/office/drawing/2014/main" xmlns="" id="{CA9D2BFE-01E7-4220-AA33-CDE14CEC34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3" name="Oval 2730">
                <a:extLst>
                  <a:ext uri="{FF2B5EF4-FFF2-40B4-BE49-F238E27FC236}">
                    <a16:creationId xmlns:a16="http://schemas.microsoft.com/office/drawing/2014/main" xmlns="" id="{EB74AA53-E354-4EF5-BD8D-7F3ABEAD80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4" name="Oval 2731">
                <a:extLst>
                  <a:ext uri="{FF2B5EF4-FFF2-40B4-BE49-F238E27FC236}">
                    <a16:creationId xmlns:a16="http://schemas.microsoft.com/office/drawing/2014/main" xmlns="" id="{8C46049A-15DF-440A-A9BA-102B3D3130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5" name="Oval 2732">
                <a:extLst>
                  <a:ext uri="{FF2B5EF4-FFF2-40B4-BE49-F238E27FC236}">
                    <a16:creationId xmlns:a16="http://schemas.microsoft.com/office/drawing/2014/main" xmlns="" id="{BDEF6F67-73C1-45BE-8117-86D2F066E0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6" name="Oval 2733">
                <a:extLst>
                  <a:ext uri="{FF2B5EF4-FFF2-40B4-BE49-F238E27FC236}">
                    <a16:creationId xmlns:a16="http://schemas.microsoft.com/office/drawing/2014/main" xmlns="" id="{1C1024D9-6438-4FC6-8386-212F2AD74C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7" name="Oval 2734">
                <a:extLst>
                  <a:ext uri="{FF2B5EF4-FFF2-40B4-BE49-F238E27FC236}">
                    <a16:creationId xmlns:a16="http://schemas.microsoft.com/office/drawing/2014/main" xmlns="" id="{E642DC19-C401-493E-90F1-99CCF0FCF8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8" name="Oval 2735">
                <a:extLst>
                  <a:ext uri="{FF2B5EF4-FFF2-40B4-BE49-F238E27FC236}">
                    <a16:creationId xmlns:a16="http://schemas.microsoft.com/office/drawing/2014/main" xmlns="" id="{220419AF-65CB-45EE-A89A-3657FA7ADC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9" name="Oval 2736">
                <a:extLst>
                  <a:ext uri="{FF2B5EF4-FFF2-40B4-BE49-F238E27FC236}">
                    <a16:creationId xmlns:a16="http://schemas.microsoft.com/office/drawing/2014/main" xmlns="" id="{BB915F77-6A40-42B5-8A55-F33F2D67E7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0" name="Oval 2737">
                <a:extLst>
                  <a:ext uri="{FF2B5EF4-FFF2-40B4-BE49-F238E27FC236}">
                    <a16:creationId xmlns:a16="http://schemas.microsoft.com/office/drawing/2014/main" xmlns="" id="{8628E63D-DEBA-4640-8992-1B0E649624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1" name="Oval 2738">
                <a:extLst>
                  <a:ext uri="{FF2B5EF4-FFF2-40B4-BE49-F238E27FC236}">
                    <a16:creationId xmlns:a16="http://schemas.microsoft.com/office/drawing/2014/main" xmlns="" id="{AAD54BF8-2407-468D-8B9A-719E4B48EE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2" name="Oval 2739">
                <a:extLst>
                  <a:ext uri="{FF2B5EF4-FFF2-40B4-BE49-F238E27FC236}">
                    <a16:creationId xmlns:a16="http://schemas.microsoft.com/office/drawing/2014/main" xmlns="" id="{C4CDA0D4-0128-4539-A39A-19692E1930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3" name="Oval 2740">
                <a:extLst>
                  <a:ext uri="{FF2B5EF4-FFF2-40B4-BE49-F238E27FC236}">
                    <a16:creationId xmlns:a16="http://schemas.microsoft.com/office/drawing/2014/main" xmlns="" id="{E63F7BE6-7884-49DB-AA20-314487E266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1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4" name="Oval 2741">
                <a:extLst>
                  <a:ext uri="{FF2B5EF4-FFF2-40B4-BE49-F238E27FC236}">
                    <a16:creationId xmlns:a16="http://schemas.microsoft.com/office/drawing/2014/main" xmlns="" id="{9EA5C64E-B9B7-4D28-A7E0-FD745DD3EF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5" name="Oval 2742">
                <a:extLst>
                  <a:ext uri="{FF2B5EF4-FFF2-40B4-BE49-F238E27FC236}">
                    <a16:creationId xmlns:a16="http://schemas.microsoft.com/office/drawing/2014/main" xmlns="" id="{22261115-9AA3-4731-A3D7-13DE84ACDA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6" name="Oval 2743">
                <a:extLst>
                  <a:ext uri="{FF2B5EF4-FFF2-40B4-BE49-F238E27FC236}">
                    <a16:creationId xmlns:a16="http://schemas.microsoft.com/office/drawing/2014/main" xmlns="" id="{ABE10677-9878-4DF2-AA86-454F53DCEE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7" name="Oval 2744">
                <a:extLst>
                  <a:ext uri="{FF2B5EF4-FFF2-40B4-BE49-F238E27FC236}">
                    <a16:creationId xmlns:a16="http://schemas.microsoft.com/office/drawing/2014/main" xmlns="" id="{7621491D-1778-4F7F-9BDF-046D4117E0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8" name="Oval 2745">
                <a:extLst>
                  <a:ext uri="{FF2B5EF4-FFF2-40B4-BE49-F238E27FC236}">
                    <a16:creationId xmlns:a16="http://schemas.microsoft.com/office/drawing/2014/main" xmlns="" id="{16D74EE7-284E-430F-9D48-F56D220EB6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99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9" name="Oval 2746">
                <a:extLst>
                  <a:ext uri="{FF2B5EF4-FFF2-40B4-BE49-F238E27FC236}">
                    <a16:creationId xmlns:a16="http://schemas.microsoft.com/office/drawing/2014/main" xmlns="" id="{015E9D5B-0B05-4190-9F51-3AD54EE8B0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0" name="Oval 2747">
                <a:extLst>
                  <a:ext uri="{FF2B5EF4-FFF2-40B4-BE49-F238E27FC236}">
                    <a16:creationId xmlns:a16="http://schemas.microsoft.com/office/drawing/2014/main" xmlns="" id="{D8411E9C-187E-42FA-9463-173FA9DBB7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1" name="Oval 2748">
                <a:extLst>
                  <a:ext uri="{FF2B5EF4-FFF2-40B4-BE49-F238E27FC236}">
                    <a16:creationId xmlns:a16="http://schemas.microsoft.com/office/drawing/2014/main" xmlns="" id="{C91CAF61-AE72-4D27-B1CF-F8AC7910B2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" name="Oval 2749">
                <a:extLst>
                  <a:ext uri="{FF2B5EF4-FFF2-40B4-BE49-F238E27FC236}">
                    <a16:creationId xmlns:a16="http://schemas.microsoft.com/office/drawing/2014/main" xmlns="" id="{6F6711C3-2F7E-4C70-A625-5C2A9BA883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3" name="Oval 2750">
                <a:extLst>
                  <a:ext uri="{FF2B5EF4-FFF2-40B4-BE49-F238E27FC236}">
                    <a16:creationId xmlns:a16="http://schemas.microsoft.com/office/drawing/2014/main" xmlns="" id="{B6B61C19-FE49-4F0B-941B-6F4441BE71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45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4" name="Oval 2751">
                <a:extLst>
                  <a:ext uri="{FF2B5EF4-FFF2-40B4-BE49-F238E27FC236}">
                    <a16:creationId xmlns:a16="http://schemas.microsoft.com/office/drawing/2014/main" xmlns="" id="{47AFE5D3-F393-4E5E-B285-187C1FB380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3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5" name="Oval 2752">
                <a:extLst>
                  <a:ext uri="{FF2B5EF4-FFF2-40B4-BE49-F238E27FC236}">
                    <a16:creationId xmlns:a16="http://schemas.microsoft.com/office/drawing/2014/main" xmlns="" id="{5EC45C68-2BE9-4232-93F4-B055E1B3D6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6" name="Oval 2753">
                <a:extLst>
                  <a:ext uri="{FF2B5EF4-FFF2-40B4-BE49-F238E27FC236}">
                    <a16:creationId xmlns:a16="http://schemas.microsoft.com/office/drawing/2014/main" xmlns="" id="{2E38AC47-6A53-4092-9505-F63E614E86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7" name="Oval 2754">
                <a:extLst>
                  <a:ext uri="{FF2B5EF4-FFF2-40B4-BE49-F238E27FC236}">
                    <a16:creationId xmlns:a16="http://schemas.microsoft.com/office/drawing/2014/main" xmlns="" id="{F26C6081-E556-4642-9D41-F158F0369A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6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8" name="Oval 2755">
                <a:extLst>
                  <a:ext uri="{FF2B5EF4-FFF2-40B4-BE49-F238E27FC236}">
                    <a16:creationId xmlns:a16="http://schemas.microsoft.com/office/drawing/2014/main" xmlns="" id="{855DEF07-8916-45A1-8F79-4995E75211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9" name="Oval 2756">
                <a:extLst>
                  <a:ext uri="{FF2B5EF4-FFF2-40B4-BE49-F238E27FC236}">
                    <a16:creationId xmlns:a16="http://schemas.microsoft.com/office/drawing/2014/main" xmlns="" id="{CBEF5A22-DFEE-4786-B9BE-1B6318BFD3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0" name="Oval 2757">
                <a:extLst>
                  <a:ext uri="{FF2B5EF4-FFF2-40B4-BE49-F238E27FC236}">
                    <a16:creationId xmlns:a16="http://schemas.microsoft.com/office/drawing/2014/main" xmlns="" id="{965246BA-BC74-41D5-A781-D44E482225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1" name="Oval 2758">
                <a:extLst>
                  <a:ext uri="{FF2B5EF4-FFF2-40B4-BE49-F238E27FC236}">
                    <a16:creationId xmlns:a16="http://schemas.microsoft.com/office/drawing/2014/main" xmlns="" id="{626C2ED9-DD09-43D8-9724-172F89BAB1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2" name="Oval 2759">
                <a:extLst>
                  <a:ext uri="{FF2B5EF4-FFF2-40B4-BE49-F238E27FC236}">
                    <a16:creationId xmlns:a16="http://schemas.microsoft.com/office/drawing/2014/main" xmlns="" id="{9374044B-4328-49EB-BF42-1CF4D5C7F6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3" name="Oval 2760">
                <a:extLst>
                  <a:ext uri="{FF2B5EF4-FFF2-40B4-BE49-F238E27FC236}">
                    <a16:creationId xmlns:a16="http://schemas.microsoft.com/office/drawing/2014/main" xmlns="" id="{366F2D73-0A8F-409D-AC99-510EC17D38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4" name="Oval 2761">
                <a:extLst>
                  <a:ext uri="{FF2B5EF4-FFF2-40B4-BE49-F238E27FC236}">
                    <a16:creationId xmlns:a16="http://schemas.microsoft.com/office/drawing/2014/main" xmlns="" id="{23C673DB-CEEC-4FA7-90F2-CB68F9F6E8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5" name="Oval 2762">
                <a:extLst>
                  <a:ext uri="{FF2B5EF4-FFF2-40B4-BE49-F238E27FC236}">
                    <a16:creationId xmlns:a16="http://schemas.microsoft.com/office/drawing/2014/main" xmlns="" id="{B68E62AC-1EF8-4CE1-905C-C7D8AF00E8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6" name="Oval 2763">
                <a:extLst>
                  <a:ext uri="{FF2B5EF4-FFF2-40B4-BE49-F238E27FC236}">
                    <a16:creationId xmlns:a16="http://schemas.microsoft.com/office/drawing/2014/main" xmlns="" id="{33CF22C7-1122-46EF-B837-EB06B9EB20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7" name="Oval 2764">
                <a:extLst>
                  <a:ext uri="{FF2B5EF4-FFF2-40B4-BE49-F238E27FC236}">
                    <a16:creationId xmlns:a16="http://schemas.microsoft.com/office/drawing/2014/main" xmlns="" id="{E74B427D-4F0A-4295-89DC-01B01AE4FA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8" name="Oval 2765">
                <a:extLst>
                  <a:ext uri="{FF2B5EF4-FFF2-40B4-BE49-F238E27FC236}">
                    <a16:creationId xmlns:a16="http://schemas.microsoft.com/office/drawing/2014/main" xmlns="" id="{AC7FD196-4C17-4790-86AE-6FA6673B76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4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9" name="Oval 2766">
                <a:extLst>
                  <a:ext uri="{FF2B5EF4-FFF2-40B4-BE49-F238E27FC236}">
                    <a16:creationId xmlns:a16="http://schemas.microsoft.com/office/drawing/2014/main" xmlns="" id="{542531C4-80A2-4BA1-80A2-D9623EF53B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0" name="Oval 2767">
                <a:extLst>
                  <a:ext uri="{FF2B5EF4-FFF2-40B4-BE49-F238E27FC236}">
                    <a16:creationId xmlns:a16="http://schemas.microsoft.com/office/drawing/2014/main" xmlns="" id="{9D4C956D-7F7B-44B9-8184-81A6AF65F7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1" name="Oval 2768">
                <a:extLst>
                  <a:ext uri="{FF2B5EF4-FFF2-40B4-BE49-F238E27FC236}">
                    <a16:creationId xmlns:a16="http://schemas.microsoft.com/office/drawing/2014/main" xmlns="" id="{978E575E-2E09-4550-966E-BD9B83859B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2" name="Oval 2769">
                <a:extLst>
                  <a:ext uri="{FF2B5EF4-FFF2-40B4-BE49-F238E27FC236}">
                    <a16:creationId xmlns:a16="http://schemas.microsoft.com/office/drawing/2014/main" xmlns="" id="{B5FDA5A9-94D4-4B21-8682-39B51FF0B4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3" name="Oval 2770">
                <a:extLst>
                  <a:ext uri="{FF2B5EF4-FFF2-40B4-BE49-F238E27FC236}">
                    <a16:creationId xmlns:a16="http://schemas.microsoft.com/office/drawing/2014/main" xmlns="" id="{EA08F59F-8A55-4AD3-9EA5-D6F3D56ECD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4" name="Oval 2771">
                <a:extLst>
                  <a:ext uri="{FF2B5EF4-FFF2-40B4-BE49-F238E27FC236}">
                    <a16:creationId xmlns:a16="http://schemas.microsoft.com/office/drawing/2014/main" xmlns="" id="{C0162232-0404-4042-A91F-00B5DA334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5" name="Oval 2772">
                <a:extLst>
                  <a:ext uri="{FF2B5EF4-FFF2-40B4-BE49-F238E27FC236}">
                    <a16:creationId xmlns:a16="http://schemas.microsoft.com/office/drawing/2014/main" xmlns="" id="{607ECE4A-B675-40A3-9E21-34A18D072F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6" name="Oval 2773">
                <a:extLst>
                  <a:ext uri="{FF2B5EF4-FFF2-40B4-BE49-F238E27FC236}">
                    <a16:creationId xmlns:a16="http://schemas.microsoft.com/office/drawing/2014/main" xmlns="" id="{43743092-E62E-445A-93FC-D4925AC145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7" name="Oval 2774">
                <a:extLst>
                  <a:ext uri="{FF2B5EF4-FFF2-40B4-BE49-F238E27FC236}">
                    <a16:creationId xmlns:a16="http://schemas.microsoft.com/office/drawing/2014/main" xmlns="" id="{DF18F3FD-D67E-45B7-8B36-0B7B909732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8" name="Oval 2775">
                <a:extLst>
                  <a:ext uri="{FF2B5EF4-FFF2-40B4-BE49-F238E27FC236}">
                    <a16:creationId xmlns:a16="http://schemas.microsoft.com/office/drawing/2014/main" xmlns="" id="{A9F14FD7-8B7F-4BB4-8D81-7643CEE322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9" name="Oval 2776">
                <a:extLst>
                  <a:ext uri="{FF2B5EF4-FFF2-40B4-BE49-F238E27FC236}">
                    <a16:creationId xmlns:a16="http://schemas.microsoft.com/office/drawing/2014/main" xmlns="" id="{C1AEC79D-9A62-4B79-B757-4C73DBBD79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0" name="Oval 2777">
                <a:extLst>
                  <a:ext uri="{FF2B5EF4-FFF2-40B4-BE49-F238E27FC236}">
                    <a16:creationId xmlns:a16="http://schemas.microsoft.com/office/drawing/2014/main" xmlns="" id="{DDC6B787-B8B0-4B9A-B99A-94D991A008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1" name="Oval 2778">
                <a:extLst>
                  <a:ext uri="{FF2B5EF4-FFF2-40B4-BE49-F238E27FC236}">
                    <a16:creationId xmlns:a16="http://schemas.microsoft.com/office/drawing/2014/main" xmlns="" id="{4574D271-0041-4C51-B7B3-D5611A2ECF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6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2" name="Oval 2779">
                <a:extLst>
                  <a:ext uri="{FF2B5EF4-FFF2-40B4-BE49-F238E27FC236}">
                    <a16:creationId xmlns:a16="http://schemas.microsoft.com/office/drawing/2014/main" xmlns="" id="{BB164E61-77E1-4A70-B59D-C24732E4B3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12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3" name="Oval 2780">
                <a:extLst>
                  <a:ext uri="{FF2B5EF4-FFF2-40B4-BE49-F238E27FC236}">
                    <a16:creationId xmlns:a16="http://schemas.microsoft.com/office/drawing/2014/main" xmlns="" id="{265BFA74-DFE3-4992-A218-68E43EF424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0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4" name="Oval 2781">
                <a:extLst>
                  <a:ext uri="{FF2B5EF4-FFF2-40B4-BE49-F238E27FC236}">
                    <a16:creationId xmlns:a16="http://schemas.microsoft.com/office/drawing/2014/main" xmlns="" id="{367723B6-307A-4E25-BB96-475CDFB18D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089" name="Group 2983">
              <a:extLst>
                <a:ext uri="{FF2B5EF4-FFF2-40B4-BE49-F238E27FC236}">
                  <a16:creationId xmlns:a16="http://schemas.microsoft.com/office/drawing/2014/main" xmlns="" id="{69D38CCD-6473-42F7-83BF-7C13129024D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46" y="120"/>
              <a:ext cx="1979" cy="3120"/>
              <a:chOff x="1246" y="120"/>
              <a:chExt cx="1979" cy="3120"/>
            </a:xfrm>
          </p:grpSpPr>
          <p:sp>
            <p:nvSpPr>
              <p:cNvPr id="1275" name="Oval 2783">
                <a:extLst>
                  <a:ext uri="{FF2B5EF4-FFF2-40B4-BE49-F238E27FC236}">
                    <a16:creationId xmlns:a16="http://schemas.microsoft.com/office/drawing/2014/main" xmlns="" id="{6129CF86-C51E-4C4F-9A07-A68FB6B119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6" name="Oval 2784">
                <a:extLst>
                  <a:ext uri="{FF2B5EF4-FFF2-40B4-BE49-F238E27FC236}">
                    <a16:creationId xmlns:a16="http://schemas.microsoft.com/office/drawing/2014/main" xmlns="" id="{5A63C1FE-E317-4DB4-B4F1-E1A61BD3B6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7" name="Oval 2785">
                <a:extLst>
                  <a:ext uri="{FF2B5EF4-FFF2-40B4-BE49-F238E27FC236}">
                    <a16:creationId xmlns:a16="http://schemas.microsoft.com/office/drawing/2014/main" xmlns="" id="{45826B95-2F36-4944-99E4-CB594467F7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8" name="Oval 2786">
                <a:extLst>
                  <a:ext uri="{FF2B5EF4-FFF2-40B4-BE49-F238E27FC236}">
                    <a16:creationId xmlns:a16="http://schemas.microsoft.com/office/drawing/2014/main" xmlns="" id="{3FDD311B-9074-47B8-B1AF-DD47E59034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9" name="Oval 2787">
                <a:extLst>
                  <a:ext uri="{FF2B5EF4-FFF2-40B4-BE49-F238E27FC236}">
                    <a16:creationId xmlns:a16="http://schemas.microsoft.com/office/drawing/2014/main" xmlns="" id="{111F8CA4-534E-47EF-BDB0-96C70BB7E3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0" name="Oval 2788">
                <a:extLst>
                  <a:ext uri="{FF2B5EF4-FFF2-40B4-BE49-F238E27FC236}">
                    <a16:creationId xmlns:a16="http://schemas.microsoft.com/office/drawing/2014/main" xmlns="" id="{14D247EB-633D-4B3F-AA08-9984B0750E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1" name="Oval 2789">
                <a:extLst>
                  <a:ext uri="{FF2B5EF4-FFF2-40B4-BE49-F238E27FC236}">
                    <a16:creationId xmlns:a16="http://schemas.microsoft.com/office/drawing/2014/main" xmlns="" id="{6E43733B-090C-47BC-80AB-0703F21C45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7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2" name="Oval 2790">
                <a:extLst>
                  <a:ext uri="{FF2B5EF4-FFF2-40B4-BE49-F238E27FC236}">
                    <a16:creationId xmlns:a16="http://schemas.microsoft.com/office/drawing/2014/main" xmlns="" id="{10DBA5C8-C93A-4CDA-9C75-2C54A79AA8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3" name="Oval 2791">
                <a:extLst>
                  <a:ext uri="{FF2B5EF4-FFF2-40B4-BE49-F238E27FC236}">
                    <a16:creationId xmlns:a16="http://schemas.microsoft.com/office/drawing/2014/main" xmlns="" id="{087EDEA9-FCB2-4D02-8760-81DB101D0B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4" name="Oval 2792">
                <a:extLst>
                  <a:ext uri="{FF2B5EF4-FFF2-40B4-BE49-F238E27FC236}">
                    <a16:creationId xmlns:a16="http://schemas.microsoft.com/office/drawing/2014/main" xmlns="" id="{90FD4177-4E92-469F-8D96-30A6850CCA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13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5" name="Oval 2793">
                <a:extLst>
                  <a:ext uri="{FF2B5EF4-FFF2-40B4-BE49-F238E27FC236}">
                    <a16:creationId xmlns:a16="http://schemas.microsoft.com/office/drawing/2014/main" xmlns="" id="{823BE944-89C0-4F03-9617-BA03E90318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6" name="Oval 2794">
                <a:extLst>
                  <a:ext uri="{FF2B5EF4-FFF2-40B4-BE49-F238E27FC236}">
                    <a16:creationId xmlns:a16="http://schemas.microsoft.com/office/drawing/2014/main" xmlns="" id="{554C7EF2-827C-4398-ABDC-4DAC12DAC2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15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7" name="Oval 2795">
                <a:extLst>
                  <a:ext uri="{FF2B5EF4-FFF2-40B4-BE49-F238E27FC236}">
                    <a16:creationId xmlns:a16="http://schemas.microsoft.com/office/drawing/2014/main" xmlns="" id="{537DA408-C3BB-435D-9A1E-D6830450BB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8" name="Oval 2796">
                <a:extLst>
                  <a:ext uri="{FF2B5EF4-FFF2-40B4-BE49-F238E27FC236}">
                    <a16:creationId xmlns:a16="http://schemas.microsoft.com/office/drawing/2014/main" xmlns="" id="{6229FAD8-592D-4369-964A-D397308A6C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9" name="Oval 2797">
                <a:extLst>
                  <a:ext uri="{FF2B5EF4-FFF2-40B4-BE49-F238E27FC236}">
                    <a16:creationId xmlns:a16="http://schemas.microsoft.com/office/drawing/2014/main" xmlns="" id="{681B39AA-61F3-4E08-8464-03D9184E06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0" name="Oval 2798">
                <a:extLst>
                  <a:ext uri="{FF2B5EF4-FFF2-40B4-BE49-F238E27FC236}">
                    <a16:creationId xmlns:a16="http://schemas.microsoft.com/office/drawing/2014/main" xmlns="" id="{BB2AA7C8-E062-41DA-94C2-07280C59C8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1" name="Oval 2799">
                <a:extLst>
                  <a:ext uri="{FF2B5EF4-FFF2-40B4-BE49-F238E27FC236}">
                    <a16:creationId xmlns:a16="http://schemas.microsoft.com/office/drawing/2014/main" xmlns="" id="{C6718EE5-63F5-4B16-9B4B-0BB7C040EA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2" name="Oval 2800">
                <a:extLst>
                  <a:ext uri="{FF2B5EF4-FFF2-40B4-BE49-F238E27FC236}">
                    <a16:creationId xmlns:a16="http://schemas.microsoft.com/office/drawing/2014/main" xmlns="" id="{F03AF56C-07A3-4C45-B8C0-D0AE14F3FC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3" name="Oval 2801">
                <a:extLst>
                  <a:ext uri="{FF2B5EF4-FFF2-40B4-BE49-F238E27FC236}">
                    <a16:creationId xmlns:a16="http://schemas.microsoft.com/office/drawing/2014/main" xmlns="" id="{4EA39318-9649-4DE1-A10F-9F74C7F8E8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4" name="Oval 2802">
                <a:extLst>
                  <a:ext uri="{FF2B5EF4-FFF2-40B4-BE49-F238E27FC236}">
                    <a16:creationId xmlns:a16="http://schemas.microsoft.com/office/drawing/2014/main" xmlns="" id="{4A09C0A4-A79A-428B-A191-B5B078AB34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5" name="Oval 2803">
                <a:extLst>
                  <a:ext uri="{FF2B5EF4-FFF2-40B4-BE49-F238E27FC236}">
                    <a16:creationId xmlns:a16="http://schemas.microsoft.com/office/drawing/2014/main" xmlns="" id="{1AB018DA-2103-4018-9A73-D3F73AA0B4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8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6" name="Oval 2804">
                <a:extLst>
                  <a:ext uri="{FF2B5EF4-FFF2-40B4-BE49-F238E27FC236}">
                    <a16:creationId xmlns:a16="http://schemas.microsoft.com/office/drawing/2014/main" xmlns="" id="{4C97B1EF-9E55-4508-A46D-9EBA9965A9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7" name="Oval 2805">
                <a:extLst>
                  <a:ext uri="{FF2B5EF4-FFF2-40B4-BE49-F238E27FC236}">
                    <a16:creationId xmlns:a16="http://schemas.microsoft.com/office/drawing/2014/main" xmlns="" id="{C0CE830E-215C-4903-9E49-7CC76EDCE4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8" name="Oval 2806">
                <a:extLst>
                  <a:ext uri="{FF2B5EF4-FFF2-40B4-BE49-F238E27FC236}">
                    <a16:creationId xmlns:a16="http://schemas.microsoft.com/office/drawing/2014/main" xmlns="" id="{0AEF48AA-D9AD-467F-9F68-C0758C42BF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9" name="Oval 2807">
                <a:extLst>
                  <a:ext uri="{FF2B5EF4-FFF2-40B4-BE49-F238E27FC236}">
                    <a16:creationId xmlns:a16="http://schemas.microsoft.com/office/drawing/2014/main" xmlns="" id="{E2DF4B58-4A39-4C4A-B7B1-F3A707CA52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0" name="Oval 2808">
                <a:extLst>
                  <a:ext uri="{FF2B5EF4-FFF2-40B4-BE49-F238E27FC236}">
                    <a16:creationId xmlns:a16="http://schemas.microsoft.com/office/drawing/2014/main" xmlns="" id="{B9F56741-DF33-4C74-B747-6606954918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1" name="Oval 2809">
                <a:extLst>
                  <a:ext uri="{FF2B5EF4-FFF2-40B4-BE49-F238E27FC236}">
                    <a16:creationId xmlns:a16="http://schemas.microsoft.com/office/drawing/2014/main" xmlns="" id="{57C4EA05-0B07-42A9-9130-01432E8AC0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2" name="Oval 2810">
                <a:extLst>
                  <a:ext uri="{FF2B5EF4-FFF2-40B4-BE49-F238E27FC236}">
                    <a16:creationId xmlns:a16="http://schemas.microsoft.com/office/drawing/2014/main" xmlns="" id="{D1E78D8E-35BB-4FC6-9DF6-E1BB131B8E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3" name="Oval 2811">
                <a:extLst>
                  <a:ext uri="{FF2B5EF4-FFF2-40B4-BE49-F238E27FC236}">
                    <a16:creationId xmlns:a16="http://schemas.microsoft.com/office/drawing/2014/main" xmlns="" id="{0E01BA28-3E48-4E59-822C-EC484FC42E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4" name="Oval 2812">
                <a:extLst>
                  <a:ext uri="{FF2B5EF4-FFF2-40B4-BE49-F238E27FC236}">
                    <a16:creationId xmlns:a16="http://schemas.microsoft.com/office/drawing/2014/main" xmlns="" id="{72BAC50B-0E8C-43E3-963E-C669FAEA0B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5" name="Oval 2813">
                <a:extLst>
                  <a:ext uri="{FF2B5EF4-FFF2-40B4-BE49-F238E27FC236}">
                    <a16:creationId xmlns:a16="http://schemas.microsoft.com/office/drawing/2014/main" xmlns="" id="{EB2CBF60-5C79-404D-A31C-07D74A2BB6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6" name="Oval 2814">
                <a:extLst>
                  <a:ext uri="{FF2B5EF4-FFF2-40B4-BE49-F238E27FC236}">
                    <a16:creationId xmlns:a16="http://schemas.microsoft.com/office/drawing/2014/main" xmlns="" id="{35E0F3D1-FCAA-414D-B7D0-16A0579350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7" name="Oval 2815">
                <a:extLst>
                  <a:ext uri="{FF2B5EF4-FFF2-40B4-BE49-F238E27FC236}">
                    <a16:creationId xmlns:a16="http://schemas.microsoft.com/office/drawing/2014/main" xmlns="" id="{FBC2C70C-910A-449A-8AC1-94DF361223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8" name="Oval 2816">
                <a:extLst>
                  <a:ext uri="{FF2B5EF4-FFF2-40B4-BE49-F238E27FC236}">
                    <a16:creationId xmlns:a16="http://schemas.microsoft.com/office/drawing/2014/main" xmlns="" id="{863A5F52-BC02-44C4-B48D-F58CB991BB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9" name="Oval 2817">
                <a:extLst>
                  <a:ext uri="{FF2B5EF4-FFF2-40B4-BE49-F238E27FC236}">
                    <a16:creationId xmlns:a16="http://schemas.microsoft.com/office/drawing/2014/main" xmlns="" id="{5D88B15C-B1E7-4896-AA55-F2689339CE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0" name="Oval 2818">
                <a:extLst>
                  <a:ext uri="{FF2B5EF4-FFF2-40B4-BE49-F238E27FC236}">
                    <a16:creationId xmlns:a16="http://schemas.microsoft.com/office/drawing/2014/main" xmlns="" id="{8FC0EA4B-F699-4E3E-9F10-FD94C55557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1" name="Oval 2819">
                <a:extLst>
                  <a:ext uri="{FF2B5EF4-FFF2-40B4-BE49-F238E27FC236}">
                    <a16:creationId xmlns:a16="http://schemas.microsoft.com/office/drawing/2014/main" xmlns="" id="{6ADD3E73-48C0-4DE3-A1C6-500B1F0793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6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2" name="Oval 2820">
                <a:extLst>
                  <a:ext uri="{FF2B5EF4-FFF2-40B4-BE49-F238E27FC236}">
                    <a16:creationId xmlns:a16="http://schemas.microsoft.com/office/drawing/2014/main" xmlns="" id="{DED16D1B-BFDB-40C0-AFE7-D931B97FFD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3" name="Oval 2821">
                <a:extLst>
                  <a:ext uri="{FF2B5EF4-FFF2-40B4-BE49-F238E27FC236}">
                    <a16:creationId xmlns:a16="http://schemas.microsoft.com/office/drawing/2014/main" xmlns="" id="{4F41136D-560D-405B-AC80-C9414DCE9C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4" name="Oval 2822">
                <a:extLst>
                  <a:ext uri="{FF2B5EF4-FFF2-40B4-BE49-F238E27FC236}">
                    <a16:creationId xmlns:a16="http://schemas.microsoft.com/office/drawing/2014/main" xmlns="" id="{4555FABD-1B75-447A-97C3-EA779D6DDF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5" name="Oval 2823">
                <a:extLst>
                  <a:ext uri="{FF2B5EF4-FFF2-40B4-BE49-F238E27FC236}">
                    <a16:creationId xmlns:a16="http://schemas.microsoft.com/office/drawing/2014/main" xmlns="" id="{DC94DDF6-E03E-4A79-A2C5-B9325F08C6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6" name="Oval 2824">
                <a:extLst>
                  <a:ext uri="{FF2B5EF4-FFF2-40B4-BE49-F238E27FC236}">
                    <a16:creationId xmlns:a16="http://schemas.microsoft.com/office/drawing/2014/main" xmlns="" id="{CB6255B7-9A98-4AE7-AF16-EF5B2D302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7" name="Oval 2825">
                <a:extLst>
                  <a:ext uri="{FF2B5EF4-FFF2-40B4-BE49-F238E27FC236}">
                    <a16:creationId xmlns:a16="http://schemas.microsoft.com/office/drawing/2014/main" xmlns="" id="{41C6FA23-1F3F-4F4B-A957-A9F88F8DB2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8" name="Oval 2826">
                <a:extLst>
                  <a:ext uri="{FF2B5EF4-FFF2-40B4-BE49-F238E27FC236}">
                    <a16:creationId xmlns:a16="http://schemas.microsoft.com/office/drawing/2014/main" xmlns="" id="{7684F10A-31FC-4161-B287-446413EADC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9" name="Oval 2827">
                <a:extLst>
                  <a:ext uri="{FF2B5EF4-FFF2-40B4-BE49-F238E27FC236}">
                    <a16:creationId xmlns:a16="http://schemas.microsoft.com/office/drawing/2014/main" xmlns="" id="{02F4CC26-AD9F-461F-BF14-A2DD8F0866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0" name="Oval 2828">
                <a:extLst>
                  <a:ext uri="{FF2B5EF4-FFF2-40B4-BE49-F238E27FC236}">
                    <a16:creationId xmlns:a16="http://schemas.microsoft.com/office/drawing/2014/main" xmlns="" id="{0B86D3F6-4697-4BE6-B291-6135BA4F9C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1" name="Oval 2829">
                <a:extLst>
                  <a:ext uri="{FF2B5EF4-FFF2-40B4-BE49-F238E27FC236}">
                    <a16:creationId xmlns:a16="http://schemas.microsoft.com/office/drawing/2014/main" xmlns="" id="{8F960AD8-D29E-4F00-BDEC-3FB677B5DD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0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2" name="Oval 2830">
                <a:extLst>
                  <a:ext uri="{FF2B5EF4-FFF2-40B4-BE49-F238E27FC236}">
                    <a16:creationId xmlns:a16="http://schemas.microsoft.com/office/drawing/2014/main" xmlns="" id="{9DC3E523-C08F-4FE5-9614-09AA39A152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3" name="Oval 2831">
                <a:extLst>
                  <a:ext uri="{FF2B5EF4-FFF2-40B4-BE49-F238E27FC236}">
                    <a16:creationId xmlns:a16="http://schemas.microsoft.com/office/drawing/2014/main" xmlns="" id="{4CF4AE02-CA13-410B-96E5-9836FCB691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4" name="Oval 2832">
                <a:extLst>
                  <a:ext uri="{FF2B5EF4-FFF2-40B4-BE49-F238E27FC236}">
                    <a16:creationId xmlns:a16="http://schemas.microsoft.com/office/drawing/2014/main" xmlns="" id="{C5EA7B67-E790-4CC2-8AE6-D7D4DF8A83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5" name="Oval 2833">
                <a:extLst>
                  <a:ext uri="{FF2B5EF4-FFF2-40B4-BE49-F238E27FC236}">
                    <a16:creationId xmlns:a16="http://schemas.microsoft.com/office/drawing/2014/main" xmlns="" id="{45513234-10EE-4B73-9338-F4D90000DC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6" name="Oval 2834">
                <a:extLst>
                  <a:ext uri="{FF2B5EF4-FFF2-40B4-BE49-F238E27FC236}">
                    <a16:creationId xmlns:a16="http://schemas.microsoft.com/office/drawing/2014/main" xmlns="" id="{DE66007A-A66E-4BE3-9C8D-9677F654A2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7" name="Oval 2835">
                <a:extLst>
                  <a:ext uri="{FF2B5EF4-FFF2-40B4-BE49-F238E27FC236}">
                    <a16:creationId xmlns:a16="http://schemas.microsoft.com/office/drawing/2014/main" xmlns="" id="{5B4468FC-7245-4435-BEBA-E6AE157C90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8" name="Oval 2836">
                <a:extLst>
                  <a:ext uri="{FF2B5EF4-FFF2-40B4-BE49-F238E27FC236}">
                    <a16:creationId xmlns:a16="http://schemas.microsoft.com/office/drawing/2014/main" xmlns="" id="{FE025FF8-D560-4CF5-B356-7D77EC078C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9" name="Oval 2837">
                <a:extLst>
                  <a:ext uri="{FF2B5EF4-FFF2-40B4-BE49-F238E27FC236}">
                    <a16:creationId xmlns:a16="http://schemas.microsoft.com/office/drawing/2014/main" xmlns="" id="{815A7677-EB14-43F3-BCFB-FAA48FFC0E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0" name="Oval 2838">
                <a:extLst>
                  <a:ext uri="{FF2B5EF4-FFF2-40B4-BE49-F238E27FC236}">
                    <a16:creationId xmlns:a16="http://schemas.microsoft.com/office/drawing/2014/main" xmlns="" id="{3E62E059-DDAA-4F8F-B051-6132C66E9F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1" name="Oval 2839">
                <a:extLst>
                  <a:ext uri="{FF2B5EF4-FFF2-40B4-BE49-F238E27FC236}">
                    <a16:creationId xmlns:a16="http://schemas.microsoft.com/office/drawing/2014/main" xmlns="" id="{D59CCACF-52E5-40F3-BA4B-82B1AFDF62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2" name="Oval 2840">
                <a:extLst>
                  <a:ext uri="{FF2B5EF4-FFF2-40B4-BE49-F238E27FC236}">
                    <a16:creationId xmlns:a16="http://schemas.microsoft.com/office/drawing/2014/main" xmlns="" id="{8EEEF0F4-B88D-4E35-8BFE-BAEB603624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3" name="Oval 2841">
                <a:extLst>
                  <a:ext uri="{FF2B5EF4-FFF2-40B4-BE49-F238E27FC236}">
                    <a16:creationId xmlns:a16="http://schemas.microsoft.com/office/drawing/2014/main" xmlns="" id="{7161B8BC-DD3B-4E43-B16B-CF89CDC79D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4" name="Oval 2842">
                <a:extLst>
                  <a:ext uri="{FF2B5EF4-FFF2-40B4-BE49-F238E27FC236}">
                    <a16:creationId xmlns:a16="http://schemas.microsoft.com/office/drawing/2014/main" xmlns="" id="{2B982729-EC79-4B97-8998-C3D1A4B37F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5" name="Oval 2843">
                <a:extLst>
                  <a:ext uri="{FF2B5EF4-FFF2-40B4-BE49-F238E27FC236}">
                    <a16:creationId xmlns:a16="http://schemas.microsoft.com/office/drawing/2014/main" xmlns="" id="{4339B7AA-D6FE-4B76-A10D-8A6B6B7116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6" name="Oval 2844">
                <a:extLst>
                  <a:ext uri="{FF2B5EF4-FFF2-40B4-BE49-F238E27FC236}">
                    <a16:creationId xmlns:a16="http://schemas.microsoft.com/office/drawing/2014/main" xmlns="" id="{13A76416-3FD4-46F9-990F-2EE527EB21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7" name="Oval 2845">
                <a:extLst>
                  <a:ext uri="{FF2B5EF4-FFF2-40B4-BE49-F238E27FC236}">
                    <a16:creationId xmlns:a16="http://schemas.microsoft.com/office/drawing/2014/main" xmlns="" id="{D9EAC036-476B-4F90-A396-B27D90AA1E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75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8" name="Oval 2846">
                <a:extLst>
                  <a:ext uri="{FF2B5EF4-FFF2-40B4-BE49-F238E27FC236}">
                    <a16:creationId xmlns:a16="http://schemas.microsoft.com/office/drawing/2014/main" xmlns="" id="{C6173766-E753-4853-867C-E3ACE8EE01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9" name="Oval 2847">
                <a:extLst>
                  <a:ext uri="{FF2B5EF4-FFF2-40B4-BE49-F238E27FC236}">
                    <a16:creationId xmlns:a16="http://schemas.microsoft.com/office/drawing/2014/main" xmlns="" id="{60642474-44F1-42EC-9DE5-61240BF97D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6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0" name="Oval 2848">
                <a:extLst>
                  <a:ext uri="{FF2B5EF4-FFF2-40B4-BE49-F238E27FC236}">
                    <a16:creationId xmlns:a16="http://schemas.microsoft.com/office/drawing/2014/main" xmlns="" id="{C6461668-692F-4BDA-8E9C-339FA45650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1" name="Oval 2849">
                <a:extLst>
                  <a:ext uri="{FF2B5EF4-FFF2-40B4-BE49-F238E27FC236}">
                    <a16:creationId xmlns:a16="http://schemas.microsoft.com/office/drawing/2014/main" xmlns="" id="{1E1EB899-5978-4ADF-A94B-F801CE084D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2" name="Oval 2850">
                <a:extLst>
                  <a:ext uri="{FF2B5EF4-FFF2-40B4-BE49-F238E27FC236}">
                    <a16:creationId xmlns:a16="http://schemas.microsoft.com/office/drawing/2014/main" xmlns="" id="{FBB6B654-2E5D-403C-8E66-CDF390909C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3" name="Oval 2851">
                <a:extLst>
                  <a:ext uri="{FF2B5EF4-FFF2-40B4-BE49-F238E27FC236}">
                    <a16:creationId xmlns:a16="http://schemas.microsoft.com/office/drawing/2014/main" xmlns="" id="{A43C2802-0FDD-4456-8F3E-0233539DEB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10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4" name="Oval 2852">
                <a:extLst>
                  <a:ext uri="{FF2B5EF4-FFF2-40B4-BE49-F238E27FC236}">
                    <a16:creationId xmlns:a16="http://schemas.microsoft.com/office/drawing/2014/main" xmlns="" id="{8169768F-3F7F-4B18-BF8F-710894E545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5" name="Oval 2853">
                <a:extLst>
                  <a:ext uri="{FF2B5EF4-FFF2-40B4-BE49-F238E27FC236}">
                    <a16:creationId xmlns:a16="http://schemas.microsoft.com/office/drawing/2014/main" xmlns="" id="{2DC9F1E9-6934-42F2-A713-3D64E77544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6" name="Oval 2854">
                <a:extLst>
                  <a:ext uri="{FF2B5EF4-FFF2-40B4-BE49-F238E27FC236}">
                    <a16:creationId xmlns:a16="http://schemas.microsoft.com/office/drawing/2014/main" xmlns="" id="{6101C61C-B7E6-494F-9086-2DC981F37C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5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7" name="Oval 2855">
                <a:extLst>
                  <a:ext uri="{FF2B5EF4-FFF2-40B4-BE49-F238E27FC236}">
                    <a16:creationId xmlns:a16="http://schemas.microsoft.com/office/drawing/2014/main" xmlns="" id="{17E9C7EA-A87F-45C4-8A3A-C672DBA924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8" name="Oval 2856">
                <a:extLst>
                  <a:ext uri="{FF2B5EF4-FFF2-40B4-BE49-F238E27FC236}">
                    <a16:creationId xmlns:a16="http://schemas.microsoft.com/office/drawing/2014/main" xmlns="" id="{BE8C8981-1C05-43AE-AEE7-3005BC4E84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9" name="Oval 2857">
                <a:extLst>
                  <a:ext uri="{FF2B5EF4-FFF2-40B4-BE49-F238E27FC236}">
                    <a16:creationId xmlns:a16="http://schemas.microsoft.com/office/drawing/2014/main" xmlns="" id="{BD6B2F33-01E2-4752-BB09-FE1AE4693A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3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0" name="Oval 2858">
                <a:extLst>
                  <a:ext uri="{FF2B5EF4-FFF2-40B4-BE49-F238E27FC236}">
                    <a16:creationId xmlns:a16="http://schemas.microsoft.com/office/drawing/2014/main" xmlns="" id="{302F860D-6607-457C-9276-8E7D91D40C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1" name="Oval 2859">
                <a:extLst>
                  <a:ext uri="{FF2B5EF4-FFF2-40B4-BE49-F238E27FC236}">
                    <a16:creationId xmlns:a16="http://schemas.microsoft.com/office/drawing/2014/main" xmlns="" id="{E4EE97CB-CE11-4CE5-BFE3-0187995002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2" name="Oval 2860">
                <a:extLst>
                  <a:ext uri="{FF2B5EF4-FFF2-40B4-BE49-F238E27FC236}">
                    <a16:creationId xmlns:a16="http://schemas.microsoft.com/office/drawing/2014/main" xmlns="" id="{138D19C6-0B8A-4CA8-BBF7-8792EB7ACF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3" name="Oval 2861">
                <a:extLst>
                  <a:ext uri="{FF2B5EF4-FFF2-40B4-BE49-F238E27FC236}">
                    <a16:creationId xmlns:a16="http://schemas.microsoft.com/office/drawing/2014/main" xmlns="" id="{584192B8-F197-4019-AB45-0783628380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4" name="Oval 2862">
                <a:extLst>
                  <a:ext uri="{FF2B5EF4-FFF2-40B4-BE49-F238E27FC236}">
                    <a16:creationId xmlns:a16="http://schemas.microsoft.com/office/drawing/2014/main" xmlns="" id="{2930C44B-967A-46D4-92E1-01BFCCBA70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5" name="Oval 2863">
                <a:extLst>
                  <a:ext uri="{FF2B5EF4-FFF2-40B4-BE49-F238E27FC236}">
                    <a16:creationId xmlns:a16="http://schemas.microsoft.com/office/drawing/2014/main" xmlns="" id="{73CECF6E-570D-48A4-A2E6-B8F906C27C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6" name="Oval 2864">
                <a:extLst>
                  <a:ext uri="{FF2B5EF4-FFF2-40B4-BE49-F238E27FC236}">
                    <a16:creationId xmlns:a16="http://schemas.microsoft.com/office/drawing/2014/main" xmlns="" id="{D7D7E674-EFA8-4653-9BE0-A8BE3C692E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7" name="Oval 2865">
                <a:extLst>
                  <a:ext uri="{FF2B5EF4-FFF2-40B4-BE49-F238E27FC236}">
                    <a16:creationId xmlns:a16="http://schemas.microsoft.com/office/drawing/2014/main" xmlns="" id="{543B6BE4-E3B0-4399-AFFA-B9B167EBD2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8" name="Oval 2866">
                <a:extLst>
                  <a:ext uri="{FF2B5EF4-FFF2-40B4-BE49-F238E27FC236}">
                    <a16:creationId xmlns:a16="http://schemas.microsoft.com/office/drawing/2014/main" xmlns="" id="{B242EDF7-DFC3-462F-A336-F2AB3DB622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9" name="Oval 2867">
                <a:extLst>
                  <a:ext uri="{FF2B5EF4-FFF2-40B4-BE49-F238E27FC236}">
                    <a16:creationId xmlns:a16="http://schemas.microsoft.com/office/drawing/2014/main" xmlns="" id="{EFD083A3-92EA-4317-A886-7B508CE1D8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0" name="Oval 2868">
                <a:extLst>
                  <a:ext uri="{FF2B5EF4-FFF2-40B4-BE49-F238E27FC236}">
                    <a16:creationId xmlns:a16="http://schemas.microsoft.com/office/drawing/2014/main" xmlns="" id="{5322AEF2-BF94-485F-B1FF-3CD2263F85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1" name="Oval 2869">
                <a:extLst>
                  <a:ext uri="{FF2B5EF4-FFF2-40B4-BE49-F238E27FC236}">
                    <a16:creationId xmlns:a16="http://schemas.microsoft.com/office/drawing/2014/main" xmlns="" id="{DB512996-2E3A-4AB5-9E73-269DD12990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2" name="Oval 2870">
                <a:extLst>
                  <a:ext uri="{FF2B5EF4-FFF2-40B4-BE49-F238E27FC236}">
                    <a16:creationId xmlns:a16="http://schemas.microsoft.com/office/drawing/2014/main" xmlns="" id="{BA524682-A42B-48C7-A3D7-C66CDA9B08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3" name="Oval 2871">
                <a:extLst>
                  <a:ext uri="{FF2B5EF4-FFF2-40B4-BE49-F238E27FC236}">
                    <a16:creationId xmlns:a16="http://schemas.microsoft.com/office/drawing/2014/main" xmlns="" id="{D809DABF-6E93-4F0C-A148-0CED649894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4" name="Oval 2872">
                <a:extLst>
                  <a:ext uri="{FF2B5EF4-FFF2-40B4-BE49-F238E27FC236}">
                    <a16:creationId xmlns:a16="http://schemas.microsoft.com/office/drawing/2014/main" xmlns="" id="{D5629FC4-187C-4046-BFC0-6EC33AB6FB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5" name="Oval 2873">
                <a:extLst>
                  <a:ext uri="{FF2B5EF4-FFF2-40B4-BE49-F238E27FC236}">
                    <a16:creationId xmlns:a16="http://schemas.microsoft.com/office/drawing/2014/main" xmlns="" id="{DB5141A3-0001-433E-8918-134077580D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4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6" name="Oval 2874">
                <a:extLst>
                  <a:ext uri="{FF2B5EF4-FFF2-40B4-BE49-F238E27FC236}">
                    <a16:creationId xmlns:a16="http://schemas.microsoft.com/office/drawing/2014/main" xmlns="" id="{A26CED6D-D44C-45FF-9B83-99CABD3AC1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7" name="Oval 2875">
                <a:extLst>
                  <a:ext uri="{FF2B5EF4-FFF2-40B4-BE49-F238E27FC236}">
                    <a16:creationId xmlns:a16="http://schemas.microsoft.com/office/drawing/2014/main" xmlns="" id="{2133BA21-DD16-4B61-8D89-3112033C09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8" name="Oval 2876">
                <a:extLst>
                  <a:ext uri="{FF2B5EF4-FFF2-40B4-BE49-F238E27FC236}">
                    <a16:creationId xmlns:a16="http://schemas.microsoft.com/office/drawing/2014/main" xmlns="" id="{81A41EE4-9285-435F-9DE7-205D1C5287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9" name="Oval 2877">
                <a:extLst>
                  <a:ext uri="{FF2B5EF4-FFF2-40B4-BE49-F238E27FC236}">
                    <a16:creationId xmlns:a16="http://schemas.microsoft.com/office/drawing/2014/main" xmlns="" id="{B3D68B5B-D58D-47B1-B391-5317838F0F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7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0" name="Oval 2878">
                <a:extLst>
                  <a:ext uri="{FF2B5EF4-FFF2-40B4-BE49-F238E27FC236}">
                    <a16:creationId xmlns:a16="http://schemas.microsoft.com/office/drawing/2014/main" xmlns="" id="{74AD8B59-45D9-40AA-9BCC-9046BB743B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1" name="Oval 2879">
                <a:extLst>
                  <a:ext uri="{FF2B5EF4-FFF2-40B4-BE49-F238E27FC236}">
                    <a16:creationId xmlns:a16="http://schemas.microsoft.com/office/drawing/2014/main" xmlns="" id="{9BDF142E-1515-4562-9E5F-672CC940E2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2" name="Oval 2880">
                <a:extLst>
                  <a:ext uri="{FF2B5EF4-FFF2-40B4-BE49-F238E27FC236}">
                    <a16:creationId xmlns:a16="http://schemas.microsoft.com/office/drawing/2014/main" xmlns="" id="{E754DA66-D5C6-44FD-AB23-D8C339BF93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0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3" name="Oval 2881">
                <a:extLst>
                  <a:ext uri="{FF2B5EF4-FFF2-40B4-BE49-F238E27FC236}">
                    <a16:creationId xmlns:a16="http://schemas.microsoft.com/office/drawing/2014/main" xmlns="" id="{CB852FB7-1BF9-4FF9-96F8-7BA9AA847C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1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4" name="Oval 2882">
                <a:extLst>
                  <a:ext uri="{FF2B5EF4-FFF2-40B4-BE49-F238E27FC236}">
                    <a16:creationId xmlns:a16="http://schemas.microsoft.com/office/drawing/2014/main" xmlns="" id="{53E99C27-E45E-4B49-89A5-F206683BFC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5" name="Oval 2883">
                <a:extLst>
                  <a:ext uri="{FF2B5EF4-FFF2-40B4-BE49-F238E27FC236}">
                    <a16:creationId xmlns:a16="http://schemas.microsoft.com/office/drawing/2014/main" xmlns="" id="{DE0F23FC-3948-4D0A-9ADB-44A424C417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6" name="Oval 2884">
                <a:extLst>
                  <a:ext uri="{FF2B5EF4-FFF2-40B4-BE49-F238E27FC236}">
                    <a16:creationId xmlns:a16="http://schemas.microsoft.com/office/drawing/2014/main" xmlns="" id="{0E3C0EED-CCBF-4C54-8224-6D73E33F1E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7" name="Oval 2885">
                <a:extLst>
                  <a:ext uri="{FF2B5EF4-FFF2-40B4-BE49-F238E27FC236}">
                    <a16:creationId xmlns:a16="http://schemas.microsoft.com/office/drawing/2014/main" xmlns="" id="{1799841F-B7DD-402D-B7B0-A95D0105CC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8" name="Oval 2886">
                <a:extLst>
                  <a:ext uri="{FF2B5EF4-FFF2-40B4-BE49-F238E27FC236}">
                    <a16:creationId xmlns:a16="http://schemas.microsoft.com/office/drawing/2014/main" xmlns="" id="{3FE42D1B-C7BD-4A1D-8CD8-DFFA7AF253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9" name="Oval 2887">
                <a:extLst>
                  <a:ext uri="{FF2B5EF4-FFF2-40B4-BE49-F238E27FC236}">
                    <a16:creationId xmlns:a16="http://schemas.microsoft.com/office/drawing/2014/main" xmlns="" id="{392D4641-113E-4029-8EEB-DB1BC11AFE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0" name="Oval 2888">
                <a:extLst>
                  <a:ext uri="{FF2B5EF4-FFF2-40B4-BE49-F238E27FC236}">
                    <a16:creationId xmlns:a16="http://schemas.microsoft.com/office/drawing/2014/main" xmlns="" id="{0A802274-8C4C-4260-8A8C-D8E795DA18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1" name="Oval 2889">
                <a:extLst>
                  <a:ext uri="{FF2B5EF4-FFF2-40B4-BE49-F238E27FC236}">
                    <a16:creationId xmlns:a16="http://schemas.microsoft.com/office/drawing/2014/main" xmlns="" id="{FE3CEBC0-3A92-42EA-87E4-4EED846268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2" name="Oval 2890">
                <a:extLst>
                  <a:ext uri="{FF2B5EF4-FFF2-40B4-BE49-F238E27FC236}">
                    <a16:creationId xmlns:a16="http://schemas.microsoft.com/office/drawing/2014/main" xmlns="" id="{62E98C3C-15AA-4AF7-814B-FB7ACAC27B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3" name="Oval 2891">
                <a:extLst>
                  <a:ext uri="{FF2B5EF4-FFF2-40B4-BE49-F238E27FC236}">
                    <a16:creationId xmlns:a16="http://schemas.microsoft.com/office/drawing/2014/main" xmlns="" id="{9288CB8D-AAF1-44F6-85FF-AB3CF844A0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24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4" name="Oval 2892">
                <a:extLst>
                  <a:ext uri="{FF2B5EF4-FFF2-40B4-BE49-F238E27FC236}">
                    <a16:creationId xmlns:a16="http://schemas.microsoft.com/office/drawing/2014/main" xmlns="" id="{BD48DEE6-2CED-4443-911A-EB0F9F11EC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5" name="Oval 2893">
                <a:extLst>
                  <a:ext uri="{FF2B5EF4-FFF2-40B4-BE49-F238E27FC236}">
                    <a16:creationId xmlns:a16="http://schemas.microsoft.com/office/drawing/2014/main" xmlns="" id="{EC62EE97-5122-442F-AA36-FF79125752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6" name="Oval 2894">
                <a:extLst>
                  <a:ext uri="{FF2B5EF4-FFF2-40B4-BE49-F238E27FC236}">
                    <a16:creationId xmlns:a16="http://schemas.microsoft.com/office/drawing/2014/main" xmlns="" id="{2EAD546A-72CC-4A73-8088-293AB269F1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7" name="Oval 2895">
                <a:extLst>
                  <a:ext uri="{FF2B5EF4-FFF2-40B4-BE49-F238E27FC236}">
                    <a16:creationId xmlns:a16="http://schemas.microsoft.com/office/drawing/2014/main" xmlns="" id="{1601405A-B0C8-4C52-A88E-4C59BB02E7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8" name="Oval 2896">
                <a:extLst>
                  <a:ext uri="{FF2B5EF4-FFF2-40B4-BE49-F238E27FC236}">
                    <a16:creationId xmlns:a16="http://schemas.microsoft.com/office/drawing/2014/main" xmlns="" id="{EA8A6B45-AE57-4CF3-B86A-41ED0E8972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9" name="Oval 2897">
                <a:extLst>
                  <a:ext uri="{FF2B5EF4-FFF2-40B4-BE49-F238E27FC236}">
                    <a16:creationId xmlns:a16="http://schemas.microsoft.com/office/drawing/2014/main" xmlns="" id="{664886BF-0837-446B-B3D0-AA02D261A8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0" name="Oval 2898">
                <a:extLst>
                  <a:ext uri="{FF2B5EF4-FFF2-40B4-BE49-F238E27FC236}">
                    <a16:creationId xmlns:a16="http://schemas.microsoft.com/office/drawing/2014/main" xmlns="" id="{933F3F03-C222-45B2-B02C-97372F6C67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1" name="Oval 2899">
                <a:extLst>
                  <a:ext uri="{FF2B5EF4-FFF2-40B4-BE49-F238E27FC236}">
                    <a16:creationId xmlns:a16="http://schemas.microsoft.com/office/drawing/2014/main" xmlns="" id="{A22B4455-F83D-4343-B2C6-1FFA5CB281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2" name="Oval 2900">
                <a:extLst>
                  <a:ext uri="{FF2B5EF4-FFF2-40B4-BE49-F238E27FC236}">
                    <a16:creationId xmlns:a16="http://schemas.microsoft.com/office/drawing/2014/main" xmlns="" id="{19D2CC46-AF81-4681-A61D-C3FFD17740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3" name="Oval 2901">
                <a:extLst>
                  <a:ext uri="{FF2B5EF4-FFF2-40B4-BE49-F238E27FC236}">
                    <a16:creationId xmlns:a16="http://schemas.microsoft.com/office/drawing/2014/main" xmlns="" id="{61E9D6C4-1FFD-4679-B7BB-1332FED7BE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24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4" name="Oval 2902">
                <a:extLst>
                  <a:ext uri="{FF2B5EF4-FFF2-40B4-BE49-F238E27FC236}">
                    <a16:creationId xmlns:a16="http://schemas.microsoft.com/office/drawing/2014/main" xmlns="" id="{3AF669ED-94C9-48E4-9BAF-291CDB4A04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5" name="Oval 2903">
                <a:extLst>
                  <a:ext uri="{FF2B5EF4-FFF2-40B4-BE49-F238E27FC236}">
                    <a16:creationId xmlns:a16="http://schemas.microsoft.com/office/drawing/2014/main" xmlns="" id="{B502F9B1-D2AE-4194-89D8-02A1CDB19B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6" name="Oval 2904">
                <a:extLst>
                  <a:ext uri="{FF2B5EF4-FFF2-40B4-BE49-F238E27FC236}">
                    <a16:creationId xmlns:a16="http://schemas.microsoft.com/office/drawing/2014/main" xmlns="" id="{502BD739-25EC-48BE-87F2-0417BB623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7" name="Oval 2905">
                <a:extLst>
                  <a:ext uri="{FF2B5EF4-FFF2-40B4-BE49-F238E27FC236}">
                    <a16:creationId xmlns:a16="http://schemas.microsoft.com/office/drawing/2014/main" xmlns="" id="{50212A20-E058-4049-88B3-4D27B36FA2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2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8" name="Oval 2906">
                <a:extLst>
                  <a:ext uri="{FF2B5EF4-FFF2-40B4-BE49-F238E27FC236}">
                    <a16:creationId xmlns:a16="http://schemas.microsoft.com/office/drawing/2014/main" xmlns="" id="{3C05EF0F-83E3-4E50-ACBE-6F57935DBE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9" name="Oval 2907">
                <a:extLst>
                  <a:ext uri="{FF2B5EF4-FFF2-40B4-BE49-F238E27FC236}">
                    <a16:creationId xmlns:a16="http://schemas.microsoft.com/office/drawing/2014/main" xmlns="" id="{014ABC1D-9F22-4AA7-9B2F-46ECC46CF7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0" name="Oval 2908">
                <a:extLst>
                  <a:ext uri="{FF2B5EF4-FFF2-40B4-BE49-F238E27FC236}">
                    <a16:creationId xmlns:a16="http://schemas.microsoft.com/office/drawing/2014/main" xmlns="" id="{26AB871E-F715-4C41-9BAE-7BA7EC4D3A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5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1" name="Oval 2909">
                <a:extLst>
                  <a:ext uri="{FF2B5EF4-FFF2-40B4-BE49-F238E27FC236}">
                    <a16:creationId xmlns:a16="http://schemas.microsoft.com/office/drawing/2014/main" xmlns="" id="{33615CB5-B542-4849-A3C9-B1C6E669B4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2" name="Oval 2910">
                <a:extLst>
                  <a:ext uri="{FF2B5EF4-FFF2-40B4-BE49-F238E27FC236}">
                    <a16:creationId xmlns:a16="http://schemas.microsoft.com/office/drawing/2014/main" xmlns="" id="{54C8D286-970D-4BCC-83B9-6F1551A6E2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3" name="Oval 2911">
                <a:extLst>
                  <a:ext uri="{FF2B5EF4-FFF2-40B4-BE49-F238E27FC236}">
                    <a16:creationId xmlns:a16="http://schemas.microsoft.com/office/drawing/2014/main" xmlns="" id="{E0C2DA14-F1E0-4F8A-8CB8-C3674B2531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4" name="Oval 2912">
                <a:extLst>
                  <a:ext uri="{FF2B5EF4-FFF2-40B4-BE49-F238E27FC236}">
                    <a16:creationId xmlns:a16="http://schemas.microsoft.com/office/drawing/2014/main" xmlns="" id="{D432C36E-EB4C-4848-97C1-F8C05B13FC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5" name="Oval 2913">
                <a:extLst>
                  <a:ext uri="{FF2B5EF4-FFF2-40B4-BE49-F238E27FC236}">
                    <a16:creationId xmlns:a16="http://schemas.microsoft.com/office/drawing/2014/main" xmlns="" id="{541862C5-E02B-4AC6-A05E-B231708872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6" name="Oval 2914">
                <a:extLst>
                  <a:ext uri="{FF2B5EF4-FFF2-40B4-BE49-F238E27FC236}">
                    <a16:creationId xmlns:a16="http://schemas.microsoft.com/office/drawing/2014/main" xmlns="" id="{C03F0541-72D8-46C2-81AA-89A00A0A42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8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7" name="Oval 2915">
                <a:extLst>
                  <a:ext uri="{FF2B5EF4-FFF2-40B4-BE49-F238E27FC236}">
                    <a16:creationId xmlns:a16="http://schemas.microsoft.com/office/drawing/2014/main" xmlns="" id="{08F7A33F-559A-4A16-B7F0-6A69938CF8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9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8" name="Oval 2916">
                <a:extLst>
                  <a:ext uri="{FF2B5EF4-FFF2-40B4-BE49-F238E27FC236}">
                    <a16:creationId xmlns:a16="http://schemas.microsoft.com/office/drawing/2014/main" xmlns="" id="{82CF6F57-435D-47AA-8FBF-49AF3C0A8A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9" name="Oval 2917">
                <a:extLst>
                  <a:ext uri="{FF2B5EF4-FFF2-40B4-BE49-F238E27FC236}">
                    <a16:creationId xmlns:a16="http://schemas.microsoft.com/office/drawing/2014/main" xmlns="" id="{37FAA8FA-C6E6-4B6F-8090-9F54983F50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30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0" name="Oval 2918">
                <a:extLst>
                  <a:ext uri="{FF2B5EF4-FFF2-40B4-BE49-F238E27FC236}">
                    <a16:creationId xmlns:a16="http://schemas.microsoft.com/office/drawing/2014/main" xmlns="" id="{EBA6F601-E49B-434F-8664-ABFBAF2945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30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1" name="Oval 2919">
                <a:extLst>
                  <a:ext uri="{FF2B5EF4-FFF2-40B4-BE49-F238E27FC236}">
                    <a16:creationId xmlns:a16="http://schemas.microsoft.com/office/drawing/2014/main" xmlns="" id="{68E8BCC3-03E5-4BEC-8DF6-86767B1540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2" name="Oval 2920">
                <a:extLst>
                  <a:ext uri="{FF2B5EF4-FFF2-40B4-BE49-F238E27FC236}">
                    <a16:creationId xmlns:a16="http://schemas.microsoft.com/office/drawing/2014/main" xmlns="" id="{60A8A3F1-841E-4253-B0DE-691B87A471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3" name="Oval 2921">
                <a:extLst>
                  <a:ext uri="{FF2B5EF4-FFF2-40B4-BE49-F238E27FC236}">
                    <a16:creationId xmlns:a16="http://schemas.microsoft.com/office/drawing/2014/main" xmlns="" id="{5B521AAB-349D-403E-B2D4-983A0A7752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4" name="Oval 2922">
                <a:extLst>
                  <a:ext uri="{FF2B5EF4-FFF2-40B4-BE49-F238E27FC236}">
                    <a16:creationId xmlns:a16="http://schemas.microsoft.com/office/drawing/2014/main" xmlns="" id="{40E7F44F-1B59-4350-8691-288CF1F00E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31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5" name="Oval 2923">
                <a:extLst>
                  <a:ext uri="{FF2B5EF4-FFF2-40B4-BE49-F238E27FC236}">
                    <a16:creationId xmlns:a16="http://schemas.microsoft.com/office/drawing/2014/main" xmlns="" id="{DC3AAFDF-FB01-41F4-8DC5-9EA624D10B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6" name="Oval 2924">
                <a:extLst>
                  <a:ext uri="{FF2B5EF4-FFF2-40B4-BE49-F238E27FC236}">
                    <a16:creationId xmlns:a16="http://schemas.microsoft.com/office/drawing/2014/main" xmlns="" id="{6D08462D-CD53-49D7-821F-A93BE8E24F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7" name="Oval 2925">
                <a:extLst>
                  <a:ext uri="{FF2B5EF4-FFF2-40B4-BE49-F238E27FC236}">
                    <a16:creationId xmlns:a16="http://schemas.microsoft.com/office/drawing/2014/main" xmlns="" id="{7F702B5A-02C7-4521-9E20-DF6D410E8E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8" name="Oval 2926">
                <a:extLst>
                  <a:ext uri="{FF2B5EF4-FFF2-40B4-BE49-F238E27FC236}">
                    <a16:creationId xmlns:a16="http://schemas.microsoft.com/office/drawing/2014/main" xmlns="" id="{78FA5F3F-0AE5-4653-9AFF-E6DCB55668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9" name="Oval 2927">
                <a:extLst>
                  <a:ext uri="{FF2B5EF4-FFF2-40B4-BE49-F238E27FC236}">
                    <a16:creationId xmlns:a16="http://schemas.microsoft.com/office/drawing/2014/main" xmlns="" id="{4A49A12D-5437-416A-8696-EA73545372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0" name="Oval 2928">
                <a:extLst>
                  <a:ext uri="{FF2B5EF4-FFF2-40B4-BE49-F238E27FC236}">
                    <a16:creationId xmlns:a16="http://schemas.microsoft.com/office/drawing/2014/main" xmlns="" id="{98717B8A-9290-4CE0-9935-DEC9F26ABA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1" name="Oval 2929">
                <a:extLst>
                  <a:ext uri="{FF2B5EF4-FFF2-40B4-BE49-F238E27FC236}">
                    <a16:creationId xmlns:a16="http://schemas.microsoft.com/office/drawing/2014/main" xmlns="" id="{F680B2D3-3BE4-4F25-AC13-3A526E7576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3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2" name="Oval 2930">
                <a:extLst>
                  <a:ext uri="{FF2B5EF4-FFF2-40B4-BE49-F238E27FC236}">
                    <a16:creationId xmlns:a16="http://schemas.microsoft.com/office/drawing/2014/main" xmlns="" id="{782795CE-9D54-42EF-A53B-B2ACB29B3C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2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3" name="Oval 2931">
                <a:extLst>
                  <a:ext uri="{FF2B5EF4-FFF2-40B4-BE49-F238E27FC236}">
                    <a16:creationId xmlns:a16="http://schemas.microsoft.com/office/drawing/2014/main" xmlns="" id="{277AA551-2FDE-4F5D-8A41-A5E49512F1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4" name="Oval 2932">
                <a:extLst>
                  <a:ext uri="{FF2B5EF4-FFF2-40B4-BE49-F238E27FC236}">
                    <a16:creationId xmlns:a16="http://schemas.microsoft.com/office/drawing/2014/main" xmlns="" id="{6476CF5B-619A-477A-B644-99ABAC072B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5" name="Oval 2933">
                <a:extLst>
                  <a:ext uri="{FF2B5EF4-FFF2-40B4-BE49-F238E27FC236}">
                    <a16:creationId xmlns:a16="http://schemas.microsoft.com/office/drawing/2014/main" xmlns="" id="{3E14314F-D72F-42DE-902D-E16BE09B57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6" name="Oval 2934">
                <a:extLst>
                  <a:ext uri="{FF2B5EF4-FFF2-40B4-BE49-F238E27FC236}">
                    <a16:creationId xmlns:a16="http://schemas.microsoft.com/office/drawing/2014/main" xmlns="" id="{0EE7EA4A-F282-4947-ABEE-814809FF29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7" name="Oval 2935">
                <a:extLst>
                  <a:ext uri="{FF2B5EF4-FFF2-40B4-BE49-F238E27FC236}">
                    <a16:creationId xmlns:a16="http://schemas.microsoft.com/office/drawing/2014/main" xmlns="" id="{F7C8633A-00C3-4DFD-811B-34FDED6132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15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8" name="Oval 2936">
                <a:extLst>
                  <a:ext uri="{FF2B5EF4-FFF2-40B4-BE49-F238E27FC236}">
                    <a16:creationId xmlns:a16="http://schemas.microsoft.com/office/drawing/2014/main" xmlns="" id="{338333A9-3FC9-490E-897E-6421D2F861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9" name="Oval 2937">
                <a:extLst>
                  <a:ext uri="{FF2B5EF4-FFF2-40B4-BE49-F238E27FC236}">
                    <a16:creationId xmlns:a16="http://schemas.microsoft.com/office/drawing/2014/main" xmlns="" id="{907D7533-6E91-43D7-AC91-24D21A95FB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0" name="Oval 2938">
                <a:extLst>
                  <a:ext uri="{FF2B5EF4-FFF2-40B4-BE49-F238E27FC236}">
                    <a16:creationId xmlns:a16="http://schemas.microsoft.com/office/drawing/2014/main" xmlns="" id="{9A271E6D-D571-42EA-85C9-456AC270B7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17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1" name="Oval 2939">
                <a:extLst>
                  <a:ext uri="{FF2B5EF4-FFF2-40B4-BE49-F238E27FC236}">
                    <a16:creationId xmlns:a16="http://schemas.microsoft.com/office/drawing/2014/main" xmlns="" id="{DCCB03A9-98FC-4420-A13B-3F863411E1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18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2" name="Oval 2940">
                <a:extLst>
                  <a:ext uri="{FF2B5EF4-FFF2-40B4-BE49-F238E27FC236}">
                    <a16:creationId xmlns:a16="http://schemas.microsoft.com/office/drawing/2014/main" xmlns="" id="{E7D3F15E-036B-4ED9-BB11-7BE4C4F3E1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9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3" name="Oval 2941">
                <a:extLst>
                  <a:ext uri="{FF2B5EF4-FFF2-40B4-BE49-F238E27FC236}">
                    <a16:creationId xmlns:a16="http://schemas.microsoft.com/office/drawing/2014/main" xmlns="" id="{40690B6B-25EA-4FA5-95C4-F6868B1874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21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4" name="Oval 2942">
                <a:extLst>
                  <a:ext uri="{FF2B5EF4-FFF2-40B4-BE49-F238E27FC236}">
                    <a16:creationId xmlns:a16="http://schemas.microsoft.com/office/drawing/2014/main" xmlns="" id="{5FAC16F6-D5BF-48BE-8F5E-399317AE55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5" name="Oval 2943">
                <a:extLst>
                  <a:ext uri="{FF2B5EF4-FFF2-40B4-BE49-F238E27FC236}">
                    <a16:creationId xmlns:a16="http://schemas.microsoft.com/office/drawing/2014/main" xmlns="" id="{B36467DC-FB32-4B46-877A-E719716944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6" name="Oval 2944">
                <a:extLst>
                  <a:ext uri="{FF2B5EF4-FFF2-40B4-BE49-F238E27FC236}">
                    <a16:creationId xmlns:a16="http://schemas.microsoft.com/office/drawing/2014/main" xmlns="" id="{8525C23A-CCA5-4C4D-AE13-9C43625B68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4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7" name="Oval 2945">
                <a:extLst>
                  <a:ext uri="{FF2B5EF4-FFF2-40B4-BE49-F238E27FC236}">
                    <a16:creationId xmlns:a16="http://schemas.microsoft.com/office/drawing/2014/main" xmlns="" id="{D20BF138-06AC-4164-B922-D05D70F1C1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8" name="Oval 2946">
                <a:extLst>
                  <a:ext uri="{FF2B5EF4-FFF2-40B4-BE49-F238E27FC236}">
                    <a16:creationId xmlns:a16="http://schemas.microsoft.com/office/drawing/2014/main" xmlns="" id="{AB826350-BEC0-41E7-928F-C0F2DCD344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9" name="Oval 2947">
                <a:extLst>
                  <a:ext uri="{FF2B5EF4-FFF2-40B4-BE49-F238E27FC236}">
                    <a16:creationId xmlns:a16="http://schemas.microsoft.com/office/drawing/2014/main" xmlns="" id="{A97D2F4D-BC09-4330-9584-28A007BFAB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0" name="Oval 2948">
                <a:extLst>
                  <a:ext uri="{FF2B5EF4-FFF2-40B4-BE49-F238E27FC236}">
                    <a16:creationId xmlns:a16="http://schemas.microsoft.com/office/drawing/2014/main" xmlns="" id="{A74B52F1-6634-46F9-86CE-96BD4709EF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5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1" name="Oval 2949">
                <a:extLst>
                  <a:ext uri="{FF2B5EF4-FFF2-40B4-BE49-F238E27FC236}">
                    <a16:creationId xmlns:a16="http://schemas.microsoft.com/office/drawing/2014/main" xmlns="" id="{4B800288-F4BC-4C0A-A851-BAA9E8B99F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24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2" name="Oval 2950">
                <a:extLst>
                  <a:ext uri="{FF2B5EF4-FFF2-40B4-BE49-F238E27FC236}">
                    <a16:creationId xmlns:a16="http://schemas.microsoft.com/office/drawing/2014/main" xmlns="" id="{0D2DACBF-85BF-4B98-BFF8-0B1E82E3BD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3" name="Oval 2951">
                <a:extLst>
                  <a:ext uri="{FF2B5EF4-FFF2-40B4-BE49-F238E27FC236}">
                    <a16:creationId xmlns:a16="http://schemas.microsoft.com/office/drawing/2014/main" xmlns="" id="{D5875FD6-4137-4A86-821B-91EC7C5BE1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4" name="Oval 2952">
                <a:extLst>
                  <a:ext uri="{FF2B5EF4-FFF2-40B4-BE49-F238E27FC236}">
                    <a16:creationId xmlns:a16="http://schemas.microsoft.com/office/drawing/2014/main" xmlns="" id="{55990621-8ED7-4467-B1FD-F7D9FAD0E4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5" name="Oval 2953">
                <a:extLst>
                  <a:ext uri="{FF2B5EF4-FFF2-40B4-BE49-F238E27FC236}">
                    <a16:creationId xmlns:a16="http://schemas.microsoft.com/office/drawing/2014/main" xmlns="" id="{9391A619-A5AB-448E-8816-3B5B611840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6" name="Oval 2954">
                <a:extLst>
                  <a:ext uri="{FF2B5EF4-FFF2-40B4-BE49-F238E27FC236}">
                    <a16:creationId xmlns:a16="http://schemas.microsoft.com/office/drawing/2014/main" xmlns="" id="{98F514DD-FD6D-4E59-A500-5B85D14CC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30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7" name="Oval 2955">
                <a:extLst>
                  <a:ext uri="{FF2B5EF4-FFF2-40B4-BE49-F238E27FC236}">
                    <a16:creationId xmlns:a16="http://schemas.microsoft.com/office/drawing/2014/main" xmlns="" id="{1F1094F2-6564-4280-A8EF-65D70D7D15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8" name="Oval 2956">
                <a:extLst>
                  <a:ext uri="{FF2B5EF4-FFF2-40B4-BE49-F238E27FC236}">
                    <a16:creationId xmlns:a16="http://schemas.microsoft.com/office/drawing/2014/main" xmlns="" id="{4053804E-B448-42B4-A826-BFB44A8161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9" name="Oval 2957">
                <a:extLst>
                  <a:ext uri="{FF2B5EF4-FFF2-40B4-BE49-F238E27FC236}">
                    <a16:creationId xmlns:a16="http://schemas.microsoft.com/office/drawing/2014/main" xmlns="" id="{5B7EBF3A-0AE9-4AEC-B9F5-224AE6EBEA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0" name="Oval 2958">
                <a:extLst>
                  <a:ext uri="{FF2B5EF4-FFF2-40B4-BE49-F238E27FC236}">
                    <a16:creationId xmlns:a16="http://schemas.microsoft.com/office/drawing/2014/main" xmlns="" id="{BAB6B0A2-EC93-4619-AFEF-36409C218B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1" name="Oval 2959">
                <a:extLst>
                  <a:ext uri="{FF2B5EF4-FFF2-40B4-BE49-F238E27FC236}">
                    <a16:creationId xmlns:a16="http://schemas.microsoft.com/office/drawing/2014/main" xmlns="" id="{B5CA0372-D2AA-4F98-881E-82B9C796F1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2" name="Oval 2960">
                <a:extLst>
                  <a:ext uri="{FF2B5EF4-FFF2-40B4-BE49-F238E27FC236}">
                    <a16:creationId xmlns:a16="http://schemas.microsoft.com/office/drawing/2014/main" xmlns="" id="{DB0D636C-E14C-4D14-8529-96E0BCAF0F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3" name="Oval 2961">
                <a:extLst>
                  <a:ext uri="{FF2B5EF4-FFF2-40B4-BE49-F238E27FC236}">
                    <a16:creationId xmlns:a16="http://schemas.microsoft.com/office/drawing/2014/main" xmlns="" id="{02350BBB-8763-40C7-A55E-D4BD681C67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4" name="Oval 2962">
                <a:extLst>
                  <a:ext uri="{FF2B5EF4-FFF2-40B4-BE49-F238E27FC236}">
                    <a16:creationId xmlns:a16="http://schemas.microsoft.com/office/drawing/2014/main" xmlns="" id="{8C99207C-02CF-4B11-8BFE-E7221A2F81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30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5" name="Oval 2963">
                <a:extLst>
                  <a:ext uri="{FF2B5EF4-FFF2-40B4-BE49-F238E27FC236}">
                    <a16:creationId xmlns:a16="http://schemas.microsoft.com/office/drawing/2014/main" xmlns="" id="{FBE167F5-5CBF-4D3E-8695-B329D15707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6" name="Oval 2964">
                <a:extLst>
                  <a:ext uri="{FF2B5EF4-FFF2-40B4-BE49-F238E27FC236}">
                    <a16:creationId xmlns:a16="http://schemas.microsoft.com/office/drawing/2014/main" xmlns="" id="{8F3ED729-1308-449D-AEE1-D3F830595E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45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7" name="Oval 2965">
                <a:extLst>
                  <a:ext uri="{FF2B5EF4-FFF2-40B4-BE49-F238E27FC236}">
                    <a16:creationId xmlns:a16="http://schemas.microsoft.com/office/drawing/2014/main" xmlns="" id="{D920ADA0-F86E-409C-AD2A-3BCA3FA7BE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30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8" name="Oval 2966">
                <a:extLst>
                  <a:ext uri="{FF2B5EF4-FFF2-40B4-BE49-F238E27FC236}">
                    <a16:creationId xmlns:a16="http://schemas.microsoft.com/office/drawing/2014/main" xmlns="" id="{54A5C0F4-D61F-489D-8095-4451DCF2A0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8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9" name="Oval 2967">
                <a:extLst>
                  <a:ext uri="{FF2B5EF4-FFF2-40B4-BE49-F238E27FC236}">
                    <a16:creationId xmlns:a16="http://schemas.microsoft.com/office/drawing/2014/main" xmlns="" id="{F18C107B-1865-485D-BF4C-22F1C98223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0" name="Oval 2968">
                <a:extLst>
                  <a:ext uri="{FF2B5EF4-FFF2-40B4-BE49-F238E27FC236}">
                    <a16:creationId xmlns:a16="http://schemas.microsoft.com/office/drawing/2014/main" xmlns="" id="{4FC8E92A-3B3F-405C-8713-8E0365B4D6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264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1" name="Oval 2969">
                <a:extLst>
                  <a:ext uri="{FF2B5EF4-FFF2-40B4-BE49-F238E27FC236}">
                    <a16:creationId xmlns:a16="http://schemas.microsoft.com/office/drawing/2014/main" xmlns="" id="{F2544755-1E68-45A3-A96F-9849878747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2" name="Oval 2970">
                <a:extLst>
                  <a:ext uri="{FF2B5EF4-FFF2-40B4-BE49-F238E27FC236}">
                    <a16:creationId xmlns:a16="http://schemas.microsoft.com/office/drawing/2014/main" xmlns="" id="{840DC6CE-FF7E-432B-B1E8-720B611F77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3" name="Oval 2971">
                <a:extLst>
                  <a:ext uri="{FF2B5EF4-FFF2-40B4-BE49-F238E27FC236}">
                    <a16:creationId xmlns:a16="http://schemas.microsoft.com/office/drawing/2014/main" xmlns="" id="{682104C9-5E65-449F-B77B-D2C756B77D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24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4" name="Oval 2972">
                <a:extLst>
                  <a:ext uri="{FF2B5EF4-FFF2-40B4-BE49-F238E27FC236}">
                    <a16:creationId xmlns:a16="http://schemas.microsoft.com/office/drawing/2014/main" xmlns="" id="{E19E9D09-7F19-462C-99F1-88DB1142EE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5" name="Oval 2973">
                <a:extLst>
                  <a:ext uri="{FF2B5EF4-FFF2-40B4-BE49-F238E27FC236}">
                    <a16:creationId xmlns:a16="http://schemas.microsoft.com/office/drawing/2014/main" xmlns="" id="{50431CB4-3313-439D-ABBC-9172F9D40A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6" name="Oval 2974">
                <a:extLst>
                  <a:ext uri="{FF2B5EF4-FFF2-40B4-BE49-F238E27FC236}">
                    <a16:creationId xmlns:a16="http://schemas.microsoft.com/office/drawing/2014/main" xmlns="" id="{73CC7A87-C7F7-46E8-BC21-02DDBAFF5D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7" name="Oval 2975">
                <a:extLst>
                  <a:ext uri="{FF2B5EF4-FFF2-40B4-BE49-F238E27FC236}">
                    <a16:creationId xmlns:a16="http://schemas.microsoft.com/office/drawing/2014/main" xmlns="" id="{650C5C18-4934-48D9-BB2F-6823022A40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8" name="Oval 2976">
                <a:extLst>
                  <a:ext uri="{FF2B5EF4-FFF2-40B4-BE49-F238E27FC236}">
                    <a16:creationId xmlns:a16="http://schemas.microsoft.com/office/drawing/2014/main" xmlns="" id="{43A63384-F090-408B-BF5A-2F89EB5D5A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6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9" name="Oval 2977">
                <a:extLst>
                  <a:ext uri="{FF2B5EF4-FFF2-40B4-BE49-F238E27FC236}">
                    <a16:creationId xmlns:a16="http://schemas.microsoft.com/office/drawing/2014/main" xmlns="" id="{6A8AB250-449C-465F-A41D-C9C502A51B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0" name="Oval 2978">
                <a:extLst>
                  <a:ext uri="{FF2B5EF4-FFF2-40B4-BE49-F238E27FC236}">
                    <a16:creationId xmlns:a16="http://schemas.microsoft.com/office/drawing/2014/main" xmlns="" id="{D3B93AEC-8309-4198-8479-2CE9D82CED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1" name="Oval 2979">
                <a:extLst>
                  <a:ext uri="{FF2B5EF4-FFF2-40B4-BE49-F238E27FC236}">
                    <a16:creationId xmlns:a16="http://schemas.microsoft.com/office/drawing/2014/main" xmlns="" id="{1EE7002C-C65B-4D5B-AFB1-082FCCE6AB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2" name="Oval 2980">
                <a:extLst>
                  <a:ext uri="{FF2B5EF4-FFF2-40B4-BE49-F238E27FC236}">
                    <a16:creationId xmlns:a16="http://schemas.microsoft.com/office/drawing/2014/main" xmlns="" id="{A1A13783-478A-4F95-A37C-9576A8C367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3" name="Oval 2981">
                <a:extLst>
                  <a:ext uri="{FF2B5EF4-FFF2-40B4-BE49-F238E27FC236}">
                    <a16:creationId xmlns:a16="http://schemas.microsoft.com/office/drawing/2014/main" xmlns="" id="{19D02C03-4959-4FCA-B514-C683CFAED6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4" name="Oval 2982">
                <a:extLst>
                  <a:ext uri="{FF2B5EF4-FFF2-40B4-BE49-F238E27FC236}">
                    <a16:creationId xmlns:a16="http://schemas.microsoft.com/office/drawing/2014/main" xmlns="" id="{E9B5E773-95A8-4F78-9791-49435850EA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90" name="Oval 2984">
              <a:extLst>
                <a:ext uri="{FF2B5EF4-FFF2-40B4-BE49-F238E27FC236}">
                  <a16:creationId xmlns:a16="http://schemas.microsoft.com/office/drawing/2014/main" xmlns="" id="{9088A251-A8E6-4AB4-BEB8-51D9D1339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Oval 2985">
              <a:extLst>
                <a:ext uri="{FF2B5EF4-FFF2-40B4-BE49-F238E27FC236}">
                  <a16:creationId xmlns:a16="http://schemas.microsoft.com/office/drawing/2014/main" xmlns="" id="{272A0D7F-47B7-461E-8EC9-B4C192AB0E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Oval 2986">
              <a:extLst>
                <a:ext uri="{FF2B5EF4-FFF2-40B4-BE49-F238E27FC236}">
                  <a16:creationId xmlns:a16="http://schemas.microsoft.com/office/drawing/2014/main" xmlns="" id="{A8B8B90B-557D-4EDB-93E0-929688734B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21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Oval 2987">
              <a:extLst>
                <a:ext uri="{FF2B5EF4-FFF2-40B4-BE49-F238E27FC236}">
                  <a16:creationId xmlns:a16="http://schemas.microsoft.com/office/drawing/2014/main" xmlns="" id="{82262424-34A2-4445-952F-01CBDC8724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6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Oval 2988">
              <a:extLst>
                <a:ext uri="{FF2B5EF4-FFF2-40B4-BE49-F238E27FC236}">
                  <a16:creationId xmlns:a16="http://schemas.microsoft.com/office/drawing/2014/main" xmlns="" id="{0A2A34B3-C8A6-4DDA-B0EF-ACB1138FC4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6" y="198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Oval 2989">
              <a:extLst>
                <a:ext uri="{FF2B5EF4-FFF2-40B4-BE49-F238E27FC236}">
                  <a16:creationId xmlns:a16="http://schemas.microsoft.com/office/drawing/2014/main" xmlns="" id="{51935C46-E95D-4E55-B04C-5C187F867B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6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Oval 2990">
              <a:extLst>
                <a:ext uri="{FF2B5EF4-FFF2-40B4-BE49-F238E27FC236}">
                  <a16:creationId xmlns:a16="http://schemas.microsoft.com/office/drawing/2014/main" xmlns="" id="{5BA59005-7C60-42BB-8EAA-4709A443B9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Oval 2991">
              <a:extLst>
                <a:ext uri="{FF2B5EF4-FFF2-40B4-BE49-F238E27FC236}">
                  <a16:creationId xmlns:a16="http://schemas.microsoft.com/office/drawing/2014/main" xmlns="" id="{C7B79957-3AEF-48F9-A17A-9425D8E5B1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17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Oval 2992">
              <a:extLst>
                <a:ext uri="{FF2B5EF4-FFF2-40B4-BE49-F238E27FC236}">
                  <a16:creationId xmlns:a16="http://schemas.microsoft.com/office/drawing/2014/main" xmlns="" id="{7F19DFB2-D00E-42CA-8799-331C7B6771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5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Oval 2993">
              <a:extLst>
                <a:ext uri="{FF2B5EF4-FFF2-40B4-BE49-F238E27FC236}">
                  <a16:creationId xmlns:a16="http://schemas.microsoft.com/office/drawing/2014/main" xmlns="" id="{C65497C0-B4CE-4331-AD42-6A6DD1F6B8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86" y="159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Oval 2994">
              <a:extLst>
                <a:ext uri="{FF2B5EF4-FFF2-40B4-BE49-F238E27FC236}">
                  <a16:creationId xmlns:a16="http://schemas.microsoft.com/office/drawing/2014/main" xmlns="" id="{4B7E2D30-93DB-4ED6-81F7-F1D15D3959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5" y="13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Oval 2995">
              <a:extLst>
                <a:ext uri="{FF2B5EF4-FFF2-40B4-BE49-F238E27FC236}">
                  <a16:creationId xmlns:a16="http://schemas.microsoft.com/office/drawing/2014/main" xmlns="" id="{D3485E7C-C6E0-44E6-A197-5C41083302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Oval 2996">
              <a:extLst>
                <a:ext uri="{FF2B5EF4-FFF2-40B4-BE49-F238E27FC236}">
                  <a16:creationId xmlns:a16="http://schemas.microsoft.com/office/drawing/2014/main" xmlns="" id="{4C775BAC-6AD9-47C3-A33B-28514157C6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14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Oval 2997">
              <a:extLst>
                <a:ext uri="{FF2B5EF4-FFF2-40B4-BE49-F238E27FC236}">
                  <a16:creationId xmlns:a16="http://schemas.microsoft.com/office/drawing/2014/main" xmlns="" id="{276A86C0-B3D4-41CB-9C97-30F9E6612E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6" y="12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Oval 2998">
              <a:extLst>
                <a:ext uri="{FF2B5EF4-FFF2-40B4-BE49-F238E27FC236}">
                  <a16:creationId xmlns:a16="http://schemas.microsoft.com/office/drawing/2014/main" xmlns="" id="{BD36DFF2-CC0B-4624-AB74-823A88D03A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6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Oval 2999">
              <a:extLst>
                <a:ext uri="{FF2B5EF4-FFF2-40B4-BE49-F238E27FC236}">
                  <a16:creationId xmlns:a16="http://schemas.microsoft.com/office/drawing/2014/main" xmlns="" id="{552F99F3-84FE-4769-8A01-BE9FBC8662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6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Oval 3000">
              <a:extLst>
                <a:ext uri="{FF2B5EF4-FFF2-40B4-BE49-F238E27FC236}">
                  <a16:creationId xmlns:a16="http://schemas.microsoft.com/office/drawing/2014/main" xmlns="" id="{2A18FE10-9D17-43F3-9419-913BAE3F9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7" name="Oval 3001">
              <a:extLst>
                <a:ext uri="{FF2B5EF4-FFF2-40B4-BE49-F238E27FC236}">
                  <a16:creationId xmlns:a16="http://schemas.microsoft.com/office/drawing/2014/main" xmlns="" id="{8AFE58AD-88AC-4D72-B9EE-D75E0CBBDC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6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8" name="Oval 3002">
              <a:extLst>
                <a:ext uri="{FF2B5EF4-FFF2-40B4-BE49-F238E27FC236}">
                  <a16:creationId xmlns:a16="http://schemas.microsoft.com/office/drawing/2014/main" xmlns="" id="{24E492B7-4FB6-46E2-98C6-9BD7373F83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6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Oval 3003">
              <a:extLst>
                <a:ext uri="{FF2B5EF4-FFF2-40B4-BE49-F238E27FC236}">
                  <a16:creationId xmlns:a16="http://schemas.microsoft.com/office/drawing/2014/main" xmlns="" id="{1DE3BD28-783C-4170-A3ED-8C04168A25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6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0" name="Oval 3004">
              <a:extLst>
                <a:ext uri="{FF2B5EF4-FFF2-40B4-BE49-F238E27FC236}">
                  <a16:creationId xmlns:a16="http://schemas.microsoft.com/office/drawing/2014/main" xmlns="" id="{5E77FD0D-6A7D-426F-854C-5C3597244C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19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1" name="Oval 3005">
              <a:extLst>
                <a:ext uri="{FF2B5EF4-FFF2-40B4-BE49-F238E27FC236}">
                  <a16:creationId xmlns:a16="http://schemas.microsoft.com/office/drawing/2014/main" xmlns="" id="{853A6C9C-650A-4CCC-BFBA-18188E493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2" name="Oval 3006">
              <a:extLst>
                <a:ext uri="{FF2B5EF4-FFF2-40B4-BE49-F238E27FC236}">
                  <a16:creationId xmlns:a16="http://schemas.microsoft.com/office/drawing/2014/main" xmlns="" id="{35F90AE8-45F0-41E4-BD14-B2593CBD3B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5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3" name="Oval 3007">
              <a:extLst>
                <a:ext uri="{FF2B5EF4-FFF2-40B4-BE49-F238E27FC236}">
                  <a16:creationId xmlns:a16="http://schemas.microsoft.com/office/drawing/2014/main" xmlns="" id="{4CC00AB5-2F59-44C1-B07C-AFEF17341C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4" name="Oval 3008">
              <a:extLst>
                <a:ext uri="{FF2B5EF4-FFF2-40B4-BE49-F238E27FC236}">
                  <a16:creationId xmlns:a16="http://schemas.microsoft.com/office/drawing/2014/main" xmlns="" id="{7049BAD4-63EF-428B-BAB5-B8CD112964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5" name="Oval 3009">
              <a:extLst>
                <a:ext uri="{FF2B5EF4-FFF2-40B4-BE49-F238E27FC236}">
                  <a16:creationId xmlns:a16="http://schemas.microsoft.com/office/drawing/2014/main" xmlns="" id="{03B9F4F4-AD67-402F-8BE6-654C2A79D4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6" name="Oval 3010">
              <a:extLst>
                <a:ext uri="{FF2B5EF4-FFF2-40B4-BE49-F238E27FC236}">
                  <a16:creationId xmlns:a16="http://schemas.microsoft.com/office/drawing/2014/main" xmlns="" id="{B3CBB34B-807C-49A3-A551-5B5EA2F9E2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5" y="15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7" name="Oval 3011">
              <a:extLst>
                <a:ext uri="{FF2B5EF4-FFF2-40B4-BE49-F238E27FC236}">
                  <a16:creationId xmlns:a16="http://schemas.microsoft.com/office/drawing/2014/main" xmlns="" id="{63C24555-3461-4ED8-BDC9-17AEE4FCE7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5" y="14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8" name="Oval 3012">
              <a:extLst>
                <a:ext uri="{FF2B5EF4-FFF2-40B4-BE49-F238E27FC236}">
                  <a16:creationId xmlns:a16="http://schemas.microsoft.com/office/drawing/2014/main" xmlns="" id="{FC179716-57B8-4168-BF33-B33DF7AC69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5" y="15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9" name="Oval 3013">
              <a:extLst>
                <a:ext uri="{FF2B5EF4-FFF2-40B4-BE49-F238E27FC236}">
                  <a16:creationId xmlns:a16="http://schemas.microsoft.com/office/drawing/2014/main" xmlns="" id="{07AC48C2-33C5-42AC-9C04-A503EDCA7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0" name="Oval 3014">
              <a:extLst>
                <a:ext uri="{FF2B5EF4-FFF2-40B4-BE49-F238E27FC236}">
                  <a16:creationId xmlns:a16="http://schemas.microsoft.com/office/drawing/2014/main" xmlns="" id="{7A340196-BA65-4E16-A912-1C466895FA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1" name="Oval 3015">
              <a:extLst>
                <a:ext uri="{FF2B5EF4-FFF2-40B4-BE49-F238E27FC236}">
                  <a16:creationId xmlns:a16="http://schemas.microsoft.com/office/drawing/2014/main" xmlns="" id="{ED60184B-E400-4A10-B886-1A37D6FA2D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5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2" name="Oval 3016">
              <a:extLst>
                <a:ext uri="{FF2B5EF4-FFF2-40B4-BE49-F238E27FC236}">
                  <a16:creationId xmlns:a16="http://schemas.microsoft.com/office/drawing/2014/main" xmlns="" id="{112EDD6C-B6B4-4E95-BCBC-635AEEAD78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3" name="Oval 3017">
              <a:extLst>
                <a:ext uri="{FF2B5EF4-FFF2-40B4-BE49-F238E27FC236}">
                  <a16:creationId xmlns:a16="http://schemas.microsoft.com/office/drawing/2014/main" xmlns="" id="{E22E8FEA-1EBA-4B5F-96F3-6D60E12FCD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1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4" name="Oval 3018">
              <a:extLst>
                <a:ext uri="{FF2B5EF4-FFF2-40B4-BE49-F238E27FC236}">
                  <a16:creationId xmlns:a16="http://schemas.microsoft.com/office/drawing/2014/main" xmlns="" id="{AAE0B4CE-C755-46CD-BDC2-66DCCD5B62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5" name="Oval 3019">
              <a:extLst>
                <a:ext uri="{FF2B5EF4-FFF2-40B4-BE49-F238E27FC236}">
                  <a16:creationId xmlns:a16="http://schemas.microsoft.com/office/drawing/2014/main" xmlns="" id="{C9901DB1-87E3-4C72-9906-84CDC765BF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6" name="Oval 3020">
              <a:extLst>
                <a:ext uri="{FF2B5EF4-FFF2-40B4-BE49-F238E27FC236}">
                  <a16:creationId xmlns:a16="http://schemas.microsoft.com/office/drawing/2014/main" xmlns="" id="{94ADD027-4B80-4695-A66B-75DF62AEE5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7" name="Oval 3021">
              <a:extLst>
                <a:ext uri="{FF2B5EF4-FFF2-40B4-BE49-F238E27FC236}">
                  <a16:creationId xmlns:a16="http://schemas.microsoft.com/office/drawing/2014/main" xmlns="" id="{EAA0B5D0-6C4D-44F7-B85B-AB0913667D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8" name="Oval 3022">
              <a:extLst>
                <a:ext uri="{FF2B5EF4-FFF2-40B4-BE49-F238E27FC236}">
                  <a16:creationId xmlns:a16="http://schemas.microsoft.com/office/drawing/2014/main" xmlns="" id="{DAE92643-F361-4D18-890C-45D92BC710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5" y="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9" name="Oval 3023">
              <a:extLst>
                <a:ext uri="{FF2B5EF4-FFF2-40B4-BE49-F238E27FC236}">
                  <a16:creationId xmlns:a16="http://schemas.microsoft.com/office/drawing/2014/main" xmlns="" id="{B8B4E8DE-A69F-4F0A-815E-BEA42BE78C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" y="3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0" name="Oval 3024">
              <a:extLst>
                <a:ext uri="{FF2B5EF4-FFF2-40B4-BE49-F238E27FC236}">
                  <a16:creationId xmlns:a16="http://schemas.microsoft.com/office/drawing/2014/main" xmlns="" id="{9CD94F17-42D7-4B28-859C-6D1A3C5A49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1" name="Oval 3025">
              <a:extLst>
                <a:ext uri="{FF2B5EF4-FFF2-40B4-BE49-F238E27FC236}">
                  <a16:creationId xmlns:a16="http://schemas.microsoft.com/office/drawing/2014/main" xmlns="" id="{C877370C-E393-4D45-A94A-01A907881A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4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2" name="Oval 3026">
              <a:extLst>
                <a:ext uri="{FF2B5EF4-FFF2-40B4-BE49-F238E27FC236}">
                  <a16:creationId xmlns:a16="http://schemas.microsoft.com/office/drawing/2014/main" xmlns="" id="{05B68D7E-39EB-4F5F-B598-54AD180775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3" name="Oval 3027">
              <a:extLst>
                <a:ext uri="{FF2B5EF4-FFF2-40B4-BE49-F238E27FC236}">
                  <a16:creationId xmlns:a16="http://schemas.microsoft.com/office/drawing/2014/main" xmlns="" id="{A8732941-33CE-45CF-9850-B4334F06E3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5" y="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4" name="Oval 3028">
              <a:extLst>
                <a:ext uri="{FF2B5EF4-FFF2-40B4-BE49-F238E27FC236}">
                  <a16:creationId xmlns:a16="http://schemas.microsoft.com/office/drawing/2014/main" xmlns="" id="{5A02EE6A-0747-4EC6-BFEF-7B8BB99E69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2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5" name="Oval 3029">
              <a:extLst>
                <a:ext uri="{FF2B5EF4-FFF2-40B4-BE49-F238E27FC236}">
                  <a16:creationId xmlns:a16="http://schemas.microsoft.com/office/drawing/2014/main" xmlns="" id="{E09EA03C-77ED-4A80-8F11-D0CAB43E5D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6" name="Oval 3030">
              <a:extLst>
                <a:ext uri="{FF2B5EF4-FFF2-40B4-BE49-F238E27FC236}">
                  <a16:creationId xmlns:a16="http://schemas.microsoft.com/office/drawing/2014/main" xmlns="" id="{8D9120C6-5F67-4F58-922C-66FC9D5E0E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7" name="Oval 3031">
              <a:extLst>
                <a:ext uri="{FF2B5EF4-FFF2-40B4-BE49-F238E27FC236}">
                  <a16:creationId xmlns:a16="http://schemas.microsoft.com/office/drawing/2014/main" xmlns="" id="{8CAC81FD-FF03-4FEB-8D63-395A236B4E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3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8" name="Oval 3032">
              <a:extLst>
                <a:ext uri="{FF2B5EF4-FFF2-40B4-BE49-F238E27FC236}">
                  <a16:creationId xmlns:a16="http://schemas.microsoft.com/office/drawing/2014/main" xmlns="" id="{B1014A14-2282-4840-A892-075598CE66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2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9" name="Oval 3033">
              <a:extLst>
                <a:ext uri="{FF2B5EF4-FFF2-40B4-BE49-F238E27FC236}">
                  <a16:creationId xmlns:a16="http://schemas.microsoft.com/office/drawing/2014/main" xmlns="" id="{C15CAE45-B6A8-4DB7-8F5C-80B34C6A9A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4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0" name="Oval 3034">
              <a:extLst>
                <a:ext uri="{FF2B5EF4-FFF2-40B4-BE49-F238E27FC236}">
                  <a16:creationId xmlns:a16="http://schemas.microsoft.com/office/drawing/2014/main" xmlns="" id="{1AB97F06-356D-4EC6-ABB0-4ED250B3A9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6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1" name="Oval 3035">
              <a:extLst>
                <a:ext uri="{FF2B5EF4-FFF2-40B4-BE49-F238E27FC236}">
                  <a16:creationId xmlns:a16="http://schemas.microsoft.com/office/drawing/2014/main" xmlns="" id="{1EEFD9CF-AECD-4D49-8B88-E5BA636E0D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4" y="7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2" name="Oval 3036">
              <a:extLst>
                <a:ext uri="{FF2B5EF4-FFF2-40B4-BE49-F238E27FC236}">
                  <a16:creationId xmlns:a16="http://schemas.microsoft.com/office/drawing/2014/main" xmlns="" id="{0C04D8AF-C5C9-41DE-A0BE-AE16357603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9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3" name="Oval 3037">
              <a:extLst>
                <a:ext uri="{FF2B5EF4-FFF2-40B4-BE49-F238E27FC236}">
                  <a16:creationId xmlns:a16="http://schemas.microsoft.com/office/drawing/2014/main" xmlns="" id="{2654C5DE-A225-4AE9-B7D7-22DA9A61B5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0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4" name="Oval 3038">
              <a:extLst>
                <a:ext uri="{FF2B5EF4-FFF2-40B4-BE49-F238E27FC236}">
                  <a16:creationId xmlns:a16="http://schemas.microsoft.com/office/drawing/2014/main" xmlns="" id="{1CFF303B-EFBB-4CF9-9572-2D9265C5A3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2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5" name="Oval 3039">
              <a:extLst>
                <a:ext uri="{FF2B5EF4-FFF2-40B4-BE49-F238E27FC236}">
                  <a16:creationId xmlns:a16="http://schemas.microsoft.com/office/drawing/2014/main" xmlns="" id="{296F9D2E-DD99-4BF4-87C1-EE9788612A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6" name="Oval 3040">
              <a:extLst>
                <a:ext uri="{FF2B5EF4-FFF2-40B4-BE49-F238E27FC236}">
                  <a16:creationId xmlns:a16="http://schemas.microsoft.com/office/drawing/2014/main" xmlns="" id="{7C84D4AF-974A-4715-91B7-C10FA68B13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4" y="9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7" name="Oval 3041">
              <a:extLst>
                <a:ext uri="{FF2B5EF4-FFF2-40B4-BE49-F238E27FC236}">
                  <a16:creationId xmlns:a16="http://schemas.microsoft.com/office/drawing/2014/main" xmlns="" id="{9FB17552-B0E7-4A1E-962B-57248BDEAC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8" name="Oval 3042">
              <a:extLst>
                <a:ext uri="{FF2B5EF4-FFF2-40B4-BE49-F238E27FC236}">
                  <a16:creationId xmlns:a16="http://schemas.microsoft.com/office/drawing/2014/main" xmlns="" id="{D25BDAF8-5CFD-4D6B-9A1B-9DA10D5D99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10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9" name="Oval 3043">
              <a:extLst>
                <a:ext uri="{FF2B5EF4-FFF2-40B4-BE49-F238E27FC236}">
                  <a16:creationId xmlns:a16="http://schemas.microsoft.com/office/drawing/2014/main" xmlns="" id="{10318ADB-1A0F-435D-BC66-E035A007E9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10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0" name="Oval 3044">
              <a:extLst>
                <a:ext uri="{FF2B5EF4-FFF2-40B4-BE49-F238E27FC236}">
                  <a16:creationId xmlns:a16="http://schemas.microsoft.com/office/drawing/2014/main" xmlns="" id="{A8FEDBB2-DC59-44CF-859E-BD4871821C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11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1" name="Oval 3045">
              <a:extLst>
                <a:ext uri="{FF2B5EF4-FFF2-40B4-BE49-F238E27FC236}">
                  <a16:creationId xmlns:a16="http://schemas.microsoft.com/office/drawing/2014/main" xmlns="" id="{A444EEA9-0D96-403C-B164-1CB2006749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2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2" name="Oval 3046">
              <a:extLst>
                <a:ext uri="{FF2B5EF4-FFF2-40B4-BE49-F238E27FC236}">
                  <a16:creationId xmlns:a16="http://schemas.microsoft.com/office/drawing/2014/main" xmlns="" id="{79EB1262-D579-4192-9A9D-B5B9CE38BB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3" name="Oval 3047">
              <a:extLst>
                <a:ext uri="{FF2B5EF4-FFF2-40B4-BE49-F238E27FC236}">
                  <a16:creationId xmlns:a16="http://schemas.microsoft.com/office/drawing/2014/main" xmlns="" id="{F1CC44E8-039D-4F6C-B630-867D611E52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4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4" name="Oval 3048">
              <a:extLst>
                <a:ext uri="{FF2B5EF4-FFF2-40B4-BE49-F238E27FC236}">
                  <a16:creationId xmlns:a16="http://schemas.microsoft.com/office/drawing/2014/main" xmlns="" id="{62132AC1-324B-4600-A5E4-7B1D71E5AF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5" name="Oval 3049">
              <a:extLst>
                <a:ext uri="{FF2B5EF4-FFF2-40B4-BE49-F238E27FC236}">
                  <a16:creationId xmlns:a16="http://schemas.microsoft.com/office/drawing/2014/main" xmlns="" id="{DBFDBAB9-8680-4402-917F-B43BCDA0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6" name="Oval 3050">
              <a:extLst>
                <a:ext uri="{FF2B5EF4-FFF2-40B4-BE49-F238E27FC236}">
                  <a16:creationId xmlns:a16="http://schemas.microsoft.com/office/drawing/2014/main" xmlns="" id="{D8C0FDD8-40E2-4A48-B616-EDD7833AAC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7" name="Oval 3051">
              <a:extLst>
                <a:ext uri="{FF2B5EF4-FFF2-40B4-BE49-F238E27FC236}">
                  <a16:creationId xmlns:a16="http://schemas.microsoft.com/office/drawing/2014/main" xmlns="" id="{0EA31EA2-12F0-4983-B5D8-E915B625C4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8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8" name="Oval 3052">
              <a:extLst>
                <a:ext uri="{FF2B5EF4-FFF2-40B4-BE49-F238E27FC236}">
                  <a16:creationId xmlns:a16="http://schemas.microsoft.com/office/drawing/2014/main" xmlns="" id="{A002860A-33C3-41BE-A1E7-9D1995F9E5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9" name="Oval 3053">
              <a:extLst>
                <a:ext uri="{FF2B5EF4-FFF2-40B4-BE49-F238E27FC236}">
                  <a16:creationId xmlns:a16="http://schemas.microsoft.com/office/drawing/2014/main" xmlns="" id="{C6ABEBBD-9A0D-4DF8-BAE7-43FF6CFF45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5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0" name="Oval 3054">
              <a:extLst>
                <a:ext uri="{FF2B5EF4-FFF2-40B4-BE49-F238E27FC236}">
                  <a16:creationId xmlns:a16="http://schemas.microsoft.com/office/drawing/2014/main" xmlns="" id="{58B722B0-688A-4751-B794-93249F1B1E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14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1" name="Oval 3055">
              <a:extLst>
                <a:ext uri="{FF2B5EF4-FFF2-40B4-BE49-F238E27FC236}">
                  <a16:creationId xmlns:a16="http://schemas.microsoft.com/office/drawing/2014/main" xmlns="" id="{D24F0498-F2A2-4408-9B48-1E8A1D8687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2" name="Oval 3056">
              <a:extLst>
                <a:ext uri="{FF2B5EF4-FFF2-40B4-BE49-F238E27FC236}">
                  <a16:creationId xmlns:a16="http://schemas.microsoft.com/office/drawing/2014/main" xmlns="" id="{04703B1B-6854-4C23-80BC-1C4D583A40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3" name="Oval 3057">
              <a:extLst>
                <a:ext uri="{FF2B5EF4-FFF2-40B4-BE49-F238E27FC236}">
                  <a16:creationId xmlns:a16="http://schemas.microsoft.com/office/drawing/2014/main" xmlns="" id="{AD6E3B14-6040-4D67-9F26-504692C3A1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4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4" name="Oval 3058">
              <a:extLst>
                <a:ext uri="{FF2B5EF4-FFF2-40B4-BE49-F238E27FC236}">
                  <a16:creationId xmlns:a16="http://schemas.microsoft.com/office/drawing/2014/main" xmlns="" id="{01CC782E-2A30-4FCE-ACEE-49E02F5E67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12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5" name="Oval 3059">
              <a:extLst>
                <a:ext uri="{FF2B5EF4-FFF2-40B4-BE49-F238E27FC236}">
                  <a16:creationId xmlns:a16="http://schemas.microsoft.com/office/drawing/2014/main" xmlns="" id="{CBC03661-6B29-4E15-9400-D5CE9A4D7E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5" y="12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6" name="Oval 3060">
              <a:extLst>
                <a:ext uri="{FF2B5EF4-FFF2-40B4-BE49-F238E27FC236}">
                  <a16:creationId xmlns:a16="http://schemas.microsoft.com/office/drawing/2014/main" xmlns="" id="{DA9284EF-8C0D-4040-890E-8BCD5F6759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7" name="Oval 3061">
              <a:extLst>
                <a:ext uri="{FF2B5EF4-FFF2-40B4-BE49-F238E27FC236}">
                  <a16:creationId xmlns:a16="http://schemas.microsoft.com/office/drawing/2014/main" xmlns="" id="{C89913EB-2A44-44D2-B2C8-2BF3A628F1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5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8" name="Oval 3062">
              <a:extLst>
                <a:ext uri="{FF2B5EF4-FFF2-40B4-BE49-F238E27FC236}">
                  <a16:creationId xmlns:a16="http://schemas.microsoft.com/office/drawing/2014/main" xmlns="" id="{8C88C979-1038-4EF0-8047-D932DE7D5D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1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9" name="Oval 3063">
              <a:extLst>
                <a:ext uri="{FF2B5EF4-FFF2-40B4-BE49-F238E27FC236}">
                  <a16:creationId xmlns:a16="http://schemas.microsoft.com/office/drawing/2014/main" xmlns="" id="{39D139BC-2FF2-400E-A09E-628BD45626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8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0" name="Oval 3064">
              <a:extLst>
                <a:ext uri="{FF2B5EF4-FFF2-40B4-BE49-F238E27FC236}">
                  <a16:creationId xmlns:a16="http://schemas.microsoft.com/office/drawing/2014/main" xmlns="" id="{968C62FD-6115-4193-8673-61F2A520B8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5" y="159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1" name="Oval 3065">
              <a:extLst>
                <a:ext uri="{FF2B5EF4-FFF2-40B4-BE49-F238E27FC236}">
                  <a16:creationId xmlns:a16="http://schemas.microsoft.com/office/drawing/2014/main" xmlns="" id="{9ED41DDC-9072-4B41-8AAA-12007E0E31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12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2" name="Oval 3066">
              <a:extLst>
                <a:ext uri="{FF2B5EF4-FFF2-40B4-BE49-F238E27FC236}">
                  <a16:creationId xmlns:a16="http://schemas.microsoft.com/office/drawing/2014/main" xmlns="" id="{A2DDC7B0-026C-404F-9C4A-81221794D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9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3" name="Oval 3067">
              <a:extLst>
                <a:ext uri="{FF2B5EF4-FFF2-40B4-BE49-F238E27FC236}">
                  <a16:creationId xmlns:a16="http://schemas.microsoft.com/office/drawing/2014/main" xmlns="" id="{69A8FE27-4CC5-40E6-ADCB-283194042F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0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4" name="Oval 3068">
              <a:extLst>
                <a:ext uri="{FF2B5EF4-FFF2-40B4-BE49-F238E27FC236}">
                  <a16:creationId xmlns:a16="http://schemas.microsoft.com/office/drawing/2014/main" xmlns="" id="{376D5B90-BB1C-4141-BA73-354711BFA2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0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5" name="Oval 3069">
              <a:extLst>
                <a:ext uri="{FF2B5EF4-FFF2-40B4-BE49-F238E27FC236}">
                  <a16:creationId xmlns:a16="http://schemas.microsoft.com/office/drawing/2014/main" xmlns="" id="{0DED10E9-E8D5-4198-BA8E-17E2EBE8DC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9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6" name="Oval 3070">
              <a:extLst>
                <a:ext uri="{FF2B5EF4-FFF2-40B4-BE49-F238E27FC236}">
                  <a16:creationId xmlns:a16="http://schemas.microsoft.com/office/drawing/2014/main" xmlns="" id="{8D1A7C1A-B314-4C10-B71E-44A023F21A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7" name="Oval 3071">
              <a:extLst>
                <a:ext uri="{FF2B5EF4-FFF2-40B4-BE49-F238E27FC236}">
                  <a16:creationId xmlns:a16="http://schemas.microsoft.com/office/drawing/2014/main" xmlns="" id="{705CF7CE-19A5-4E5D-A8FC-697FEB3223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5" y="8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8" name="Oval 3072">
              <a:extLst>
                <a:ext uri="{FF2B5EF4-FFF2-40B4-BE49-F238E27FC236}">
                  <a16:creationId xmlns:a16="http://schemas.microsoft.com/office/drawing/2014/main" xmlns="" id="{65FAC1C3-27CC-4787-B5AB-A77B65E9F2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9" name="Oval 3073">
              <a:extLst>
                <a:ext uri="{FF2B5EF4-FFF2-40B4-BE49-F238E27FC236}">
                  <a16:creationId xmlns:a16="http://schemas.microsoft.com/office/drawing/2014/main" xmlns="" id="{4A2B7B76-9444-4D8C-A84A-ECACDEDB1B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8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0" name="Oval 3074">
              <a:extLst>
                <a:ext uri="{FF2B5EF4-FFF2-40B4-BE49-F238E27FC236}">
                  <a16:creationId xmlns:a16="http://schemas.microsoft.com/office/drawing/2014/main" xmlns="" id="{36F63D1C-D13D-4A3E-B7DE-3DFB363E28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6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1" name="Oval 3075">
              <a:extLst>
                <a:ext uri="{FF2B5EF4-FFF2-40B4-BE49-F238E27FC236}">
                  <a16:creationId xmlns:a16="http://schemas.microsoft.com/office/drawing/2014/main" xmlns="" id="{966080F1-A504-4836-9A65-8CE76CAC15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5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2" name="Oval 3076">
              <a:extLst>
                <a:ext uri="{FF2B5EF4-FFF2-40B4-BE49-F238E27FC236}">
                  <a16:creationId xmlns:a16="http://schemas.microsoft.com/office/drawing/2014/main" xmlns="" id="{CD27BBAB-A3BB-4443-B1E9-9038F66CFE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4" y="4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3" name="Oval 3077">
              <a:extLst>
                <a:ext uri="{FF2B5EF4-FFF2-40B4-BE49-F238E27FC236}">
                  <a16:creationId xmlns:a16="http://schemas.microsoft.com/office/drawing/2014/main" xmlns="" id="{F640CFE7-84D5-4D9C-8935-C5CE6A96E1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4" y="6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4" name="Oval 3078">
              <a:extLst>
                <a:ext uri="{FF2B5EF4-FFF2-40B4-BE49-F238E27FC236}">
                  <a16:creationId xmlns:a16="http://schemas.microsoft.com/office/drawing/2014/main" xmlns="" id="{77D182CD-DB9C-4C5E-988E-BFEAAF5979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4" y="8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5" name="Oval 3079">
              <a:extLst>
                <a:ext uri="{FF2B5EF4-FFF2-40B4-BE49-F238E27FC236}">
                  <a16:creationId xmlns:a16="http://schemas.microsoft.com/office/drawing/2014/main" xmlns="" id="{B9EA2AEA-4CD9-49AE-A184-1FC4B19D93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7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6" name="Oval 3080">
              <a:extLst>
                <a:ext uri="{FF2B5EF4-FFF2-40B4-BE49-F238E27FC236}">
                  <a16:creationId xmlns:a16="http://schemas.microsoft.com/office/drawing/2014/main" xmlns="" id="{77F851AB-EE24-41B2-B28A-1FCA4E5F41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7" name="Oval 3081">
              <a:extLst>
                <a:ext uri="{FF2B5EF4-FFF2-40B4-BE49-F238E27FC236}">
                  <a16:creationId xmlns:a16="http://schemas.microsoft.com/office/drawing/2014/main" xmlns="" id="{3813547A-048C-489B-B7FB-3DD28ADB21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13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8" name="Oval 3082">
              <a:extLst>
                <a:ext uri="{FF2B5EF4-FFF2-40B4-BE49-F238E27FC236}">
                  <a16:creationId xmlns:a16="http://schemas.microsoft.com/office/drawing/2014/main" xmlns="" id="{B1033AB5-F750-4519-9473-6437C2270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13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9" name="Oval 3083">
              <a:extLst>
                <a:ext uri="{FF2B5EF4-FFF2-40B4-BE49-F238E27FC236}">
                  <a16:creationId xmlns:a16="http://schemas.microsoft.com/office/drawing/2014/main" xmlns="" id="{D7E11EB6-412E-4135-BF6F-E7549CA64E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4" y="15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0" name="Oval 3084">
              <a:extLst>
                <a:ext uri="{FF2B5EF4-FFF2-40B4-BE49-F238E27FC236}">
                  <a16:creationId xmlns:a16="http://schemas.microsoft.com/office/drawing/2014/main" xmlns="" id="{4AA34CBA-6720-4C79-8DDA-545CF1796F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4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1" name="Oval 3085">
              <a:extLst>
                <a:ext uri="{FF2B5EF4-FFF2-40B4-BE49-F238E27FC236}">
                  <a16:creationId xmlns:a16="http://schemas.microsoft.com/office/drawing/2014/main" xmlns="" id="{4811D1E7-0993-4D4A-A5F6-060132345E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2" name="Oval 3086">
              <a:extLst>
                <a:ext uri="{FF2B5EF4-FFF2-40B4-BE49-F238E27FC236}">
                  <a16:creationId xmlns:a16="http://schemas.microsoft.com/office/drawing/2014/main" xmlns="" id="{6EE8F85D-EF21-44E9-855D-5F7F0F0B32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3" name="Oval 3087">
              <a:extLst>
                <a:ext uri="{FF2B5EF4-FFF2-40B4-BE49-F238E27FC236}">
                  <a16:creationId xmlns:a16="http://schemas.microsoft.com/office/drawing/2014/main" xmlns="" id="{6A3503A2-0C10-4612-A9D1-C68B11EE0A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4" name="Oval 3088">
              <a:extLst>
                <a:ext uri="{FF2B5EF4-FFF2-40B4-BE49-F238E27FC236}">
                  <a16:creationId xmlns:a16="http://schemas.microsoft.com/office/drawing/2014/main" xmlns="" id="{C21F564F-5C30-4D87-A1AF-3EBCFF46A4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5" name="Oval 3089">
              <a:extLst>
                <a:ext uri="{FF2B5EF4-FFF2-40B4-BE49-F238E27FC236}">
                  <a16:creationId xmlns:a16="http://schemas.microsoft.com/office/drawing/2014/main" xmlns="" id="{9C67C57C-6B9A-4B28-BCB8-C38B33AE77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9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6" name="Oval 3090">
              <a:extLst>
                <a:ext uri="{FF2B5EF4-FFF2-40B4-BE49-F238E27FC236}">
                  <a16:creationId xmlns:a16="http://schemas.microsoft.com/office/drawing/2014/main" xmlns="" id="{562EF4E3-9BD4-4371-875F-F469E12772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20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7" name="Oval 3091">
              <a:extLst>
                <a:ext uri="{FF2B5EF4-FFF2-40B4-BE49-F238E27FC236}">
                  <a16:creationId xmlns:a16="http://schemas.microsoft.com/office/drawing/2014/main" xmlns="" id="{F479BBE2-1FF5-4B75-8C0C-A5B1E9FB6A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8" name="Oval 3092">
              <a:extLst>
                <a:ext uri="{FF2B5EF4-FFF2-40B4-BE49-F238E27FC236}">
                  <a16:creationId xmlns:a16="http://schemas.microsoft.com/office/drawing/2014/main" xmlns="" id="{71B77E1F-7B0E-4A6D-9FBB-9EBA310E44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3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9" name="Oval 3093">
              <a:extLst>
                <a:ext uri="{FF2B5EF4-FFF2-40B4-BE49-F238E27FC236}">
                  <a16:creationId xmlns:a16="http://schemas.microsoft.com/office/drawing/2014/main" xmlns="" id="{6F34BE30-8D8D-4F7F-841D-92C207CD8A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24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0" name="Oval 3094">
              <a:extLst>
                <a:ext uri="{FF2B5EF4-FFF2-40B4-BE49-F238E27FC236}">
                  <a16:creationId xmlns:a16="http://schemas.microsoft.com/office/drawing/2014/main" xmlns="" id="{3713CF6C-AE59-4442-801B-17B807A6DC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24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1" name="Oval 3095">
              <a:extLst>
                <a:ext uri="{FF2B5EF4-FFF2-40B4-BE49-F238E27FC236}">
                  <a16:creationId xmlns:a16="http://schemas.microsoft.com/office/drawing/2014/main" xmlns="" id="{10DC98B8-6E00-46FB-9ED8-53D613064F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5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2" name="Oval 3096">
              <a:extLst>
                <a:ext uri="{FF2B5EF4-FFF2-40B4-BE49-F238E27FC236}">
                  <a16:creationId xmlns:a16="http://schemas.microsoft.com/office/drawing/2014/main" xmlns="" id="{4FF3A575-ACFE-446D-B6E7-A4BD87CB89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26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3" name="Oval 3097">
              <a:extLst>
                <a:ext uri="{FF2B5EF4-FFF2-40B4-BE49-F238E27FC236}">
                  <a16:creationId xmlns:a16="http://schemas.microsoft.com/office/drawing/2014/main" xmlns="" id="{3F38E16A-9B49-4A28-A97F-1D650C0A4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7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4" name="Oval 3098">
              <a:extLst>
                <a:ext uri="{FF2B5EF4-FFF2-40B4-BE49-F238E27FC236}">
                  <a16:creationId xmlns:a16="http://schemas.microsoft.com/office/drawing/2014/main" xmlns="" id="{853E69B0-7E2C-47CF-9253-99C02DB6A0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7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5" name="Oval 3099">
              <a:extLst>
                <a:ext uri="{FF2B5EF4-FFF2-40B4-BE49-F238E27FC236}">
                  <a16:creationId xmlns:a16="http://schemas.microsoft.com/office/drawing/2014/main" xmlns="" id="{53AE6361-AB8D-4641-934A-4D5E7CB061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6" name="Oval 3100">
              <a:extLst>
                <a:ext uri="{FF2B5EF4-FFF2-40B4-BE49-F238E27FC236}">
                  <a16:creationId xmlns:a16="http://schemas.microsoft.com/office/drawing/2014/main" xmlns="" id="{36D07C61-6BBA-4679-A9B5-2301F25D62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30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7" name="Oval 3101">
              <a:extLst>
                <a:ext uri="{FF2B5EF4-FFF2-40B4-BE49-F238E27FC236}">
                  <a16:creationId xmlns:a16="http://schemas.microsoft.com/office/drawing/2014/main" xmlns="" id="{E4F0A5F9-4D5F-426A-8E3C-19C39BB389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29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8" name="Oval 3102">
              <a:extLst>
                <a:ext uri="{FF2B5EF4-FFF2-40B4-BE49-F238E27FC236}">
                  <a16:creationId xmlns:a16="http://schemas.microsoft.com/office/drawing/2014/main" xmlns="" id="{2684A8F1-3F0B-4F09-A37D-C884E1AFBF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30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9" name="Oval 3103">
              <a:extLst>
                <a:ext uri="{FF2B5EF4-FFF2-40B4-BE49-F238E27FC236}">
                  <a16:creationId xmlns:a16="http://schemas.microsoft.com/office/drawing/2014/main" xmlns="" id="{CC14B64B-F45F-46F0-B397-3C25BDED8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0" name="Oval 3104">
              <a:extLst>
                <a:ext uri="{FF2B5EF4-FFF2-40B4-BE49-F238E27FC236}">
                  <a16:creationId xmlns:a16="http://schemas.microsoft.com/office/drawing/2014/main" xmlns="" id="{8A659DA4-D36A-475A-B1E2-C3C1D208E6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7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1" name="Oval 3105">
              <a:extLst>
                <a:ext uri="{FF2B5EF4-FFF2-40B4-BE49-F238E27FC236}">
                  <a16:creationId xmlns:a16="http://schemas.microsoft.com/office/drawing/2014/main" xmlns="" id="{50EC1005-8349-451A-A3D7-51CB721402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2" name="Oval 3106">
              <a:extLst>
                <a:ext uri="{FF2B5EF4-FFF2-40B4-BE49-F238E27FC236}">
                  <a16:creationId xmlns:a16="http://schemas.microsoft.com/office/drawing/2014/main" xmlns="" id="{60650617-459D-46F7-8247-975AB6B270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4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3" name="Oval 3107">
              <a:extLst>
                <a:ext uri="{FF2B5EF4-FFF2-40B4-BE49-F238E27FC236}">
                  <a16:creationId xmlns:a16="http://schemas.microsoft.com/office/drawing/2014/main" xmlns="" id="{7DAE90FB-623A-4157-A3D6-B2C34ABE6C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4" name="Oval 3108">
              <a:extLst>
                <a:ext uri="{FF2B5EF4-FFF2-40B4-BE49-F238E27FC236}">
                  <a16:creationId xmlns:a16="http://schemas.microsoft.com/office/drawing/2014/main" xmlns="" id="{DE3BE873-E48B-47E3-A4F4-770813EB8F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5" name="Oval 3109">
              <a:extLst>
                <a:ext uri="{FF2B5EF4-FFF2-40B4-BE49-F238E27FC236}">
                  <a16:creationId xmlns:a16="http://schemas.microsoft.com/office/drawing/2014/main" xmlns="" id="{EA267329-0973-45E1-B801-E4FCAF316D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6" name="Oval 3110">
              <a:extLst>
                <a:ext uri="{FF2B5EF4-FFF2-40B4-BE49-F238E27FC236}">
                  <a16:creationId xmlns:a16="http://schemas.microsoft.com/office/drawing/2014/main" xmlns="" id="{5B7AA82E-429E-49E7-A7C0-855F639FFF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7" name="Oval 3111">
              <a:extLst>
                <a:ext uri="{FF2B5EF4-FFF2-40B4-BE49-F238E27FC236}">
                  <a16:creationId xmlns:a16="http://schemas.microsoft.com/office/drawing/2014/main" xmlns="" id="{EE14B65A-5B13-434D-BBCD-8B79A6F83F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8" name="Oval 3112">
              <a:extLst>
                <a:ext uri="{FF2B5EF4-FFF2-40B4-BE49-F238E27FC236}">
                  <a16:creationId xmlns:a16="http://schemas.microsoft.com/office/drawing/2014/main" xmlns="" id="{DEA95C19-A48A-4A78-9274-65E7310F72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23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9" name="Oval 3113">
              <a:extLst>
                <a:ext uri="{FF2B5EF4-FFF2-40B4-BE49-F238E27FC236}">
                  <a16:creationId xmlns:a16="http://schemas.microsoft.com/office/drawing/2014/main" xmlns="" id="{3E28FD3B-99AE-4A2D-A9F6-CCF9B54E7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3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0" name="Oval 3114">
              <a:extLst>
                <a:ext uri="{FF2B5EF4-FFF2-40B4-BE49-F238E27FC236}">
                  <a16:creationId xmlns:a16="http://schemas.microsoft.com/office/drawing/2014/main" xmlns="" id="{2018784B-23E3-48B4-AE72-8476E9BCD4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1" name="Oval 3115">
              <a:extLst>
                <a:ext uri="{FF2B5EF4-FFF2-40B4-BE49-F238E27FC236}">
                  <a16:creationId xmlns:a16="http://schemas.microsoft.com/office/drawing/2014/main" xmlns="" id="{A3B5704B-4ABA-4952-8BCA-908B14459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21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2" name="Oval 3116">
              <a:extLst>
                <a:ext uri="{FF2B5EF4-FFF2-40B4-BE49-F238E27FC236}">
                  <a16:creationId xmlns:a16="http://schemas.microsoft.com/office/drawing/2014/main" xmlns="" id="{415D0D01-3BDF-4A90-8123-2146DA7A01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3" name="Oval 3117">
              <a:extLst>
                <a:ext uri="{FF2B5EF4-FFF2-40B4-BE49-F238E27FC236}">
                  <a16:creationId xmlns:a16="http://schemas.microsoft.com/office/drawing/2014/main" xmlns="" id="{A74D573E-9870-4A9A-801D-F8C94079EA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3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4" name="Oval 3118">
              <a:extLst>
                <a:ext uri="{FF2B5EF4-FFF2-40B4-BE49-F238E27FC236}">
                  <a16:creationId xmlns:a16="http://schemas.microsoft.com/office/drawing/2014/main" xmlns="" id="{B22DC4EA-9AAD-4CBD-AA56-9CBA18ECBB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5" name="Oval 3119">
              <a:extLst>
                <a:ext uri="{FF2B5EF4-FFF2-40B4-BE49-F238E27FC236}">
                  <a16:creationId xmlns:a16="http://schemas.microsoft.com/office/drawing/2014/main" xmlns="" id="{9BD9D54A-0F1A-4749-93FA-5A3B8BAF4C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4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6" name="Oval 3120">
              <a:extLst>
                <a:ext uri="{FF2B5EF4-FFF2-40B4-BE49-F238E27FC236}">
                  <a16:creationId xmlns:a16="http://schemas.microsoft.com/office/drawing/2014/main" xmlns="" id="{ACC88B28-9C01-4F8E-A43F-77380EA8FC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5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7" name="Oval 3121">
              <a:extLst>
                <a:ext uri="{FF2B5EF4-FFF2-40B4-BE49-F238E27FC236}">
                  <a16:creationId xmlns:a16="http://schemas.microsoft.com/office/drawing/2014/main" xmlns="" id="{E2CDF122-5795-4B4D-B36C-C13ACC39BB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8" name="Oval 3122">
              <a:extLst>
                <a:ext uri="{FF2B5EF4-FFF2-40B4-BE49-F238E27FC236}">
                  <a16:creationId xmlns:a16="http://schemas.microsoft.com/office/drawing/2014/main" xmlns="" id="{6AF948C1-DE9D-42E4-B170-BA6839720F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9" name="Oval 3123">
              <a:extLst>
                <a:ext uri="{FF2B5EF4-FFF2-40B4-BE49-F238E27FC236}">
                  <a16:creationId xmlns:a16="http://schemas.microsoft.com/office/drawing/2014/main" xmlns="" id="{69C2585E-24CA-45B0-AC0B-CE38394F1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0" name="Oval 3124">
              <a:extLst>
                <a:ext uri="{FF2B5EF4-FFF2-40B4-BE49-F238E27FC236}">
                  <a16:creationId xmlns:a16="http://schemas.microsoft.com/office/drawing/2014/main" xmlns="" id="{F39754E4-FC08-4EE9-BC3A-E0F36E5CF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1" name="Oval 3125">
              <a:extLst>
                <a:ext uri="{FF2B5EF4-FFF2-40B4-BE49-F238E27FC236}">
                  <a16:creationId xmlns:a16="http://schemas.microsoft.com/office/drawing/2014/main" xmlns="" id="{DA0DBEE6-CAAD-41A5-9BEF-671DF25195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19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2" name="Oval 3126">
              <a:extLst>
                <a:ext uri="{FF2B5EF4-FFF2-40B4-BE49-F238E27FC236}">
                  <a16:creationId xmlns:a16="http://schemas.microsoft.com/office/drawing/2014/main" xmlns="" id="{1BE22AED-042F-40EA-9769-2193D3E74A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3" name="Oval 3127">
              <a:extLst>
                <a:ext uri="{FF2B5EF4-FFF2-40B4-BE49-F238E27FC236}">
                  <a16:creationId xmlns:a16="http://schemas.microsoft.com/office/drawing/2014/main" xmlns="" id="{957ED7C6-21DF-42A0-ADD8-F4B7A0AFEE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4" name="Oval 3128">
              <a:extLst>
                <a:ext uri="{FF2B5EF4-FFF2-40B4-BE49-F238E27FC236}">
                  <a16:creationId xmlns:a16="http://schemas.microsoft.com/office/drawing/2014/main" xmlns="" id="{21A774FA-CEE3-4BDC-A421-2ADB347320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5" name="Oval 3129">
              <a:extLst>
                <a:ext uri="{FF2B5EF4-FFF2-40B4-BE49-F238E27FC236}">
                  <a16:creationId xmlns:a16="http://schemas.microsoft.com/office/drawing/2014/main" xmlns="" id="{086792B4-B0D2-43C8-847F-CA19BAB7BC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6" name="Oval 3130">
              <a:extLst>
                <a:ext uri="{FF2B5EF4-FFF2-40B4-BE49-F238E27FC236}">
                  <a16:creationId xmlns:a16="http://schemas.microsoft.com/office/drawing/2014/main" xmlns="" id="{85E1C688-7F71-4D87-ADD5-DB6430AA14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7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7" name="Oval 3131">
              <a:extLst>
                <a:ext uri="{FF2B5EF4-FFF2-40B4-BE49-F238E27FC236}">
                  <a16:creationId xmlns:a16="http://schemas.microsoft.com/office/drawing/2014/main" xmlns="" id="{772B9847-6B08-423C-A509-F38C808AF9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8" name="Oval 3132">
              <a:extLst>
                <a:ext uri="{FF2B5EF4-FFF2-40B4-BE49-F238E27FC236}">
                  <a16:creationId xmlns:a16="http://schemas.microsoft.com/office/drawing/2014/main" xmlns="" id="{CE13FD97-9F9C-4609-8417-FBB6C88051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9" name="Oval 3133">
              <a:extLst>
                <a:ext uri="{FF2B5EF4-FFF2-40B4-BE49-F238E27FC236}">
                  <a16:creationId xmlns:a16="http://schemas.microsoft.com/office/drawing/2014/main" xmlns="" id="{495904D7-2380-484D-9EE6-FE541B0D77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0" name="Oval 3134">
              <a:extLst>
                <a:ext uri="{FF2B5EF4-FFF2-40B4-BE49-F238E27FC236}">
                  <a16:creationId xmlns:a16="http://schemas.microsoft.com/office/drawing/2014/main" xmlns="" id="{50D9D834-66A9-45D9-B61D-74DBD866C0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24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1" name="Oval 3135">
              <a:extLst>
                <a:ext uri="{FF2B5EF4-FFF2-40B4-BE49-F238E27FC236}">
                  <a16:creationId xmlns:a16="http://schemas.microsoft.com/office/drawing/2014/main" xmlns="" id="{5C4BDCC2-3065-43F3-A7A5-5BA6879B83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5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2" name="Oval 3136">
              <a:extLst>
                <a:ext uri="{FF2B5EF4-FFF2-40B4-BE49-F238E27FC236}">
                  <a16:creationId xmlns:a16="http://schemas.microsoft.com/office/drawing/2014/main" xmlns="" id="{7F969447-9FFA-4A10-82AD-2A70DC7FBE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5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3" name="Oval 3137">
              <a:extLst>
                <a:ext uri="{FF2B5EF4-FFF2-40B4-BE49-F238E27FC236}">
                  <a16:creationId xmlns:a16="http://schemas.microsoft.com/office/drawing/2014/main" xmlns="" id="{3EEF238F-0C38-4322-A41C-E34C5874E5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24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4" name="Oval 3138">
              <a:extLst>
                <a:ext uri="{FF2B5EF4-FFF2-40B4-BE49-F238E27FC236}">
                  <a16:creationId xmlns:a16="http://schemas.microsoft.com/office/drawing/2014/main" xmlns="" id="{193CABF6-D598-4F22-A948-A747FFC234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23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5" name="Oval 3139">
              <a:extLst>
                <a:ext uri="{FF2B5EF4-FFF2-40B4-BE49-F238E27FC236}">
                  <a16:creationId xmlns:a16="http://schemas.microsoft.com/office/drawing/2014/main" xmlns="" id="{3E1D2348-F44A-4064-9C15-882D330638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24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6" name="Oval 3140">
              <a:extLst>
                <a:ext uri="{FF2B5EF4-FFF2-40B4-BE49-F238E27FC236}">
                  <a16:creationId xmlns:a16="http://schemas.microsoft.com/office/drawing/2014/main" xmlns="" id="{321C8644-2FA1-4E12-B9D3-885C103476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7" name="Oval 3141">
              <a:extLst>
                <a:ext uri="{FF2B5EF4-FFF2-40B4-BE49-F238E27FC236}">
                  <a16:creationId xmlns:a16="http://schemas.microsoft.com/office/drawing/2014/main" xmlns="" id="{A7B2D8C8-00E6-445F-9477-292FBE363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5" y="27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8" name="Oval 3142">
              <a:extLst>
                <a:ext uri="{FF2B5EF4-FFF2-40B4-BE49-F238E27FC236}">
                  <a16:creationId xmlns:a16="http://schemas.microsoft.com/office/drawing/2014/main" xmlns="" id="{2CEA1C7E-738B-49AD-9567-FA057531AC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9" name="Oval 3143">
              <a:extLst>
                <a:ext uri="{FF2B5EF4-FFF2-40B4-BE49-F238E27FC236}">
                  <a16:creationId xmlns:a16="http://schemas.microsoft.com/office/drawing/2014/main" xmlns="" id="{6B4A462F-F51A-4BB5-A31D-B25FC3B1D6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9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0" name="Oval 3144">
              <a:extLst>
                <a:ext uri="{FF2B5EF4-FFF2-40B4-BE49-F238E27FC236}">
                  <a16:creationId xmlns:a16="http://schemas.microsoft.com/office/drawing/2014/main" xmlns="" id="{A4F141A0-2432-446B-81C9-357065DB98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30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1" name="Oval 3145">
              <a:extLst>
                <a:ext uri="{FF2B5EF4-FFF2-40B4-BE49-F238E27FC236}">
                  <a16:creationId xmlns:a16="http://schemas.microsoft.com/office/drawing/2014/main" xmlns="" id="{D595CF35-1548-419B-9679-B9B8E1F885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2" name="Oval 3146">
              <a:extLst>
                <a:ext uri="{FF2B5EF4-FFF2-40B4-BE49-F238E27FC236}">
                  <a16:creationId xmlns:a16="http://schemas.microsoft.com/office/drawing/2014/main" xmlns="" id="{BB88058B-D172-4208-82A1-87E5D870A7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4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3" name="Oval 3147">
              <a:extLst>
                <a:ext uri="{FF2B5EF4-FFF2-40B4-BE49-F238E27FC236}">
                  <a16:creationId xmlns:a16="http://schemas.microsoft.com/office/drawing/2014/main" xmlns="" id="{73DFEDFB-9D35-49D8-9667-4FF532B49D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21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4" name="Oval 3148">
              <a:extLst>
                <a:ext uri="{FF2B5EF4-FFF2-40B4-BE49-F238E27FC236}">
                  <a16:creationId xmlns:a16="http://schemas.microsoft.com/office/drawing/2014/main" xmlns="" id="{7BFFAF6E-2301-47F2-A817-26996C858C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5" name="Oval 3149">
              <a:extLst>
                <a:ext uri="{FF2B5EF4-FFF2-40B4-BE49-F238E27FC236}">
                  <a16:creationId xmlns:a16="http://schemas.microsoft.com/office/drawing/2014/main" xmlns="" id="{0F63ED93-B91B-418C-84E4-2A3BFF1A49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3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6" name="Oval 3150">
              <a:extLst>
                <a:ext uri="{FF2B5EF4-FFF2-40B4-BE49-F238E27FC236}">
                  <a16:creationId xmlns:a16="http://schemas.microsoft.com/office/drawing/2014/main" xmlns="" id="{7E95DDA6-8F1B-4425-8FEC-B862352F1D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27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7" name="Oval 3151">
              <a:extLst>
                <a:ext uri="{FF2B5EF4-FFF2-40B4-BE49-F238E27FC236}">
                  <a16:creationId xmlns:a16="http://schemas.microsoft.com/office/drawing/2014/main" xmlns="" id="{11CDEE37-1906-4DF7-9C82-BAAB608FAB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8" name="Oval 3152">
              <a:extLst>
                <a:ext uri="{FF2B5EF4-FFF2-40B4-BE49-F238E27FC236}">
                  <a16:creationId xmlns:a16="http://schemas.microsoft.com/office/drawing/2014/main" xmlns="" id="{BEFD5E1C-B8CF-4AF3-94DE-4FA9A104B9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9" name="Oval 3153">
              <a:extLst>
                <a:ext uri="{FF2B5EF4-FFF2-40B4-BE49-F238E27FC236}">
                  <a16:creationId xmlns:a16="http://schemas.microsoft.com/office/drawing/2014/main" xmlns="" id="{B17665D8-08F7-4D4B-A4EF-C7F8406C89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0" name="Oval 3154">
              <a:extLst>
                <a:ext uri="{FF2B5EF4-FFF2-40B4-BE49-F238E27FC236}">
                  <a16:creationId xmlns:a16="http://schemas.microsoft.com/office/drawing/2014/main" xmlns="" id="{F21BB313-9C6E-47EB-9E65-409932DB2D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9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1" name="Oval 3155">
              <a:extLst>
                <a:ext uri="{FF2B5EF4-FFF2-40B4-BE49-F238E27FC236}">
                  <a16:creationId xmlns:a16="http://schemas.microsoft.com/office/drawing/2014/main" xmlns="" id="{407FB378-E483-4F13-8573-78B620D96C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2" name="Oval 3156">
              <a:extLst>
                <a:ext uri="{FF2B5EF4-FFF2-40B4-BE49-F238E27FC236}">
                  <a16:creationId xmlns:a16="http://schemas.microsoft.com/office/drawing/2014/main" xmlns="" id="{2788DE4E-76A8-4CA7-856A-12FAC85BCF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3" name="Oval 3157">
              <a:extLst>
                <a:ext uri="{FF2B5EF4-FFF2-40B4-BE49-F238E27FC236}">
                  <a16:creationId xmlns:a16="http://schemas.microsoft.com/office/drawing/2014/main" xmlns="" id="{BBF20C39-3291-4FC0-B303-E3C5A95A9B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4" name="Oval 3158">
              <a:extLst>
                <a:ext uri="{FF2B5EF4-FFF2-40B4-BE49-F238E27FC236}">
                  <a16:creationId xmlns:a16="http://schemas.microsoft.com/office/drawing/2014/main" xmlns="" id="{26E57833-4294-45A6-99D7-7A780432AF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7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5" name="Oval 3159">
              <a:extLst>
                <a:ext uri="{FF2B5EF4-FFF2-40B4-BE49-F238E27FC236}">
                  <a16:creationId xmlns:a16="http://schemas.microsoft.com/office/drawing/2014/main" xmlns="" id="{03BEA2D3-6BFD-46F1-B69B-FEC95A510E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4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6" name="Oval 3160">
              <a:extLst>
                <a:ext uri="{FF2B5EF4-FFF2-40B4-BE49-F238E27FC236}">
                  <a16:creationId xmlns:a16="http://schemas.microsoft.com/office/drawing/2014/main" xmlns="" id="{97BCAB8E-9BA2-4E4A-98D1-BED0DA15B1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7" name="Oval 3161">
              <a:extLst>
                <a:ext uri="{FF2B5EF4-FFF2-40B4-BE49-F238E27FC236}">
                  <a16:creationId xmlns:a16="http://schemas.microsoft.com/office/drawing/2014/main" xmlns="" id="{887935AC-C167-431B-BDD7-42464CEA5A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4" y="30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8" name="Oval 3162">
              <a:extLst>
                <a:ext uri="{FF2B5EF4-FFF2-40B4-BE49-F238E27FC236}">
                  <a16:creationId xmlns:a16="http://schemas.microsoft.com/office/drawing/2014/main" xmlns="" id="{342D1794-BF35-402B-A746-997EBBA956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9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9" name="Oval 3163">
              <a:extLst>
                <a:ext uri="{FF2B5EF4-FFF2-40B4-BE49-F238E27FC236}">
                  <a16:creationId xmlns:a16="http://schemas.microsoft.com/office/drawing/2014/main" xmlns="" id="{C72F839F-D8C5-40C5-9671-8522DF8E9D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4" y="30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0" name="Oval 3164">
              <a:extLst>
                <a:ext uri="{FF2B5EF4-FFF2-40B4-BE49-F238E27FC236}">
                  <a16:creationId xmlns:a16="http://schemas.microsoft.com/office/drawing/2014/main" xmlns="" id="{E6248226-809B-4AD9-97B4-3FF5191E0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1" name="Oval 3165">
              <a:extLst>
                <a:ext uri="{FF2B5EF4-FFF2-40B4-BE49-F238E27FC236}">
                  <a16:creationId xmlns:a16="http://schemas.microsoft.com/office/drawing/2014/main" xmlns="" id="{B2534261-B4FF-49E1-ADBD-011A3AF1FB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30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2" name="Oval 3166">
              <a:extLst>
                <a:ext uri="{FF2B5EF4-FFF2-40B4-BE49-F238E27FC236}">
                  <a16:creationId xmlns:a16="http://schemas.microsoft.com/office/drawing/2014/main" xmlns="" id="{1442EE55-3490-4F0A-B5DF-E9DAF57609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3" name="Oval 3167">
              <a:extLst>
                <a:ext uri="{FF2B5EF4-FFF2-40B4-BE49-F238E27FC236}">
                  <a16:creationId xmlns:a16="http://schemas.microsoft.com/office/drawing/2014/main" xmlns="" id="{50D58DDD-B2A1-4CBA-94B8-5E5F662DB9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4" name="Oval 3168">
              <a:extLst>
                <a:ext uri="{FF2B5EF4-FFF2-40B4-BE49-F238E27FC236}">
                  <a16:creationId xmlns:a16="http://schemas.microsoft.com/office/drawing/2014/main" xmlns="" id="{FDAC8D26-DC2C-4E42-A381-D658808977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9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941A42D-75B0-47CC-BB9B-14DCA7FBC5D0}"/>
              </a:ext>
            </a:extLst>
          </p:cNvPr>
          <p:cNvSpPr/>
          <p:nvPr/>
        </p:nvSpPr>
        <p:spPr>
          <a:xfrm>
            <a:off x="0" y="0"/>
            <a:ext cx="3048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CF3393CF-03E8-4CF0-A5FC-11D4DD9F6333}"/>
              </a:ext>
            </a:extLst>
          </p:cNvPr>
          <p:cNvSpPr txBox="1"/>
          <p:nvPr/>
        </p:nvSpPr>
        <p:spPr>
          <a:xfrm>
            <a:off x="386201" y="1395045"/>
            <a:ext cx="3087776" cy="11449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685783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Visibility:</a:t>
            </a:r>
            <a:r>
              <a:rPr kumimoji="0" lang="en-US" sz="2800" u="none" strike="noStrike" kern="1200" cap="none" spc="0" normalizeH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 </a:t>
            </a:r>
            <a:br>
              <a:rPr kumimoji="0" lang="en-US" sz="2800" u="none" strike="noStrike" kern="1200" cap="none" spc="0" normalizeH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</a:br>
            <a:r>
              <a:rPr kumimoji="0" lang="en-US" sz="240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See</a:t>
            </a:r>
            <a:r>
              <a:rPr kumimoji="0" lang="en-US" sz="240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 </a:t>
            </a:r>
            <a:r>
              <a:rPr kumimoji="0" lang="en-US" sz="240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across the</a:t>
            </a:r>
            <a:r>
              <a:rPr kumimoji="0" lang="en-US" sz="240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 </a:t>
            </a:r>
            <a:r>
              <a:rPr kumimoji="0" lang="en-US" sz="240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enterprise network</a:t>
            </a:r>
            <a:endParaRPr kumimoji="0" lang="en-US" sz="24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FCC2024E-4C1C-491C-89B0-E218DD07924A}"/>
              </a:ext>
            </a:extLst>
          </p:cNvPr>
          <p:cNvSpPr txBox="1"/>
          <p:nvPr/>
        </p:nvSpPr>
        <p:spPr>
          <a:xfrm>
            <a:off x="470129" y="437529"/>
            <a:ext cx="485546" cy="2631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685783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0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66B1CDC2-09F5-46B2-8C85-49C88B6107BE}"/>
              </a:ext>
            </a:extLst>
          </p:cNvPr>
          <p:cNvSpPr txBox="1"/>
          <p:nvPr/>
        </p:nvSpPr>
        <p:spPr>
          <a:xfrm>
            <a:off x="1624281" y="437529"/>
            <a:ext cx="485546" cy="2631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685783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03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973EDB0B-5B05-4D71-ABD7-10D5C483FEC6}"/>
              </a:ext>
            </a:extLst>
          </p:cNvPr>
          <p:cNvSpPr txBox="1"/>
          <p:nvPr/>
        </p:nvSpPr>
        <p:spPr>
          <a:xfrm>
            <a:off x="1047205" y="437529"/>
            <a:ext cx="485546" cy="2631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685783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02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87E70065-45E0-4FA6-AA09-27E3B9D1C080}"/>
              </a:ext>
            </a:extLst>
          </p:cNvPr>
          <p:cNvGrpSpPr/>
          <p:nvPr/>
        </p:nvGrpSpPr>
        <p:grpSpPr>
          <a:xfrm>
            <a:off x="1064458" y="710972"/>
            <a:ext cx="457390" cy="457390"/>
            <a:chOff x="1176043" y="485585"/>
            <a:chExt cx="457390" cy="457390"/>
          </a:xfrm>
        </p:grpSpPr>
        <p:sp>
          <p:nvSpPr>
            <p:cNvPr id="145" name="Oval 144">
              <a:extLst>
                <a:ext uri="{FF2B5EF4-FFF2-40B4-BE49-F238E27FC236}">
                  <a16:creationId xmlns:a16="http://schemas.microsoft.com/office/drawing/2014/main" xmlns="" id="{0E7507E6-D844-4F56-92A0-3B2CEB3CBC0D}"/>
                </a:ext>
              </a:extLst>
            </p:cNvPr>
            <p:cNvSpPr/>
            <p:nvPr/>
          </p:nvSpPr>
          <p:spPr>
            <a:xfrm>
              <a:off x="1176043" y="485585"/>
              <a:ext cx="457390" cy="45739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1230721" y="544915"/>
              <a:ext cx="349271" cy="349271"/>
              <a:chOff x="2581275" y="2152858"/>
              <a:chExt cx="933450" cy="933450"/>
            </a:xfrm>
          </p:grpSpPr>
          <p:sp>
            <p:nvSpPr>
              <p:cNvPr id="7" name="Freeform 5"/>
              <p:cNvSpPr>
                <a:spLocks/>
              </p:cNvSpPr>
              <p:nvPr/>
            </p:nvSpPr>
            <p:spPr bwMode="auto">
              <a:xfrm>
                <a:off x="2581275" y="2152858"/>
                <a:ext cx="933450" cy="933450"/>
              </a:xfrm>
              <a:custGeom>
                <a:avLst/>
                <a:gdLst>
                  <a:gd name="T0" fmla="*/ 1039 w 1264"/>
                  <a:gd name="T1" fmla="*/ 1039 h 1264"/>
                  <a:gd name="T2" fmla="*/ 225 w 1264"/>
                  <a:gd name="T3" fmla="*/ 1039 h 1264"/>
                  <a:gd name="T4" fmla="*/ 225 w 1264"/>
                  <a:gd name="T5" fmla="*/ 225 h 1264"/>
                  <a:gd name="T6" fmla="*/ 1039 w 1264"/>
                  <a:gd name="T7" fmla="*/ 225 h 1264"/>
                  <a:gd name="T8" fmla="*/ 1039 w 1264"/>
                  <a:gd name="T9" fmla="*/ 1039 h 1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4" h="1264">
                    <a:moveTo>
                      <a:pt x="1039" y="1039"/>
                    </a:moveTo>
                    <a:cubicBezTo>
                      <a:pt x="814" y="1264"/>
                      <a:pt x="450" y="1264"/>
                      <a:pt x="225" y="1039"/>
                    </a:cubicBezTo>
                    <a:cubicBezTo>
                      <a:pt x="0" y="814"/>
                      <a:pt x="0" y="450"/>
                      <a:pt x="225" y="225"/>
                    </a:cubicBezTo>
                    <a:cubicBezTo>
                      <a:pt x="450" y="0"/>
                      <a:pt x="814" y="0"/>
                      <a:pt x="1039" y="225"/>
                    </a:cubicBezTo>
                    <a:cubicBezTo>
                      <a:pt x="1264" y="450"/>
                      <a:pt x="1264" y="814"/>
                      <a:pt x="1039" y="1039"/>
                    </a:cubicBezTo>
                    <a:close/>
                  </a:path>
                </a:pathLst>
              </a:cu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grpSp>
            <p:nvGrpSpPr>
              <p:cNvPr id="26" name="Group 25"/>
              <p:cNvGrpSpPr/>
              <p:nvPr/>
            </p:nvGrpSpPr>
            <p:grpSpPr>
              <a:xfrm>
                <a:off x="2728913" y="2324308"/>
                <a:ext cx="638175" cy="590551"/>
                <a:chOff x="2728913" y="2324100"/>
                <a:chExt cx="638175" cy="590551"/>
              </a:xfrm>
              <a:solidFill>
                <a:schemeClr val="accent1">
                  <a:lumMod val="75000"/>
                  <a:alpha val="40000"/>
                </a:schemeClr>
              </a:solidFill>
            </p:grpSpPr>
            <p:sp>
              <p:nvSpPr>
                <p:cNvPr id="8" name="Freeform 6"/>
                <p:cNvSpPr>
                  <a:spLocks noEditPoints="1"/>
                </p:cNvSpPr>
                <p:nvPr/>
              </p:nvSpPr>
              <p:spPr bwMode="auto">
                <a:xfrm>
                  <a:off x="2728913" y="2324100"/>
                  <a:ext cx="638175" cy="333375"/>
                </a:xfrm>
                <a:custGeom>
                  <a:avLst/>
                  <a:gdLst>
                    <a:gd name="T0" fmla="*/ 237 w 864"/>
                    <a:gd name="T1" fmla="*/ 452 h 452"/>
                    <a:gd name="T2" fmla="*/ 628 w 864"/>
                    <a:gd name="T3" fmla="*/ 452 h 452"/>
                    <a:gd name="T4" fmla="*/ 835 w 864"/>
                    <a:gd name="T5" fmla="*/ 452 h 452"/>
                    <a:gd name="T6" fmla="*/ 864 w 864"/>
                    <a:gd name="T7" fmla="*/ 412 h 452"/>
                    <a:gd name="T8" fmla="*/ 788 w 864"/>
                    <a:gd name="T9" fmla="*/ 188 h 452"/>
                    <a:gd name="T10" fmla="*/ 749 w 864"/>
                    <a:gd name="T11" fmla="*/ 139 h 452"/>
                    <a:gd name="T12" fmla="*/ 721 w 864"/>
                    <a:gd name="T13" fmla="*/ 111 h 452"/>
                    <a:gd name="T14" fmla="*/ 701 w 864"/>
                    <a:gd name="T15" fmla="*/ 94 h 452"/>
                    <a:gd name="T16" fmla="*/ 680 w 864"/>
                    <a:gd name="T17" fmla="*/ 79 h 452"/>
                    <a:gd name="T18" fmla="*/ 660 w 864"/>
                    <a:gd name="T19" fmla="*/ 65 h 452"/>
                    <a:gd name="T20" fmla="*/ 636 w 864"/>
                    <a:gd name="T21" fmla="*/ 51 h 452"/>
                    <a:gd name="T22" fmla="*/ 615 w 864"/>
                    <a:gd name="T23" fmla="*/ 41 h 452"/>
                    <a:gd name="T24" fmla="*/ 601 w 864"/>
                    <a:gd name="T25" fmla="*/ 35 h 452"/>
                    <a:gd name="T26" fmla="*/ 578 w 864"/>
                    <a:gd name="T27" fmla="*/ 26 h 452"/>
                    <a:gd name="T28" fmla="*/ 563 w 864"/>
                    <a:gd name="T29" fmla="*/ 21 h 452"/>
                    <a:gd name="T30" fmla="*/ 540 w 864"/>
                    <a:gd name="T31" fmla="*/ 14 h 452"/>
                    <a:gd name="T32" fmla="*/ 524 w 864"/>
                    <a:gd name="T33" fmla="*/ 10 h 452"/>
                    <a:gd name="T34" fmla="*/ 503 w 864"/>
                    <a:gd name="T35" fmla="*/ 6 h 452"/>
                    <a:gd name="T36" fmla="*/ 486 w 864"/>
                    <a:gd name="T37" fmla="*/ 4 h 452"/>
                    <a:gd name="T38" fmla="*/ 462 w 864"/>
                    <a:gd name="T39" fmla="*/ 1 h 452"/>
                    <a:gd name="T40" fmla="*/ 452 w 864"/>
                    <a:gd name="T41" fmla="*/ 0 h 452"/>
                    <a:gd name="T42" fmla="*/ 407 w 864"/>
                    <a:gd name="T43" fmla="*/ 1 h 452"/>
                    <a:gd name="T44" fmla="*/ 390 w 864"/>
                    <a:gd name="T45" fmla="*/ 2 h 452"/>
                    <a:gd name="T46" fmla="*/ 365 w 864"/>
                    <a:gd name="T47" fmla="*/ 5 h 452"/>
                    <a:gd name="T48" fmla="*/ 349 w 864"/>
                    <a:gd name="T49" fmla="*/ 8 h 452"/>
                    <a:gd name="T50" fmla="*/ 327 w 864"/>
                    <a:gd name="T51" fmla="*/ 13 h 452"/>
                    <a:gd name="T52" fmla="*/ 311 w 864"/>
                    <a:gd name="T53" fmla="*/ 18 h 452"/>
                    <a:gd name="T54" fmla="*/ 289 w 864"/>
                    <a:gd name="T55" fmla="*/ 25 h 452"/>
                    <a:gd name="T56" fmla="*/ 275 w 864"/>
                    <a:gd name="T57" fmla="*/ 30 h 452"/>
                    <a:gd name="T58" fmla="*/ 252 w 864"/>
                    <a:gd name="T59" fmla="*/ 40 h 452"/>
                    <a:gd name="T60" fmla="*/ 238 w 864"/>
                    <a:gd name="T61" fmla="*/ 46 h 452"/>
                    <a:gd name="T62" fmla="*/ 206 w 864"/>
                    <a:gd name="T63" fmla="*/ 64 h 452"/>
                    <a:gd name="T64" fmla="*/ 194 w 864"/>
                    <a:gd name="T65" fmla="*/ 72 h 452"/>
                    <a:gd name="T66" fmla="*/ 164 w 864"/>
                    <a:gd name="T67" fmla="*/ 94 h 452"/>
                    <a:gd name="T68" fmla="*/ 153 w 864"/>
                    <a:gd name="T69" fmla="*/ 103 h 452"/>
                    <a:gd name="T70" fmla="*/ 117 w 864"/>
                    <a:gd name="T71" fmla="*/ 138 h 452"/>
                    <a:gd name="T72" fmla="*/ 83 w 864"/>
                    <a:gd name="T73" fmla="*/ 178 h 452"/>
                    <a:gd name="T74" fmla="*/ 76 w 864"/>
                    <a:gd name="T75" fmla="*/ 188 h 452"/>
                    <a:gd name="T76" fmla="*/ 0 w 864"/>
                    <a:gd name="T77" fmla="*/ 423 h 452"/>
                    <a:gd name="T78" fmla="*/ 757 w 864"/>
                    <a:gd name="T79" fmla="*/ 214 h 452"/>
                    <a:gd name="T80" fmla="*/ 648 w 864"/>
                    <a:gd name="T81" fmla="*/ 258 h 452"/>
                    <a:gd name="T82" fmla="*/ 580 w 864"/>
                    <a:gd name="T83" fmla="*/ 69 h 452"/>
                    <a:gd name="T84" fmla="*/ 597 w 864"/>
                    <a:gd name="T85" fmla="*/ 77 h 452"/>
                    <a:gd name="T86" fmla="*/ 610 w 864"/>
                    <a:gd name="T87" fmla="*/ 83 h 452"/>
                    <a:gd name="T88" fmla="*/ 638 w 864"/>
                    <a:gd name="T89" fmla="*/ 220 h 452"/>
                    <a:gd name="T90" fmla="*/ 452 w 864"/>
                    <a:gd name="T91" fmla="*/ 43 h 452"/>
                    <a:gd name="T92" fmla="*/ 452 w 864"/>
                    <a:gd name="T93" fmla="*/ 244 h 452"/>
                    <a:gd name="T94" fmla="*/ 609 w 864"/>
                    <a:gd name="T95" fmla="*/ 267 h 452"/>
                    <a:gd name="T96" fmla="*/ 452 w 864"/>
                    <a:gd name="T97" fmla="*/ 284 h 452"/>
                    <a:gd name="T98" fmla="*/ 255 w 864"/>
                    <a:gd name="T99" fmla="*/ 267 h 452"/>
                    <a:gd name="T100" fmla="*/ 412 w 864"/>
                    <a:gd name="T101" fmla="*/ 43 h 452"/>
                    <a:gd name="T102" fmla="*/ 300 w 864"/>
                    <a:gd name="T103" fmla="*/ 146 h 452"/>
                    <a:gd name="T104" fmla="*/ 254 w 864"/>
                    <a:gd name="T105" fmla="*/ 83 h 452"/>
                    <a:gd name="T106" fmla="*/ 268 w 864"/>
                    <a:gd name="T107" fmla="*/ 77 h 452"/>
                    <a:gd name="T108" fmla="*/ 285 w 864"/>
                    <a:gd name="T109" fmla="*/ 69 h 452"/>
                    <a:gd name="T110" fmla="*/ 227 w 864"/>
                    <a:gd name="T111" fmla="*/ 220 h 452"/>
                    <a:gd name="T112" fmla="*/ 107 w 864"/>
                    <a:gd name="T113" fmla="*/ 214 h 452"/>
                    <a:gd name="T114" fmla="*/ 41 w 864"/>
                    <a:gd name="T115" fmla="*/ 412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64" h="452">
                      <a:moveTo>
                        <a:pt x="41" y="452"/>
                      </a:moveTo>
                      <a:cubicBezTo>
                        <a:pt x="197" y="452"/>
                        <a:pt x="197" y="452"/>
                        <a:pt x="197" y="452"/>
                      </a:cubicBezTo>
                      <a:cubicBezTo>
                        <a:pt x="237" y="452"/>
                        <a:pt x="237" y="452"/>
                        <a:pt x="237" y="452"/>
                      </a:cubicBezTo>
                      <a:cubicBezTo>
                        <a:pt x="412" y="452"/>
                        <a:pt x="412" y="452"/>
                        <a:pt x="412" y="452"/>
                      </a:cubicBezTo>
                      <a:cubicBezTo>
                        <a:pt x="452" y="452"/>
                        <a:pt x="452" y="452"/>
                        <a:pt x="452" y="452"/>
                      </a:cubicBezTo>
                      <a:cubicBezTo>
                        <a:pt x="628" y="452"/>
                        <a:pt x="628" y="452"/>
                        <a:pt x="628" y="452"/>
                      </a:cubicBezTo>
                      <a:cubicBezTo>
                        <a:pt x="668" y="452"/>
                        <a:pt x="668" y="452"/>
                        <a:pt x="668" y="452"/>
                      </a:cubicBezTo>
                      <a:cubicBezTo>
                        <a:pt x="823" y="452"/>
                        <a:pt x="823" y="452"/>
                        <a:pt x="823" y="452"/>
                      </a:cubicBezTo>
                      <a:cubicBezTo>
                        <a:pt x="835" y="452"/>
                        <a:pt x="835" y="452"/>
                        <a:pt x="835" y="452"/>
                      </a:cubicBezTo>
                      <a:cubicBezTo>
                        <a:pt x="851" y="452"/>
                        <a:pt x="864" y="439"/>
                        <a:pt x="864" y="423"/>
                      </a:cubicBezTo>
                      <a:cubicBezTo>
                        <a:pt x="864" y="412"/>
                        <a:pt x="864" y="412"/>
                        <a:pt x="864" y="412"/>
                      </a:cubicBezTo>
                      <a:cubicBezTo>
                        <a:pt x="864" y="412"/>
                        <a:pt x="864" y="412"/>
                        <a:pt x="864" y="412"/>
                      </a:cubicBezTo>
                      <a:cubicBezTo>
                        <a:pt x="860" y="329"/>
                        <a:pt x="833" y="252"/>
                        <a:pt x="788" y="188"/>
                      </a:cubicBezTo>
                      <a:cubicBezTo>
                        <a:pt x="788" y="188"/>
                        <a:pt x="788" y="188"/>
                        <a:pt x="788" y="188"/>
                      </a:cubicBezTo>
                      <a:cubicBezTo>
                        <a:pt x="788" y="188"/>
                        <a:pt x="788" y="188"/>
                        <a:pt x="788" y="188"/>
                      </a:cubicBezTo>
                      <a:cubicBezTo>
                        <a:pt x="786" y="184"/>
                        <a:pt x="783" y="181"/>
                        <a:pt x="781" y="178"/>
                      </a:cubicBezTo>
                      <a:cubicBezTo>
                        <a:pt x="778" y="173"/>
                        <a:pt x="778" y="173"/>
                        <a:pt x="778" y="173"/>
                      </a:cubicBezTo>
                      <a:cubicBezTo>
                        <a:pt x="769" y="161"/>
                        <a:pt x="759" y="150"/>
                        <a:pt x="749" y="139"/>
                      </a:cubicBezTo>
                      <a:cubicBezTo>
                        <a:pt x="749" y="138"/>
                        <a:pt x="748" y="138"/>
                        <a:pt x="748" y="138"/>
                      </a:cubicBezTo>
                      <a:cubicBezTo>
                        <a:pt x="739" y="128"/>
                        <a:pt x="730" y="119"/>
                        <a:pt x="721" y="111"/>
                      </a:cubicBezTo>
                      <a:cubicBezTo>
                        <a:pt x="721" y="111"/>
                        <a:pt x="721" y="111"/>
                        <a:pt x="721" y="111"/>
                      </a:cubicBezTo>
                      <a:cubicBezTo>
                        <a:pt x="718" y="108"/>
                        <a:pt x="715" y="105"/>
                        <a:pt x="711" y="103"/>
                      </a:cubicBezTo>
                      <a:cubicBezTo>
                        <a:pt x="711" y="102"/>
                        <a:pt x="711" y="102"/>
                        <a:pt x="710" y="102"/>
                      </a:cubicBezTo>
                      <a:cubicBezTo>
                        <a:pt x="707" y="99"/>
                        <a:pt x="704" y="97"/>
                        <a:pt x="701" y="94"/>
                      </a:cubicBezTo>
                      <a:cubicBezTo>
                        <a:pt x="701" y="94"/>
                        <a:pt x="701" y="94"/>
                        <a:pt x="701" y="94"/>
                      </a:cubicBezTo>
                      <a:cubicBezTo>
                        <a:pt x="694" y="89"/>
                        <a:pt x="687" y="84"/>
                        <a:pt x="681" y="79"/>
                      </a:cubicBezTo>
                      <a:cubicBezTo>
                        <a:pt x="680" y="79"/>
                        <a:pt x="680" y="79"/>
                        <a:pt x="680" y="79"/>
                      </a:cubicBezTo>
                      <a:cubicBezTo>
                        <a:pt x="677" y="76"/>
                        <a:pt x="674" y="74"/>
                        <a:pt x="671" y="72"/>
                      </a:cubicBezTo>
                      <a:cubicBezTo>
                        <a:pt x="669" y="71"/>
                        <a:pt x="668" y="71"/>
                        <a:pt x="667" y="70"/>
                      </a:cubicBezTo>
                      <a:cubicBezTo>
                        <a:pt x="665" y="68"/>
                        <a:pt x="663" y="67"/>
                        <a:pt x="660" y="65"/>
                      </a:cubicBezTo>
                      <a:cubicBezTo>
                        <a:pt x="659" y="65"/>
                        <a:pt x="659" y="65"/>
                        <a:pt x="658" y="64"/>
                      </a:cubicBezTo>
                      <a:cubicBezTo>
                        <a:pt x="651" y="60"/>
                        <a:pt x="644" y="56"/>
                        <a:pt x="637" y="52"/>
                      </a:cubicBezTo>
                      <a:cubicBezTo>
                        <a:pt x="636" y="52"/>
                        <a:pt x="636" y="51"/>
                        <a:pt x="636" y="51"/>
                      </a:cubicBezTo>
                      <a:cubicBezTo>
                        <a:pt x="633" y="50"/>
                        <a:pt x="629" y="48"/>
                        <a:pt x="626" y="46"/>
                      </a:cubicBezTo>
                      <a:cubicBezTo>
                        <a:pt x="625" y="46"/>
                        <a:pt x="624" y="45"/>
                        <a:pt x="624" y="45"/>
                      </a:cubicBezTo>
                      <a:cubicBezTo>
                        <a:pt x="621" y="44"/>
                        <a:pt x="618" y="42"/>
                        <a:pt x="615" y="41"/>
                      </a:cubicBezTo>
                      <a:cubicBezTo>
                        <a:pt x="614" y="40"/>
                        <a:pt x="613" y="40"/>
                        <a:pt x="612" y="40"/>
                      </a:cubicBezTo>
                      <a:cubicBezTo>
                        <a:pt x="609" y="38"/>
                        <a:pt x="606" y="36"/>
                        <a:pt x="602" y="35"/>
                      </a:cubicBezTo>
                      <a:cubicBezTo>
                        <a:pt x="602" y="35"/>
                        <a:pt x="602" y="35"/>
                        <a:pt x="601" y="35"/>
                      </a:cubicBezTo>
                      <a:cubicBezTo>
                        <a:pt x="597" y="33"/>
                        <a:pt x="594" y="31"/>
                        <a:pt x="590" y="30"/>
                      </a:cubicBezTo>
                      <a:cubicBezTo>
                        <a:pt x="589" y="30"/>
                        <a:pt x="589" y="30"/>
                        <a:pt x="588" y="29"/>
                      </a:cubicBezTo>
                      <a:cubicBezTo>
                        <a:pt x="585" y="28"/>
                        <a:pt x="582" y="27"/>
                        <a:pt x="578" y="26"/>
                      </a:cubicBezTo>
                      <a:cubicBezTo>
                        <a:pt x="577" y="25"/>
                        <a:pt x="576" y="25"/>
                        <a:pt x="575" y="25"/>
                      </a:cubicBezTo>
                      <a:cubicBezTo>
                        <a:pt x="572" y="24"/>
                        <a:pt x="569" y="23"/>
                        <a:pt x="567" y="22"/>
                      </a:cubicBezTo>
                      <a:cubicBezTo>
                        <a:pt x="565" y="21"/>
                        <a:pt x="564" y="21"/>
                        <a:pt x="563" y="21"/>
                      </a:cubicBezTo>
                      <a:cubicBezTo>
                        <a:pt x="560" y="20"/>
                        <a:pt x="557" y="19"/>
                        <a:pt x="554" y="18"/>
                      </a:cubicBezTo>
                      <a:cubicBezTo>
                        <a:pt x="553" y="17"/>
                        <a:pt x="552" y="17"/>
                        <a:pt x="552" y="17"/>
                      </a:cubicBezTo>
                      <a:cubicBezTo>
                        <a:pt x="548" y="16"/>
                        <a:pt x="544" y="15"/>
                        <a:pt x="540" y="14"/>
                      </a:cubicBezTo>
                      <a:cubicBezTo>
                        <a:pt x="539" y="14"/>
                        <a:pt x="538" y="13"/>
                        <a:pt x="538" y="13"/>
                      </a:cubicBezTo>
                      <a:cubicBezTo>
                        <a:pt x="535" y="12"/>
                        <a:pt x="531" y="12"/>
                        <a:pt x="528" y="11"/>
                      </a:cubicBezTo>
                      <a:cubicBezTo>
                        <a:pt x="526" y="11"/>
                        <a:pt x="525" y="10"/>
                        <a:pt x="524" y="10"/>
                      </a:cubicBezTo>
                      <a:cubicBezTo>
                        <a:pt x="521" y="9"/>
                        <a:pt x="518" y="9"/>
                        <a:pt x="516" y="8"/>
                      </a:cubicBezTo>
                      <a:cubicBezTo>
                        <a:pt x="514" y="8"/>
                        <a:pt x="513" y="8"/>
                        <a:pt x="511" y="8"/>
                      </a:cubicBezTo>
                      <a:cubicBezTo>
                        <a:pt x="509" y="7"/>
                        <a:pt x="506" y="7"/>
                        <a:pt x="503" y="6"/>
                      </a:cubicBezTo>
                      <a:cubicBezTo>
                        <a:pt x="502" y="6"/>
                        <a:pt x="500" y="6"/>
                        <a:pt x="499" y="5"/>
                      </a:cubicBezTo>
                      <a:cubicBezTo>
                        <a:pt x="495" y="5"/>
                        <a:pt x="491" y="4"/>
                        <a:pt x="487" y="4"/>
                      </a:cubicBezTo>
                      <a:cubicBezTo>
                        <a:pt x="487" y="4"/>
                        <a:pt x="486" y="4"/>
                        <a:pt x="486" y="4"/>
                      </a:cubicBezTo>
                      <a:cubicBezTo>
                        <a:pt x="482" y="3"/>
                        <a:pt x="478" y="3"/>
                        <a:pt x="475" y="2"/>
                      </a:cubicBezTo>
                      <a:cubicBezTo>
                        <a:pt x="473" y="2"/>
                        <a:pt x="472" y="2"/>
                        <a:pt x="471" y="2"/>
                      </a:cubicBezTo>
                      <a:cubicBezTo>
                        <a:pt x="468" y="2"/>
                        <a:pt x="465" y="2"/>
                        <a:pt x="462" y="1"/>
                      </a:cubicBezTo>
                      <a:cubicBezTo>
                        <a:pt x="461" y="1"/>
                        <a:pt x="459" y="1"/>
                        <a:pt x="458" y="1"/>
                      </a:cubicBezTo>
                      <a:cubicBezTo>
                        <a:pt x="456" y="1"/>
                        <a:pt x="454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  <a:cubicBezTo>
                        <a:pt x="412" y="0"/>
                        <a:pt x="412" y="0"/>
                        <a:pt x="412" y="0"/>
                      </a:cubicBezTo>
                      <a:cubicBezTo>
                        <a:pt x="412" y="1"/>
                        <a:pt x="412" y="1"/>
                        <a:pt x="412" y="1"/>
                      </a:cubicBezTo>
                      <a:cubicBezTo>
                        <a:pt x="410" y="1"/>
                        <a:pt x="409" y="1"/>
                        <a:pt x="407" y="1"/>
                      </a:cubicBezTo>
                      <a:cubicBezTo>
                        <a:pt x="405" y="1"/>
                        <a:pt x="404" y="1"/>
                        <a:pt x="402" y="1"/>
                      </a:cubicBezTo>
                      <a:cubicBezTo>
                        <a:pt x="400" y="2"/>
                        <a:pt x="397" y="2"/>
                        <a:pt x="394" y="2"/>
                      </a:cubicBezTo>
                      <a:cubicBezTo>
                        <a:pt x="393" y="2"/>
                        <a:pt x="391" y="2"/>
                        <a:pt x="390" y="2"/>
                      </a:cubicBezTo>
                      <a:cubicBezTo>
                        <a:pt x="386" y="3"/>
                        <a:pt x="383" y="3"/>
                        <a:pt x="379" y="4"/>
                      </a:cubicBezTo>
                      <a:cubicBezTo>
                        <a:pt x="378" y="4"/>
                        <a:pt x="378" y="4"/>
                        <a:pt x="378" y="4"/>
                      </a:cubicBezTo>
                      <a:cubicBezTo>
                        <a:pt x="373" y="4"/>
                        <a:pt x="369" y="5"/>
                        <a:pt x="365" y="5"/>
                      </a:cubicBezTo>
                      <a:cubicBezTo>
                        <a:pt x="364" y="6"/>
                        <a:pt x="363" y="6"/>
                        <a:pt x="362" y="6"/>
                      </a:cubicBezTo>
                      <a:cubicBezTo>
                        <a:pt x="359" y="7"/>
                        <a:pt x="356" y="7"/>
                        <a:pt x="353" y="8"/>
                      </a:cubicBezTo>
                      <a:cubicBezTo>
                        <a:pt x="352" y="8"/>
                        <a:pt x="350" y="8"/>
                        <a:pt x="349" y="8"/>
                      </a:cubicBezTo>
                      <a:cubicBezTo>
                        <a:pt x="346" y="9"/>
                        <a:pt x="343" y="9"/>
                        <a:pt x="340" y="10"/>
                      </a:cubicBezTo>
                      <a:cubicBezTo>
                        <a:pt x="339" y="10"/>
                        <a:pt x="338" y="11"/>
                        <a:pt x="337" y="11"/>
                      </a:cubicBezTo>
                      <a:cubicBezTo>
                        <a:pt x="333" y="12"/>
                        <a:pt x="330" y="12"/>
                        <a:pt x="327" y="13"/>
                      </a:cubicBezTo>
                      <a:cubicBezTo>
                        <a:pt x="326" y="13"/>
                        <a:pt x="325" y="14"/>
                        <a:pt x="325" y="14"/>
                      </a:cubicBezTo>
                      <a:cubicBezTo>
                        <a:pt x="321" y="15"/>
                        <a:pt x="317" y="16"/>
                        <a:pt x="313" y="17"/>
                      </a:cubicBezTo>
                      <a:cubicBezTo>
                        <a:pt x="312" y="17"/>
                        <a:pt x="311" y="17"/>
                        <a:pt x="311" y="18"/>
                      </a:cubicBezTo>
                      <a:cubicBezTo>
                        <a:pt x="307" y="19"/>
                        <a:pt x="304" y="20"/>
                        <a:pt x="301" y="21"/>
                      </a:cubicBezTo>
                      <a:cubicBezTo>
                        <a:pt x="300" y="21"/>
                        <a:pt x="299" y="21"/>
                        <a:pt x="298" y="22"/>
                      </a:cubicBezTo>
                      <a:cubicBezTo>
                        <a:pt x="295" y="23"/>
                        <a:pt x="292" y="24"/>
                        <a:pt x="289" y="25"/>
                      </a:cubicBezTo>
                      <a:cubicBezTo>
                        <a:pt x="288" y="25"/>
                        <a:pt x="287" y="25"/>
                        <a:pt x="286" y="26"/>
                      </a:cubicBezTo>
                      <a:cubicBezTo>
                        <a:pt x="283" y="27"/>
                        <a:pt x="280" y="28"/>
                        <a:pt x="276" y="29"/>
                      </a:cubicBezTo>
                      <a:cubicBezTo>
                        <a:pt x="276" y="30"/>
                        <a:pt x="275" y="30"/>
                        <a:pt x="275" y="30"/>
                      </a:cubicBezTo>
                      <a:cubicBezTo>
                        <a:pt x="271" y="31"/>
                        <a:pt x="267" y="33"/>
                        <a:pt x="263" y="35"/>
                      </a:cubicBezTo>
                      <a:cubicBezTo>
                        <a:pt x="263" y="35"/>
                        <a:pt x="263" y="35"/>
                        <a:pt x="262" y="35"/>
                      </a:cubicBezTo>
                      <a:cubicBezTo>
                        <a:pt x="259" y="36"/>
                        <a:pt x="256" y="38"/>
                        <a:pt x="252" y="40"/>
                      </a:cubicBezTo>
                      <a:cubicBezTo>
                        <a:pt x="251" y="40"/>
                        <a:pt x="251" y="40"/>
                        <a:pt x="250" y="41"/>
                      </a:cubicBezTo>
                      <a:cubicBezTo>
                        <a:pt x="247" y="42"/>
                        <a:pt x="243" y="44"/>
                        <a:pt x="240" y="45"/>
                      </a:cubicBezTo>
                      <a:cubicBezTo>
                        <a:pt x="240" y="46"/>
                        <a:pt x="239" y="46"/>
                        <a:pt x="238" y="46"/>
                      </a:cubicBezTo>
                      <a:cubicBezTo>
                        <a:pt x="235" y="48"/>
                        <a:pt x="232" y="50"/>
                        <a:pt x="229" y="51"/>
                      </a:cubicBezTo>
                      <a:cubicBezTo>
                        <a:pt x="228" y="51"/>
                        <a:pt x="228" y="52"/>
                        <a:pt x="228" y="52"/>
                      </a:cubicBezTo>
                      <a:cubicBezTo>
                        <a:pt x="220" y="56"/>
                        <a:pt x="213" y="60"/>
                        <a:pt x="206" y="64"/>
                      </a:cubicBezTo>
                      <a:cubicBezTo>
                        <a:pt x="206" y="65"/>
                        <a:pt x="205" y="65"/>
                        <a:pt x="205" y="65"/>
                      </a:cubicBezTo>
                      <a:cubicBezTo>
                        <a:pt x="202" y="67"/>
                        <a:pt x="200" y="68"/>
                        <a:pt x="197" y="70"/>
                      </a:cubicBezTo>
                      <a:cubicBezTo>
                        <a:pt x="196" y="70"/>
                        <a:pt x="195" y="71"/>
                        <a:pt x="194" y="72"/>
                      </a:cubicBezTo>
                      <a:cubicBezTo>
                        <a:pt x="191" y="74"/>
                        <a:pt x="188" y="76"/>
                        <a:pt x="184" y="79"/>
                      </a:cubicBezTo>
                      <a:cubicBezTo>
                        <a:pt x="184" y="79"/>
                        <a:pt x="184" y="79"/>
                        <a:pt x="184" y="79"/>
                      </a:cubicBezTo>
                      <a:cubicBezTo>
                        <a:pt x="177" y="84"/>
                        <a:pt x="170" y="89"/>
                        <a:pt x="164" y="94"/>
                      </a:cubicBezTo>
                      <a:cubicBezTo>
                        <a:pt x="163" y="94"/>
                        <a:pt x="163" y="94"/>
                        <a:pt x="163" y="94"/>
                      </a:cubicBezTo>
                      <a:cubicBezTo>
                        <a:pt x="160" y="97"/>
                        <a:pt x="157" y="99"/>
                        <a:pt x="154" y="102"/>
                      </a:cubicBezTo>
                      <a:cubicBezTo>
                        <a:pt x="154" y="102"/>
                        <a:pt x="153" y="102"/>
                        <a:pt x="153" y="103"/>
                      </a:cubicBezTo>
                      <a:cubicBezTo>
                        <a:pt x="150" y="105"/>
                        <a:pt x="147" y="108"/>
                        <a:pt x="144" y="111"/>
                      </a:cubicBezTo>
                      <a:cubicBezTo>
                        <a:pt x="144" y="111"/>
                        <a:pt x="144" y="111"/>
                        <a:pt x="144" y="111"/>
                      </a:cubicBezTo>
                      <a:cubicBezTo>
                        <a:pt x="134" y="119"/>
                        <a:pt x="125" y="128"/>
                        <a:pt x="117" y="138"/>
                      </a:cubicBezTo>
                      <a:cubicBezTo>
                        <a:pt x="116" y="138"/>
                        <a:pt x="116" y="138"/>
                        <a:pt x="116" y="139"/>
                      </a:cubicBezTo>
                      <a:cubicBezTo>
                        <a:pt x="104" y="151"/>
                        <a:pt x="94" y="164"/>
                        <a:pt x="84" y="177"/>
                      </a:cubicBezTo>
                      <a:cubicBezTo>
                        <a:pt x="83" y="178"/>
                        <a:pt x="83" y="178"/>
                        <a:pt x="83" y="178"/>
                      </a:cubicBezTo>
                      <a:cubicBezTo>
                        <a:pt x="81" y="181"/>
                        <a:pt x="79" y="184"/>
                        <a:pt x="76" y="188"/>
                      </a:cubicBezTo>
                      <a:cubicBezTo>
                        <a:pt x="76" y="188"/>
                        <a:pt x="76" y="188"/>
                        <a:pt x="76" y="188"/>
                      </a:cubicBezTo>
                      <a:cubicBezTo>
                        <a:pt x="76" y="188"/>
                        <a:pt x="76" y="188"/>
                        <a:pt x="76" y="188"/>
                      </a:cubicBezTo>
                      <a:cubicBezTo>
                        <a:pt x="32" y="252"/>
                        <a:pt x="5" y="329"/>
                        <a:pt x="1" y="412"/>
                      </a:cubicBezTo>
                      <a:cubicBezTo>
                        <a:pt x="0" y="412"/>
                        <a:pt x="0" y="412"/>
                        <a:pt x="0" y="412"/>
                      </a:cubicBezTo>
                      <a:cubicBezTo>
                        <a:pt x="0" y="423"/>
                        <a:pt x="0" y="423"/>
                        <a:pt x="0" y="423"/>
                      </a:cubicBezTo>
                      <a:cubicBezTo>
                        <a:pt x="0" y="439"/>
                        <a:pt x="13" y="452"/>
                        <a:pt x="29" y="452"/>
                      </a:cubicBezTo>
                      <a:lnTo>
                        <a:pt x="41" y="452"/>
                      </a:lnTo>
                      <a:close/>
                      <a:moveTo>
                        <a:pt x="757" y="214"/>
                      </a:moveTo>
                      <a:cubicBezTo>
                        <a:pt x="796" y="271"/>
                        <a:pt x="820" y="339"/>
                        <a:pt x="823" y="412"/>
                      </a:cubicBezTo>
                      <a:cubicBezTo>
                        <a:pt x="668" y="412"/>
                        <a:pt x="668" y="412"/>
                        <a:pt x="668" y="412"/>
                      </a:cubicBezTo>
                      <a:cubicBezTo>
                        <a:pt x="667" y="358"/>
                        <a:pt x="660" y="306"/>
                        <a:pt x="648" y="258"/>
                      </a:cubicBezTo>
                      <a:cubicBezTo>
                        <a:pt x="693" y="247"/>
                        <a:pt x="730" y="231"/>
                        <a:pt x="757" y="214"/>
                      </a:cubicBezTo>
                      <a:close/>
                      <a:moveTo>
                        <a:pt x="579" y="69"/>
                      </a:moveTo>
                      <a:cubicBezTo>
                        <a:pt x="579" y="69"/>
                        <a:pt x="579" y="69"/>
                        <a:pt x="580" y="69"/>
                      </a:cubicBezTo>
                      <a:cubicBezTo>
                        <a:pt x="582" y="70"/>
                        <a:pt x="585" y="71"/>
                        <a:pt x="588" y="73"/>
                      </a:cubicBezTo>
                      <a:cubicBezTo>
                        <a:pt x="589" y="73"/>
                        <a:pt x="589" y="73"/>
                        <a:pt x="590" y="74"/>
                      </a:cubicBezTo>
                      <a:cubicBezTo>
                        <a:pt x="592" y="75"/>
                        <a:pt x="595" y="76"/>
                        <a:pt x="597" y="77"/>
                      </a:cubicBezTo>
                      <a:cubicBezTo>
                        <a:pt x="598" y="77"/>
                        <a:pt x="599" y="78"/>
                        <a:pt x="600" y="78"/>
                      </a:cubicBezTo>
                      <a:cubicBezTo>
                        <a:pt x="602" y="79"/>
                        <a:pt x="603" y="80"/>
                        <a:pt x="605" y="80"/>
                      </a:cubicBezTo>
                      <a:cubicBezTo>
                        <a:pt x="607" y="81"/>
                        <a:pt x="608" y="82"/>
                        <a:pt x="610" y="83"/>
                      </a:cubicBezTo>
                      <a:cubicBezTo>
                        <a:pt x="611" y="83"/>
                        <a:pt x="611" y="84"/>
                        <a:pt x="612" y="84"/>
                      </a:cubicBezTo>
                      <a:cubicBezTo>
                        <a:pt x="658" y="108"/>
                        <a:pt x="700" y="141"/>
                        <a:pt x="733" y="181"/>
                      </a:cubicBezTo>
                      <a:cubicBezTo>
                        <a:pt x="710" y="196"/>
                        <a:pt x="678" y="209"/>
                        <a:pt x="638" y="220"/>
                      </a:cubicBezTo>
                      <a:cubicBezTo>
                        <a:pt x="617" y="153"/>
                        <a:pt x="587" y="97"/>
                        <a:pt x="551" y="59"/>
                      </a:cubicBezTo>
                      <a:cubicBezTo>
                        <a:pt x="560" y="62"/>
                        <a:pt x="570" y="65"/>
                        <a:pt x="579" y="69"/>
                      </a:cubicBezTo>
                      <a:close/>
                      <a:moveTo>
                        <a:pt x="452" y="43"/>
                      </a:moveTo>
                      <a:cubicBezTo>
                        <a:pt x="493" y="52"/>
                        <a:pt x="533" y="88"/>
                        <a:pt x="564" y="146"/>
                      </a:cubicBezTo>
                      <a:cubicBezTo>
                        <a:pt x="578" y="171"/>
                        <a:pt x="589" y="199"/>
                        <a:pt x="599" y="229"/>
                      </a:cubicBezTo>
                      <a:cubicBezTo>
                        <a:pt x="556" y="237"/>
                        <a:pt x="506" y="243"/>
                        <a:pt x="452" y="244"/>
                      </a:cubicBezTo>
                      <a:lnTo>
                        <a:pt x="452" y="43"/>
                      </a:lnTo>
                      <a:close/>
                      <a:moveTo>
                        <a:pt x="452" y="284"/>
                      </a:moveTo>
                      <a:cubicBezTo>
                        <a:pt x="509" y="283"/>
                        <a:pt x="562" y="277"/>
                        <a:pt x="609" y="267"/>
                      </a:cubicBezTo>
                      <a:cubicBezTo>
                        <a:pt x="620" y="312"/>
                        <a:pt x="627" y="361"/>
                        <a:pt x="628" y="412"/>
                      </a:cubicBezTo>
                      <a:cubicBezTo>
                        <a:pt x="452" y="412"/>
                        <a:pt x="452" y="412"/>
                        <a:pt x="452" y="412"/>
                      </a:cubicBezTo>
                      <a:lnTo>
                        <a:pt x="452" y="284"/>
                      </a:lnTo>
                      <a:close/>
                      <a:moveTo>
                        <a:pt x="412" y="412"/>
                      </a:moveTo>
                      <a:cubicBezTo>
                        <a:pt x="237" y="412"/>
                        <a:pt x="237" y="412"/>
                        <a:pt x="237" y="412"/>
                      </a:cubicBezTo>
                      <a:cubicBezTo>
                        <a:pt x="238" y="361"/>
                        <a:pt x="244" y="312"/>
                        <a:pt x="255" y="267"/>
                      </a:cubicBezTo>
                      <a:cubicBezTo>
                        <a:pt x="302" y="277"/>
                        <a:pt x="356" y="283"/>
                        <a:pt x="412" y="284"/>
                      </a:cubicBezTo>
                      <a:lnTo>
                        <a:pt x="412" y="412"/>
                      </a:lnTo>
                      <a:close/>
                      <a:moveTo>
                        <a:pt x="412" y="43"/>
                      </a:moveTo>
                      <a:cubicBezTo>
                        <a:pt x="412" y="244"/>
                        <a:pt x="412" y="244"/>
                        <a:pt x="412" y="244"/>
                      </a:cubicBezTo>
                      <a:cubicBezTo>
                        <a:pt x="358" y="243"/>
                        <a:pt x="309" y="237"/>
                        <a:pt x="266" y="229"/>
                      </a:cubicBezTo>
                      <a:cubicBezTo>
                        <a:pt x="275" y="199"/>
                        <a:pt x="287" y="171"/>
                        <a:pt x="300" y="146"/>
                      </a:cubicBezTo>
                      <a:cubicBezTo>
                        <a:pt x="332" y="88"/>
                        <a:pt x="372" y="52"/>
                        <a:pt x="412" y="43"/>
                      </a:cubicBezTo>
                      <a:close/>
                      <a:moveTo>
                        <a:pt x="253" y="84"/>
                      </a:moveTo>
                      <a:cubicBezTo>
                        <a:pt x="253" y="84"/>
                        <a:pt x="254" y="83"/>
                        <a:pt x="254" y="83"/>
                      </a:cubicBezTo>
                      <a:cubicBezTo>
                        <a:pt x="256" y="82"/>
                        <a:pt x="258" y="81"/>
                        <a:pt x="260" y="80"/>
                      </a:cubicBezTo>
                      <a:cubicBezTo>
                        <a:pt x="261" y="80"/>
                        <a:pt x="263" y="79"/>
                        <a:pt x="264" y="78"/>
                      </a:cubicBezTo>
                      <a:cubicBezTo>
                        <a:pt x="265" y="78"/>
                        <a:pt x="267" y="77"/>
                        <a:pt x="268" y="77"/>
                      </a:cubicBezTo>
                      <a:cubicBezTo>
                        <a:pt x="270" y="76"/>
                        <a:pt x="272" y="75"/>
                        <a:pt x="274" y="74"/>
                      </a:cubicBezTo>
                      <a:cubicBezTo>
                        <a:pt x="275" y="73"/>
                        <a:pt x="276" y="73"/>
                        <a:pt x="276" y="73"/>
                      </a:cubicBezTo>
                      <a:cubicBezTo>
                        <a:pt x="279" y="71"/>
                        <a:pt x="282" y="70"/>
                        <a:pt x="285" y="69"/>
                      </a:cubicBezTo>
                      <a:cubicBezTo>
                        <a:pt x="285" y="69"/>
                        <a:pt x="285" y="69"/>
                        <a:pt x="285" y="69"/>
                      </a:cubicBezTo>
                      <a:cubicBezTo>
                        <a:pt x="295" y="65"/>
                        <a:pt x="304" y="62"/>
                        <a:pt x="314" y="59"/>
                      </a:cubicBezTo>
                      <a:cubicBezTo>
                        <a:pt x="277" y="97"/>
                        <a:pt x="247" y="153"/>
                        <a:pt x="227" y="220"/>
                      </a:cubicBezTo>
                      <a:cubicBezTo>
                        <a:pt x="187" y="209"/>
                        <a:pt x="154" y="196"/>
                        <a:pt x="131" y="181"/>
                      </a:cubicBezTo>
                      <a:cubicBezTo>
                        <a:pt x="165" y="141"/>
                        <a:pt x="206" y="108"/>
                        <a:pt x="253" y="84"/>
                      </a:cubicBezTo>
                      <a:close/>
                      <a:moveTo>
                        <a:pt x="107" y="214"/>
                      </a:moveTo>
                      <a:cubicBezTo>
                        <a:pt x="135" y="231"/>
                        <a:pt x="172" y="247"/>
                        <a:pt x="216" y="258"/>
                      </a:cubicBezTo>
                      <a:cubicBezTo>
                        <a:pt x="205" y="306"/>
                        <a:pt x="198" y="358"/>
                        <a:pt x="197" y="412"/>
                      </a:cubicBezTo>
                      <a:cubicBezTo>
                        <a:pt x="41" y="412"/>
                        <a:pt x="41" y="412"/>
                        <a:pt x="41" y="412"/>
                      </a:cubicBezTo>
                      <a:cubicBezTo>
                        <a:pt x="45" y="339"/>
                        <a:pt x="69" y="271"/>
                        <a:pt x="107" y="2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" name="Freeform 7"/>
                <p:cNvSpPr>
                  <a:spLocks/>
                </p:cNvSpPr>
                <p:nvPr/>
              </p:nvSpPr>
              <p:spPr bwMode="auto">
                <a:xfrm>
                  <a:off x="2738438" y="2674938"/>
                  <a:ext cx="77788" cy="77788"/>
                </a:xfrm>
                <a:custGeom>
                  <a:avLst/>
                  <a:gdLst>
                    <a:gd name="T0" fmla="*/ 76 w 105"/>
                    <a:gd name="T1" fmla="*/ 105 h 105"/>
                    <a:gd name="T2" fmla="*/ 29 w 105"/>
                    <a:gd name="T3" fmla="*/ 105 h 105"/>
                    <a:gd name="T4" fmla="*/ 0 w 105"/>
                    <a:gd name="T5" fmla="*/ 76 h 105"/>
                    <a:gd name="T6" fmla="*/ 0 w 105"/>
                    <a:gd name="T7" fmla="*/ 29 h 105"/>
                    <a:gd name="T8" fmla="*/ 29 w 105"/>
                    <a:gd name="T9" fmla="*/ 0 h 105"/>
                    <a:gd name="T10" fmla="*/ 76 w 105"/>
                    <a:gd name="T11" fmla="*/ 0 h 105"/>
                    <a:gd name="T12" fmla="*/ 105 w 105"/>
                    <a:gd name="T13" fmla="*/ 29 h 105"/>
                    <a:gd name="T14" fmla="*/ 105 w 105"/>
                    <a:gd name="T15" fmla="*/ 76 h 105"/>
                    <a:gd name="T16" fmla="*/ 76 w 105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5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5" y="13"/>
                        <a:pt x="105" y="29"/>
                      </a:cubicBezTo>
                      <a:cubicBezTo>
                        <a:pt x="105" y="76"/>
                        <a:pt x="105" y="76"/>
                        <a:pt x="105" y="76"/>
                      </a:cubicBezTo>
                      <a:cubicBezTo>
                        <a:pt x="105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" name="Freeform 8"/>
                <p:cNvSpPr>
                  <a:spLocks/>
                </p:cNvSpPr>
                <p:nvPr/>
              </p:nvSpPr>
              <p:spPr bwMode="auto">
                <a:xfrm>
                  <a:off x="284638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8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8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8" y="105"/>
                        <a:pt x="28" y="105"/>
                        <a:pt x="28" y="105"/>
                      </a:cubicBezTo>
                      <a:cubicBezTo>
                        <a:pt x="12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" name="Freeform 9"/>
                <p:cNvSpPr>
                  <a:spLocks/>
                </p:cNvSpPr>
                <p:nvPr/>
              </p:nvSpPr>
              <p:spPr bwMode="auto">
                <a:xfrm>
                  <a:off x="295433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3" name="Freeform 10"/>
                <p:cNvSpPr>
                  <a:spLocks/>
                </p:cNvSpPr>
                <p:nvPr/>
              </p:nvSpPr>
              <p:spPr bwMode="auto">
                <a:xfrm>
                  <a:off x="306228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4" name="Freeform 11"/>
                <p:cNvSpPr>
                  <a:spLocks/>
                </p:cNvSpPr>
                <p:nvPr/>
              </p:nvSpPr>
              <p:spPr bwMode="auto">
                <a:xfrm>
                  <a:off x="3170238" y="2674938"/>
                  <a:ext cx="77788" cy="77788"/>
                </a:xfrm>
                <a:custGeom>
                  <a:avLst/>
                  <a:gdLst>
                    <a:gd name="T0" fmla="*/ 76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6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6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5" name="Freeform 12"/>
                <p:cNvSpPr>
                  <a:spLocks/>
                </p:cNvSpPr>
                <p:nvPr/>
              </p:nvSpPr>
              <p:spPr bwMode="auto">
                <a:xfrm>
                  <a:off x="3278188" y="2674938"/>
                  <a:ext cx="77788" cy="77788"/>
                </a:xfrm>
                <a:custGeom>
                  <a:avLst/>
                  <a:gdLst>
                    <a:gd name="T0" fmla="*/ 76 w 105"/>
                    <a:gd name="T1" fmla="*/ 105 h 105"/>
                    <a:gd name="T2" fmla="*/ 29 w 105"/>
                    <a:gd name="T3" fmla="*/ 105 h 105"/>
                    <a:gd name="T4" fmla="*/ 0 w 105"/>
                    <a:gd name="T5" fmla="*/ 76 h 105"/>
                    <a:gd name="T6" fmla="*/ 0 w 105"/>
                    <a:gd name="T7" fmla="*/ 29 h 105"/>
                    <a:gd name="T8" fmla="*/ 29 w 105"/>
                    <a:gd name="T9" fmla="*/ 0 h 105"/>
                    <a:gd name="T10" fmla="*/ 76 w 105"/>
                    <a:gd name="T11" fmla="*/ 0 h 105"/>
                    <a:gd name="T12" fmla="*/ 105 w 105"/>
                    <a:gd name="T13" fmla="*/ 29 h 105"/>
                    <a:gd name="T14" fmla="*/ 105 w 105"/>
                    <a:gd name="T15" fmla="*/ 76 h 105"/>
                    <a:gd name="T16" fmla="*/ 76 w 105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5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5" y="13"/>
                        <a:pt x="105" y="29"/>
                      </a:cubicBezTo>
                      <a:cubicBezTo>
                        <a:pt x="105" y="76"/>
                        <a:pt x="105" y="76"/>
                        <a:pt x="105" y="76"/>
                      </a:cubicBezTo>
                      <a:cubicBezTo>
                        <a:pt x="105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6" name="Freeform 13"/>
                <p:cNvSpPr>
                  <a:spLocks/>
                </p:cNvSpPr>
                <p:nvPr/>
              </p:nvSpPr>
              <p:spPr bwMode="auto">
                <a:xfrm>
                  <a:off x="2789238" y="2776538"/>
                  <a:ext cx="65088" cy="65088"/>
                </a:xfrm>
                <a:custGeom>
                  <a:avLst/>
                  <a:gdLst>
                    <a:gd name="T0" fmla="*/ 58 w 87"/>
                    <a:gd name="T1" fmla="*/ 87 h 87"/>
                    <a:gd name="T2" fmla="*/ 28 w 87"/>
                    <a:gd name="T3" fmla="*/ 87 h 87"/>
                    <a:gd name="T4" fmla="*/ 0 w 87"/>
                    <a:gd name="T5" fmla="*/ 58 h 87"/>
                    <a:gd name="T6" fmla="*/ 0 w 87"/>
                    <a:gd name="T7" fmla="*/ 29 h 87"/>
                    <a:gd name="T8" fmla="*/ 28 w 87"/>
                    <a:gd name="T9" fmla="*/ 0 h 87"/>
                    <a:gd name="T10" fmla="*/ 58 w 87"/>
                    <a:gd name="T11" fmla="*/ 0 h 87"/>
                    <a:gd name="T12" fmla="*/ 87 w 87"/>
                    <a:gd name="T13" fmla="*/ 29 h 87"/>
                    <a:gd name="T14" fmla="*/ 87 w 87"/>
                    <a:gd name="T15" fmla="*/ 58 h 87"/>
                    <a:gd name="T16" fmla="*/ 58 w 87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7" h="87">
                      <a:moveTo>
                        <a:pt x="58" y="87"/>
                      </a:moveTo>
                      <a:cubicBezTo>
                        <a:pt x="28" y="87"/>
                        <a:pt x="28" y="87"/>
                        <a:pt x="28" y="87"/>
                      </a:cubicBezTo>
                      <a:cubicBezTo>
                        <a:pt x="12" y="87"/>
                        <a:pt x="0" y="74"/>
                        <a:pt x="0" y="58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74" y="0"/>
                        <a:pt x="87" y="13"/>
                        <a:pt x="87" y="29"/>
                      </a:cubicBezTo>
                      <a:cubicBezTo>
                        <a:pt x="87" y="58"/>
                        <a:pt x="87" y="58"/>
                        <a:pt x="87" y="58"/>
                      </a:cubicBezTo>
                      <a:cubicBezTo>
                        <a:pt x="87" y="74"/>
                        <a:pt x="74" y="87"/>
                        <a:pt x="58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7" name="Freeform 14"/>
                <p:cNvSpPr>
                  <a:spLocks/>
                </p:cNvSpPr>
                <p:nvPr/>
              </p:nvSpPr>
              <p:spPr bwMode="auto">
                <a:xfrm>
                  <a:off x="2901950" y="2776538"/>
                  <a:ext cx="65088" cy="65088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9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9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9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8" name="Freeform 15"/>
                <p:cNvSpPr>
                  <a:spLocks/>
                </p:cNvSpPr>
                <p:nvPr/>
              </p:nvSpPr>
              <p:spPr bwMode="auto">
                <a:xfrm>
                  <a:off x="3014663" y="2778125"/>
                  <a:ext cx="65088" cy="63500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8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8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8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9" name="Freeform 16"/>
                <p:cNvSpPr>
                  <a:spLocks/>
                </p:cNvSpPr>
                <p:nvPr/>
              </p:nvSpPr>
              <p:spPr bwMode="auto">
                <a:xfrm>
                  <a:off x="3127375" y="2778125"/>
                  <a:ext cx="65088" cy="63500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8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8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8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20" name="Freeform 17"/>
                <p:cNvSpPr>
                  <a:spLocks/>
                </p:cNvSpPr>
                <p:nvPr/>
              </p:nvSpPr>
              <p:spPr bwMode="auto">
                <a:xfrm>
                  <a:off x="3240088" y="2778125"/>
                  <a:ext cx="65088" cy="63500"/>
                </a:xfrm>
                <a:custGeom>
                  <a:avLst/>
                  <a:gdLst>
                    <a:gd name="T0" fmla="*/ 59 w 87"/>
                    <a:gd name="T1" fmla="*/ 87 h 87"/>
                    <a:gd name="T2" fmla="*/ 29 w 87"/>
                    <a:gd name="T3" fmla="*/ 87 h 87"/>
                    <a:gd name="T4" fmla="*/ 0 w 87"/>
                    <a:gd name="T5" fmla="*/ 58 h 87"/>
                    <a:gd name="T6" fmla="*/ 0 w 87"/>
                    <a:gd name="T7" fmla="*/ 28 h 87"/>
                    <a:gd name="T8" fmla="*/ 29 w 87"/>
                    <a:gd name="T9" fmla="*/ 0 h 87"/>
                    <a:gd name="T10" fmla="*/ 59 w 87"/>
                    <a:gd name="T11" fmla="*/ 0 h 87"/>
                    <a:gd name="T12" fmla="*/ 87 w 87"/>
                    <a:gd name="T13" fmla="*/ 28 h 87"/>
                    <a:gd name="T14" fmla="*/ 87 w 87"/>
                    <a:gd name="T15" fmla="*/ 58 h 87"/>
                    <a:gd name="T16" fmla="*/ 59 w 87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7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7" y="13"/>
                        <a:pt x="87" y="28"/>
                      </a:cubicBezTo>
                      <a:cubicBezTo>
                        <a:pt x="87" y="58"/>
                        <a:pt x="87" y="58"/>
                        <a:pt x="87" y="58"/>
                      </a:cubicBezTo>
                      <a:cubicBezTo>
                        <a:pt x="87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21" name="Freeform 18"/>
                <p:cNvSpPr>
                  <a:spLocks/>
                </p:cNvSpPr>
                <p:nvPr/>
              </p:nvSpPr>
              <p:spPr bwMode="auto">
                <a:xfrm>
                  <a:off x="2841625" y="2862263"/>
                  <a:ext cx="50800" cy="52388"/>
                </a:xfrm>
                <a:custGeom>
                  <a:avLst/>
                  <a:gdLst>
                    <a:gd name="T0" fmla="*/ 41 w 70"/>
                    <a:gd name="T1" fmla="*/ 70 h 70"/>
                    <a:gd name="T2" fmla="*/ 28 w 70"/>
                    <a:gd name="T3" fmla="*/ 70 h 70"/>
                    <a:gd name="T4" fmla="*/ 0 w 70"/>
                    <a:gd name="T5" fmla="*/ 41 h 70"/>
                    <a:gd name="T6" fmla="*/ 0 w 70"/>
                    <a:gd name="T7" fmla="*/ 29 h 70"/>
                    <a:gd name="T8" fmla="*/ 28 w 70"/>
                    <a:gd name="T9" fmla="*/ 0 h 70"/>
                    <a:gd name="T10" fmla="*/ 41 w 70"/>
                    <a:gd name="T11" fmla="*/ 0 h 70"/>
                    <a:gd name="T12" fmla="*/ 70 w 70"/>
                    <a:gd name="T13" fmla="*/ 29 h 70"/>
                    <a:gd name="T14" fmla="*/ 70 w 70"/>
                    <a:gd name="T15" fmla="*/ 41 h 70"/>
                    <a:gd name="T16" fmla="*/ 41 w 70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0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7" y="0"/>
                        <a:pt x="70" y="13"/>
                        <a:pt x="70" y="29"/>
                      </a:cubicBezTo>
                      <a:cubicBezTo>
                        <a:pt x="70" y="41"/>
                        <a:pt x="70" y="41"/>
                        <a:pt x="70" y="41"/>
                      </a:cubicBezTo>
                      <a:cubicBezTo>
                        <a:pt x="70" y="57"/>
                        <a:pt x="57" y="70"/>
                        <a:pt x="41" y="7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22" name="Freeform 19"/>
                <p:cNvSpPr>
                  <a:spLocks/>
                </p:cNvSpPr>
                <p:nvPr/>
              </p:nvSpPr>
              <p:spPr bwMode="auto">
                <a:xfrm>
                  <a:off x="2962275" y="2862263"/>
                  <a:ext cx="50800" cy="52388"/>
                </a:xfrm>
                <a:custGeom>
                  <a:avLst/>
                  <a:gdLst>
                    <a:gd name="T0" fmla="*/ 41 w 69"/>
                    <a:gd name="T1" fmla="*/ 70 h 70"/>
                    <a:gd name="T2" fmla="*/ 28 w 69"/>
                    <a:gd name="T3" fmla="*/ 70 h 70"/>
                    <a:gd name="T4" fmla="*/ 0 w 69"/>
                    <a:gd name="T5" fmla="*/ 41 h 70"/>
                    <a:gd name="T6" fmla="*/ 0 w 69"/>
                    <a:gd name="T7" fmla="*/ 29 h 70"/>
                    <a:gd name="T8" fmla="*/ 28 w 69"/>
                    <a:gd name="T9" fmla="*/ 0 h 70"/>
                    <a:gd name="T10" fmla="*/ 41 w 69"/>
                    <a:gd name="T11" fmla="*/ 0 h 70"/>
                    <a:gd name="T12" fmla="*/ 69 w 69"/>
                    <a:gd name="T13" fmla="*/ 29 h 70"/>
                    <a:gd name="T14" fmla="*/ 69 w 69"/>
                    <a:gd name="T15" fmla="*/ 41 h 70"/>
                    <a:gd name="T16" fmla="*/ 41 w 69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7" y="0"/>
                        <a:pt x="69" y="13"/>
                        <a:pt x="69" y="29"/>
                      </a:cubicBezTo>
                      <a:cubicBezTo>
                        <a:pt x="69" y="41"/>
                        <a:pt x="69" y="41"/>
                        <a:pt x="69" y="41"/>
                      </a:cubicBezTo>
                      <a:cubicBezTo>
                        <a:pt x="69" y="57"/>
                        <a:pt x="57" y="70"/>
                        <a:pt x="41" y="7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24" name="Freeform 20"/>
                <p:cNvSpPr>
                  <a:spLocks/>
                </p:cNvSpPr>
                <p:nvPr/>
              </p:nvSpPr>
              <p:spPr bwMode="auto">
                <a:xfrm>
                  <a:off x="3081338" y="2863850"/>
                  <a:ext cx="52388" cy="50800"/>
                </a:xfrm>
                <a:custGeom>
                  <a:avLst/>
                  <a:gdLst>
                    <a:gd name="T0" fmla="*/ 41 w 69"/>
                    <a:gd name="T1" fmla="*/ 70 h 70"/>
                    <a:gd name="T2" fmla="*/ 28 w 69"/>
                    <a:gd name="T3" fmla="*/ 70 h 70"/>
                    <a:gd name="T4" fmla="*/ 0 w 69"/>
                    <a:gd name="T5" fmla="*/ 41 h 70"/>
                    <a:gd name="T6" fmla="*/ 0 w 69"/>
                    <a:gd name="T7" fmla="*/ 29 h 70"/>
                    <a:gd name="T8" fmla="*/ 28 w 69"/>
                    <a:gd name="T9" fmla="*/ 0 h 70"/>
                    <a:gd name="T10" fmla="*/ 41 w 69"/>
                    <a:gd name="T11" fmla="*/ 0 h 70"/>
                    <a:gd name="T12" fmla="*/ 69 w 69"/>
                    <a:gd name="T13" fmla="*/ 29 h 70"/>
                    <a:gd name="T14" fmla="*/ 69 w 69"/>
                    <a:gd name="T15" fmla="*/ 41 h 70"/>
                    <a:gd name="T16" fmla="*/ 41 w 69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2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6" y="0"/>
                        <a:pt x="69" y="13"/>
                        <a:pt x="69" y="29"/>
                      </a:cubicBezTo>
                      <a:cubicBezTo>
                        <a:pt x="69" y="41"/>
                        <a:pt x="69" y="41"/>
                        <a:pt x="69" y="41"/>
                      </a:cubicBezTo>
                      <a:cubicBezTo>
                        <a:pt x="69" y="57"/>
                        <a:pt x="56" y="70"/>
                        <a:pt x="41" y="7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25" name="Freeform 21"/>
                <p:cNvSpPr>
                  <a:spLocks/>
                </p:cNvSpPr>
                <p:nvPr/>
              </p:nvSpPr>
              <p:spPr bwMode="auto">
                <a:xfrm>
                  <a:off x="3201988" y="2863850"/>
                  <a:ext cx="50800" cy="50800"/>
                </a:xfrm>
                <a:custGeom>
                  <a:avLst/>
                  <a:gdLst>
                    <a:gd name="T0" fmla="*/ 42 w 70"/>
                    <a:gd name="T1" fmla="*/ 70 h 70"/>
                    <a:gd name="T2" fmla="*/ 29 w 70"/>
                    <a:gd name="T3" fmla="*/ 70 h 70"/>
                    <a:gd name="T4" fmla="*/ 0 w 70"/>
                    <a:gd name="T5" fmla="*/ 41 h 70"/>
                    <a:gd name="T6" fmla="*/ 0 w 70"/>
                    <a:gd name="T7" fmla="*/ 29 h 70"/>
                    <a:gd name="T8" fmla="*/ 29 w 70"/>
                    <a:gd name="T9" fmla="*/ 0 h 70"/>
                    <a:gd name="T10" fmla="*/ 42 w 70"/>
                    <a:gd name="T11" fmla="*/ 0 h 70"/>
                    <a:gd name="T12" fmla="*/ 70 w 70"/>
                    <a:gd name="T13" fmla="*/ 29 h 70"/>
                    <a:gd name="T14" fmla="*/ 70 w 70"/>
                    <a:gd name="T15" fmla="*/ 41 h 70"/>
                    <a:gd name="T16" fmla="*/ 42 w 70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0" h="70">
                      <a:moveTo>
                        <a:pt x="42" y="70"/>
                      </a:moveTo>
                      <a:cubicBezTo>
                        <a:pt x="29" y="70"/>
                        <a:pt x="29" y="70"/>
                        <a:pt x="29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57" y="0"/>
                        <a:pt x="70" y="13"/>
                        <a:pt x="70" y="29"/>
                      </a:cubicBezTo>
                      <a:cubicBezTo>
                        <a:pt x="70" y="41"/>
                        <a:pt x="70" y="41"/>
                        <a:pt x="70" y="41"/>
                      </a:cubicBezTo>
                      <a:cubicBezTo>
                        <a:pt x="70" y="57"/>
                        <a:pt x="57" y="70"/>
                        <a:pt x="42" y="7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D509A774-3AF6-49E0-B164-3495FD8AB9F8}"/>
              </a:ext>
            </a:extLst>
          </p:cNvPr>
          <p:cNvGrpSpPr/>
          <p:nvPr/>
        </p:nvGrpSpPr>
        <p:grpSpPr>
          <a:xfrm>
            <a:off x="485585" y="710972"/>
            <a:ext cx="457390" cy="457390"/>
            <a:chOff x="485585" y="485585"/>
            <a:chExt cx="457390" cy="45739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xmlns="" id="{61C01907-C391-464F-908A-D62C0216549E}"/>
                </a:ext>
              </a:extLst>
            </p:cNvPr>
            <p:cNvSpPr/>
            <p:nvPr/>
          </p:nvSpPr>
          <p:spPr>
            <a:xfrm>
              <a:off x="485585" y="485585"/>
              <a:ext cx="457390" cy="45739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56" name="Group 55"/>
            <p:cNvGrpSpPr>
              <a:grpSpLocks noChangeAspect="1"/>
            </p:cNvGrpSpPr>
            <p:nvPr/>
          </p:nvGrpSpPr>
          <p:grpSpPr>
            <a:xfrm>
              <a:off x="549267" y="560453"/>
              <a:ext cx="318407" cy="318194"/>
              <a:chOff x="2439988" y="-1801813"/>
              <a:chExt cx="2363788" cy="2362200"/>
            </a:xfrm>
          </p:grpSpPr>
          <p:sp>
            <p:nvSpPr>
              <p:cNvPr id="52" name="Oval 36"/>
              <p:cNvSpPr>
                <a:spLocks noChangeArrowheads="1"/>
              </p:cNvSpPr>
              <p:nvPr/>
            </p:nvSpPr>
            <p:spPr bwMode="auto">
              <a:xfrm>
                <a:off x="2439988" y="-1801813"/>
                <a:ext cx="2363788" cy="2362200"/>
              </a:xfrm>
              <a:prstGeom prst="ellipse">
                <a:avLst/>
              </a:pr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51" name="Freeform 35"/>
              <p:cNvSpPr>
                <a:spLocks/>
              </p:cNvSpPr>
              <p:nvPr/>
            </p:nvSpPr>
            <p:spPr bwMode="auto">
              <a:xfrm>
                <a:off x="2624138" y="-979488"/>
                <a:ext cx="2163763" cy="1539875"/>
              </a:xfrm>
              <a:custGeom>
                <a:avLst/>
                <a:gdLst>
                  <a:gd name="T0" fmla="*/ 574 w 574"/>
                  <a:gd name="T1" fmla="*/ 141 h 409"/>
                  <a:gd name="T2" fmla="*/ 527 w 574"/>
                  <a:gd name="T3" fmla="*/ 94 h 409"/>
                  <a:gd name="T4" fmla="*/ 507 w 574"/>
                  <a:gd name="T5" fmla="*/ 66 h 409"/>
                  <a:gd name="T6" fmla="*/ 505 w 574"/>
                  <a:gd name="T7" fmla="*/ 63 h 409"/>
                  <a:gd name="T8" fmla="*/ 501 w 574"/>
                  <a:gd name="T9" fmla="*/ 61 h 409"/>
                  <a:gd name="T10" fmla="*/ 499 w 574"/>
                  <a:gd name="T11" fmla="*/ 59 h 409"/>
                  <a:gd name="T12" fmla="*/ 494 w 574"/>
                  <a:gd name="T13" fmla="*/ 57 h 409"/>
                  <a:gd name="T14" fmla="*/ 493 w 574"/>
                  <a:gd name="T15" fmla="*/ 56 h 409"/>
                  <a:gd name="T16" fmla="*/ 487 w 574"/>
                  <a:gd name="T17" fmla="*/ 54 h 409"/>
                  <a:gd name="T18" fmla="*/ 485 w 574"/>
                  <a:gd name="T19" fmla="*/ 53 h 409"/>
                  <a:gd name="T20" fmla="*/ 482 w 574"/>
                  <a:gd name="T21" fmla="*/ 49 h 409"/>
                  <a:gd name="T22" fmla="*/ 479 w 574"/>
                  <a:gd name="T23" fmla="*/ 45 h 409"/>
                  <a:gd name="T24" fmla="*/ 479 w 574"/>
                  <a:gd name="T25" fmla="*/ 45 h 409"/>
                  <a:gd name="T26" fmla="*/ 475 w 574"/>
                  <a:gd name="T27" fmla="*/ 41 h 409"/>
                  <a:gd name="T28" fmla="*/ 475 w 574"/>
                  <a:gd name="T29" fmla="*/ 41 h 409"/>
                  <a:gd name="T30" fmla="*/ 471 w 574"/>
                  <a:gd name="T31" fmla="*/ 37 h 409"/>
                  <a:gd name="T32" fmla="*/ 471 w 574"/>
                  <a:gd name="T33" fmla="*/ 37 h 409"/>
                  <a:gd name="T34" fmla="*/ 466 w 574"/>
                  <a:gd name="T35" fmla="*/ 33 h 409"/>
                  <a:gd name="T36" fmla="*/ 399 w 574"/>
                  <a:gd name="T37" fmla="*/ 10 h 409"/>
                  <a:gd name="T38" fmla="*/ 327 w 574"/>
                  <a:gd name="T39" fmla="*/ 38 h 409"/>
                  <a:gd name="T40" fmla="*/ 265 w 574"/>
                  <a:gd name="T41" fmla="*/ 0 h 409"/>
                  <a:gd name="T42" fmla="*/ 256 w 574"/>
                  <a:gd name="T43" fmla="*/ 1 h 409"/>
                  <a:gd name="T44" fmla="*/ 253 w 574"/>
                  <a:gd name="T45" fmla="*/ 1 h 409"/>
                  <a:gd name="T46" fmla="*/ 251 w 574"/>
                  <a:gd name="T47" fmla="*/ 1 h 409"/>
                  <a:gd name="T48" fmla="*/ 249 w 574"/>
                  <a:gd name="T49" fmla="*/ 2 h 409"/>
                  <a:gd name="T50" fmla="*/ 247 w 574"/>
                  <a:gd name="T51" fmla="*/ 3 h 409"/>
                  <a:gd name="T52" fmla="*/ 244 w 574"/>
                  <a:gd name="T53" fmla="*/ 3 h 409"/>
                  <a:gd name="T54" fmla="*/ 242 w 574"/>
                  <a:gd name="T55" fmla="*/ 4 h 409"/>
                  <a:gd name="T56" fmla="*/ 240 w 574"/>
                  <a:gd name="T57" fmla="*/ 5 h 409"/>
                  <a:gd name="T58" fmla="*/ 238 w 574"/>
                  <a:gd name="T59" fmla="*/ 5 h 409"/>
                  <a:gd name="T60" fmla="*/ 236 w 574"/>
                  <a:gd name="T61" fmla="*/ 6 h 409"/>
                  <a:gd name="T62" fmla="*/ 234 w 574"/>
                  <a:gd name="T63" fmla="*/ 7 h 409"/>
                  <a:gd name="T64" fmla="*/ 232 w 574"/>
                  <a:gd name="T65" fmla="*/ 8 h 409"/>
                  <a:gd name="T66" fmla="*/ 230 w 574"/>
                  <a:gd name="T67" fmla="*/ 10 h 409"/>
                  <a:gd name="T68" fmla="*/ 228 w 574"/>
                  <a:gd name="T69" fmla="*/ 11 h 409"/>
                  <a:gd name="T70" fmla="*/ 225 w 574"/>
                  <a:gd name="T71" fmla="*/ 13 h 409"/>
                  <a:gd name="T72" fmla="*/ 223 w 574"/>
                  <a:gd name="T73" fmla="*/ 14 h 409"/>
                  <a:gd name="T74" fmla="*/ 221 w 574"/>
                  <a:gd name="T75" fmla="*/ 16 h 409"/>
                  <a:gd name="T76" fmla="*/ 220 w 574"/>
                  <a:gd name="T77" fmla="*/ 17 h 409"/>
                  <a:gd name="T78" fmla="*/ 218 w 574"/>
                  <a:gd name="T79" fmla="*/ 19 h 409"/>
                  <a:gd name="T80" fmla="*/ 216 w 574"/>
                  <a:gd name="T81" fmla="*/ 20 h 409"/>
                  <a:gd name="T82" fmla="*/ 215 w 574"/>
                  <a:gd name="T83" fmla="*/ 22 h 409"/>
                  <a:gd name="T84" fmla="*/ 213 w 574"/>
                  <a:gd name="T85" fmla="*/ 23 h 409"/>
                  <a:gd name="T86" fmla="*/ 212 w 574"/>
                  <a:gd name="T87" fmla="*/ 25 h 409"/>
                  <a:gd name="T88" fmla="*/ 210 w 574"/>
                  <a:gd name="T89" fmla="*/ 26 h 409"/>
                  <a:gd name="T90" fmla="*/ 209 w 574"/>
                  <a:gd name="T91" fmla="*/ 29 h 409"/>
                  <a:gd name="T92" fmla="*/ 208 w 574"/>
                  <a:gd name="T93" fmla="*/ 30 h 409"/>
                  <a:gd name="T94" fmla="*/ 206 w 574"/>
                  <a:gd name="T95" fmla="*/ 33 h 409"/>
                  <a:gd name="T96" fmla="*/ 205 w 574"/>
                  <a:gd name="T97" fmla="*/ 34 h 409"/>
                  <a:gd name="T98" fmla="*/ 203 w 574"/>
                  <a:gd name="T99" fmla="*/ 38 h 409"/>
                  <a:gd name="T100" fmla="*/ 131 w 574"/>
                  <a:gd name="T101" fmla="*/ 10 h 409"/>
                  <a:gd name="T102" fmla="*/ 45 w 574"/>
                  <a:gd name="T103" fmla="*/ 53 h 409"/>
                  <a:gd name="T104" fmla="*/ 39 w 574"/>
                  <a:gd name="T105" fmla="*/ 55 h 409"/>
                  <a:gd name="T106" fmla="*/ 38 w 574"/>
                  <a:gd name="T107" fmla="*/ 56 h 409"/>
                  <a:gd name="T108" fmla="*/ 33 w 574"/>
                  <a:gd name="T109" fmla="*/ 58 h 409"/>
                  <a:gd name="T110" fmla="*/ 32 w 574"/>
                  <a:gd name="T111" fmla="*/ 59 h 409"/>
                  <a:gd name="T112" fmla="*/ 21 w 574"/>
                  <a:gd name="T113" fmla="*/ 67 h 409"/>
                  <a:gd name="T114" fmla="*/ 0 w 574"/>
                  <a:gd name="T115" fmla="*/ 116 h 409"/>
                  <a:gd name="T116" fmla="*/ 45 w 574"/>
                  <a:gd name="T117" fmla="*/ 180 h 409"/>
                  <a:gd name="T118" fmla="*/ 75 w 574"/>
                  <a:gd name="T119" fmla="*/ 207 h 409"/>
                  <a:gd name="T120" fmla="*/ 277 w 574"/>
                  <a:gd name="T121" fmla="*/ 409 h 409"/>
                  <a:gd name="T122" fmla="*/ 574 w 574"/>
                  <a:gd name="T123" fmla="*/ 141 h 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74" h="409">
                    <a:moveTo>
                      <a:pt x="574" y="141"/>
                    </a:moveTo>
                    <a:cubicBezTo>
                      <a:pt x="527" y="94"/>
                      <a:pt x="527" y="94"/>
                      <a:pt x="527" y="94"/>
                    </a:cubicBezTo>
                    <a:cubicBezTo>
                      <a:pt x="523" y="83"/>
                      <a:pt x="516" y="73"/>
                      <a:pt x="507" y="66"/>
                    </a:cubicBezTo>
                    <a:cubicBezTo>
                      <a:pt x="506" y="65"/>
                      <a:pt x="505" y="64"/>
                      <a:pt x="505" y="63"/>
                    </a:cubicBezTo>
                    <a:cubicBezTo>
                      <a:pt x="504" y="63"/>
                      <a:pt x="502" y="62"/>
                      <a:pt x="501" y="61"/>
                    </a:cubicBezTo>
                    <a:cubicBezTo>
                      <a:pt x="500" y="60"/>
                      <a:pt x="500" y="60"/>
                      <a:pt x="499" y="59"/>
                    </a:cubicBezTo>
                    <a:cubicBezTo>
                      <a:pt x="497" y="58"/>
                      <a:pt x="496" y="58"/>
                      <a:pt x="494" y="57"/>
                    </a:cubicBezTo>
                    <a:cubicBezTo>
                      <a:pt x="494" y="57"/>
                      <a:pt x="493" y="56"/>
                      <a:pt x="493" y="56"/>
                    </a:cubicBezTo>
                    <a:cubicBezTo>
                      <a:pt x="491" y="55"/>
                      <a:pt x="489" y="54"/>
                      <a:pt x="487" y="54"/>
                    </a:cubicBezTo>
                    <a:cubicBezTo>
                      <a:pt x="486" y="53"/>
                      <a:pt x="486" y="53"/>
                      <a:pt x="485" y="53"/>
                    </a:cubicBezTo>
                    <a:cubicBezTo>
                      <a:pt x="484" y="52"/>
                      <a:pt x="483" y="51"/>
                      <a:pt x="482" y="49"/>
                    </a:cubicBezTo>
                    <a:cubicBezTo>
                      <a:pt x="481" y="48"/>
                      <a:pt x="480" y="47"/>
                      <a:pt x="479" y="45"/>
                    </a:cubicBezTo>
                    <a:cubicBezTo>
                      <a:pt x="479" y="45"/>
                      <a:pt x="479" y="45"/>
                      <a:pt x="479" y="45"/>
                    </a:cubicBezTo>
                    <a:cubicBezTo>
                      <a:pt x="477" y="44"/>
                      <a:pt x="476" y="42"/>
                      <a:pt x="475" y="41"/>
                    </a:cubicBezTo>
                    <a:cubicBezTo>
                      <a:pt x="475" y="41"/>
                      <a:pt x="475" y="41"/>
                      <a:pt x="475" y="41"/>
                    </a:cubicBezTo>
                    <a:cubicBezTo>
                      <a:pt x="473" y="39"/>
                      <a:pt x="472" y="38"/>
                      <a:pt x="471" y="37"/>
                    </a:cubicBezTo>
                    <a:cubicBezTo>
                      <a:pt x="471" y="37"/>
                      <a:pt x="471" y="37"/>
                      <a:pt x="471" y="37"/>
                    </a:cubicBezTo>
                    <a:cubicBezTo>
                      <a:pt x="469" y="36"/>
                      <a:pt x="468" y="34"/>
                      <a:pt x="466" y="33"/>
                    </a:cubicBezTo>
                    <a:cubicBezTo>
                      <a:pt x="448" y="18"/>
                      <a:pt x="425" y="10"/>
                      <a:pt x="399" y="10"/>
                    </a:cubicBezTo>
                    <a:cubicBezTo>
                      <a:pt x="372" y="10"/>
                      <a:pt x="346" y="20"/>
                      <a:pt x="327" y="38"/>
                    </a:cubicBezTo>
                    <a:cubicBezTo>
                      <a:pt x="316" y="15"/>
                      <a:pt x="292" y="0"/>
                      <a:pt x="265" y="0"/>
                    </a:cubicBezTo>
                    <a:cubicBezTo>
                      <a:pt x="262" y="0"/>
                      <a:pt x="259" y="0"/>
                      <a:pt x="256" y="1"/>
                    </a:cubicBezTo>
                    <a:cubicBezTo>
                      <a:pt x="255" y="1"/>
                      <a:pt x="254" y="1"/>
                      <a:pt x="253" y="1"/>
                    </a:cubicBezTo>
                    <a:cubicBezTo>
                      <a:pt x="252" y="1"/>
                      <a:pt x="252" y="1"/>
                      <a:pt x="251" y="1"/>
                    </a:cubicBezTo>
                    <a:cubicBezTo>
                      <a:pt x="250" y="2"/>
                      <a:pt x="249" y="2"/>
                      <a:pt x="249" y="2"/>
                    </a:cubicBezTo>
                    <a:cubicBezTo>
                      <a:pt x="248" y="2"/>
                      <a:pt x="247" y="2"/>
                      <a:pt x="247" y="3"/>
                    </a:cubicBezTo>
                    <a:cubicBezTo>
                      <a:pt x="246" y="3"/>
                      <a:pt x="245" y="3"/>
                      <a:pt x="244" y="3"/>
                    </a:cubicBezTo>
                    <a:cubicBezTo>
                      <a:pt x="244" y="3"/>
                      <a:pt x="243" y="4"/>
                      <a:pt x="242" y="4"/>
                    </a:cubicBezTo>
                    <a:cubicBezTo>
                      <a:pt x="242" y="4"/>
                      <a:pt x="241" y="4"/>
                      <a:pt x="240" y="5"/>
                    </a:cubicBezTo>
                    <a:cubicBezTo>
                      <a:pt x="239" y="5"/>
                      <a:pt x="239" y="5"/>
                      <a:pt x="238" y="5"/>
                    </a:cubicBezTo>
                    <a:cubicBezTo>
                      <a:pt x="237" y="6"/>
                      <a:pt x="237" y="6"/>
                      <a:pt x="236" y="6"/>
                    </a:cubicBezTo>
                    <a:cubicBezTo>
                      <a:pt x="235" y="7"/>
                      <a:pt x="235" y="7"/>
                      <a:pt x="234" y="7"/>
                    </a:cubicBezTo>
                    <a:cubicBezTo>
                      <a:pt x="233" y="8"/>
                      <a:pt x="233" y="8"/>
                      <a:pt x="232" y="8"/>
                    </a:cubicBezTo>
                    <a:cubicBezTo>
                      <a:pt x="231" y="9"/>
                      <a:pt x="231" y="9"/>
                      <a:pt x="230" y="10"/>
                    </a:cubicBezTo>
                    <a:cubicBezTo>
                      <a:pt x="229" y="10"/>
                      <a:pt x="229" y="10"/>
                      <a:pt x="228" y="11"/>
                    </a:cubicBezTo>
                    <a:cubicBezTo>
                      <a:pt x="227" y="11"/>
                      <a:pt x="226" y="12"/>
                      <a:pt x="225" y="13"/>
                    </a:cubicBezTo>
                    <a:cubicBezTo>
                      <a:pt x="224" y="13"/>
                      <a:pt x="224" y="14"/>
                      <a:pt x="223" y="14"/>
                    </a:cubicBezTo>
                    <a:cubicBezTo>
                      <a:pt x="223" y="15"/>
                      <a:pt x="222" y="15"/>
                      <a:pt x="221" y="16"/>
                    </a:cubicBezTo>
                    <a:cubicBezTo>
                      <a:pt x="221" y="16"/>
                      <a:pt x="220" y="16"/>
                      <a:pt x="220" y="17"/>
                    </a:cubicBezTo>
                    <a:cubicBezTo>
                      <a:pt x="219" y="17"/>
                      <a:pt x="218" y="18"/>
                      <a:pt x="218" y="19"/>
                    </a:cubicBezTo>
                    <a:cubicBezTo>
                      <a:pt x="217" y="19"/>
                      <a:pt x="217" y="19"/>
                      <a:pt x="216" y="20"/>
                    </a:cubicBezTo>
                    <a:cubicBezTo>
                      <a:pt x="216" y="21"/>
                      <a:pt x="215" y="21"/>
                      <a:pt x="215" y="22"/>
                    </a:cubicBezTo>
                    <a:cubicBezTo>
                      <a:pt x="214" y="22"/>
                      <a:pt x="214" y="23"/>
                      <a:pt x="213" y="23"/>
                    </a:cubicBezTo>
                    <a:cubicBezTo>
                      <a:pt x="213" y="24"/>
                      <a:pt x="212" y="24"/>
                      <a:pt x="212" y="25"/>
                    </a:cubicBezTo>
                    <a:cubicBezTo>
                      <a:pt x="211" y="26"/>
                      <a:pt x="211" y="26"/>
                      <a:pt x="210" y="26"/>
                    </a:cubicBezTo>
                    <a:cubicBezTo>
                      <a:pt x="210" y="27"/>
                      <a:pt x="209" y="28"/>
                      <a:pt x="209" y="29"/>
                    </a:cubicBezTo>
                    <a:cubicBezTo>
                      <a:pt x="208" y="29"/>
                      <a:pt x="208" y="30"/>
                      <a:pt x="208" y="30"/>
                    </a:cubicBezTo>
                    <a:cubicBezTo>
                      <a:pt x="207" y="31"/>
                      <a:pt x="207" y="32"/>
                      <a:pt x="206" y="33"/>
                    </a:cubicBezTo>
                    <a:cubicBezTo>
                      <a:pt x="206" y="33"/>
                      <a:pt x="206" y="33"/>
                      <a:pt x="205" y="34"/>
                    </a:cubicBezTo>
                    <a:cubicBezTo>
                      <a:pt x="205" y="35"/>
                      <a:pt x="204" y="36"/>
                      <a:pt x="203" y="38"/>
                    </a:cubicBezTo>
                    <a:cubicBezTo>
                      <a:pt x="184" y="20"/>
                      <a:pt x="159" y="10"/>
                      <a:pt x="131" y="10"/>
                    </a:cubicBezTo>
                    <a:cubicBezTo>
                      <a:pt x="96" y="10"/>
                      <a:pt x="65" y="27"/>
                      <a:pt x="45" y="53"/>
                    </a:cubicBezTo>
                    <a:cubicBezTo>
                      <a:pt x="43" y="53"/>
                      <a:pt x="41" y="54"/>
                      <a:pt x="39" y="55"/>
                    </a:cubicBezTo>
                    <a:cubicBezTo>
                      <a:pt x="39" y="55"/>
                      <a:pt x="38" y="56"/>
                      <a:pt x="38" y="56"/>
                    </a:cubicBezTo>
                    <a:cubicBezTo>
                      <a:pt x="36" y="57"/>
                      <a:pt x="35" y="57"/>
                      <a:pt x="33" y="58"/>
                    </a:cubicBezTo>
                    <a:cubicBezTo>
                      <a:pt x="33" y="59"/>
                      <a:pt x="33" y="59"/>
                      <a:pt x="32" y="59"/>
                    </a:cubicBezTo>
                    <a:cubicBezTo>
                      <a:pt x="28" y="61"/>
                      <a:pt x="25" y="64"/>
                      <a:pt x="21" y="67"/>
                    </a:cubicBezTo>
                    <a:cubicBezTo>
                      <a:pt x="8" y="79"/>
                      <a:pt x="0" y="97"/>
                      <a:pt x="0" y="116"/>
                    </a:cubicBezTo>
                    <a:cubicBezTo>
                      <a:pt x="0" y="146"/>
                      <a:pt x="19" y="171"/>
                      <a:pt x="45" y="180"/>
                    </a:cubicBezTo>
                    <a:cubicBezTo>
                      <a:pt x="53" y="191"/>
                      <a:pt x="63" y="200"/>
                      <a:pt x="75" y="207"/>
                    </a:cubicBezTo>
                    <a:cubicBezTo>
                      <a:pt x="277" y="409"/>
                      <a:pt x="277" y="409"/>
                      <a:pt x="277" y="409"/>
                    </a:cubicBezTo>
                    <a:cubicBezTo>
                      <a:pt x="429" y="403"/>
                      <a:pt x="553" y="289"/>
                      <a:pt x="574" y="141"/>
                    </a:cubicBezTo>
                    <a:close/>
                  </a:path>
                </a:pathLst>
              </a:custGeom>
              <a:solidFill>
                <a:srgbClr val="00A2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53" name="Freeform 34"/>
              <p:cNvSpPr>
                <a:spLocks/>
              </p:cNvSpPr>
              <p:nvPr/>
            </p:nvSpPr>
            <p:spPr bwMode="auto">
              <a:xfrm>
                <a:off x="2624138" y="-979488"/>
                <a:ext cx="2001838" cy="839788"/>
              </a:xfrm>
              <a:custGeom>
                <a:avLst/>
                <a:gdLst>
                  <a:gd name="T0" fmla="*/ 485 w 531"/>
                  <a:gd name="T1" fmla="*/ 53 h 223"/>
                  <a:gd name="T2" fmla="*/ 399 w 531"/>
                  <a:gd name="T3" fmla="*/ 10 h 223"/>
                  <a:gd name="T4" fmla="*/ 327 w 531"/>
                  <a:gd name="T5" fmla="*/ 38 h 223"/>
                  <a:gd name="T6" fmla="*/ 265 w 531"/>
                  <a:gd name="T7" fmla="*/ 0 h 223"/>
                  <a:gd name="T8" fmla="*/ 203 w 531"/>
                  <a:gd name="T9" fmla="*/ 38 h 223"/>
                  <a:gd name="T10" fmla="*/ 131 w 531"/>
                  <a:gd name="T11" fmla="*/ 10 h 223"/>
                  <a:gd name="T12" fmla="*/ 45 w 531"/>
                  <a:gd name="T13" fmla="*/ 53 h 223"/>
                  <a:gd name="T14" fmla="*/ 0 w 531"/>
                  <a:gd name="T15" fmla="*/ 116 h 223"/>
                  <a:gd name="T16" fmla="*/ 45 w 531"/>
                  <a:gd name="T17" fmla="*/ 180 h 223"/>
                  <a:gd name="T18" fmla="*/ 131 w 531"/>
                  <a:gd name="T19" fmla="*/ 223 h 223"/>
                  <a:gd name="T20" fmla="*/ 236 w 531"/>
                  <a:gd name="T21" fmla="*/ 134 h 223"/>
                  <a:gd name="T22" fmla="*/ 265 w 531"/>
                  <a:gd name="T23" fmla="*/ 140 h 223"/>
                  <a:gd name="T24" fmla="*/ 294 w 531"/>
                  <a:gd name="T25" fmla="*/ 134 h 223"/>
                  <a:gd name="T26" fmla="*/ 399 w 531"/>
                  <a:gd name="T27" fmla="*/ 223 h 223"/>
                  <a:gd name="T28" fmla="*/ 485 w 531"/>
                  <a:gd name="T29" fmla="*/ 180 h 223"/>
                  <a:gd name="T30" fmla="*/ 531 w 531"/>
                  <a:gd name="T31" fmla="*/ 116 h 223"/>
                  <a:gd name="T32" fmla="*/ 485 w 531"/>
                  <a:gd name="T33" fmla="*/ 5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1" h="223">
                    <a:moveTo>
                      <a:pt x="485" y="53"/>
                    </a:moveTo>
                    <a:cubicBezTo>
                      <a:pt x="466" y="27"/>
                      <a:pt x="434" y="10"/>
                      <a:pt x="399" y="10"/>
                    </a:cubicBezTo>
                    <a:cubicBezTo>
                      <a:pt x="372" y="10"/>
                      <a:pt x="346" y="20"/>
                      <a:pt x="327" y="38"/>
                    </a:cubicBezTo>
                    <a:cubicBezTo>
                      <a:pt x="316" y="15"/>
                      <a:pt x="292" y="0"/>
                      <a:pt x="265" y="0"/>
                    </a:cubicBezTo>
                    <a:cubicBezTo>
                      <a:pt x="238" y="0"/>
                      <a:pt x="215" y="15"/>
                      <a:pt x="203" y="38"/>
                    </a:cubicBezTo>
                    <a:cubicBezTo>
                      <a:pt x="184" y="20"/>
                      <a:pt x="159" y="10"/>
                      <a:pt x="131" y="10"/>
                    </a:cubicBezTo>
                    <a:cubicBezTo>
                      <a:pt x="96" y="10"/>
                      <a:pt x="65" y="27"/>
                      <a:pt x="45" y="53"/>
                    </a:cubicBezTo>
                    <a:cubicBezTo>
                      <a:pt x="19" y="62"/>
                      <a:pt x="0" y="87"/>
                      <a:pt x="0" y="116"/>
                    </a:cubicBezTo>
                    <a:cubicBezTo>
                      <a:pt x="0" y="146"/>
                      <a:pt x="19" y="171"/>
                      <a:pt x="45" y="180"/>
                    </a:cubicBezTo>
                    <a:cubicBezTo>
                      <a:pt x="65" y="206"/>
                      <a:pt x="96" y="223"/>
                      <a:pt x="131" y="223"/>
                    </a:cubicBezTo>
                    <a:cubicBezTo>
                      <a:pt x="184" y="223"/>
                      <a:pt x="228" y="184"/>
                      <a:pt x="236" y="134"/>
                    </a:cubicBezTo>
                    <a:cubicBezTo>
                      <a:pt x="245" y="138"/>
                      <a:pt x="255" y="140"/>
                      <a:pt x="265" y="140"/>
                    </a:cubicBezTo>
                    <a:cubicBezTo>
                      <a:pt x="276" y="140"/>
                      <a:pt x="285" y="138"/>
                      <a:pt x="294" y="134"/>
                    </a:cubicBezTo>
                    <a:cubicBezTo>
                      <a:pt x="302" y="184"/>
                      <a:pt x="346" y="223"/>
                      <a:pt x="399" y="223"/>
                    </a:cubicBezTo>
                    <a:cubicBezTo>
                      <a:pt x="434" y="223"/>
                      <a:pt x="466" y="206"/>
                      <a:pt x="485" y="180"/>
                    </a:cubicBezTo>
                    <a:cubicBezTo>
                      <a:pt x="512" y="171"/>
                      <a:pt x="531" y="146"/>
                      <a:pt x="531" y="116"/>
                    </a:cubicBezTo>
                    <a:cubicBezTo>
                      <a:pt x="531" y="87"/>
                      <a:pt x="512" y="62"/>
                      <a:pt x="485" y="53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54" name="Oval 32"/>
              <p:cNvSpPr>
                <a:spLocks noChangeArrowheads="1"/>
              </p:cNvSpPr>
              <p:nvPr/>
            </p:nvSpPr>
            <p:spPr bwMode="auto">
              <a:xfrm>
                <a:off x="2851151" y="-806451"/>
                <a:ext cx="534988" cy="530225"/>
              </a:xfrm>
              <a:prstGeom prst="ellipse">
                <a:avLst/>
              </a:prstGeom>
              <a:solidFill>
                <a:srgbClr val="BFEEF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55" name="Oval 33"/>
              <p:cNvSpPr>
                <a:spLocks noChangeArrowheads="1"/>
              </p:cNvSpPr>
              <p:nvPr/>
            </p:nvSpPr>
            <p:spPr bwMode="auto">
              <a:xfrm>
                <a:off x="3863976" y="-806451"/>
                <a:ext cx="531813" cy="530225"/>
              </a:xfrm>
              <a:prstGeom prst="ellipse">
                <a:avLst/>
              </a:prstGeom>
              <a:solidFill>
                <a:srgbClr val="BFEEF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00C164E4-AA47-44D6-A4CF-A840F3257CAD}"/>
              </a:ext>
            </a:extLst>
          </p:cNvPr>
          <p:cNvGrpSpPr/>
          <p:nvPr/>
        </p:nvGrpSpPr>
        <p:grpSpPr>
          <a:xfrm>
            <a:off x="1643331" y="710972"/>
            <a:ext cx="457390" cy="457390"/>
            <a:chOff x="1866501" y="485585"/>
            <a:chExt cx="457390" cy="457390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xmlns="" id="{E7BA089C-A271-4556-8CB7-A3D326590ACE}"/>
                </a:ext>
              </a:extLst>
            </p:cNvPr>
            <p:cNvSpPr/>
            <p:nvPr/>
          </p:nvSpPr>
          <p:spPr>
            <a:xfrm>
              <a:off x="1866501" y="485585"/>
              <a:ext cx="457390" cy="45739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64" name="Group 63"/>
            <p:cNvGrpSpPr/>
            <p:nvPr/>
          </p:nvGrpSpPr>
          <p:grpSpPr>
            <a:xfrm>
              <a:off x="1925765" y="544915"/>
              <a:ext cx="349271" cy="349271"/>
              <a:chOff x="2581275" y="3149114"/>
              <a:chExt cx="933450" cy="933450"/>
            </a:xfrm>
          </p:grpSpPr>
          <p:sp>
            <p:nvSpPr>
              <p:cNvPr id="30" name="Freeform 25"/>
              <p:cNvSpPr>
                <a:spLocks/>
              </p:cNvSpPr>
              <p:nvPr/>
            </p:nvSpPr>
            <p:spPr bwMode="auto">
              <a:xfrm>
                <a:off x="2581275" y="3149114"/>
                <a:ext cx="933450" cy="933450"/>
              </a:xfrm>
              <a:custGeom>
                <a:avLst/>
                <a:gdLst>
                  <a:gd name="T0" fmla="*/ 1039 w 1264"/>
                  <a:gd name="T1" fmla="*/ 1039 h 1264"/>
                  <a:gd name="T2" fmla="*/ 225 w 1264"/>
                  <a:gd name="T3" fmla="*/ 1039 h 1264"/>
                  <a:gd name="T4" fmla="*/ 225 w 1264"/>
                  <a:gd name="T5" fmla="*/ 225 h 1264"/>
                  <a:gd name="T6" fmla="*/ 1039 w 1264"/>
                  <a:gd name="T7" fmla="*/ 225 h 1264"/>
                  <a:gd name="T8" fmla="*/ 1039 w 1264"/>
                  <a:gd name="T9" fmla="*/ 1039 h 1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4" h="1264">
                    <a:moveTo>
                      <a:pt x="1039" y="1039"/>
                    </a:moveTo>
                    <a:cubicBezTo>
                      <a:pt x="814" y="1264"/>
                      <a:pt x="450" y="1264"/>
                      <a:pt x="225" y="1039"/>
                    </a:cubicBezTo>
                    <a:cubicBezTo>
                      <a:pt x="0" y="814"/>
                      <a:pt x="0" y="450"/>
                      <a:pt x="225" y="225"/>
                    </a:cubicBezTo>
                    <a:cubicBezTo>
                      <a:pt x="450" y="0"/>
                      <a:pt x="814" y="0"/>
                      <a:pt x="1039" y="225"/>
                    </a:cubicBezTo>
                    <a:cubicBezTo>
                      <a:pt x="1264" y="450"/>
                      <a:pt x="1264" y="814"/>
                      <a:pt x="1039" y="1039"/>
                    </a:cubicBezTo>
                    <a:close/>
                  </a:path>
                </a:pathLst>
              </a:cu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60" name="Freeform 59"/>
              <p:cNvSpPr>
                <a:spLocks/>
              </p:cNvSpPr>
              <p:nvPr/>
            </p:nvSpPr>
            <p:spPr bwMode="auto">
              <a:xfrm>
                <a:off x="2912865" y="3411052"/>
                <a:ext cx="560585" cy="619125"/>
              </a:xfrm>
              <a:custGeom>
                <a:avLst/>
                <a:gdLst>
                  <a:gd name="connsiteX0" fmla="*/ 343475 w 560585"/>
                  <a:gd name="connsiteY0" fmla="*/ 0 h 619125"/>
                  <a:gd name="connsiteX1" fmla="*/ 560585 w 560585"/>
                  <a:gd name="connsiteY1" fmla="*/ 219427 h 619125"/>
                  <a:gd name="connsiteX2" fmla="*/ 435784 w 560585"/>
                  <a:gd name="connsiteY2" fmla="*/ 506087 h 619125"/>
                  <a:gd name="connsiteX3" fmla="*/ 236397 w 560585"/>
                  <a:gd name="connsiteY3" fmla="*/ 619125 h 619125"/>
                  <a:gd name="connsiteX4" fmla="*/ 87 w 560585"/>
                  <a:gd name="connsiteY4" fmla="*/ 393048 h 619125"/>
                  <a:gd name="connsiteX5" fmla="*/ 64 w 560585"/>
                  <a:gd name="connsiteY5" fmla="*/ 391571 h 619125"/>
                  <a:gd name="connsiteX6" fmla="*/ 0 w 560585"/>
                  <a:gd name="connsiteY6" fmla="*/ 387488 h 619125"/>
                  <a:gd name="connsiteX7" fmla="*/ 49858 w 560585"/>
                  <a:gd name="connsiteY7" fmla="*/ 430601 h 619125"/>
                  <a:gd name="connsiteX8" fmla="*/ 135135 w 560585"/>
                  <a:gd name="connsiteY8" fmla="*/ 463550 h 619125"/>
                  <a:gd name="connsiteX9" fmla="*/ 347860 w 560585"/>
                  <a:gd name="connsiteY9" fmla="*/ 204928 h 619125"/>
                  <a:gd name="connsiteX10" fmla="*/ 347860 w 560585"/>
                  <a:gd name="connsiteY10" fmla="*/ 14093 h 619125"/>
                  <a:gd name="connsiteX11" fmla="*/ 342392 w 560585"/>
                  <a:gd name="connsiteY11" fmla="*/ 938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60585" h="619125">
                    <a:moveTo>
                      <a:pt x="343475" y="0"/>
                    </a:moveTo>
                    <a:cubicBezTo>
                      <a:pt x="343475" y="0"/>
                      <a:pt x="343475" y="0"/>
                      <a:pt x="560585" y="219427"/>
                    </a:cubicBezTo>
                    <a:cubicBezTo>
                      <a:pt x="556893" y="323600"/>
                      <a:pt x="515539" y="427034"/>
                      <a:pt x="435784" y="506087"/>
                    </a:cubicBezTo>
                    <a:cubicBezTo>
                      <a:pt x="378922" y="563714"/>
                      <a:pt x="309506" y="601394"/>
                      <a:pt x="236397" y="619125"/>
                    </a:cubicBezTo>
                    <a:cubicBezTo>
                      <a:pt x="236397" y="619125"/>
                      <a:pt x="236397" y="619125"/>
                      <a:pt x="87" y="393048"/>
                    </a:cubicBezTo>
                    <a:cubicBezTo>
                      <a:pt x="87" y="393048"/>
                      <a:pt x="87" y="393048"/>
                      <a:pt x="64" y="391571"/>
                    </a:cubicBezTo>
                    <a:lnTo>
                      <a:pt x="0" y="387488"/>
                    </a:lnTo>
                    <a:lnTo>
                      <a:pt x="49858" y="430601"/>
                    </a:lnTo>
                    <a:cubicBezTo>
                      <a:pt x="75583" y="446143"/>
                      <a:pt x="104297" y="457471"/>
                      <a:pt x="135135" y="463550"/>
                    </a:cubicBezTo>
                    <a:cubicBezTo>
                      <a:pt x="258486" y="439235"/>
                      <a:pt x="347860" y="330924"/>
                      <a:pt x="347860" y="204928"/>
                    </a:cubicBezTo>
                    <a:cubicBezTo>
                      <a:pt x="347860" y="14093"/>
                      <a:pt x="347860" y="14093"/>
                      <a:pt x="347860" y="14093"/>
                    </a:cubicBezTo>
                    <a:lnTo>
                      <a:pt x="342392" y="938"/>
                    </a:lnTo>
                    <a:close/>
                  </a:path>
                </a:pathLst>
              </a:custGeom>
              <a:solidFill>
                <a:srgbClr val="00A2E1">
                  <a:alpha val="23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u="none" strike="noStrike" kern="120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grpSp>
            <p:nvGrpSpPr>
              <p:cNvPr id="63" name="Group 62"/>
              <p:cNvGrpSpPr/>
              <p:nvPr/>
            </p:nvGrpSpPr>
            <p:grpSpPr>
              <a:xfrm>
                <a:off x="2835275" y="3350727"/>
                <a:ext cx="425450" cy="523875"/>
                <a:chOff x="2835275" y="3350727"/>
                <a:chExt cx="425450" cy="523875"/>
              </a:xfrm>
              <a:solidFill>
                <a:schemeClr val="accent1">
                  <a:lumMod val="75000"/>
                  <a:alpha val="40000"/>
                </a:schemeClr>
              </a:solidFill>
            </p:grpSpPr>
            <p:sp>
              <p:nvSpPr>
                <p:cNvPr id="61" name="Freeform 27"/>
                <p:cNvSpPr>
                  <a:spLocks/>
                </p:cNvSpPr>
                <p:nvPr/>
              </p:nvSpPr>
              <p:spPr bwMode="auto">
                <a:xfrm>
                  <a:off x="2835275" y="3350727"/>
                  <a:ext cx="425450" cy="523875"/>
                </a:xfrm>
                <a:custGeom>
                  <a:avLst/>
                  <a:gdLst>
                    <a:gd name="T0" fmla="*/ 0 w 576"/>
                    <a:gd name="T1" fmla="*/ 101 h 711"/>
                    <a:gd name="T2" fmla="*/ 0 w 576"/>
                    <a:gd name="T3" fmla="*/ 360 h 711"/>
                    <a:gd name="T4" fmla="*/ 288 w 576"/>
                    <a:gd name="T5" fmla="*/ 711 h 711"/>
                    <a:gd name="T6" fmla="*/ 288 w 576"/>
                    <a:gd name="T7" fmla="*/ 711 h 711"/>
                    <a:gd name="T8" fmla="*/ 288 w 576"/>
                    <a:gd name="T9" fmla="*/ 711 h 711"/>
                    <a:gd name="T10" fmla="*/ 576 w 576"/>
                    <a:gd name="T11" fmla="*/ 360 h 711"/>
                    <a:gd name="T12" fmla="*/ 576 w 576"/>
                    <a:gd name="T13" fmla="*/ 101 h 711"/>
                    <a:gd name="T14" fmla="*/ 547 w 576"/>
                    <a:gd name="T15" fmla="*/ 72 h 711"/>
                    <a:gd name="T16" fmla="*/ 513 w 576"/>
                    <a:gd name="T17" fmla="*/ 72 h 711"/>
                    <a:gd name="T18" fmla="*/ 288 w 576"/>
                    <a:gd name="T19" fmla="*/ 0 h 711"/>
                    <a:gd name="T20" fmla="*/ 288 w 576"/>
                    <a:gd name="T21" fmla="*/ 0 h 711"/>
                    <a:gd name="T22" fmla="*/ 288 w 576"/>
                    <a:gd name="T23" fmla="*/ 0 h 711"/>
                    <a:gd name="T24" fmla="*/ 63 w 576"/>
                    <a:gd name="T25" fmla="*/ 72 h 711"/>
                    <a:gd name="T26" fmla="*/ 29 w 576"/>
                    <a:gd name="T27" fmla="*/ 72 h 711"/>
                    <a:gd name="T28" fmla="*/ 0 w 576"/>
                    <a:gd name="T29" fmla="*/ 101 h 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76" h="711">
                      <a:moveTo>
                        <a:pt x="0" y="101"/>
                      </a:moveTo>
                      <a:cubicBezTo>
                        <a:pt x="0" y="360"/>
                        <a:pt x="0" y="360"/>
                        <a:pt x="0" y="360"/>
                      </a:cubicBezTo>
                      <a:cubicBezTo>
                        <a:pt x="0" y="531"/>
                        <a:pt x="121" y="678"/>
                        <a:pt x="288" y="711"/>
                      </a:cubicBezTo>
                      <a:cubicBezTo>
                        <a:pt x="288" y="711"/>
                        <a:pt x="288" y="711"/>
                        <a:pt x="288" y="711"/>
                      </a:cubicBezTo>
                      <a:cubicBezTo>
                        <a:pt x="288" y="711"/>
                        <a:pt x="288" y="711"/>
                        <a:pt x="288" y="711"/>
                      </a:cubicBezTo>
                      <a:cubicBezTo>
                        <a:pt x="455" y="678"/>
                        <a:pt x="576" y="531"/>
                        <a:pt x="576" y="360"/>
                      </a:cubicBezTo>
                      <a:cubicBezTo>
                        <a:pt x="576" y="101"/>
                        <a:pt x="576" y="101"/>
                        <a:pt x="576" y="101"/>
                      </a:cubicBezTo>
                      <a:cubicBezTo>
                        <a:pt x="576" y="85"/>
                        <a:pt x="563" y="72"/>
                        <a:pt x="547" y="72"/>
                      </a:cubicBezTo>
                      <a:cubicBezTo>
                        <a:pt x="513" y="72"/>
                        <a:pt x="513" y="72"/>
                        <a:pt x="513" y="72"/>
                      </a:cubicBezTo>
                      <a:cubicBezTo>
                        <a:pt x="432" y="72"/>
                        <a:pt x="354" y="47"/>
                        <a:pt x="288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22" y="47"/>
                        <a:pt x="144" y="72"/>
                        <a:pt x="63" y="72"/>
                      </a:cubicBezTo>
                      <a:cubicBezTo>
                        <a:pt x="29" y="72"/>
                        <a:pt x="29" y="72"/>
                        <a:pt x="29" y="72"/>
                      </a:cubicBezTo>
                      <a:cubicBezTo>
                        <a:pt x="13" y="72"/>
                        <a:pt x="0" y="85"/>
                        <a:pt x="0" y="10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58" name="Freeform 28"/>
                <p:cNvSpPr>
                  <a:spLocks/>
                </p:cNvSpPr>
                <p:nvPr/>
              </p:nvSpPr>
              <p:spPr bwMode="auto">
                <a:xfrm>
                  <a:off x="3048000" y="3350727"/>
                  <a:ext cx="212725" cy="523875"/>
                </a:xfrm>
                <a:custGeom>
                  <a:avLst/>
                  <a:gdLst>
                    <a:gd name="T0" fmla="*/ 0 w 288"/>
                    <a:gd name="T1" fmla="*/ 0 h 711"/>
                    <a:gd name="T2" fmla="*/ 225 w 288"/>
                    <a:gd name="T3" fmla="*/ 72 h 711"/>
                    <a:gd name="T4" fmla="*/ 259 w 288"/>
                    <a:gd name="T5" fmla="*/ 72 h 711"/>
                    <a:gd name="T6" fmla="*/ 288 w 288"/>
                    <a:gd name="T7" fmla="*/ 101 h 711"/>
                    <a:gd name="T8" fmla="*/ 288 w 288"/>
                    <a:gd name="T9" fmla="*/ 360 h 711"/>
                    <a:gd name="T10" fmla="*/ 0 w 288"/>
                    <a:gd name="T11" fmla="*/ 711 h 711"/>
                    <a:gd name="T12" fmla="*/ 0 w 288"/>
                    <a:gd name="T13" fmla="*/ 0 h 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8" h="711">
                      <a:moveTo>
                        <a:pt x="0" y="0"/>
                      </a:moveTo>
                      <a:cubicBezTo>
                        <a:pt x="66" y="47"/>
                        <a:pt x="144" y="72"/>
                        <a:pt x="225" y="72"/>
                      </a:cubicBezTo>
                      <a:cubicBezTo>
                        <a:pt x="259" y="72"/>
                        <a:pt x="259" y="72"/>
                        <a:pt x="259" y="72"/>
                      </a:cubicBezTo>
                      <a:cubicBezTo>
                        <a:pt x="275" y="72"/>
                        <a:pt x="288" y="85"/>
                        <a:pt x="288" y="101"/>
                      </a:cubicBezTo>
                      <a:cubicBezTo>
                        <a:pt x="288" y="360"/>
                        <a:pt x="288" y="360"/>
                        <a:pt x="288" y="360"/>
                      </a:cubicBezTo>
                      <a:cubicBezTo>
                        <a:pt x="288" y="531"/>
                        <a:pt x="167" y="678"/>
                        <a:pt x="0" y="711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  <a:alpha val="2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120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</p:grpSp>
      </p:grpSp>
      <p:grpSp>
        <p:nvGrpSpPr>
          <p:cNvPr id="1029" name="Group 1028">
            <a:extLst>
              <a:ext uri="{FF2B5EF4-FFF2-40B4-BE49-F238E27FC236}">
                <a16:creationId xmlns:a16="http://schemas.microsoft.com/office/drawing/2014/main" xmlns="" id="{5FF859B6-5641-4B6B-A988-1B4156602BBD}"/>
              </a:ext>
            </a:extLst>
          </p:cNvPr>
          <p:cNvGrpSpPr/>
          <p:nvPr/>
        </p:nvGrpSpPr>
        <p:grpSpPr>
          <a:xfrm>
            <a:off x="3048995" y="3421866"/>
            <a:ext cx="6104528" cy="1721634"/>
            <a:chOff x="4379115" y="3342359"/>
            <a:chExt cx="2498942" cy="1721634"/>
          </a:xfrm>
        </p:grpSpPr>
        <p:sp>
          <p:nvSpPr>
            <p:cNvPr id="1030" name="Rectangle: Rounded Corners 1196">
              <a:extLst>
                <a:ext uri="{FF2B5EF4-FFF2-40B4-BE49-F238E27FC236}">
                  <a16:creationId xmlns:a16="http://schemas.microsoft.com/office/drawing/2014/main" xmlns="" id="{5B2D18F0-C1DA-4193-8C6F-E0973D497BAB}"/>
                </a:ext>
              </a:extLst>
            </p:cNvPr>
            <p:cNvSpPr/>
            <p:nvPr/>
          </p:nvSpPr>
          <p:spPr>
            <a:xfrm>
              <a:off x="4379115" y="3342359"/>
              <a:ext cx="2498942" cy="1721634"/>
            </a:xfrm>
            <a:prstGeom prst="roundRect">
              <a:avLst>
                <a:gd name="adj" fmla="val 0"/>
              </a:avLst>
            </a:prstGeom>
            <a:solidFill>
              <a:schemeClr val="accent1">
                <a:alpha val="2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032" name="Rectangle 1031">
              <a:extLst>
                <a:ext uri="{FF2B5EF4-FFF2-40B4-BE49-F238E27FC236}">
                  <a16:creationId xmlns:a16="http://schemas.microsoft.com/office/drawing/2014/main" xmlns="" id="{F7DE3585-1A42-4528-9933-8B3058453F69}"/>
                </a:ext>
              </a:extLst>
            </p:cNvPr>
            <p:cNvSpPr/>
            <p:nvPr/>
          </p:nvSpPr>
          <p:spPr>
            <a:xfrm>
              <a:off x="4487009" y="3421838"/>
              <a:ext cx="2338625" cy="1338828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171450" indent="-171450">
                <a:spcBef>
                  <a:spcPts val="600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100" dirty="0">
                  <a:solidFill>
                    <a:schemeClr val="bg1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Enterprise-wide network visibility across users, hosts, networks, and infrastructure (switches, routers, firewalls, servers)</a:t>
              </a:r>
            </a:p>
            <a:p>
              <a:pPr marL="171450" indent="-171450">
                <a:spcBef>
                  <a:spcPts val="600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100" dirty="0">
                  <a:solidFill>
                    <a:schemeClr val="bg1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Collects network flow and other data to provide network visibility for understanding network wide traffic and discover threats</a:t>
              </a:r>
            </a:p>
            <a:p>
              <a:pPr marL="171450" lvl="0" indent="-171450">
                <a:spcBef>
                  <a:spcPts val="600"/>
                </a:spcBef>
                <a:buFont typeface="Arial" panose="020B0604020202020204" pitchFamily="34" charset="0"/>
                <a:buChar char="•"/>
                <a:defRPr/>
              </a:pPr>
              <a:r>
                <a:rPr lang="en-US" sz="1100" dirty="0" smtClean="0">
                  <a:solidFill>
                    <a:schemeClr val="bg1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Real-time </a:t>
              </a:r>
              <a:r>
                <a:rPr lang="en-US" sz="1100" dirty="0">
                  <a:solidFill>
                    <a:schemeClr val="bg1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situational awareness of </a:t>
              </a:r>
              <a:r>
                <a:rPr lang="en-US" sz="1100" dirty="0" smtClean="0">
                  <a:solidFill>
                    <a:schemeClr val="bg1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users</a:t>
              </a:r>
              <a:r>
                <a:rPr lang="en-US" sz="1100" dirty="0">
                  <a:solidFill>
                    <a:schemeClr val="bg1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, </a:t>
              </a:r>
              <a:r>
                <a:rPr lang="en-US" sz="1100" dirty="0" smtClean="0">
                  <a:solidFill>
                    <a:schemeClr val="bg1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devices, and applications</a:t>
              </a:r>
            </a:p>
            <a:p>
              <a:pPr marL="171450" lvl="0" indent="-171450">
                <a:spcBef>
                  <a:spcPts val="600"/>
                </a:spcBef>
                <a:buFont typeface="Arial" panose="020B0604020202020204" pitchFamily="34" charset="0"/>
                <a:buChar char="•"/>
                <a:defRPr/>
              </a:pPr>
              <a:r>
                <a:rPr kumimoji="0" lang="en-US" sz="110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Holistic </a:t>
              </a:r>
              <a:r>
                <a:rPr kumimoji="0" lang="en-US" sz="110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network audit trails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2F8B71B4-E133-43A1-8B21-ED932F429864}"/>
              </a:ext>
            </a:extLst>
          </p:cNvPr>
          <p:cNvGrpSpPr/>
          <p:nvPr/>
        </p:nvGrpSpPr>
        <p:grpSpPr>
          <a:xfrm>
            <a:off x="-22640" y="2774515"/>
            <a:ext cx="3062110" cy="2059044"/>
            <a:chOff x="-22640" y="2774515"/>
            <a:chExt cx="3062110" cy="2059044"/>
          </a:xfrm>
        </p:grpSpPr>
        <p:grpSp>
          <p:nvGrpSpPr>
            <p:cNvPr id="910" name="Group 909">
              <a:extLst>
                <a:ext uri="{FF2B5EF4-FFF2-40B4-BE49-F238E27FC236}">
                  <a16:creationId xmlns:a16="http://schemas.microsoft.com/office/drawing/2014/main" xmlns="" id="{D7806739-9BAD-4E8E-8F5D-7A4454E903DA}"/>
                </a:ext>
              </a:extLst>
            </p:cNvPr>
            <p:cNvGrpSpPr/>
            <p:nvPr/>
          </p:nvGrpSpPr>
          <p:grpSpPr>
            <a:xfrm>
              <a:off x="-22640" y="2774515"/>
              <a:ext cx="3062110" cy="2059044"/>
              <a:chOff x="-22640" y="2774515"/>
              <a:chExt cx="3062110" cy="2059044"/>
            </a:xfrm>
          </p:grpSpPr>
          <p:sp>
            <p:nvSpPr>
              <p:cNvPr id="911" name="Oval 910">
                <a:extLst>
                  <a:ext uri="{FF2B5EF4-FFF2-40B4-BE49-F238E27FC236}">
                    <a16:creationId xmlns:a16="http://schemas.microsoft.com/office/drawing/2014/main" xmlns="" id="{35B61CC7-B1CF-4116-9D20-C02DA196B053}"/>
                  </a:ext>
                </a:extLst>
              </p:cNvPr>
              <p:cNvSpPr/>
              <p:nvPr/>
            </p:nvSpPr>
            <p:spPr>
              <a:xfrm>
                <a:off x="-22640" y="4474271"/>
                <a:ext cx="3062110" cy="359288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1">
                      <a:lumMod val="50000"/>
                    </a:schemeClr>
                  </a:gs>
                  <a:gs pos="32000">
                    <a:schemeClr val="accent1">
                      <a:lumMod val="75000"/>
                    </a:schemeClr>
                  </a:gs>
                  <a:gs pos="100000">
                    <a:schemeClr val="accent1"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pic>
            <p:nvPicPr>
              <p:cNvPr id="912" name="Picture 911">
                <a:extLst>
                  <a:ext uri="{FF2B5EF4-FFF2-40B4-BE49-F238E27FC236}">
                    <a16:creationId xmlns:a16="http://schemas.microsoft.com/office/drawing/2014/main" xmlns="" id="{3E35ECAC-B477-4A0C-A9A1-F5A4F4AA8E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18175" y="3190876"/>
                <a:ext cx="2575848" cy="1551890"/>
              </a:xfrm>
              <a:prstGeom prst="rect">
                <a:avLst/>
              </a:prstGeom>
            </p:spPr>
          </p:pic>
          <p:sp>
            <p:nvSpPr>
              <p:cNvPr id="913" name="Rectangle: Rounded Corners 912">
                <a:extLst>
                  <a:ext uri="{FF2B5EF4-FFF2-40B4-BE49-F238E27FC236}">
                    <a16:creationId xmlns:a16="http://schemas.microsoft.com/office/drawing/2014/main" xmlns="" id="{AE6C715F-588B-4C09-ABAD-8406252F2D4E}"/>
                  </a:ext>
                </a:extLst>
              </p:cNvPr>
              <p:cNvSpPr/>
              <p:nvPr/>
            </p:nvSpPr>
            <p:spPr>
              <a:xfrm>
                <a:off x="480060" y="2780127"/>
                <a:ext cx="1480133" cy="269045"/>
              </a:xfrm>
              <a:prstGeom prst="roundRect">
                <a:avLst>
                  <a:gd name="adj" fmla="val 50000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914" name="Isosceles Triangle 913">
                <a:extLst>
                  <a:ext uri="{FF2B5EF4-FFF2-40B4-BE49-F238E27FC236}">
                    <a16:creationId xmlns:a16="http://schemas.microsoft.com/office/drawing/2014/main" xmlns="" id="{DD9CD013-ABA4-48CC-A9F3-FDE466E72B74}"/>
                  </a:ext>
                </a:extLst>
              </p:cNvPr>
              <p:cNvSpPr/>
              <p:nvPr/>
            </p:nvSpPr>
            <p:spPr>
              <a:xfrm rot="10800000">
                <a:off x="604651" y="3034884"/>
                <a:ext cx="152313" cy="131304"/>
              </a:xfrm>
              <a:prstGeom prst="triangl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915" name="Rectangle 914">
                <a:extLst>
                  <a:ext uri="{FF2B5EF4-FFF2-40B4-BE49-F238E27FC236}">
                    <a16:creationId xmlns:a16="http://schemas.microsoft.com/office/drawing/2014/main" xmlns="" id="{1CFD76B8-EC37-467C-ABBA-0B1D3EF4DAF8}"/>
                  </a:ext>
                </a:extLst>
              </p:cNvPr>
              <p:cNvSpPr/>
              <p:nvPr/>
            </p:nvSpPr>
            <p:spPr>
              <a:xfrm>
                <a:off x="510757" y="2774515"/>
                <a:ext cx="1449436" cy="26161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u="none" strike="noStrike" kern="1200" cap="none" spc="0" normalizeH="0" baseline="0" noProof="0" dirty="0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rPr>
                  <a:t>Cisco </a:t>
                </a:r>
                <a:r>
                  <a:rPr kumimoji="0" lang="en-US" sz="110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rPr>
                  <a:t>Stealthwatch</a:t>
                </a:r>
                <a:r>
                  <a:rPr kumimoji="0" lang="en-US" sz="1100" u="none" strike="noStrike" kern="1200" cap="none" spc="0" normalizeH="0" baseline="0" noProof="0" dirty="0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rPr>
                  <a:t> </a:t>
                </a:r>
                <a:endParaRPr kumimoji="0" lang="en-US" sz="140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grpSp>
          <p:nvGrpSpPr>
            <p:cNvPr id="916" name="Group 915">
              <a:extLst>
                <a:ext uri="{FF2B5EF4-FFF2-40B4-BE49-F238E27FC236}">
                  <a16:creationId xmlns:a16="http://schemas.microsoft.com/office/drawing/2014/main" xmlns="" id="{C34B2137-60E0-4B76-AE93-B6D0079DCE9C}"/>
                </a:ext>
              </a:extLst>
            </p:cNvPr>
            <p:cNvGrpSpPr/>
            <p:nvPr/>
          </p:nvGrpSpPr>
          <p:grpSpPr>
            <a:xfrm>
              <a:off x="553898" y="3296871"/>
              <a:ext cx="1898617" cy="1184438"/>
              <a:chOff x="5265510" y="2309856"/>
              <a:chExt cx="1892913" cy="1184438"/>
            </a:xfrm>
          </p:grpSpPr>
          <p:sp>
            <p:nvSpPr>
              <p:cNvPr id="917" name="Rectangle 916">
                <a:extLst>
                  <a:ext uri="{FF2B5EF4-FFF2-40B4-BE49-F238E27FC236}">
                    <a16:creationId xmlns:a16="http://schemas.microsoft.com/office/drawing/2014/main" xmlns="" id="{B367E232-6363-4F11-98E7-F36B5781A575}"/>
                  </a:ext>
                </a:extLst>
              </p:cNvPr>
              <p:cNvSpPr/>
              <p:nvPr/>
            </p:nvSpPr>
            <p:spPr>
              <a:xfrm>
                <a:off x="5265510" y="3317230"/>
                <a:ext cx="1892913" cy="177064"/>
              </a:xfrm>
              <a:prstGeom prst="rect">
                <a:avLst/>
              </a:prstGeom>
              <a:solidFill>
                <a:srgbClr val="EEEFE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pic>
            <p:nvPicPr>
              <p:cNvPr id="918" name="Picture 917">
                <a:extLst>
                  <a:ext uri="{FF2B5EF4-FFF2-40B4-BE49-F238E27FC236}">
                    <a16:creationId xmlns:a16="http://schemas.microsoft.com/office/drawing/2014/main" xmlns="" id="{686F920D-1982-42F3-852F-28067CAD13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65510" y="2309856"/>
                <a:ext cx="1892913" cy="1086184"/>
              </a:xfrm>
              <a:prstGeom prst="rect">
                <a:avLst/>
              </a:prstGeom>
              <a:ln>
                <a:noFill/>
              </a:ln>
            </p:spPr>
          </p:pic>
        </p:grpSp>
      </p:grpSp>
      <p:sp>
        <p:nvSpPr>
          <p:cNvPr id="1073" name="Oval 1072">
            <a:extLst>
              <a:ext uri="{FF2B5EF4-FFF2-40B4-BE49-F238E27FC236}">
                <a16:creationId xmlns:a16="http://schemas.microsoft.com/office/drawing/2014/main" xmlns="" id="{A593A50F-7C87-4EF5-953D-D2EE67ACDAF5}"/>
              </a:ext>
            </a:extLst>
          </p:cNvPr>
          <p:cNvSpPr/>
          <p:nvPr/>
        </p:nvSpPr>
        <p:spPr>
          <a:xfrm>
            <a:off x="4340245" y="1917163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074" name="Oval 1073">
            <a:extLst>
              <a:ext uri="{FF2B5EF4-FFF2-40B4-BE49-F238E27FC236}">
                <a16:creationId xmlns:a16="http://schemas.microsoft.com/office/drawing/2014/main" xmlns="" id="{E5A91053-F2E6-4DF8-91A0-EA458C5DA184}"/>
              </a:ext>
            </a:extLst>
          </p:cNvPr>
          <p:cNvSpPr/>
          <p:nvPr/>
        </p:nvSpPr>
        <p:spPr>
          <a:xfrm>
            <a:off x="4400087" y="2321554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075" name="Oval 1074">
            <a:extLst>
              <a:ext uri="{FF2B5EF4-FFF2-40B4-BE49-F238E27FC236}">
                <a16:creationId xmlns:a16="http://schemas.microsoft.com/office/drawing/2014/main" xmlns="" id="{7219C730-4DCD-477C-960B-81D23A84577E}"/>
              </a:ext>
            </a:extLst>
          </p:cNvPr>
          <p:cNvSpPr/>
          <p:nvPr/>
        </p:nvSpPr>
        <p:spPr>
          <a:xfrm>
            <a:off x="6227164" y="2578889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076" name="Oval 1075">
            <a:extLst>
              <a:ext uri="{FF2B5EF4-FFF2-40B4-BE49-F238E27FC236}">
                <a16:creationId xmlns:a16="http://schemas.microsoft.com/office/drawing/2014/main" xmlns="" id="{13312801-B6BF-43DA-9024-E12F160C22D3}"/>
              </a:ext>
            </a:extLst>
          </p:cNvPr>
          <p:cNvSpPr/>
          <p:nvPr/>
        </p:nvSpPr>
        <p:spPr>
          <a:xfrm>
            <a:off x="8116843" y="2248527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077" name="Oval 1076">
            <a:extLst>
              <a:ext uri="{FF2B5EF4-FFF2-40B4-BE49-F238E27FC236}">
                <a16:creationId xmlns:a16="http://schemas.microsoft.com/office/drawing/2014/main" xmlns="" id="{808DC864-B1AF-48C3-B124-4FD2EDD14C7C}"/>
              </a:ext>
            </a:extLst>
          </p:cNvPr>
          <p:cNvSpPr/>
          <p:nvPr/>
        </p:nvSpPr>
        <p:spPr>
          <a:xfrm>
            <a:off x="7682935" y="1164071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078" name="Oval 1077">
            <a:extLst>
              <a:ext uri="{FF2B5EF4-FFF2-40B4-BE49-F238E27FC236}">
                <a16:creationId xmlns:a16="http://schemas.microsoft.com/office/drawing/2014/main" xmlns="" id="{C329CDD9-1081-4608-AFF4-5CC87E93B956}"/>
              </a:ext>
            </a:extLst>
          </p:cNvPr>
          <p:cNvSpPr/>
          <p:nvPr/>
        </p:nvSpPr>
        <p:spPr>
          <a:xfrm>
            <a:off x="5913701" y="590596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079" name="Oval 1078">
            <a:extLst>
              <a:ext uri="{FF2B5EF4-FFF2-40B4-BE49-F238E27FC236}">
                <a16:creationId xmlns:a16="http://schemas.microsoft.com/office/drawing/2014/main" xmlns="" id="{6ED4D467-6E53-485E-AE42-0AC25A4172F9}"/>
              </a:ext>
            </a:extLst>
          </p:cNvPr>
          <p:cNvSpPr/>
          <p:nvPr/>
        </p:nvSpPr>
        <p:spPr>
          <a:xfrm>
            <a:off x="4399890" y="2009173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080" name="Oval 1079">
            <a:extLst>
              <a:ext uri="{FF2B5EF4-FFF2-40B4-BE49-F238E27FC236}">
                <a16:creationId xmlns:a16="http://schemas.microsoft.com/office/drawing/2014/main" xmlns="" id="{71F2D65C-B141-4269-98C6-59C28B3334BF}"/>
              </a:ext>
            </a:extLst>
          </p:cNvPr>
          <p:cNvSpPr/>
          <p:nvPr/>
        </p:nvSpPr>
        <p:spPr>
          <a:xfrm>
            <a:off x="6151194" y="2504452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081" name="Oval 1080">
            <a:extLst>
              <a:ext uri="{FF2B5EF4-FFF2-40B4-BE49-F238E27FC236}">
                <a16:creationId xmlns:a16="http://schemas.microsoft.com/office/drawing/2014/main" xmlns="" id="{C0A716A5-A1C8-41EB-9FB5-3340321A433A}"/>
              </a:ext>
            </a:extLst>
          </p:cNvPr>
          <p:cNvSpPr/>
          <p:nvPr/>
        </p:nvSpPr>
        <p:spPr>
          <a:xfrm>
            <a:off x="7772816" y="2258134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082" name="Oval 1081">
            <a:extLst>
              <a:ext uri="{FF2B5EF4-FFF2-40B4-BE49-F238E27FC236}">
                <a16:creationId xmlns:a16="http://schemas.microsoft.com/office/drawing/2014/main" xmlns="" id="{3E239285-16BE-4A13-A506-F97126542B5C}"/>
              </a:ext>
            </a:extLst>
          </p:cNvPr>
          <p:cNvSpPr/>
          <p:nvPr/>
        </p:nvSpPr>
        <p:spPr>
          <a:xfrm>
            <a:off x="5832490" y="899372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083" name="Oval 1082">
            <a:extLst>
              <a:ext uri="{FF2B5EF4-FFF2-40B4-BE49-F238E27FC236}">
                <a16:creationId xmlns:a16="http://schemas.microsoft.com/office/drawing/2014/main" xmlns="" id="{B41B69C0-1FC7-4653-BB82-05A13E59D3B1}"/>
              </a:ext>
            </a:extLst>
          </p:cNvPr>
          <p:cNvSpPr/>
          <p:nvPr/>
        </p:nvSpPr>
        <p:spPr>
          <a:xfrm>
            <a:off x="4838583" y="1132382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084" name="Oval 1083">
            <a:extLst>
              <a:ext uri="{FF2B5EF4-FFF2-40B4-BE49-F238E27FC236}">
                <a16:creationId xmlns:a16="http://schemas.microsoft.com/office/drawing/2014/main" xmlns="" id="{032A2CFC-04A6-46E9-A619-93A036502ECC}"/>
              </a:ext>
            </a:extLst>
          </p:cNvPr>
          <p:cNvSpPr/>
          <p:nvPr/>
        </p:nvSpPr>
        <p:spPr>
          <a:xfrm>
            <a:off x="6151194" y="2516209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085" name="Oval 1084">
            <a:extLst>
              <a:ext uri="{FF2B5EF4-FFF2-40B4-BE49-F238E27FC236}">
                <a16:creationId xmlns:a16="http://schemas.microsoft.com/office/drawing/2014/main" xmlns="" id="{FA92EA5C-B4D0-4849-A72A-417861DDBB1D}"/>
              </a:ext>
            </a:extLst>
          </p:cNvPr>
          <p:cNvSpPr/>
          <p:nvPr/>
        </p:nvSpPr>
        <p:spPr>
          <a:xfrm>
            <a:off x="7693846" y="1235785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B95C1893-6B94-4061-AE02-0F6263CE4C04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7435516" y="1779881"/>
            <a:ext cx="834480" cy="834480"/>
            <a:chOff x="7435516" y="1779881"/>
            <a:chExt cx="834480" cy="834480"/>
          </a:xfrm>
        </p:grpSpPr>
        <p:sp>
          <p:nvSpPr>
            <p:cNvPr id="936" name="Oval 935">
              <a:extLst>
                <a:ext uri="{FF2B5EF4-FFF2-40B4-BE49-F238E27FC236}">
                  <a16:creationId xmlns:a16="http://schemas.microsoft.com/office/drawing/2014/main" xmlns="" id="{36965AAE-D500-46E0-8BD3-86E3F8F253B9}"/>
                </a:ext>
              </a:extLst>
            </p:cNvPr>
            <p:cNvSpPr/>
            <p:nvPr/>
          </p:nvSpPr>
          <p:spPr>
            <a:xfrm>
              <a:off x="7435516" y="1779881"/>
              <a:ext cx="834480" cy="834480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tx1">
                  <a:lumMod val="25000"/>
                  <a:lumOff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969" name="Group 968">
              <a:extLst>
                <a:ext uri="{FF2B5EF4-FFF2-40B4-BE49-F238E27FC236}">
                  <a16:creationId xmlns:a16="http://schemas.microsoft.com/office/drawing/2014/main" xmlns="" id="{2E6F0547-1494-428C-ACFF-4A7AA67BA4B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675249" y="2011087"/>
              <a:ext cx="379051" cy="379090"/>
              <a:chOff x="542940" y="1857375"/>
              <a:chExt cx="914400" cy="914494"/>
            </a:xfrm>
          </p:grpSpPr>
          <p:sp>
            <p:nvSpPr>
              <p:cNvPr id="970" name="Oval 969">
                <a:extLst>
                  <a:ext uri="{FF2B5EF4-FFF2-40B4-BE49-F238E27FC236}">
                    <a16:creationId xmlns:a16="http://schemas.microsoft.com/office/drawing/2014/main" xmlns="" id="{AA851016-DC65-4EDE-A84E-0ABAD341408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42940" y="1857422"/>
                <a:ext cx="914400" cy="9144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grpSp>
            <p:nvGrpSpPr>
              <p:cNvPr id="971" name="Group 4">
                <a:extLst>
                  <a:ext uri="{FF2B5EF4-FFF2-40B4-BE49-F238E27FC236}">
                    <a16:creationId xmlns:a16="http://schemas.microsoft.com/office/drawing/2014/main" xmlns="" id="{9D5CC35B-9692-4517-86A0-FA9B40E0CB9F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43174" y="1857375"/>
                <a:ext cx="913932" cy="914494"/>
                <a:chOff x="1261" y="0"/>
                <a:chExt cx="3238" cy="3240"/>
              </a:xfrm>
              <a:solidFill>
                <a:schemeClr val="tx2"/>
              </a:solidFill>
            </p:grpSpPr>
            <p:sp>
              <p:nvSpPr>
                <p:cNvPr id="972" name="Freeform 5">
                  <a:extLst>
                    <a:ext uri="{FF2B5EF4-FFF2-40B4-BE49-F238E27FC236}">
                      <a16:creationId xmlns:a16="http://schemas.microsoft.com/office/drawing/2014/main" xmlns="" id="{EA594048-64FD-48FC-B6F1-CBBC12C872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1" y="443"/>
                  <a:ext cx="36" cy="37"/>
                </a:xfrm>
                <a:custGeom>
                  <a:avLst/>
                  <a:gdLst>
                    <a:gd name="T0" fmla="*/ 0 w 29"/>
                    <a:gd name="T1" fmla="*/ 30 h 30"/>
                    <a:gd name="T2" fmla="*/ 29 w 29"/>
                    <a:gd name="T3" fmla="*/ 0 h 30"/>
                    <a:gd name="T4" fmla="*/ 0 w 29"/>
                    <a:gd name="T5" fmla="*/ 3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9" h="30">
                      <a:moveTo>
                        <a:pt x="0" y="30"/>
                      </a:moveTo>
                      <a:cubicBezTo>
                        <a:pt x="15" y="27"/>
                        <a:pt x="26" y="15"/>
                        <a:pt x="29" y="0"/>
                      </a:cubicBezTo>
                      <a:cubicBezTo>
                        <a:pt x="19" y="10"/>
                        <a:pt x="10" y="20"/>
                        <a:pt x="0" y="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73" name="Freeform 6">
                  <a:extLst>
                    <a:ext uri="{FF2B5EF4-FFF2-40B4-BE49-F238E27FC236}">
                      <a16:creationId xmlns:a16="http://schemas.microsoft.com/office/drawing/2014/main" xmlns="" id="{320A7DFB-7ACE-4D7E-89E8-169B1D918A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3" y="0"/>
                  <a:ext cx="1056" cy="480"/>
                </a:xfrm>
                <a:custGeom>
                  <a:avLst/>
                  <a:gdLst>
                    <a:gd name="T0" fmla="*/ 0 w 845"/>
                    <a:gd name="T1" fmla="*/ 346 h 384"/>
                    <a:gd name="T2" fmla="*/ 38 w 845"/>
                    <a:gd name="T3" fmla="*/ 384 h 384"/>
                    <a:gd name="T4" fmla="*/ 807 w 845"/>
                    <a:gd name="T5" fmla="*/ 384 h 384"/>
                    <a:gd name="T6" fmla="*/ 845 w 845"/>
                    <a:gd name="T7" fmla="*/ 346 h 384"/>
                    <a:gd name="T8" fmla="*/ 845 w 845"/>
                    <a:gd name="T9" fmla="*/ 38 h 384"/>
                    <a:gd name="T10" fmla="*/ 812 w 845"/>
                    <a:gd name="T11" fmla="*/ 0 h 384"/>
                    <a:gd name="T12" fmla="*/ 0 w 845"/>
                    <a:gd name="T13" fmla="*/ 308 h 384"/>
                    <a:gd name="T14" fmla="*/ 0 w 845"/>
                    <a:gd name="T15" fmla="*/ 346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45" h="384">
                      <a:moveTo>
                        <a:pt x="0" y="346"/>
                      </a:move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9"/>
                        <a:pt x="830" y="3"/>
                        <a:pt x="812" y="0"/>
                      </a:cubicBezTo>
                      <a:cubicBezTo>
                        <a:pt x="502" y="6"/>
                        <a:pt x="219" y="121"/>
                        <a:pt x="0" y="308"/>
                      </a:cubicBezTo>
                      <a:lnTo>
                        <a:pt x="0" y="34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74" name="Freeform 7">
                  <a:extLst>
                    <a:ext uri="{FF2B5EF4-FFF2-40B4-BE49-F238E27FC236}">
                      <a16:creationId xmlns:a16="http://schemas.microsoft.com/office/drawing/2014/main" xmlns="" id="{42460FB7-3F8E-48EC-BC6F-7E4E2EBADF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" y="4"/>
                  <a:ext cx="1051" cy="476"/>
                </a:xfrm>
                <a:custGeom>
                  <a:avLst/>
                  <a:gdLst>
                    <a:gd name="T0" fmla="*/ 24 w 841"/>
                    <a:gd name="T1" fmla="*/ 0 h 381"/>
                    <a:gd name="T2" fmla="*/ 0 w 841"/>
                    <a:gd name="T3" fmla="*/ 35 h 381"/>
                    <a:gd name="T4" fmla="*/ 0 w 841"/>
                    <a:gd name="T5" fmla="*/ 343 h 381"/>
                    <a:gd name="T6" fmla="*/ 38 w 841"/>
                    <a:gd name="T7" fmla="*/ 381 h 381"/>
                    <a:gd name="T8" fmla="*/ 807 w 841"/>
                    <a:gd name="T9" fmla="*/ 381 h 381"/>
                    <a:gd name="T10" fmla="*/ 841 w 841"/>
                    <a:gd name="T11" fmla="*/ 360 h 381"/>
                    <a:gd name="T12" fmla="*/ 24 w 841"/>
                    <a:gd name="T13" fmla="*/ 0 h 3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41" h="381">
                      <a:moveTo>
                        <a:pt x="24" y="0"/>
                      </a:moveTo>
                      <a:cubicBezTo>
                        <a:pt x="10" y="5"/>
                        <a:pt x="0" y="19"/>
                        <a:pt x="0" y="35"/>
                      </a:cubicBezTo>
                      <a:cubicBezTo>
                        <a:pt x="0" y="343"/>
                        <a:pt x="0" y="343"/>
                        <a:pt x="0" y="343"/>
                      </a:cubicBezTo>
                      <a:cubicBezTo>
                        <a:pt x="0" y="364"/>
                        <a:pt x="17" y="381"/>
                        <a:pt x="38" y="381"/>
                      </a:cubicBezTo>
                      <a:cubicBezTo>
                        <a:pt x="807" y="381"/>
                        <a:pt x="807" y="381"/>
                        <a:pt x="807" y="381"/>
                      </a:cubicBezTo>
                      <a:cubicBezTo>
                        <a:pt x="822" y="381"/>
                        <a:pt x="835" y="373"/>
                        <a:pt x="841" y="360"/>
                      </a:cubicBezTo>
                      <a:cubicBezTo>
                        <a:pt x="627" y="153"/>
                        <a:pt x="341" y="20"/>
                        <a:pt x="2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75" name="Freeform 8">
                  <a:extLst>
                    <a:ext uri="{FF2B5EF4-FFF2-40B4-BE49-F238E27FC236}">
                      <a16:creationId xmlns:a16="http://schemas.microsoft.com/office/drawing/2014/main" xmlns="" id="{BF57869A-E74A-44DC-9405-DA4737562B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0" y="555"/>
                  <a:ext cx="943" cy="480"/>
                </a:xfrm>
                <a:custGeom>
                  <a:avLst/>
                  <a:gdLst>
                    <a:gd name="T0" fmla="*/ 717 w 755"/>
                    <a:gd name="T1" fmla="*/ 0 h 384"/>
                    <a:gd name="T2" fmla="*/ 233 w 755"/>
                    <a:gd name="T3" fmla="*/ 0 h 384"/>
                    <a:gd name="T4" fmla="*/ 0 w 755"/>
                    <a:gd name="T5" fmla="*/ 384 h 384"/>
                    <a:gd name="T6" fmla="*/ 717 w 755"/>
                    <a:gd name="T7" fmla="*/ 384 h 384"/>
                    <a:gd name="T8" fmla="*/ 755 w 755"/>
                    <a:gd name="T9" fmla="*/ 346 h 384"/>
                    <a:gd name="T10" fmla="*/ 755 w 755"/>
                    <a:gd name="T11" fmla="*/ 38 h 384"/>
                    <a:gd name="T12" fmla="*/ 717 w 755"/>
                    <a:gd name="T13" fmla="*/ 0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55" h="384">
                      <a:moveTo>
                        <a:pt x="717" y="0"/>
                      </a:moveTo>
                      <a:cubicBezTo>
                        <a:pt x="233" y="0"/>
                        <a:pt x="233" y="0"/>
                        <a:pt x="233" y="0"/>
                      </a:cubicBezTo>
                      <a:cubicBezTo>
                        <a:pt x="134" y="113"/>
                        <a:pt x="55" y="242"/>
                        <a:pt x="0" y="384"/>
                      </a:cubicBezTo>
                      <a:cubicBezTo>
                        <a:pt x="717" y="384"/>
                        <a:pt x="717" y="384"/>
                        <a:pt x="717" y="384"/>
                      </a:cubicBezTo>
                      <a:cubicBezTo>
                        <a:pt x="738" y="384"/>
                        <a:pt x="755" y="367"/>
                        <a:pt x="755" y="346"/>
                      </a:cubicBezTo>
                      <a:cubicBezTo>
                        <a:pt x="755" y="38"/>
                        <a:pt x="755" y="38"/>
                        <a:pt x="755" y="38"/>
                      </a:cubicBezTo>
                      <a:cubicBezTo>
                        <a:pt x="755" y="17"/>
                        <a:pt x="738" y="0"/>
                        <a:pt x="71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76" name="Freeform 9">
                  <a:extLst>
                    <a:ext uri="{FF2B5EF4-FFF2-40B4-BE49-F238E27FC236}">
                      <a16:creationId xmlns:a16="http://schemas.microsoft.com/office/drawing/2014/main" xmlns="" id="{DE1B94F5-1B1E-4F0B-9A16-53AEFDCCD9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7" y="555"/>
                  <a:ext cx="1055" cy="480"/>
                </a:xfrm>
                <a:custGeom>
                  <a:avLst/>
                  <a:gdLst>
                    <a:gd name="T0" fmla="*/ 807 w 845"/>
                    <a:gd name="T1" fmla="*/ 0 h 384"/>
                    <a:gd name="T2" fmla="*/ 38 w 845"/>
                    <a:gd name="T3" fmla="*/ 0 h 384"/>
                    <a:gd name="T4" fmla="*/ 0 w 845"/>
                    <a:gd name="T5" fmla="*/ 38 h 384"/>
                    <a:gd name="T6" fmla="*/ 0 w 845"/>
                    <a:gd name="T7" fmla="*/ 346 h 384"/>
                    <a:gd name="T8" fmla="*/ 38 w 845"/>
                    <a:gd name="T9" fmla="*/ 384 h 384"/>
                    <a:gd name="T10" fmla="*/ 807 w 845"/>
                    <a:gd name="T11" fmla="*/ 384 h 384"/>
                    <a:gd name="T12" fmla="*/ 845 w 845"/>
                    <a:gd name="T13" fmla="*/ 346 h 384"/>
                    <a:gd name="T14" fmla="*/ 845 w 845"/>
                    <a:gd name="T15" fmla="*/ 38 h 384"/>
                    <a:gd name="T16" fmla="*/ 807 w 845"/>
                    <a:gd name="T17" fmla="*/ 0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807" y="0"/>
                      </a:move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77" name="Freeform 10">
                  <a:extLst>
                    <a:ext uri="{FF2B5EF4-FFF2-40B4-BE49-F238E27FC236}">
                      <a16:creationId xmlns:a16="http://schemas.microsoft.com/office/drawing/2014/main" xmlns="" id="{BAA8DA64-4D66-49A6-B38B-CC742B7A4C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7" y="555"/>
                  <a:ext cx="893" cy="480"/>
                </a:xfrm>
                <a:custGeom>
                  <a:avLst/>
                  <a:gdLst>
                    <a:gd name="T0" fmla="*/ 0 w 715"/>
                    <a:gd name="T1" fmla="*/ 38 h 384"/>
                    <a:gd name="T2" fmla="*/ 0 w 715"/>
                    <a:gd name="T3" fmla="*/ 346 h 384"/>
                    <a:gd name="T4" fmla="*/ 38 w 715"/>
                    <a:gd name="T5" fmla="*/ 384 h 384"/>
                    <a:gd name="T6" fmla="*/ 715 w 715"/>
                    <a:gd name="T7" fmla="*/ 384 h 384"/>
                    <a:gd name="T8" fmla="*/ 482 w 715"/>
                    <a:gd name="T9" fmla="*/ 0 h 384"/>
                    <a:gd name="T10" fmla="*/ 38 w 715"/>
                    <a:gd name="T11" fmla="*/ 0 h 384"/>
                    <a:gd name="T12" fmla="*/ 0 w 715"/>
                    <a:gd name="T13" fmla="*/ 38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15" h="384">
                      <a:moveTo>
                        <a:pt x="0" y="38"/>
                      </a:move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715" y="384"/>
                        <a:pt x="715" y="384"/>
                        <a:pt x="715" y="384"/>
                      </a:cubicBezTo>
                      <a:cubicBezTo>
                        <a:pt x="660" y="242"/>
                        <a:pt x="581" y="113"/>
                        <a:pt x="482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78" name="Freeform 11">
                  <a:extLst>
                    <a:ext uri="{FF2B5EF4-FFF2-40B4-BE49-F238E27FC236}">
                      <a16:creationId xmlns:a16="http://schemas.microsoft.com/office/drawing/2014/main" xmlns="" id="{1AA5BB45-F27F-4B4B-AF22-78BAB2418C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1" y="1110"/>
                  <a:ext cx="507" cy="480"/>
                </a:xfrm>
                <a:custGeom>
                  <a:avLst/>
                  <a:gdLst>
                    <a:gd name="T0" fmla="*/ 368 w 406"/>
                    <a:gd name="T1" fmla="*/ 384 h 384"/>
                    <a:gd name="T2" fmla="*/ 406 w 406"/>
                    <a:gd name="T3" fmla="*/ 346 h 384"/>
                    <a:gd name="T4" fmla="*/ 406 w 406"/>
                    <a:gd name="T5" fmla="*/ 38 h 384"/>
                    <a:gd name="T6" fmla="*/ 368 w 406"/>
                    <a:gd name="T7" fmla="*/ 0 h 384"/>
                    <a:gd name="T8" fmla="*/ 66 w 406"/>
                    <a:gd name="T9" fmla="*/ 0 h 384"/>
                    <a:gd name="T10" fmla="*/ 0 w 406"/>
                    <a:gd name="T11" fmla="*/ 384 h 384"/>
                    <a:gd name="T12" fmla="*/ 368 w 406"/>
                    <a:gd name="T13" fmla="*/ 384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06" h="384">
                      <a:moveTo>
                        <a:pt x="368" y="384"/>
                      </a:moveTo>
                      <a:cubicBezTo>
                        <a:pt x="389" y="384"/>
                        <a:pt x="406" y="367"/>
                        <a:pt x="406" y="346"/>
                      </a:cubicBezTo>
                      <a:cubicBezTo>
                        <a:pt x="406" y="38"/>
                        <a:pt x="406" y="38"/>
                        <a:pt x="406" y="38"/>
                      </a:cubicBezTo>
                      <a:cubicBezTo>
                        <a:pt x="406" y="17"/>
                        <a:pt x="389" y="0"/>
                        <a:pt x="368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25" y="121"/>
                        <a:pt x="3" y="250"/>
                        <a:pt x="0" y="384"/>
                      </a:cubicBezTo>
                      <a:lnTo>
                        <a:pt x="368" y="3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79" name="Freeform 12">
                  <a:extLst>
                    <a:ext uri="{FF2B5EF4-FFF2-40B4-BE49-F238E27FC236}">
                      <a16:creationId xmlns:a16="http://schemas.microsoft.com/office/drawing/2014/main" xmlns="" id="{92D64FCE-7964-484D-A3DC-D16335B877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3" y="1110"/>
                  <a:ext cx="1056" cy="480"/>
                </a:xfrm>
                <a:custGeom>
                  <a:avLst/>
                  <a:gdLst>
                    <a:gd name="T0" fmla="*/ 0 w 845"/>
                    <a:gd name="T1" fmla="*/ 38 h 384"/>
                    <a:gd name="T2" fmla="*/ 0 w 845"/>
                    <a:gd name="T3" fmla="*/ 346 h 384"/>
                    <a:gd name="T4" fmla="*/ 38 w 845"/>
                    <a:gd name="T5" fmla="*/ 384 h 384"/>
                    <a:gd name="T6" fmla="*/ 807 w 845"/>
                    <a:gd name="T7" fmla="*/ 384 h 384"/>
                    <a:gd name="T8" fmla="*/ 845 w 845"/>
                    <a:gd name="T9" fmla="*/ 346 h 384"/>
                    <a:gd name="T10" fmla="*/ 845 w 845"/>
                    <a:gd name="T11" fmla="*/ 38 h 384"/>
                    <a:gd name="T12" fmla="*/ 807 w 845"/>
                    <a:gd name="T13" fmla="*/ 0 h 384"/>
                    <a:gd name="T14" fmla="*/ 38 w 845"/>
                    <a:gd name="T15" fmla="*/ 0 h 384"/>
                    <a:gd name="T16" fmla="*/ 0 w 845"/>
                    <a:gd name="T17" fmla="*/ 38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0" y="38"/>
                      </a:move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80" name="Freeform 13">
                  <a:extLst>
                    <a:ext uri="{FF2B5EF4-FFF2-40B4-BE49-F238E27FC236}">
                      <a16:creationId xmlns:a16="http://schemas.microsoft.com/office/drawing/2014/main" xmlns="" id="{700829CD-58BD-4D38-962B-0EB050C4B6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" y="1110"/>
                  <a:ext cx="1056" cy="480"/>
                </a:xfrm>
                <a:custGeom>
                  <a:avLst/>
                  <a:gdLst>
                    <a:gd name="T0" fmla="*/ 0 w 845"/>
                    <a:gd name="T1" fmla="*/ 38 h 384"/>
                    <a:gd name="T2" fmla="*/ 0 w 845"/>
                    <a:gd name="T3" fmla="*/ 346 h 384"/>
                    <a:gd name="T4" fmla="*/ 38 w 845"/>
                    <a:gd name="T5" fmla="*/ 384 h 384"/>
                    <a:gd name="T6" fmla="*/ 807 w 845"/>
                    <a:gd name="T7" fmla="*/ 384 h 384"/>
                    <a:gd name="T8" fmla="*/ 845 w 845"/>
                    <a:gd name="T9" fmla="*/ 346 h 384"/>
                    <a:gd name="T10" fmla="*/ 845 w 845"/>
                    <a:gd name="T11" fmla="*/ 38 h 384"/>
                    <a:gd name="T12" fmla="*/ 807 w 845"/>
                    <a:gd name="T13" fmla="*/ 0 h 384"/>
                    <a:gd name="T14" fmla="*/ 38 w 845"/>
                    <a:gd name="T15" fmla="*/ 0 h 384"/>
                    <a:gd name="T16" fmla="*/ 0 w 845"/>
                    <a:gd name="T17" fmla="*/ 38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0" y="38"/>
                      </a:move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81" name="Freeform 14">
                  <a:extLst>
                    <a:ext uri="{FF2B5EF4-FFF2-40B4-BE49-F238E27FC236}">
                      <a16:creationId xmlns:a16="http://schemas.microsoft.com/office/drawing/2014/main" xmlns="" id="{72C486EB-2A53-4F7E-B58D-4A0ECDDA57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73" y="1110"/>
                  <a:ext cx="426" cy="480"/>
                </a:xfrm>
                <a:custGeom>
                  <a:avLst/>
                  <a:gdLst>
                    <a:gd name="T0" fmla="*/ 38 w 341"/>
                    <a:gd name="T1" fmla="*/ 0 h 384"/>
                    <a:gd name="T2" fmla="*/ 0 w 341"/>
                    <a:gd name="T3" fmla="*/ 38 h 384"/>
                    <a:gd name="T4" fmla="*/ 0 w 341"/>
                    <a:gd name="T5" fmla="*/ 346 h 384"/>
                    <a:gd name="T6" fmla="*/ 38 w 341"/>
                    <a:gd name="T7" fmla="*/ 384 h 384"/>
                    <a:gd name="T8" fmla="*/ 341 w 341"/>
                    <a:gd name="T9" fmla="*/ 384 h 384"/>
                    <a:gd name="T10" fmla="*/ 275 w 341"/>
                    <a:gd name="T11" fmla="*/ 0 h 384"/>
                    <a:gd name="T12" fmla="*/ 38 w 341"/>
                    <a:gd name="T13" fmla="*/ 0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1" h="384">
                      <a:moveTo>
                        <a:pt x="38" y="0"/>
                      </a:move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341" y="384"/>
                        <a:pt x="341" y="384"/>
                        <a:pt x="341" y="384"/>
                      </a:cubicBezTo>
                      <a:cubicBezTo>
                        <a:pt x="338" y="250"/>
                        <a:pt x="316" y="121"/>
                        <a:pt x="275" y="0"/>
                      </a:cubicBezTo>
                      <a:lnTo>
                        <a:pt x="3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82" name="Freeform 15">
                  <a:extLst>
                    <a:ext uri="{FF2B5EF4-FFF2-40B4-BE49-F238E27FC236}">
                      <a16:creationId xmlns:a16="http://schemas.microsoft.com/office/drawing/2014/main" xmlns="" id="{1B87C050-79D3-4DB0-8130-8B436D2B06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2" y="1665"/>
                  <a:ext cx="1051" cy="480"/>
                </a:xfrm>
                <a:custGeom>
                  <a:avLst/>
                  <a:gdLst>
                    <a:gd name="T0" fmla="*/ 841 w 841"/>
                    <a:gd name="T1" fmla="*/ 346 h 384"/>
                    <a:gd name="T2" fmla="*/ 841 w 841"/>
                    <a:gd name="T3" fmla="*/ 38 h 384"/>
                    <a:gd name="T4" fmla="*/ 803 w 841"/>
                    <a:gd name="T5" fmla="*/ 0 h 384"/>
                    <a:gd name="T6" fmla="*/ 34 w 841"/>
                    <a:gd name="T7" fmla="*/ 0 h 384"/>
                    <a:gd name="T8" fmla="*/ 0 w 841"/>
                    <a:gd name="T9" fmla="*/ 19 h 384"/>
                    <a:gd name="T10" fmla="*/ 69 w 841"/>
                    <a:gd name="T11" fmla="*/ 384 h 384"/>
                    <a:gd name="T12" fmla="*/ 803 w 841"/>
                    <a:gd name="T13" fmla="*/ 384 h 384"/>
                    <a:gd name="T14" fmla="*/ 841 w 841"/>
                    <a:gd name="T15" fmla="*/ 346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41" h="384">
                      <a:moveTo>
                        <a:pt x="841" y="346"/>
                      </a:moveTo>
                      <a:cubicBezTo>
                        <a:pt x="841" y="38"/>
                        <a:pt x="841" y="38"/>
                        <a:pt x="841" y="38"/>
                      </a:cubicBezTo>
                      <a:cubicBezTo>
                        <a:pt x="841" y="17"/>
                        <a:pt x="824" y="0"/>
                        <a:pt x="803" y="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19" y="0"/>
                        <a:pt x="7" y="8"/>
                        <a:pt x="0" y="19"/>
                      </a:cubicBezTo>
                      <a:cubicBezTo>
                        <a:pt x="6" y="147"/>
                        <a:pt x="29" y="269"/>
                        <a:pt x="69" y="384"/>
                      </a:cubicBezTo>
                      <a:cubicBezTo>
                        <a:pt x="803" y="384"/>
                        <a:pt x="803" y="384"/>
                        <a:pt x="803" y="384"/>
                      </a:cubicBezTo>
                      <a:cubicBezTo>
                        <a:pt x="824" y="384"/>
                        <a:pt x="841" y="367"/>
                        <a:pt x="841" y="34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83" name="Freeform 16">
                  <a:extLst>
                    <a:ext uri="{FF2B5EF4-FFF2-40B4-BE49-F238E27FC236}">
                      <a16:creationId xmlns:a16="http://schemas.microsoft.com/office/drawing/2014/main" xmlns="" id="{8A330534-1108-4E35-AA04-B4FC86D3B1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7" y="1665"/>
                  <a:ext cx="1055" cy="480"/>
                </a:xfrm>
                <a:custGeom>
                  <a:avLst/>
                  <a:gdLst>
                    <a:gd name="T0" fmla="*/ 845 w 845"/>
                    <a:gd name="T1" fmla="*/ 346 h 384"/>
                    <a:gd name="T2" fmla="*/ 845 w 845"/>
                    <a:gd name="T3" fmla="*/ 38 h 384"/>
                    <a:gd name="T4" fmla="*/ 807 w 845"/>
                    <a:gd name="T5" fmla="*/ 0 h 384"/>
                    <a:gd name="T6" fmla="*/ 38 w 845"/>
                    <a:gd name="T7" fmla="*/ 0 h 384"/>
                    <a:gd name="T8" fmla="*/ 0 w 845"/>
                    <a:gd name="T9" fmla="*/ 38 h 384"/>
                    <a:gd name="T10" fmla="*/ 0 w 845"/>
                    <a:gd name="T11" fmla="*/ 346 h 384"/>
                    <a:gd name="T12" fmla="*/ 38 w 845"/>
                    <a:gd name="T13" fmla="*/ 384 h 384"/>
                    <a:gd name="T14" fmla="*/ 807 w 845"/>
                    <a:gd name="T15" fmla="*/ 384 h 384"/>
                    <a:gd name="T16" fmla="*/ 845 w 845"/>
                    <a:gd name="T17" fmla="*/ 346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845" y="346"/>
                      </a:move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84" name="Freeform 17">
                  <a:extLst>
                    <a:ext uri="{FF2B5EF4-FFF2-40B4-BE49-F238E27FC236}">
                      <a16:creationId xmlns:a16="http://schemas.microsoft.com/office/drawing/2014/main" xmlns="" id="{5A49733B-AF72-498C-A3D7-5241DD309C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7" y="1665"/>
                  <a:ext cx="1001" cy="480"/>
                </a:xfrm>
                <a:custGeom>
                  <a:avLst/>
                  <a:gdLst>
                    <a:gd name="T0" fmla="*/ 801 w 801"/>
                    <a:gd name="T1" fmla="*/ 0 h 384"/>
                    <a:gd name="T2" fmla="*/ 38 w 801"/>
                    <a:gd name="T3" fmla="*/ 0 h 384"/>
                    <a:gd name="T4" fmla="*/ 0 w 801"/>
                    <a:gd name="T5" fmla="*/ 38 h 384"/>
                    <a:gd name="T6" fmla="*/ 0 w 801"/>
                    <a:gd name="T7" fmla="*/ 346 h 384"/>
                    <a:gd name="T8" fmla="*/ 38 w 801"/>
                    <a:gd name="T9" fmla="*/ 384 h 384"/>
                    <a:gd name="T10" fmla="*/ 732 w 801"/>
                    <a:gd name="T11" fmla="*/ 384 h 384"/>
                    <a:gd name="T12" fmla="*/ 801 w 801"/>
                    <a:gd name="T13" fmla="*/ 0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1" h="384">
                      <a:moveTo>
                        <a:pt x="801" y="0"/>
                      </a:move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732" y="384"/>
                        <a:pt x="732" y="384"/>
                        <a:pt x="732" y="384"/>
                      </a:cubicBezTo>
                      <a:cubicBezTo>
                        <a:pt x="774" y="263"/>
                        <a:pt x="798" y="134"/>
                        <a:pt x="80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85" name="Freeform 18">
                  <a:extLst>
                    <a:ext uri="{FF2B5EF4-FFF2-40B4-BE49-F238E27FC236}">
                      <a16:creationId xmlns:a16="http://schemas.microsoft.com/office/drawing/2014/main" xmlns="" id="{FADA5A04-7864-415C-8640-8093557994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6" y="2220"/>
                  <a:ext cx="392" cy="480"/>
                </a:xfrm>
                <a:custGeom>
                  <a:avLst/>
                  <a:gdLst>
                    <a:gd name="T0" fmla="*/ 314 w 314"/>
                    <a:gd name="T1" fmla="*/ 346 h 384"/>
                    <a:gd name="T2" fmla="*/ 314 w 314"/>
                    <a:gd name="T3" fmla="*/ 38 h 384"/>
                    <a:gd name="T4" fmla="*/ 276 w 314"/>
                    <a:gd name="T5" fmla="*/ 0 h 384"/>
                    <a:gd name="T6" fmla="*/ 0 w 314"/>
                    <a:gd name="T7" fmla="*/ 0 h 384"/>
                    <a:gd name="T8" fmla="*/ 238 w 314"/>
                    <a:gd name="T9" fmla="*/ 384 h 384"/>
                    <a:gd name="T10" fmla="*/ 276 w 314"/>
                    <a:gd name="T11" fmla="*/ 384 h 384"/>
                    <a:gd name="T12" fmla="*/ 314 w 314"/>
                    <a:gd name="T13" fmla="*/ 346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14" h="384">
                      <a:moveTo>
                        <a:pt x="314" y="346"/>
                      </a:moveTo>
                      <a:cubicBezTo>
                        <a:pt x="314" y="38"/>
                        <a:pt x="314" y="38"/>
                        <a:pt x="314" y="38"/>
                      </a:cubicBezTo>
                      <a:cubicBezTo>
                        <a:pt x="314" y="17"/>
                        <a:pt x="297" y="0"/>
                        <a:pt x="276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6" y="142"/>
                        <a:pt x="138" y="272"/>
                        <a:pt x="238" y="384"/>
                      </a:cubicBezTo>
                      <a:cubicBezTo>
                        <a:pt x="276" y="384"/>
                        <a:pt x="276" y="384"/>
                        <a:pt x="276" y="384"/>
                      </a:cubicBezTo>
                      <a:cubicBezTo>
                        <a:pt x="297" y="384"/>
                        <a:pt x="314" y="367"/>
                        <a:pt x="314" y="34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86" name="Freeform 19">
                  <a:extLst>
                    <a:ext uri="{FF2B5EF4-FFF2-40B4-BE49-F238E27FC236}">
                      <a16:creationId xmlns:a16="http://schemas.microsoft.com/office/drawing/2014/main" xmlns="" id="{71632C8B-7B59-4AE6-8904-F4FA74BC1B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3" y="2220"/>
                  <a:ext cx="1056" cy="480"/>
                </a:xfrm>
                <a:custGeom>
                  <a:avLst/>
                  <a:gdLst>
                    <a:gd name="T0" fmla="*/ 38 w 845"/>
                    <a:gd name="T1" fmla="*/ 384 h 384"/>
                    <a:gd name="T2" fmla="*/ 807 w 845"/>
                    <a:gd name="T3" fmla="*/ 384 h 384"/>
                    <a:gd name="T4" fmla="*/ 845 w 845"/>
                    <a:gd name="T5" fmla="*/ 346 h 384"/>
                    <a:gd name="T6" fmla="*/ 845 w 845"/>
                    <a:gd name="T7" fmla="*/ 38 h 384"/>
                    <a:gd name="T8" fmla="*/ 807 w 845"/>
                    <a:gd name="T9" fmla="*/ 0 h 384"/>
                    <a:gd name="T10" fmla="*/ 38 w 845"/>
                    <a:gd name="T11" fmla="*/ 0 h 384"/>
                    <a:gd name="T12" fmla="*/ 0 w 845"/>
                    <a:gd name="T13" fmla="*/ 38 h 384"/>
                    <a:gd name="T14" fmla="*/ 0 w 845"/>
                    <a:gd name="T15" fmla="*/ 346 h 384"/>
                    <a:gd name="T16" fmla="*/ 38 w 845"/>
                    <a:gd name="T17" fmla="*/ 384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38" y="384"/>
                      </a:move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87" name="Freeform 20">
                  <a:extLst>
                    <a:ext uri="{FF2B5EF4-FFF2-40B4-BE49-F238E27FC236}">
                      <a16:creationId xmlns:a16="http://schemas.microsoft.com/office/drawing/2014/main" xmlns="" id="{3B00012A-17D5-4F4D-9115-10FAC60210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" y="2220"/>
                  <a:ext cx="1056" cy="480"/>
                </a:xfrm>
                <a:custGeom>
                  <a:avLst/>
                  <a:gdLst>
                    <a:gd name="T0" fmla="*/ 38 w 845"/>
                    <a:gd name="T1" fmla="*/ 384 h 384"/>
                    <a:gd name="T2" fmla="*/ 807 w 845"/>
                    <a:gd name="T3" fmla="*/ 384 h 384"/>
                    <a:gd name="T4" fmla="*/ 845 w 845"/>
                    <a:gd name="T5" fmla="*/ 346 h 384"/>
                    <a:gd name="T6" fmla="*/ 845 w 845"/>
                    <a:gd name="T7" fmla="*/ 38 h 384"/>
                    <a:gd name="T8" fmla="*/ 807 w 845"/>
                    <a:gd name="T9" fmla="*/ 0 h 384"/>
                    <a:gd name="T10" fmla="*/ 38 w 845"/>
                    <a:gd name="T11" fmla="*/ 0 h 384"/>
                    <a:gd name="T12" fmla="*/ 0 w 845"/>
                    <a:gd name="T13" fmla="*/ 38 h 384"/>
                    <a:gd name="T14" fmla="*/ 0 w 845"/>
                    <a:gd name="T15" fmla="*/ 346 h 384"/>
                    <a:gd name="T16" fmla="*/ 38 w 845"/>
                    <a:gd name="T17" fmla="*/ 384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38" y="384"/>
                      </a:move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88" name="Freeform 21">
                  <a:extLst>
                    <a:ext uri="{FF2B5EF4-FFF2-40B4-BE49-F238E27FC236}">
                      <a16:creationId xmlns:a16="http://schemas.microsoft.com/office/drawing/2014/main" xmlns="" id="{C301A743-C55A-43E5-8F78-9BA9D8EB42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73" y="2220"/>
                  <a:ext cx="311" cy="473"/>
                </a:xfrm>
                <a:custGeom>
                  <a:avLst/>
                  <a:gdLst>
                    <a:gd name="T0" fmla="*/ 38 w 249"/>
                    <a:gd name="T1" fmla="*/ 0 h 378"/>
                    <a:gd name="T2" fmla="*/ 0 w 249"/>
                    <a:gd name="T3" fmla="*/ 38 h 378"/>
                    <a:gd name="T4" fmla="*/ 0 w 249"/>
                    <a:gd name="T5" fmla="*/ 346 h 378"/>
                    <a:gd name="T6" fmla="*/ 17 w 249"/>
                    <a:gd name="T7" fmla="*/ 378 h 378"/>
                    <a:gd name="T8" fmla="*/ 249 w 249"/>
                    <a:gd name="T9" fmla="*/ 0 h 378"/>
                    <a:gd name="T10" fmla="*/ 38 w 249"/>
                    <a:gd name="T11" fmla="*/ 0 h 3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49" h="378">
                      <a:moveTo>
                        <a:pt x="38" y="0"/>
                      </a:move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59"/>
                        <a:pt x="6" y="371"/>
                        <a:pt x="17" y="378"/>
                      </a:cubicBezTo>
                      <a:cubicBezTo>
                        <a:pt x="114" y="267"/>
                        <a:pt x="194" y="139"/>
                        <a:pt x="249" y="0"/>
                      </a:cubicBezTo>
                      <a:lnTo>
                        <a:pt x="3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89" name="Freeform 22">
                  <a:extLst>
                    <a:ext uri="{FF2B5EF4-FFF2-40B4-BE49-F238E27FC236}">
                      <a16:creationId xmlns:a16="http://schemas.microsoft.com/office/drawing/2014/main" xmlns="" id="{7333FDE8-02CD-4CFA-8B7A-10D760DFE6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44" y="2775"/>
                  <a:ext cx="569" cy="363"/>
                </a:xfrm>
                <a:custGeom>
                  <a:avLst/>
                  <a:gdLst>
                    <a:gd name="T0" fmla="*/ 455 w 455"/>
                    <a:gd name="T1" fmla="*/ 38 h 290"/>
                    <a:gd name="T2" fmla="*/ 417 w 455"/>
                    <a:gd name="T3" fmla="*/ 0 h 290"/>
                    <a:gd name="T4" fmla="*/ 0 w 455"/>
                    <a:gd name="T5" fmla="*/ 0 h 290"/>
                    <a:gd name="T6" fmla="*/ 455 w 455"/>
                    <a:gd name="T7" fmla="*/ 290 h 290"/>
                    <a:gd name="T8" fmla="*/ 455 w 455"/>
                    <a:gd name="T9" fmla="*/ 38 h 2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5" h="290">
                      <a:moveTo>
                        <a:pt x="455" y="38"/>
                      </a:moveTo>
                      <a:cubicBezTo>
                        <a:pt x="455" y="17"/>
                        <a:pt x="438" y="0"/>
                        <a:pt x="41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28" y="126"/>
                        <a:pt x="283" y="226"/>
                        <a:pt x="455" y="290"/>
                      </a:cubicBezTo>
                      <a:lnTo>
                        <a:pt x="455" y="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90" name="Freeform 23">
                  <a:extLst>
                    <a:ext uri="{FF2B5EF4-FFF2-40B4-BE49-F238E27FC236}">
                      <a16:creationId xmlns:a16="http://schemas.microsoft.com/office/drawing/2014/main" xmlns="" id="{04A7EF04-5CFD-4190-9016-841E454B46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7" y="2775"/>
                  <a:ext cx="1055" cy="465"/>
                </a:xfrm>
                <a:custGeom>
                  <a:avLst/>
                  <a:gdLst>
                    <a:gd name="T0" fmla="*/ 845 w 845"/>
                    <a:gd name="T1" fmla="*/ 294 h 372"/>
                    <a:gd name="T2" fmla="*/ 845 w 845"/>
                    <a:gd name="T3" fmla="*/ 38 h 372"/>
                    <a:gd name="T4" fmla="*/ 807 w 845"/>
                    <a:gd name="T5" fmla="*/ 0 h 372"/>
                    <a:gd name="T6" fmla="*/ 38 w 845"/>
                    <a:gd name="T7" fmla="*/ 0 h 372"/>
                    <a:gd name="T8" fmla="*/ 0 w 845"/>
                    <a:gd name="T9" fmla="*/ 38 h 372"/>
                    <a:gd name="T10" fmla="*/ 0 w 845"/>
                    <a:gd name="T11" fmla="*/ 308 h 372"/>
                    <a:gd name="T12" fmla="*/ 403 w 845"/>
                    <a:gd name="T13" fmla="*/ 372 h 372"/>
                    <a:gd name="T14" fmla="*/ 845 w 845"/>
                    <a:gd name="T15" fmla="*/ 294 h 3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45" h="372">
                      <a:moveTo>
                        <a:pt x="845" y="294"/>
                      </a:move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08"/>
                        <a:pt x="0" y="308"/>
                        <a:pt x="0" y="308"/>
                      </a:cubicBezTo>
                      <a:cubicBezTo>
                        <a:pt x="127" y="349"/>
                        <a:pt x="262" y="372"/>
                        <a:pt x="403" y="372"/>
                      </a:cubicBezTo>
                      <a:cubicBezTo>
                        <a:pt x="558" y="372"/>
                        <a:pt x="707" y="345"/>
                        <a:pt x="845" y="29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91" name="Freeform 24">
                  <a:extLst>
                    <a:ext uri="{FF2B5EF4-FFF2-40B4-BE49-F238E27FC236}">
                      <a16:creationId xmlns:a16="http://schemas.microsoft.com/office/drawing/2014/main" xmlns="" id="{4094962E-D676-4E23-8063-79759135D3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7" y="2775"/>
                  <a:ext cx="519" cy="344"/>
                </a:xfrm>
                <a:custGeom>
                  <a:avLst/>
                  <a:gdLst>
                    <a:gd name="T0" fmla="*/ 38 w 415"/>
                    <a:gd name="T1" fmla="*/ 0 h 275"/>
                    <a:gd name="T2" fmla="*/ 0 w 415"/>
                    <a:gd name="T3" fmla="*/ 38 h 275"/>
                    <a:gd name="T4" fmla="*/ 0 w 415"/>
                    <a:gd name="T5" fmla="*/ 275 h 275"/>
                    <a:gd name="T6" fmla="*/ 415 w 415"/>
                    <a:gd name="T7" fmla="*/ 0 h 275"/>
                    <a:gd name="T8" fmla="*/ 38 w 415"/>
                    <a:gd name="T9" fmla="*/ 0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5" h="275">
                      <a:moveTo>
                        <a:pt x="38" y="0"/>
                      </a:move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275"/>
                        <a:pt x="0" y="275"/>
                        <a:pt x="0" y="275"/>
                      </a:cubicBezTo>
                      <a:cubicBezTo>
                        <a:pt x="156" y="210"/>
                        <a:pt x="297" y="116"/>
                        <a:pt x="415" y="0"/>
                      </a:cubicBezTo>
                      <a:lnTo>
                        <a:pt x="3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xmlns="" id="{A62F6EE6-4A4F-456D-A598-05D1EAFB9137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4217387" y="638182"/>
            <a:ext cx="834480" cy="834480"/>
            <a:chOff x="4217387" y="638182"/>
            <a:chExt cx="834480" cy="834480"/>
          </a:xfrm>
        </p:grpSpPr>
        <p:sp>
          <p:nvSpPr>
            <p:cNvPr id="938" name="Oval 937">
              <a:extLst>
                <a:ext uri="{FF2B5EF4-FFF2-40B4-BE49-F238E27FC236}">
                  <a16:creationId xmlns:a16="http://schemas.microsoft.com/office/drawing/2014/main" xmlns="" id="{805AAA1D-387E-451C-8F6D-8CD5A945DC0F}"/>
                </a:ext>
              </a:extLst>
            </p:cNvPr>
            <p:cNvSpPr/>
            <p:nvPr/>
          </p:nvSpPr>
          <p:spPr>
            <a:xfrm>
              <a:off x="4217387" y="638182"/>
              <a:ext cx="834480" cy="834480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tx1">
                  <a:lumMod val="25000"/>
                  <a:lumOff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992" name="Group 991">
              <a:extLst>
                <a:ext uri="{FF2B5EF4-FFF2-40B4-BE49-F238E27FC236}">
                  <a16:creationId xmlns:a16="http://schemas.microsoft.com/office/drawing/2014/main" xmlns="" id="{02FB242B-8D25-4B40-B663-46C39D33941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64341" y="882716"/>
              <a:ext cx="375308" cy="375308"/>
              <a:chOff x="1358899" y="2193925"/>
              <a:chExt cx="390525" cy="390525"/>
            </a:xfrm>
          </p:grpSpPr>
          <p:sp>
            <p:nvSpPr>
              <p:cNvPr id="993" name="Rectangle: Rounded Corners 992">
                <a:extLst>
                  <a:ext uri="{FF2B5EF4-FFF2-40B4-BE49-F238E27FC236}">
                    <a16:creationId xmlns:a16="http://schemas.microsoft.com/office/drawing/2014/main" xmlns="" id="{8FDB5364-998E-49D7-A3D7-45AAC8593541}"/>
                  </a:ext>
                </a:extLst>
              </p:cNvPr>
              <p:cNvSpPr/>
              <p:nvPr/>
            </p:nvSpPr>
            <p:spPr>
              <a:xfrm>
                <a:off x="1358899" y="2193925"/>
                <a:ext cx="390525" cy="390525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grpSp>
            <p:nvGrpSpPr>
              <p:cNvPr id="994" name="Group 993">
                <a:extLst>
                  <a:ext uri="{FF2B5EF4-FFF2-40B4-BE49-F238E27FC236}">
                    <a16:creationId xmlns:a16="http://schemas.microsoft.com/office/drawing/2014/main" xmlns="" id="{B7832D58-FEAC-41FB-8C06-11F3270A16AC}"/>
                  </a:ext>
                </a:extLst>
              </p:cNvPr>
              <p:cNvGrpSpPr/>
              <p:nvPr/>
            </p:nvGrpSpPr>
            <p:grpSpPr>
              <a:xfrm>
                <a:off x="1420588" y="2248963"/>
                <a:ext cx="267146" cy="280448"/>
                <a:chOff x="1401763" y="2228851"/>
                <a:chExt cx="307974" cy="323308"/>
              </a:xfrm>
            </p:grpSpPr>
            <p:grpSp>
              <p:nvGrpSpPr>
                <p:cNvPr id="995" name="Group 994">
                  <a:extLst>
                    <a:ext uri="{FF2B5EF4-FFF2-40B4-BE49-F238E27FC236}">
                      <a16:creationId xmlns:a16="http://schemas.microsoft.com/office/drawing/2014/main" xmlns="" id="{3ED0D9C4-F594-43EC-B247-B65A00666113}"/>
                    </a:ext>
                  </a:extLst>
                </p:cNvPr>
                <p:cNvGrpSpPr/>
                <p:nvPr/>
              </p:nvGrpSpPr>
              <p:grpSpPr>
                <a:xfrm>
                  <a:off x="1482725" y="2295526"/>
                  <a:ext cx="227012" cy="256633"/>
                  <a:chOff x="1482725" y="2276476"/>
                  <a:chExt cx="227012" cy="256633"/>
                </a:xfrm>
                <a:solidFill>
                  <a:schemeClr val="bg2"/>
                </a:solidFill>
              </p:grpSpPr>
              <p:sp>
                <p:nvSpPr>
                  <p:cNvPr id="999" name="Freeform 33">
                    <a:extLst>
                      <a:ext uri="{FF2B5EF4-FFF2-40B4-BE49-F238E27FC236}">
                        <a16:creationId xmlns:a16="http://schemas.microsoft.com/office/drawing/2014/main" xmlns="" id="{9C347DE7-4DFF-4177-B802-25262C76A89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433639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000" name="Freeform 33">
                    <a:extLst>
                      <a:ext uri="{FF2B5EF4-FFF2-40B4-BE49-F238E27FC236}">
                        <a16:creationId xmlns:a16="http://schemas.microsoft.com/office/drawing/2014/main" xmlns="" id="{7FD4C2E3-04DA-4A9C-ABBB-002C5E33A2A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276476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996" name="Group 995">
                  <a:extLst>
                    <a:ext uri="{FF2B5EF4-FFF2-40B4-BE49-F238E27FC236}">
                      <a16:creationId xmlns:a16="http://schemas.microsoft.com/office/drawing/2014/main" xmlns="" id="{9E97E8B6-82C5-4AA2-9480-378C01257A4E}"/>
                    </a:ext>
                  </a:extLst>
                </p:cNvPr>
                <p:cNvGrpSpPr/>
                <p:nvPr/>
              </p:nvGrpSpPr>
              <p:grpSpPr>
                <a:xfrm flipH="1">
                  <a:off x="1401763" y="2228851"/>
                  <a:ext cx="227012" cy="256633"/>
                  <a:chOff x="1482725" y="2276476"/>
                  <a:chExt cx="227012" cy="256633"/>
                </a:xfrm>
              </p:grpSpPr>
              <p:sp>
                <p:nvSpPr>
                  <p:cNvPr id="997" name="Freeform 33">
                    <a:extLst>
                      <a:ext uri="{FF2B5EF4-FFF2-40B4-BE49-F238E27FC236}">
                        <a16:creationId xmlns:a16="http://schemas.microsoft.com/office/drawing/2014/main" xmlns="" id="{67CC0616-88AE-4C4C-8CD7-0D08DD62F10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433639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solidFill>
                    <a:srgbClr val="0050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998" name="Freeform 33">
                    <a:extLst>
                      <a:ext uri="{FF2B5EF4-FFF2-40B4-BE49-F238E27FC236}">
                        <a16:creationId xmlns:a16="http://schemas.microsoft.com/office/drawing/2014/main" xmlns="" id="{702C2F75-D947-4686-828F-E758C76F238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276476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solidFill>
                    <a:srgbClr val="0050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</p:grpSp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AD6EEB41-A772-45B3-B1DC-817A0FA6DA6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7455959" y="638182"/>
            <a:ext cx="834480" cy="834480"/>
            <a:chOff x="7455959" y="638182"/>
            <a:chExt cx="834480" cy="834480"/>
          </a:xfrm>
        </p:grpSpPr>
        <p:sp>
          <p:nvSpPr>
            <p:cNvPr id="939" name="Oval 938">
              <a:extLst>
                <a:ext uri="{FF2B5EF4-FFF2-40B4-BE49-F238E27FC236}">
                  <a16:creationId xmlns:a16="http://schemas.microsoft.com/office/drawing/2014/main" xmlns="" id="{24997AFF-E0F7-44EE-A2AD-2BA26BAF4974}"/>
                </a:ext>
              </a:extLst>
            </p:cNvPr>
            <p:cNvSpPr/>
            <p:nvPr/>
          </p:nvSpPr>
          <p:spPr>
            <a:xfrm>
              <a:off x="7455959" y="638182"/>
              <a:ext cx="834480" cy="834480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tx1">
                  <a:lumMod val="25000"/>
                  <a:lumOff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1001" name="Group 1000">
              <a:extLst>
                <a:ext uri="{FF2B5EF4-FFF2-40B4-BE49-F238E27FC236}">
                  <a16:creationId xmlns:a16="http://schemas.microsoft.com/office/drawing/2014/main" xmlns="" id="{4B9B13FB-469D-4D7C-BFA0-0408125A022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646205" y="896609"/>
              <a:ext cx="475528" cy="344676"/>
              <a:chOff x="4207537" y="2273730"/>
              <a:chExt cx="598923" cy="434116"/>
            </a:xfrm>
          </p:grpSpPr>
          <p:grpSp>
            <p:nvGrpSpPr>
              <p:cNvPr id="1002" name="Group 1001">
                <a:extLst>
                  <a:ext uri="{FF2B5EF4-FFF2-40B4-BE49-F238E27FC236}">
                    <a16:creationId xmlns:a16="http://schemas.microsoft.com/office/drawing/2014/main" xmlns="" id="{2080B95E-9273-4671-A4E0-EDC1966DCEEF}"/>
                  </a:ext>
                </a:extLst>
              </p:cNvPr>
              <p:cNvGrpSpPr/>
              <p:nvPr/>
            </p:nvGrpSpPr>
            <p:grpSpPr>
              <a:xfrm>
                <a:off x="4207537" y="2273730"/>
                <a:ext cx="179387" cy="434116"/>
                <a:chOff x="2330274" y="3840316"/>
                <a:chExt cx="238125" cy="576262"/>
              </a:xfrm>
            </p:grpSpPr>
            <p:sp>
              <p:nvSpPr>
                <p:cNvPr id="1017" name="Freeform 201">
                  <a:extLst>
                    <a:ext uri="{FF2B5EF4-FFF2-40B4-BE49-F238E27FC236}">
                      <a16:creationId xmlns:a16="http://schemas.microsoft.com/office/drawing/2014/main" xmlns="" id="{79E17B40-CD75-4F23-91D9-03D024F49E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274" y="3840316"/>
                  <a:ext cx="238125" cy="576262"/>
                </a:xfrm>
                <a:custGeom>
                  <a:avLst/>
                  <a:gdLst>
                    <a:gd name="T0" fmla="*/ 84 w 101"/>
                    <a:gd name="T1" fmla="*/ 243 h 243"/>
                    <a:gd name="T2" fmla="*/ 17 w 101"/>
                    <a:gd name="T3" fmla="*/ 243 h 243"/>
                    <a:gd name="T4" fmla="*/ 0 w 101"/>
                    <a:gd name="T5" fmla="*/ 226 h 243"/>
                    <a:gd name="T6" fmla="*/ 0 w 101"/>
                    <a:gd name="T7" fmla="*/ 17 h 243"/>
                    <a:gd name="T8" fmla="*/ 17 w 101"/>
                    <a:gd name="T9" fmla="*/ 0 h 243"/>
                    <a:gd name="T10" fmla="*/ 84 w 101"/>
                    <a:gd name="T11" fmla="*/ 0 h 243"/>
                    <a:gd name="T12" fmla="*/ 101 w 101"/>
                    <a:gd name="T13" fmla="*/ 17 h 243"/>
                    <a:gd name="T14" fmla="*/ 101 w 101"/>
                    <a:gd name="T15" fmla="*/ 226 h 243"/>
                    <a:gd name="T16" fmla="*/ 84 w 101"/>
                    <a:gd name="T17" fmla="*/ 243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" h="243">
                      <a:moveTo>
                        <a:pt x="84" y="243"/>
                      </a:moveTo>
                      <a:cubicBezTo>
                        <a:pt x="17" y="243"/>
                        <a:pt x="17" y="243"/>
                        <a:pt x="17" y="243"/>
                      </a:cubicBezTo>
                      <a:cubicBezTo>
                        <a:pt x="8" y="243"/>
                        <a:pt x="0" y="235"/>
                        <a:pt x="0" y="226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7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93" y="0"/>
                        <a:pt x="101" y="8"/>
                        <a:pt x="101" y="17"/>
                      </a:cubicBezTo>
                      <a:cubicBezTo>
                        <a:pt x="101" y="226"/>
                        <a:pt x="101" y="226"/>
                        <a:pt x="101" y="226"/>
                      </a:cubicBezTo>
                      <a:cubicBezTo>
                        <a:pt x="101" y="235"/>
                        <a:pt x="93" y="243"/>
                        <a:pt x="84" y="24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18" name="Line 202">
                  <a:extLst>
                    <a:ext uri="{FF2B5EF4-FFF2-40B4-BE49-F238E27FC236}">
                      <a16:creationId xmlns:a16="http://schemas.microsoft.com/office/drawing/2014/main" xmlns="" id="{8543E6E8-CEB0-4CFE-8517-44341E94126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10166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19" name="Line 203">
                  <a:extLst>
                    <a:ext uri="{FF2B5EF4-FFF2-40B4-BE49-F238E27FC236}">
                      <a16:creationId xmlns:a16="http://schemas.microsoft.com/office/drawing/2014/main" xmlns="" id="{A19130E3-4B07-4013-9D7C-710B9EC380A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816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20" name="Line 204">
                  <a:extLst>
                    <a:ext uri="{FF2B5EF4-FFF2-40B4-BE49-F238E27FC236}">
                      <a16:creationId xmlns:a16="http://schemas.microsoft.com/office/drawing/2014/main" xmlns="" id="{EA0FE66E-DC66-4A53-975F-741B242DAAC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05145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21" name="Line 205">
                  <a:extLst>
                    <a:ext uri="{FF2B5EF4-FFF2-40B4-BE49-F238E27FC236}">
                      <a16:creationId xmlns:a16="http://schemas.microsoft.com/office/drawing/2014/main" xmlns="" id="{92622006-44AA-448F-9D42-0E0D4C80750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213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22" name="Line 206">
                  <a:extLst>
                    <a:ext uri="{FF2B5EF4-FFF2-40B4-BE49-F238E27FC236}">
                      <a16:creationId xmlns:a16="http://schemas.microsoft.com/office/drawing/2014/main" xmlns="" id="{4A82B445-792A-4EFC-A9B8-516AFE6A3E1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92741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  <p:grpSp>
            <p:nvGrpSpPr>
              <p:cNvPr id="1003" name="Group 1002">
                <a:extLst>
                  <a:ext uri="{FF2B5EF4-FFF2-40B4-BE49-F238E27FC236}">
                    <a16:creationId xmlns:a16="http://schemas.microsoft.com/office/drawing/2014/main" xmlns="" id="{E0EE7F73-1F0F-49A2-8F21-143379F04869}"/>
                  </a:ext>
                </a:extLst>
              </p:cNvPr>
              <p:cNvGrpSpPr/>
              <p:nvPr/>
            </p:nvGrpSpPr>
            <p:grpSpPr>
              <a:xfrm>
                <a:off x="4417305" y="2273730"/>
                <a:ext cx="179387" cy="434116"/>
                <a:chOff x="2330274" y="3840316"/>
                <a:chExt cx="238125" cy="576262"/>
              </a:xfrm>
            </p:grpSpPr>
            <p:sp>
              <p:nvSpPr>
                <p:cNvPr id="1011" name="Freeform 201">
                  <a:extLst>
                    <a:ext uri="{FF2B5EF4-FFF2-40B4-BE49-F238E27FC236}">
                      <a16:creationId xmlns:a16="http://schemas.microsoft.com/office/drawing/2014/main" xmlns="" id="{5C260912-0000-47C6-961D-CAA706F735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274" y="3840316"/>
                  <a:ext cx="238125" cy="576262"/>
                </a:xfrm>
                <a:custGeom>
                  <a:avLst/>
                  <a:gdLst>
                    <a:gd name="T0" fmla="*/ 84 w 101"/>
                    <a:gd name="T1" fmla="*/ 243 h 243"/>
                    <a:gd name="T2" fmla="*/ 17 w 101"/>
                    <a:gd name="T3" fmla="*/ 243 h 243"/>
                    <a:gd name="T4" fmla="*/ 0 w 101"/>
                    <a:gd name="T5" fmla="*/ 226 h 243"/>
                    <a:gd name="T6" fmla="*/ 0 w 101"/>
                    <a:gd name="T7" fmla="*/ 17 h 243"/>
                    <a:gd name="T8" fmla="*/ 17 w 101"/>
                    <a:gd name="T9" fmla="*/ 0 h 243"/>
                    <a:gd name="T10" fmla="*/ 84 w 101"/>
                    <a:gd name="T11" fmla="*/ 0 h 243"/>
                    <a:gd name="T12" fmla="*/ 101 w 101"/>
                    <a:gd name="T13" fmla="*/ 17 h 243"/>
                    <a:gd name="T14" fmla="*/ 101 w 101"/>
                    <a:gd name="T15" fmla="*/ 226 h 243"/>
                    <a:gd name="T16" fmla="*/ 84 w 101"/>
                    <a:gd name="T17" fmla="*/ 243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" h="243">
                      <a:moveTo>
                        <a:pt x="84" y="243"/>
                      </a:moveTo>
                      <a:cubicBezTo>
                        <a:pt x="17" y="243"/>
                        <a:pt x="17" y="243"/>
                        <a:pt x="17" y="243"/>
                      </a:cubicBezTo>
                      <a:cubicBezTo>
                        <a:pt x="8" y="243"/>
                        <a:pt x="0" y="235"/>
                        <a:pt x="0" y="226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7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93" y="0"/>
                        <a:pt x="101" y="8"/>
                        <a:pt x="101" y="17"/>
                      </a:cubicBezTo>
                      <a:cubicBezTo>
                        <a:pt x="101" y="226"/>
                        <a:pt x="101" y="226"/>
                        <a:pt x="101" y="226"/>
                      </a:cubicBezTo>
                      <a:cubicBezTo>
                        <a:pt x="101" y="235"/>
                        <a:pt x="93" y="243"/>
                        <a:pt x="84" y="24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12" name="Line 202">
                  <a:extLst>
                    <a:ext uri="{FF2B5EF4-FFF2-40B4-BE49-F238E27FC236}">
                      <a16:creationId xmlns:a16="http://schemas.microsoft.com/office/drawing/2014/main" xmlns="" id="{20D1C914-92C8-402B-9EA1-64ECF1B3C71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10166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13" name="Line 203">
                  <a:extLst>
                    <a:ext uri="{FF2B5EF4-FFF2-40B4-BE49-F238E27FC236}">
                      <a16:creationId xmlns:a16="http://schemas.microsoft.com/office/drawing/2014/main" xmlns="" id="{1775BCE7-D413-48DD-B3D6-02344549AAE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816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14" name="Line 204">
                  <a:extLst>
                    <a:ext uri="{FF2B5EF4-FFF2-40B4-BE49-F238E27FC236}">
                      <a16:creationId xmlns:a16="http://schemas.microsoft.com/office/drawing/2014/main" xmlns="" id="{34A443DB-57E8-4888-A493-67F17B003D7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05145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15" name="Line 205">
                  <a:extLst>
                    <a:ext uri="{FF2B5EF4-FFF2-40B4-BE49-F238E27FC236}">
                      <a16:creationId xmlns:a16="http://schemas.microsoft.com/office/drawing/2014/main" xmlns="" id="{3B6D30A0-0719-4532-B956-DA3419D293C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213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16" name="Line 206">
                  <a:extLst>
                    <a:ext uri="{FF2B5EF4-FFF2-40B4-BE49-F238E27FC236}">
                      <a16:creationId xmlns:a16="http://schemas.microsoft.com/office/drawing/2014/main" xmlns="" id="{2B84EDD1-253D-455F-A8E1-131D11618C4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92741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  <p:grpSp>
            <p:nvGrpSpPr>
              <p:cNvPr id="1004" name="Group 1003">
                <a:extLst>
                  <a:ext uri="{FF2B5EF4-FFF2-40B4-BE49-F238E27FC236}">
                    <a16:creationId xmlns:a16="http://schemas.microsoft.com/office/drawing/2014/main" xmlns="" id="{B493653E-D750-4FDE-8145-12D3D570F8FF}"/>
                  </a:ext>
                </a:extLst>
              </p:cNvPr>
              <p:cNvGrpSpPr/>
              <p:nvPr/>
            </p:nvGrpSpPr>
            <p:grpSpPr>
              <a:xfrm>
                <a:off x="4627073" y="2273730"/>
                <a:ext cx="179387" cy="434116"/>
                <a:chOff x="2330274" y="3840316"/>
                <a:chExt cx="238125" cy="576262"/>
              </a:xfrm>
            </p:grpSpPr>
            <p:sp>
              <p:nvSpPr>
                <p:cNvPr id="1005" name="Freeform 201">
                  <a:extLst>
                    <a:ext uri="{FF2B5EF4-FFF2-40B4-BE49-F238E27FC236}">
                      <a16:creationId xmlns:a16="http://schemas.microsoft.com/office/drawing/2014/main" xmlns="" id="{34AEE5D9-4260-4009-95C4-EFD70EA9FE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274" y="3840316"/>
                  <a:ext cx="238125" cy="576262"/>
                </a:xfrm>
                <a:custGeom>
                  <a:avLst/>
                  <a:gdLst>
                    <a:gd name="T0" fmla="*/ 84 w 101"/>
                    <a:gd name="T1" fmla="*/ 243 h 243"/>
                    <a:gd name="T2" fmla="*/ 17 w 101"/>
                    <a:gd name="T3" fmla="*/ 243 h 243"/>
                    <a:gd name="T4" fmla="*/ 0 w 101"/>
                    <a:gd name="T5" fmla="*/ 226 h 243"/>
                    <a:gd name="T6" fmla="*/ 0 w 101"/>
                    <a:gd name="T7" fmla="*/ 17 h 243"/>
                    <a:gd name="T8" fmla="*/ 17 w 101"/>
                    <a:gd name="T9" fmla="*/ 0 h 243"/>
                    <a:gd name="T10" fmla="*/ 84 w 101"/>
                    <a:gd name="T11" fmla="*/ 0 h 243"/>
                    <a:gd name="T12" fmla="*/ 101 w 101"/>
                    <a:gd name="T13" fmla="*/ 17 h 243"/>
                    <a:gd name="T14" fmla="*/ 101 w 101"/>
                    <a:gd name="T15" fmla="*/ 226 h 243"/>
                    <a:gd name="T16" fmla="*/ 84 w 101"/>
                    <a:gd name="T17" fmla="*/ 243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" h="243">
                      <a:moveTo>
                        <a:pt x="84" y="243"/>
                      </a:moveTo>
                      <a:cubicBezTo>
                        <a:pt x="17" y="243"/>
                        <a:pt x="17" y="243"/>
                        <a:pt x="17" y="243"/>
                      </a:cubicBezTo>
                      <a:cubicBezTo>
                        <a:pt x="8" y="243"/>
                        <a:pt x="0" y="235"/>
                        <a:pt x="0" y="226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7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93" y="0"/>
                        <a:pt x="101" y="8"/>
                        <a:pt x="101" y="17"/>
                      </a:cubicBezTo>
                      <a:cubicBezTo>
                        <a:pt x="101" y="226"/>
                        <a:pt x="101" y="226"/>
                        <a:pt x="101" y="226"/>
                      </a:cubicBezTo>
                      <a:cubicBezTo>
                        <a:pt x="101" y="235"/>
                        <a:pt x="93" y="243"/>
                        <a:pt x="84" y="24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06" name="Line 202">
                  <a:extLst>
                    <a:ext uri="{FF2B5EF4-FFF2-40B4-BE49-F238E27FC236}">
                      <a16:creationId xmlns:a16="http://schemas.microsoft.com/office/drawing/2014/main" xmlns="" id="{7871212B-EFFE-4257-9E7D-2D038D81E6A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10166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07" name="Line 203">
                  <a:extLst>
                    <a:ext uri="{FF2B5EF4-FFF2-40B4-BE49-F238E27FC236}">
                      <a16:creationId xmlns:a16="http://schemas.microsoft.com/office/drawing/2014/main" xmlns="" id="{BC1D2B39-C8FB-4C10-9C4C-A4D3074C43C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816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08" name="Line 204">
                  <a:extLst>
                    <a:ext uri="{FF2B5EF4-FFF2-40B4-BE49-F238E27FC236}">
                      <a16:creationId xmlns:a16="http://schemas.microsoft.com/office/drawing/2014/main" xmlns="" id="{3EF2084F-D36F-43A6-94E1-4E1708AF463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05145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09" name="Line 205">
                  <a:extLst>
                    <a:ext uri="{FF2B5EF4-FFF2-40B4-BE49-F238E27FC236}">
                      <a16:creationId xmlns:a16="http://schemas.microsoft.com/office/drawing/2014/main" xmlns="" id="{CEDEE9B8-F855-4258-9C62-8D4DC85EC1F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213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10" name="Line 206">
                  <a:extLst>
                    <a:ext uri="{FF2B5EF4-FFF2-40B4-BE49-F238E27FC236}">
                      <a16:creationId xmlns:a16="http://schemas.microsoft.com/office/drawing/2014/main" xmlns="" id="{64A86DEA-64FE-4494-A6F9-383CBF5F478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92741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D06966B3-5A70-4110-AF18-6CB95A55BAC2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5734768" y="303257"/>
            <a:ext cx="834480" cy="834480"/>
            <a:chOff x="5734768" y="303257"/>
            <a:chExt cx="834480" cy="83448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xmlns="" id="{FD589151-F33A-4930-851A-FFAE0EBF8129}"/>
                </a:ext>
              </a:extLst>
            </p:cNvPr>
            <p:cNvSpPr/>
            <p:nvPr/>
          </p:nvSpPr>
          <p:spPr>
            <a:xfrm>
              <a:off x="5734768" y="303257"/>
              <a:ext cx="834480" cy="834480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tx1">
                  <a:lumMod val="25000"/>
                  <a:lumOff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1023" name="Group 1022">
              <a:extLst>
                <a:ext uri="{FF2B5EF4-FFF2-40B4-BE49-F238E27FC236}">
                  <a16:creationId xmlns:a16="http://schemas.microsoft.com/office/drawing/2014/main" xmlns="" id="{7823252E-8439-46B9-8A66-6A324D52DF7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897203" y="559947"/>
              <a:ext cx="535398" cy="295156"/>
              <a:chOff x="572756" y="4356495"/>
              <a:chExt cx="701979" cy="386989"/>
            </a:xfrm>
          </p:grpSpPr>
          <p:sp>
            <p:nvSpPr>
              <p:cNvPr id="1024" name="Freeform 294">
                <a:extLst>
                  <a:ext uri="{FF2B5EF4-FFF2-40B4-BE49-F238E27FC236}">
                    <a16:creationId xmlns:a16="http://schemas.microsoft.com/office/drawing/2014/main" xmlns="" id="{6217F948-5C74-4B4F-83C3-22DB0297778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572756" y="4701485"/>
                <a:ext cx="701979" cy="41999"/>
              </a:xfrm>
              <a:custGeom>
                <a:avLst/>
                <a:gdLst>
                  <a:gd name="T0" fmla="*/ 288 w 297"/>
                  <a:gd name="T1" fmla="*/ 18 h 18"/>
                  <a:gd name="T2" fmla="*/ 10 w 297"/>
                  <a:gd name="T3" fmla="*/ 18 h 18"/>
                  <a:gd name="T4" fmla="*/ 0 w 297"/>
                  <a:gd name="T5" fmla="*/ 9 h 18"/>
                  <a:gd name="T6" fmla="*/ 10 w 297"/>
                  <a:gd name="T7" fmla="*/ 0 h 18"/>
                  <a:gd name="T8" fmla="*/ 288 w 297"/>
                  <a:gd name="T9" fmla="*/ 0 h 18"/>
                  <a:gd name="T10" fmla="*/ 297 w 297"/>
                  <a:gd name="T11" fmla="*/ 9 h 18"/>
                  <a:gd name="T12" fmla="*/ 288 w 297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7" h="18">
                    <a:moveTo>
                      <a:pt x="288" y="18"/>
                    </a:moveTo>
                    <a:cubicBezTo>
                      <a:pt x="10" y="18"/>
                      <a:pt x="10" y="18"/>
                      <a:pt x="10" y="18"/>
                    </a:cubicBezTo>
                    <a:cubicBezTo>
                      <a:pt x="4" y="18"/>
                      <a:pt x="0" y="14"/>
                      <a:pt x="0" y="9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288" y="0"/>
                      <a:pt x="288" y="0"/>
                      <a:pt x="288" y="0"/>
                    </a:cubicBezTo>
                    <a:cubicBezTo>
                      <a:pt x="293" y="0"/>
                      <a:pt x="297" y="4"/>
                      <a:pt x="297" y="9"/>
                    </a:cubicBezTo>
                    <a:cubicBezTo>
                      <a:pt x="297" y="14"/>
                      <a:pt x="293" y="18"/>
                      <a:pt x="288" y="1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25" name="Freeform 295">
                <a:extLst>
                  <a:ext uri="{FF2B5EF4-FFF2-40B4-BE49-F238E27FC236}">
                    <a16:creationId xmlns:a16="http://schemas.microsoft.com/office/drawing/2014/main" xmlns="" id="{89BD8498-122E-4DFE-AB35-864F1E20D1BB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650754" y="4356495"/>
                <a:ext cx="545983" cy="306991"/>
              </a:xfrm>
              <a:custGeom>
                <a:avLst/>
                <a:gdLst>
                  <a:gd name="T0" fmla="*/ 216 w 231"/>
                  <a:gd name="T1" fmla="*/ 11 h 130"/>
                  <a:gd name="T2" fmla="*/ 221 w 231"/>
                  <a:gd name="T3" fmla="*/ 16 h 130"/>
                  <a:gd name="T4" fmla="*/ 221 w 231"/>
                  <a:gd name="T5" fmla="*/ 115 h 130"/>
                  <a:gd name="T6" fmla="*/ 216 w 231"/>
                  <a:gd name="T7" fmla="*/ 120 h 130"/>
                  <a:gd name="T8" fmla="*/ 15 w 231"/>
                  <a:gd name="T9" fmla="*/ 120 h 130"/>
                  <a:gd name="T10" fmla="*/ 10 w 231"/>
                  <a:gd name="T11" fmla="*/ 115 h 130"/>
                  <a:gd name="T12" fmla="*/ 10 w 231"/>
                  <a:gd name="T13" fmla="*/ 16 h 130"/>
                  <a:gd name="T14" fmla="*/ 15 w 231"/>
                  <a:gd name="T15" fmla="*/ 11 h 130"/>
                  <a:gd name="T16" fmla="*/ 216 w 231"/>
                  <a:gd name="T17" fmla="*/ 11 h 130"/>
                  <a:gd name="T18" fmla="*/ 216 w 231"/>
                  <a:gd name="T19" fmla="*/ 0 h 130"/>
                  <a:gd name="T20" fmla="*/ 15 w 231"/>
                  <a:gd name="T21" fmla="*/ 0 h 130"/>
                  <a:gd name="T22" fmla="*/ 0 w 231"/>
                  <a:gd name="T23" fmla="*/ 16 h 130"/>
                  <a:gd name="T24" fmla="*/ 0 w 231"/>
                  <a:gd name="T25" fmla="*/ 115 h 130"/>
                  <a:gd name="T26" fmla="*/ 15 w 231"/>
                  <a:gd name="T27" fmla="*/ 130 h 130"/>
                  <a:gd name="T28" fmla="*/ 216 w 231"/>
                  <a:gd name="T29" fmla="*/ 130 h 130"/>
                  <a:gd name="T30" fmla="*/ 231 w 231"/>
                  <a:gd name="T31" fmla="*/ 115 h 130"/>
                  <a:gd name="T32" fmla="*/ 231 w 231"/>
                  <a:gd name="T33" fmla="*/ 16 h 130"/>
                  <a:gd name="T34" fmla="*/ 216 w 231"/>
                  <a:gd name="T35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1" h="130">
                    <a:moveTo>
                      <a:pt x="216" y="11"/>
                    </a:moveTo>
                    <a:cubicBezTo>
                      <a:pt x="219" y="11"/>
                      <a:pt x="221" y="13"/>
                      <a:pt x="221" y="16"/>
                    </a:cubicBezTo>
                    <a:cubicBezTo>
                      <a:pt x="221" y="115"/>
                      <a:pt x="221" y="115"/>
                      <a:pt x="221" y="115"/>
                    </a:cubicBezTo>
                    <a:cubicBezTo>
                      <a:pt x="221" y="118"/>
                      <a:pt x="219" y="120"/>
                      <a:pt x="216" y="120"/>
                    </a:cubicBezTo>
                    <a:cubicBezTo>
                      <a:pt x="15" y="120"/>
                      <a:pt x="15" y="120"/>
                      <a:pt x="15" y="120"/>
                    </a:cubicBezTo>
                    <a:cubicBezTo>
                      <a:pt x="12" y="120"/>
                      <a:pt x="10" y="118"/>
                      <a:pt x="10" y="115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13"/>
                      <a:pt x="12" y="11"/>
                      <a:pt x="15" y="11"/>
                    </a:cubicBezTo>
                    <a:cubicBezTo>
                      <a:pt x="216" y="11"/>
                      <a:pt x="216" y="11"/>
                      <a:pt x="216" y="11"/>
                    </a:cubicBezTo>
                    <a:moveTo>
                      <a:pt x="216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23"/>
                      <a:pt x="7" y="130"/>
                      <a:pt x="15" y="130"/>
                    </a:cubicBezTo>
                    <a:cubicBezTo>
                      <a:pt x="216" y="130"/>
                      <a:pt x="216" y="130"/>
                      <a:pt x="216" y="130"/>
                    </a:cubicBezTo>
                    <a:cubicBezTo>
                      <a:pt x="224" y="130"/>
                      <a:pt x="231" y="123"/>
                      <a:pt x="231" y="115"/>
                    </a:cubicBezTo>
                    <a:cubicBezTo>
                      <a:pt x="231" y="16"/>
                      <a:pt x="231" y="16"/>
                      <a:pt x="231" y="16"/>
                    </a:cubicBezTo>
                    <a:cubicBezTo>
                      <a:pt x="231" y="7"/>
                      <a:pt x="224" y="0"/>
                      <a:pt x="21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4D32D8DD-C5FB-48CE-9D1A-0E6CF4D6B0F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910404" y="1779881"/>
            <a:ext cx="834480" cy="834480"/>
            <a:chOff x="3910404" y="1779881"/>
            <a:chExt cx="834480" cy="834480"/>
          </a:xfrm>
        </p:grpSpPr>
        <p:sp>
          <p:nvSpPr>
            <p:cNvPr id="937" name="Oval 936">
              <a:extLst>
                <a:ext uri="{FF2B5EF4-FFF2-40B4-BE49-F238E27FC236}">
                  <a16:creationId xmlns:a16="http://schemas.microsoft.com/office/drawing/2014/main" xmlns="" id="{C6C8B9E3-D857-4F3B-AFED-04BABF2B4321}"/>
                </a:ext>
              </a:extLst>
            </p:cNvPr>
            <p:cNvSpPr/>
            <p:nvPr/>
          </p:nvSpPr>
          <p:spPr>
            <a:xfrm>
              <a:off x="3910404" y="1779881"/>
              <a:ext cx="834480" cy="834480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tx1">
                  <a:lumMod val="25000"/>
                  <a:lumOff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1026" name="Group 1025">
              <a:extLst>
                <a:ext uri="{FF2B5EF4-FFF2-40B4-BE49-F238E27FC236}">
                  <a16:creationId xmlns:a16="http://schemas.microsoft.com/office/drawing/2014/main" xmlns="" id="{56495E04-9EFB-47BA-91C7-56F98347A7D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42631" y="2010436"/>
              <a:ext cx="193079" cy="334285"/>
              <a:chOff x="856747" y="3909509"/>
              <a:chExt cx="133996" cy="231993"/>
            </a:xfrm>
          </p:grpSpPr>
          <p:sp>
            <p:nvSpPr>
              <p:cNvPr id="1033" name="Freeform 309">
                <a:extLst>
                  <a:ext uri="{FF2B5EF4-FFF2-40B4-BE49-F238E27FC236}">
                    <a16:creationId xmlns:a16="http://schemas.microsoft.com/office/drawing/2014/main" xmlns="" id="{64A11FBC-7EE1-42DA-8113-C3780507CF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5746" y="3909509"/>
                <a:ext cx="35999" cy="2000"/>
              </a:xfrm>
              <a:custGeom>
                <a:avLst/>
                <a:gdLst>
                  <a:gd name="T0" fmla="*/ 15 w 15"/>
                  <a:gd name="T1" fmla="*/ 1 h 1"/>
                  <a:gd name="T2" fmla="*/ 0 w 15"/>
                  <a:gd name="T3" fmla="*/ 1 h 1"/>
                  <a:gd name="T4" fmla="*/ 0 w 15"/>
                  <a:gd name="T5" fmla="*/ 1 h 1"/>
                  <a:gd name="T6" fmla="*/ 0 w 15"/>
                  <a:gd name="T7" fmla="*/ 0 h 1"/>
                  <a:gd name="T8" fmla="*/ 15 w 15"/>
                  <a:gd name="T9" fmla="*/ 0 h 1"/>
                  <a:gd name="T10" fmla="*/ 15 w 15"/>
                  <a:gd name="T11" fmla="*/ 1 h 1"/>
                  <a:gd name="T12" fmla="*/ 15 w 15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">
                    <a:moveTo>
                      <a:pt x="15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35" name="Rectangle 311">
                <a:extLst>
                  <a:ext uri="{FF2B5EF4-FFF2-40B4-BE49-F238E27FC236}">
                    <a16:creationId xmlns:a16="http://schemas.microsoft.com/office/drawing/2014/main" xmlns="" id="{54462EBD-47E3-42F1-8455-455518748C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6747" y="3935508"/>
                <a:ext cx="133996" cy="2059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87398061-CAB9-414C-93F4-87512BFEFC23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5734768" y="2322728"/>
            <a:ext cx="834480" cy="834480"/>
            <a:chOff x="5734768" y="2322728"/>
            <a:chExt cx="834480" cy="834480"/>
          </a:xfrm>
        </p:grpSpPr>
        <p:sp>
          <p:nvSpPr>
            <p:cNvPr id="935" name="Oval 934">
              <a:extLst>
                <a:ext uri="{FF2B5EF4-FFF2-40B4-BE49-F238E27FC236}">
                  <a16:creationId xmlns:a16="http://schemas.microsoft.com/office/drawing/2014/main" xmlns="" id="{F55EF74D-1C21-4BDF-AC47-99ECB64001E4}"/>
                </a:ext>
              </a:extLst>
            </p:cNvPr>
            <p:cNvSpPr/>
            <p:nvPr/>
          </p:nvSpPr>
          <p:spPr>
            <a:xfrm>
              <a:off x="5734768" y="2322728"/>
              <a:ext cx="834480" cy="834480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tx1">
                  <a:lumMod val="25000"/>
                  <a:lumOff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039" name="Freeform 314">
              <a:extLst>
                <a:ext uri="{FF2B5EF4-FFF2-40B4-BE49-F238E27FC236}">
                  <a16:creationId xmlns:a16="http://schemas.microsoft.com/office/drawing/2014/main" xmlns="" id="{1DF81737-36E2-481F-A609-57ECA3CF73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617" y="2738248"/>
              <a:ext cx="57310" cy="4022"/>
            </a:xfrm>
            <a:custGeom>
              <a:avLst/>
              <a:gdLst>
                <a:gd name="T0" fmla="*/ 23 w 24"/>
                <a:gd name="T1" fmla="*/ 2 h 2"/>
                <a:gd name="T2" fmla="*/ 1 w 24"/>
                <a:gd name="T3" fmla="*/ 2 h 2"/>
                <a:gd name="T4" fmla="*/ 0 w 24"/>
                <a:gd name="T5" fmla="*/ 1 h 2"/>
                <a:gd name="T6" fmla="*/ 1 w 24"/>
                <a:gd name="T7" fmla="*/ 0 h 2"/>
                <a:gd name="T8" fmla="*/ 23 w 24"/>
                <a:gd name="T9" fmla="*/ 0 h 2"/>
                <a:gd name="T10" fmla="*/ 24 w 24"/>
                <a:gd name="T11" fmla="*/ 1 h 2"/>
                <a:gd name="T12" fmla="*/ 23 w 24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">
                  <a:moveTo>
                    <a:pt x="23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4" y="0"/>
                    <a:pt x="24" y="1"/>
                  </a:cubicBezTo>
                  <a:cubicBezTo>
                    <a:pt x="24" y="2"/>
                    <a:pt x="23" y="2"/>
                    <a:pt x="2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sp>
        <p:nvSpPr>
          <p:cNvPr id="4" name="Oval 3">
            <a:extLst>
              <a:ext uri="{FF2B5EF4-FFF2-40B4-BE49-F238E27FC236}">
                <a16:creationId xmlns:a16="http://schemas.microsoft.com/office/drawing/2014/main" xmlns="" id="{2CAE03AC-733C-4E13-8BD4-97B5EFE8E4E6}"/>
              </a:ext>
            </a:extLst>
          </p:cNvPr>
          <p:cNvSpPr/>
          <p:nvPr/>
        </p:nvSpPr>
        <p:spPr>
          <a:xfrm>
            <a:off x="4998272" y="1317775"/>
            <a:ext cx="2260182" cy="973378"/>
          </a:xfrm>
          <a:prstGeom prst="ellipse">
            <a:avLst/>
          </a:prstGeom>
          <a:gradFill flip="none" rotWithShape="1">
            <a:gsLst>
              <a:gs pos="0">
                <a:schemeClr val="bg2"/>
              </a:gs>
              <a:gs pos="74000">
                <a:schemeClr val="bg2">
                  <a:alpha val="59000"/>
                </a:schemeClr>
              </a:gs>
              <a:gs pos="100000">
                <a:schemeClr val="bg2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35BABFB-2ED5-42F3-8740-E9C25D266901}"/>
              </a:ext>
            </a:extLst>
          </p:cNvPr>
          <p:cNvSpPr/>
          <p:nvPr/>
        </p:nvSpPr>
        <p:spPr>
          <a:xfrm>
            <a:off x="4796500" y="1612206"/>
            <a:ext cx="27093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smtClean="0">
                <a:solidFill>
                  <a:srgbClr val="005073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Production &amp; IT Network</a:t>
            </a:r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xmlns="" id="{A0146816-C1D1-4696-9B1A-BC415E092385}"/>
              </a:ext>
            </a:extLst>
          </p:cNvPr>
          <p:cNvGrpSpPr/>
          <p:nvPr/>
        </p:nvGrpSpPr>
        <p:grpSpPr>
          <a:xfrm>
            <a:off x="4043764" y="326983"/>
            <a:ext cx="531191" cy="465927"/>
            <a:chOff x="3719147" y="303257"/>
            <a:chExt cx="531191" cy="465927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xmlns="" id="{277208A6-991E-4C62-9B54-BAD84BEA2602}"/>
                </a:ext>
              </a:extLst>
            </p:cNvPr>
            <p:cNvGrpSpPr/>
            <p:nvPr/>
          </p:nvGrpSpPr>
          <p:grpSpPr>
            <a:xfrm>
              <a:off x="3719147" y="303257"/>
              <a:ext cx="531191" cy="465927"/>
              <a:chOff x="3719147" y="303257"/>
              <a:chExt cx="531191" cy="465927"/>
            </a:xfrm>
          </p:grpSpPr>
          <p:sp>
            <p:nvSpPr>
              <p:cNvPr id="43" name="Rectangle: Rounded Corners 42">
                <a:extLst>
                  <a:ext uri="{FF2B5EF4-FFF2-40B4-BE49-F238E27FC236}">
                    <a16:creationId xmlns:a16="http://schemas.microsoft.com/office/drawing/2014/main" xmlns="" id="{79BBB845-0DC9-4E42-8AA2-4DFAB9EBDA58}"/>
                  </a:ext>
                </a:extLst>
              </p:cNvPr>
              <p:cNvSpPr/>
              <p:nvPr/>
            </p:nvSpPr>
            <p:spPr>
              <a:xfrm>
                <a:off x="3719147" y="303257"/>
                <a:ext cx="531191" cy="379815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44" name="Isosceles Triangle 43">
                <a:extLst>
                  <a:ext uri="{FF2B5EF4-FFF2-40B4-BE49-F238E27FC236}">
                    <a16:creationId xmlns:a16="http://schemas.microsoft.com/office/drawing/2014/main" xmlns="" id="{8E74BD98-E086-4E72-A309-716CC903AECD}"/>
                  </a:ext>
                </a:extLst>
              </p:cNvPr>
              <p:cNvSpPr/>
              <p:nvPr/>
            </p:nvSpPr>
            <p:spPr>
              <a:xfrm flipV="1">
                <a:off x="3995204" y="600121"/>
                <a:ext cx="196113" cy="169063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xmlns="" id="{4B7C8573-F3C4-4FDE-8D63-134D4054E6CB}"/>
                </a:ext>
              </a:extLst>
            </p:cNvPr>
            <p:cNvGrpSpPr/>
            <p:nvPr/>
          </p:nvGrpSpPr>
          <p:grpSpPr>
            <a:xfrm>
              <a:off x="3778170" y="365111"/>
              <a:ext cx="400244" cy="254564"/>
              <a:chOff x="3778170" y="379575"/>
              <a:chExt cx="400244" cy="254564"/>
            </a:xfrm>
            <a:solidFill>
              <a:schemeClr val="bg2"/>
            </a:solidFill>
          </p:grpSpPr>
          <p:sp>
            <p:nvSpPr>
              <p:cNvPr id="46" name="Rectangle: Rounded Corners 45">
                <a:extLst>
                  <a:ext uri="{FF2B5EF4-FFF2-40B4-BE49-F238E27FC236}">
                    <a16:creationId xmlns:a16="http://schemas.microsoft.com/office/drawing/2014/main" xmlns="" id="{9EF6A23F-99CA-4C8F-9D12-9483B2E5423C}"/>
                  </a:ext>
                </a:extLst>
              </p:cNvPr>
              <p:cNvSpPr/>
              <p:nvPr/>
            </p:nvSpPr>
            <p:spPr>
              <a:xfrm>
                <a:off x="3778170" y="379575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951" name="Rectangle: Rounded Corners 950">
                <a:extLst>
                  <a:ext uri="{FF2B5EF4-FFF2-40B4-BE49-F238E27FC236}">
                    <a16:creationId xmlns:a16="http://schemas.microsoft.com/office/drawing/2014/main" xmlns="" id="{DF4CF3CE-6285-4724-B9A5-8DE7CEB465B1}"/>
                  </a:ext>
                </a:extLst>
              </p:cNvPr>
              <p:cNvSpPr/>
              <p:nvPr/>
            </p:nvSpPr>
            <p:spPr>
              <a:xfrm>
                <a:off x="3778170" y="449190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952" name="Rectangle: Rounded Corners 951">
                <a:extLst>
                  <a:ext uri="{FF2B5EF4-FFF2-40B4-BE49-F238E27FC236}">
                    <a16:creationId xmlns:a16="http://schemas.microsoft.com/office/drawing/2014/main" xmlns="" id="{BE9C7B56-3EE8-478D-84B9-47ED1001F34F}"/>
                  </a:ext>
                </a:extLst>
              </p:cNvPr>
              <p:cNvSpPr/>
              <p:nvPr/>
            </p:nvSpPr>
            <p:spPr>
              <a:xfrm>
                <a:off x="3778170" y="518805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953" name="Rectangle: Rounded Corners 952">
                <a:extLst>
                  <a:ext uri="{FF2B5EF4-FFF2-40B4-BE49-F238E27FC236}">
                    <a16:creationId xmlns:a16="http://schemas.microsoft.com/office/drawing/2014/main" xmlns="" id="{D1BB8F0B-C0BA-468E-84C4-48350EDB9EB7}"/>
                  </a:ext>
                </a:extLst>
              </p:cNvPr>
              <p:cNvSpPr/>
              <p:nvPr/>
            </p:nvSpPr>
            <p:spPr>
              <a:xfrm>
                <a:off x="3778170" y="588420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grpSp>
        <p:nvGrpSpPr>
          <p:cNvPr id="956" name="Group 955">
            <a:extLst>
              <a:ext uri="{FF2B5EF4-FFF2-40B4-BE49-F238E27FC236}">
                <a16:creationId xmlns:a16="http://schemas.microsoft.com/office/drawing/2014/main" xmlns="" id="{5CE7BE9D-673D-4CF6-9516-7AB31B72A3C3}"/>
              </a:ext>
            </a:extLst>
          </p:cNvPr>
          <p:cNvGrpSpPr/>
          <p:nvPr/>
        </p:nvGrpSpPr>
        <p:grpSpPr>
          <a:xfrm>
            <a:off x="3604789" y="1578587"/>
            <a:ext cx="531191" cy="465927"/>
            <a:chOff x="3719147" y="303257"/>
            <a:chExt cx="531191" cy="465927"/>
          </a:xfrm>
        </p:grpSpPr>
        <p:grpSp>
          <p:nvGrpSpPr>
            <p:cNvPr id="957" name="Group 956">
              <a:extLst>
                <a:ext uri="{FF2B5EF4-FFF2-40B4-BE49-F238E27FC236}">
                  <a16:creationId xmlns:a16="http://schemas.microsoft.com/office/drawing/2014/main" xmlns="" id="{61C4A5C4-D36B-443F-9E18-45321B3E61A2}"/>
                </a:ext>
              </a:extLst>
            </p:cNvPr>
            <p:cNvGrpSpPr/>
            <p:nvPr/>
          </p:nvGrpSpPr>
          <p:grpSpPr>
            <a:xfrm>
              <a:off x="3719147" y="303257"/>
              <a:ext cx="531191" cy="465927"/>
              <a:chOff x="3719147" y="303257"/>
              <a:chExt cx="531191" cy="465927"/>
            </a:xfrm>
          </p:grpSpPr>
          <p:sp>
            <p:nvSpPr>
              <p:cNvPr id="963" name="Rectangle: Rounded Corners 962">
                <a:extLst>
                  <a:ext uri="{FF2B5EF4-FFF2-40B4-BE49-F238E27FC236}">
                    <a16:creationId xmlns:a16="http://schemas.microsoft.com/office/drawing/2014/main" xmlns="" id="{8F2232D9-A270-446F-B342-DD5AEFEF2070}"/>
                  </a:ext>
                </a:extLst>
              </p:cNvPr>
              <p:cNvSpPr/>
              <p:nvPr/>
            </p:nvSpPr>
            <p:spPr>
              <a:xfrm>
                <a:off x="3719147" y="303257"/>
                <a:ext cx="531191" cy="379815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964" name="Isosceles Triangle 963">
                <a:extLst>
                  <a:ext uri="{FF2B5EF4-FFF2-40B4-BE49-F238E27FC236}">
                    <a16:creationId xmlns:a16="http://schemas.microsoft.com/office/drawing/2014/main" xmlns="" id="{C37C75DF-F3BD-4EC5-89F8-4A5EBD402D10}"/>
                  </a:ext>
                </a:extLst>
              </p:cNvPr>
              <p:cNvSpPr/>
              <p:nvPr/>
            </p:nvSpPr>
            <p:spPr>
              <a:xfrm flipV="1">
                <a:off x="3995204" y="600121"/>
                <a:ext cx="196113" cy="169063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grpSp>
          <p:nvGrpSpPr>
            <p:cNvPr id="958" name="Group 957">
              <a:extLst>
                <a:ext uri="{FF2B5EF4-FFF2-40B4-BE49-F238E27FC236}">
                  <a16:creationId xmlns:a16="http://schemas.microsoft.com/office/drawing/2014/main" xmlns="" id="{16A2CE70-C526-4ADB-9B14-B9B7FE37AB10}"/>
                </a:ext>
              </a:extLst>
            </p:cNvPr>
            <p:cNvGrpSpPr/>
            <p:nvPr/>
          </p:nvGrpSpPr>
          <p:grpSpPr>
            <a:xfrm>
              <a:off x="3778170" y="365111"/>
              <a:ext cx="400244" cy="254564"/>
              <a:chOff x="3778170" y="379575"/>
              <a:chExt cx="400244" cy="254564"/>
            </a:xfrm>
            <a:solidFill>
              <a:schemeClr val="bg2"/>
            </a:solidFill>
          </p:grpSpPr>
          <p:sp>
            <p:nvSpPr>
              <p:cNvPr id="959" name="Rectangle: Rounded Corners 958">
                <a:extLst>
                  <a:ext uri="{FF2B5EF4-FFF2-40B4-BE49-F238E27FC236}">
                    <a16:creationId xmlns:a16="http://schemas.microsoft.com/office/drawing/2014/main" xmlns="" id="{6203D058-24BC-4FDB-9453-3A3D378E6C6D}"/>
                  </a:ext>
                </a:extLst>
              </p:cNvPr>
              <p:cNvSpPr/>
              <p:nvPr/>
            </p:nvSpPr>
            <p:spPr>
              <a:xfrm>
                <a:off x="3778170" y="379575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960" name="Rectangle: Rounded Corners 959">
                <a:extLst>
                  <a:ext uri="{FF2B5EF4-FFF2-40B4-BE49-F238E27FC236}">
                    <a16:creationId xmlns:a16="http://schemas.microsoft.com/office/drawing/2014/main" xmlns="" id="{FB37E872-165B-4105-B48A-B4275BC364A2}"/>
                  </a:ext>
                </a:extLst>
              </p:cNvPr>
              <p:cNvSpPr/>
              <p:nvPr/>
            </p:nvSpPr>
            <p:spPr>
              <a:xfrm>
                <a:off x="3778170" y="449190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961" name="Rectangle: Rounded Corners 960">
                <a:extLst>
                  <a:ext uri="{FF2B5EF4-FFF2-40B4-BE49-F238E27FC236}">
                    <a16:creationId xmlns:a16="http://schemas.microsoft.com/office/drawing/2014/main" xmlns="" id="{744472AC-628C-4BE8-8C4A-5C1F88800554}"/>
                  </a:ext>
                </a:extLst>
              </p:cNvPr>
              <p:cNvSpPr/>
              <p:nvPr/>
            </p:nvSpPr>
            <p:spPr>
              <a:xfrm>
                <a:off x="3778170" y="518805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962" name="Rectangle: Rounded Corners 961">
                <a:extLst>
                  <a:ext uri="{FF2B5EF4-FFF2-40B4-BE49-F238E27FC236}">
                    <a16:creationId xmlns:a16="http://schemas.microsoft.com/office/drawing/2014/main" xmlns="" id="{83E68022-46D7-4A4A-BBDA-B1B08C5AEBAB}"/>
                  </a:ext>
                </a:extLst>
              </p:cNvPr>
              <p:cNvSpPr/>
              <p:nvPr/>
            </p:nvSpPr>
            <p:spPr>
              <a:xfrm>
                <a:off x="3778170" y="588420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grpSp>
        <p:nvGrpSpPr>
          <p:cNvPr id="965" name="Group 964">
            <a:extLst>
              <a:ext uri="{FF2B5EF4-FFF2-40B4-BE49-F238E27FC236}">
                <a16:creationId xmlns:a16="http://schemas.microsoft.com/office/drawing/2014/main" xmlns="" id="{5ED5E944-0F8B-4573-943B-EB6D5D533C4F}"/>
              </a:ext>
            </a:extLst>
          </p:cNvPr>
          <p:cNvGrpSpPr/>
          <p:nvPr/>
        </p:nvGrpSpPr>
        <p:grpSpPr>
          <a:xfrm>
            <a:off x="8014437" y="1547387"/>
            <a:ext cx="531191" cy="465927"/>
            <a:chOff x="3719147" y="303257"/>
            <a:chExt cx="531191" cy="465927"/>
          </a:xfrm>
        </p:grpSpPr>
        <p:grpSp>
          <p:nvGrpSpPr>
            <p:cNvPr id="966" name="Group 965">
              <a:extLst>
                <a:ext uri="{FF2B5EF4-FFF2-40B4-BE49-F238E27FC236}">
                  <a16:creationId xmlns:a16="http://schemas.microsoft.com/office/drawing/2014/main" xmlns="" id="{E1734F19-9A9C-4E80-A626-33584A19804D}"/>
                </a:ext>
              </a:extLst>
            </p:cNvPr>
            <p:cNvGrpSpPr/>
            <p:nvPr/>
          </p:nvGrpSpPr>
          <p:grpSpPr>
            <a:xfrm>
              <a:off x="3719147" y="303257"/>
              <a:ext cx="531191" cy="465927"/>
              <a:chOff x="3719147" y="303257"/>
              <a:chExt cx="531191" cy="465927"/>
            </a:xfrm>
          </p:grpSpPr>
          <p:sp>
            <p:nvSpPr>
              <p:cNvPr id="1043" name="Rectangle: Rounded Corners 1042">
                <a:extLst>
                  <a:ext uri="{FF2B5EF4-FFF2-40B4-BE49-F238E27FC236}">
                    <a16:creationId xmlns:a16="http://schemas.microsoft.com/office/drawing/2014/main" xmlns="" id="{A2DD48A0-7648-4D7F-A0F3-5F1DBAEC2AF3}"/>
                  </a:ext>
                </a:extLst>
              </p:cNvPr>
              <p:cNvSpPr/>
              <p:nvPr/>
            </p:nvSpPr>
            <p:spPr>
              <a:xfrm>
                <a:off x="3719147" y="303257"/>
                <a:ext cx="531191" cy="379815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44" name="Isosceles Triangle 1043">
                <a:extLst>
                  <a:ext uri="{FF2B5EF4-FFF2-40B4-BE49-F238E27FC236}">
                    <a16:creationId xmlns:a16="http://schemas.microsoft.com/office/drawing/2014/main" xmlns="" id="{80E1CFCE-6FA0-435E-BC34-FBBE2A3032AE}"/>
                  </a:ext>
                </a:extLst>
              </p:cNvPr>
              <p:cNvSpPr/>
              <p:nvPr/>
            </p:nvSpPr>
            <p:spPr>
              <a:xfrm flipV="1">
                <a:off x="3790805" y="600121"/>
                <a:ext cx="196113" cy="169063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grpSp>
          <p:nvGrpSpPr>
            <p:cNvPr id="967" name="Group 966">
              <a:extLst>
                <a:ext uri="{FF2B5EF4-FFF2-40B4-BE49-F238E27FC236}">
                  <a16:creationId xmlns:a16="http://schemas.microsoft.com/office/drawing/2014/main" xmlns="" id="{B7B0D2F1-7850-481F-BF3D-65D0E5CDFEB0}"/>
                </a:ext>
              </a:extLst>
            </p:cNvPr>
            <p:cNvGrpSpPr/>
            <p:nvPr/>
          </p:nvGrpSpPr>
          <p:grpSpPr>
            <a:xfrm>
              <a:off x="3778170" y="365111"/>
              <a:ext cx="400244" cy="254564"/>
              <a:chOff x="3778170" y="379575"/>
              <a:chExt cx="400244" cy="254564"/>
            </a:xfrm>
            <a:solidFill>
              <a:schemeClr val="bg2"/>
            </a:solidFill>
          </p:grpSpPr>
          <p:sp>
            <p:nvSpPr>
              <p:cNvPr id="968" name="Rectangle: Rounded Corners 967">
                <a:extLst>
                  <a:ext uri="{FF2B5EF4-FFF2-40B4-BE49-F238E27FC236}">
                    <a16:creationId xmlns:a16="http://schemas.microsoft.com/office/drawing/2014/main" xmlns="" id="{659219FD-89BC-4C7D-9D33-D3850682EE5D}"/>
                  </a:ext>
                </a:extLst>
              </p:cNvPr>
              <p:cNvSpPr/>
              <p:nvPr/>
            </p:nvSpPr>
            <p:spPr>
              <a:xfrm>
                <a:off x="3778170" y="379575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31" name="Rectangle: Rounded Corners 1030">
                <a:extLst>
                  <a:ext uri="{FF2B5EF4-FFF2-40B4-BE49-F238E27FC236}">
                    <a16:creationId xmlns:a16="http://schemas.microsoft.com/office/drawing/2014/main" xmlns="" id="{47DEC1B8-16BE-459F-8272-980A3ADA6D48}"/>
                  </a:ext>
                </a:extLst>
              </p:cNvPr>
              <p:cNvSpPr/>
              <p:nvPr/>
            </p:nvSpPr>
            <p:spPr>
              <a:xfrm>
                <a:off x="3778170" y="449190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41" name="Rectangle: Rounded Corners 1040">
                <a:extLst>
                  <a:ext uri="{FF2B5EF4-FFF2-40B4-BE49-F238E27FC236}">
                    <a16:creationId xmlns:a16="http://schemas.microsoft.com/office/drawing/2014/main" xmlns="" id="{4B4B876D-BE84-4DDA-8EF6-CA5675EA7B6E}"/>
                  </a:ext>
                </a:extLst>
              </p:cNvPr>
              <p:cNvSpPr/>
              <p:nvPr/>
            </p:nvSpPr>
            <p:spPr>
              <a:xfrm>
                <a:off x="3778170" y="518805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42" name="Rectangle: Rounded Corners 1041">
                <a:extLst>
                  <a:ext uri="{FF2B5EF4-FFF2-40B4-BE49-F238E27FC236}">
                    <a16:creationId xmlns:a16="http://schemas.microsoft.com/office/drawing/2014/main" xmlns="" id="{FC9D8557-661E-4471-8CCA-CE5AFF710A44}"/>
                  </a:ext>
                </a:extLst>
              </p:cNvPr>
              <p:cNvSpPr/>
              <p:nvPr/>
            </p:nvSpPr>
            <p:spPr>
              <a:xfrm>
                <a:off x="3778170" y="588420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grpSp>
        <p:nvGrpSpPr>
          <p:cNvPr id="1045" name="Group 1044">
            <a:extLst>
              <a:ext uri="{FF2B5EF4-FFF2-40B4-BE49-F238E27FC236}">
                <a16:creationId xmlns:a16="http://schemas.microsoft.com/office/drawing/2014/main" xmlns="" id="{E54FBF43-C93C-4666-BFBE-8E5243D065F9}"/>
              </a:ext>
            </a:extLst>
          </p:cNvPr>
          <p:cNvGrpSpPr/>
          <p:nvPr/>
        </p:nvGrpSpPr>
        <p:grpSpPr>
          <a:xfrm>
            <a:off x="7964739" y="316503"/>
            <a:ext cx="531191" cy="465927"/>
            <a:chOff x="3719147" y="303257"/>
            <a:chExt cx="531191" cy="465927"/>
          </a:xfrm>
        </p:grpSpPr>
        <p:grpSp>
          <p:nvGrpSpPr>
            <p:cNvPr id="1046" name="Group 1045">
              <a:extLst>
                <a:ext uri="{FF2B5EF4-FFF2-40B4-BE49-F238E27FC236}">
                  <a16:creationId xmlns:a16="http://schemas.microsoft.com/office/drawing/2014/main" xmlns="" id="{9AC33014-69C7-43C9-8620-66B0D94B65FF}"/>
                </a:ext>
              </a:extLst>
            </p:cNvPr>
            <p:cNvGrpSpPr/>
            <p:nvPr/>
          </p:nvGrpSpPr>
          <p:grpSpPr>
            <a:xfrm>
              <a:off x="3719147" y="303257"/>
              <a:ext cx="531191" cy="465927"/>
              <a:chOff x="3719147" y="303257"/>
              <a:chExt cx="531191" cy="465927"/>
            </a:xfrm>
          </p:grpSpPr>
          <p:sp>
            <p:nvSpPr>
              <p:cNvPr id="1052" name="Rectangle: Rounded Corners 1051">
                <a:extLst>
                  <a:ext uri="{FF2B5EF4-FFF2-40B4-BE49-F238E27FC236}">
                    <a16:creationId xmlns:a16="http://schemas.microsoft.com/office/drawing/2014/main" xmlns="" id="{588824DF-CCA4-486F-989B-EA16B173756D}"/>
                  </a:ext>
                </a:extLst>
              </p:cNvPr>
              <p:cNvSpPr/>
              <p:nvPr/>
            </p:nvSpPr>
            <p:spPr>
              <a:xfrm>
                <a:off x="3719147" y="303257"/>
                <a:ext cx="531191" cy="379815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53" name="Isosceles Triangle 1052">
                <a:extLst>
                  <a:ext uri="{FF2B5EF4-FFF2-40B4-BE49-F238E27FC236}">
                    <a16:creationId xmlns:a16="http://schemas.microsoft.com/office/drawing/2014/main" xmlns="" id="{52C701D7-06C5-4118-89C4-CF6713154699}"/>
                  </a:ext>
                </a:extLst>
              </p:cNvPr>
              <p:cNvSpPr/>
              <p:nvPr/>
            </p:nvSpPr>
            <p:spPr>
              <a:xfrm flipV="1">
                <a:off x="3790805" y="600121"/>
                <a:ext cx="196113" cy="169063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grpSp>
          <p:nvGrpSpPr>
            <p:cNvPr id="1047" name="Group 1046">
              <a:extLst>
                <a:ext uri="{FF2B5EF4-FFF2-40B4-BE49-F238E27FC236}">
                  <a16:creationId xmlns:a16="http://schemas.microsoft.com/office/drawing/2014/main" xmlns="" id="{E081DCDD-AF7F-4AF1-A07E-209FE5AB5A96}"/>
                </a:ext>
              </a:extLst>
            </p:cNvPr>
            <p:cNvGrpSpPr/>
            <p:nvPr/>
          </p:nvGrpSpPr>
          <p:grpSpPr>
            <a:xfrm>
              <a:off x="3778170" y="365111"/>
              <a:ext cx="400244" cy="254564"/>
              <a:chOff x="3778170" y="379575"/>
              <a:chExt cx="400244" cy="254564"/>
            </a:xfrm>
            <a:solidFill>
              <a:schemeClr val="bg2"/>
            </a:solidFill>
          </p:grpSpPr>
          <p:sp>
            <p:nvSpPr>
              <p:cNvPr id="1048" name="Rectangle: Rounded Corners 1047">
                <a:extLst>
                  <a:ext uri="{FF2B5EF4-FFF2-40B4-BE49-F238E27FC236}">
                    <a16:creationId xmlns:a16="http://schemas.microsoft.com/office/drawing/2014/main" xmlns="" id="{F26F556D-E6FC-47DA-AD2C-7EF4E5298DE2}"/>
                  </a:ext>
                </a:extLst>
              </p:cNvPr>
              <p:cNvSpPr/>
              <p:nvPr/>
            </p:nvSpPr>
            <p:spPr>
              <a:xfrm>
                <a:off x="3778170" y="379575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49" name="Rectangle: Rounded Corners 1048">
                <a:extLst>
                  <a:ext uri="{FF2B5EF4-FFF2-40B4-BE49-F238E27FC236}">
                    <a16:creationId xmlns:a16="http://schemas.microsoft.com/office/drawing/2014/main" xmlns="" id="{F5E769DD-46CE-4DF6-B2C6-9FAAB69ACC15}"/>
                  </a:ext>
                </a:extLst>
              </p:cNvPr>
              <p:cNvSpPr/>
              <p:nvPr/>
            </p:nvSpPr>
            <p:spPr>
              <a:xfrm>
                <a:off x="3778170" y="449190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50" name="Rectangle: Rounded Corners 1049">
                <a:extLst>
                  <a:ext uri="{FF2B5EF4-FFF2-40B4-BE49-F238E27FC236}">
                    <a16:creationId xmlns:a16="http://schemas.microsoft.com/office/drawing/2014/main" xmlns="" id="{BEFAA287-58FB-4288-9309-E030C8147339}"/>
                  </a:ext>
                </a:extLst>
              </p:cNvPr>
              <p:cNvSpPr/>
              <p:nvPr/>
            </p:nvSpPr>
            <p:spPr>
              <a:xfrm>
                <a:off x="3778170" y="518805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51" name="Rectangle: Rounded Corners 1050">
                <a:extLst>
                  <a:ext uri="{FF2B5EF4-FFF2-40B4-BE49-F238E27FC236}">
                    <a16:creationId xmlns:a16="http://schemas.microsoft.com/office/drawing/2014/main" xmlns="" id="{4FE9B0D6-CBC2-44B6-9F80-C1527D196426}"/>
                  </a:ext>
                </a:extLst>
              </p:cNvPr>
              <p:cNvSpPr/>
              <p:nvPr/>
            </p:nvSpPr>
            <p:spPr>
              <a:xfrm>
                <a:off x="3778170" y="588420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grpSp>
        <p:nvGrpSpPr>
          <p:cNvPr id="1054" name="Group 1053">
            <a:extLst>
              <a:ext uri="{FF2B5EF4-FFF2-40B4-BE49-F238E27FC236}">
                <a16:creationId xmlns:a16="http://schemas.microsoft.com/office/drawing/2014/main" xmlns="" id="{3F93A14E-F400-46F3-A2EB-94FD5DC66811}"/>
              </a:ext>
            </a:extLst>
          </p:cNvPr>
          <p:cNvGrpSpPr/>
          <p:nvPr/>
        </p:nvGrpSpPr>
        <p:grpSpPr>
          <a:xfrm>
            <a:off x="6519029" y="225488"/>
            <a:ext cx="621381" cy="379815"/>
            <a:chOff x="3628957" y="303257"/>
            <a:chExt cx="621381" cy="379815"/>
          </a:xfrm>
        </p:grpSpPr>
        <p:grpSp>
          <p:nvGrpSpPr>
            <p:cNvPr id="1055" name="Group 1054">
              <a:extLst>
                <a:ext uri="{FF2B5EF4-FFF2-40B4-BE49-F238E27FC236}">
                  <a16:creationId xmlns:a16="http://schemas.microsoft.com/office/drawing/2014/main" xmlns="" id="{5B6A0BA6-6B76-4259-A30A-940D4FC8251B}"/>
                </a:ext>
              </a:extLst>
            </p:cNvPr>
            <p:cNvGrpSpPr/>
            <p:nvPr/>
          </p:nvGrpSpPr>
          <p:grpSpPr>
            <a:xfrm>
              <a:off x="3628957" y="303257"/>
              <a:ext cx="621381" cy="379815"/>
              <a:chOff x="3628957" y="303257"/>
              <a:chExt cx="621381" cy="379815"/>
            </a:xfrm>
          </p:grpSpPr>
          <p:sp>
            <p:nvSpPr>
              <p:cNvPr id="1061" name="Rectangle: Rounded Corners 1060">
                <a:extLst>
                  <a:ext uri="{FF2B5EF4-FFF2-40B4-BE49-F238E27FC236}">
                    <a16:creationId xmlns:a16="http://schemas.microsoft.com/office/drawing/2014/main" xmlns="" id="{DA71FC44-68F8-4646-8E14-BB83ADB46570}"/>
                  </a:ext>
                </a:extLst>
              </p:cNvPr>
              <p:cNvSpPr/>
              <p:nvPr/>
            </p:nvSpPr>
            <p:spPr>
              <a:xfrm>
                <a:off x="3719147" y="303257"/>
                <a:ext cx="531191" cy="379815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62" name="Isosceles Triangle 1061">
                <a:extLst>
                  <a:ext uri="{FF2B5EF4-FFF2-40B4-BE49-F238E27FC236}">
                    <a16:creationId xmlns:a16="http://schemas.microsoft.com/office/drawing/2014/main" xmlns="" id="{E934C966-4527-40F3-927D-BCA4D3C46962}"/>
                  </a:ext>
                </a:extLst>
              </p:cNvPr>
              <p:cNvSpPr/>
              <p:nvPr/>
            </p:nvSpPr>
            <p:spPr>
              <a:xfrm rot="5400000" flipV="1">
                <a:off x="3615432" y="452825"/>
                <a:ext cx="196113" cy="169063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grpSp>
          <p:nvGrpSpPr>
            <p:cNvPr id="1056" name="Group 1055">
              <a:extLst>
                <a:ext uri="{FF2B5EF4-FFF2-40B4-BE49-F238E27FC236}">
                  <a16:creationId xmlns:a16="http://schemas.microsoft.com/office/drawing/2014/main" xmlns="" id="{B76F9D93-3E25-4422-9B1F-1D817F317CC0}"/>
                </a:ext>
              </a:extLst>
            </p:cNvPr>
            <p:cNvGrpSpPr/>
            <p:nvPr/>
          </p:nvGrpSpPr>
          <p:grpSpPr>
            <a:xfrm>
              <a:off x="3778170" y="365111"/>
              <a:ext cx="400244" cy="254564"/>
              <a:chOff x="3778170" y="379575"/>
              <a:chExt cx="400244" cy="254564"/>
            </a:xfrm>
            <a:solidFill>
              <a:schemeClr val="bg2"/>
            </a:solidFill>
          </p:grpSpPr>
          <p:sp>
            <p:nvSpPr>
              <p:cNvPr id="1057" name="Rectangle: Rounded Corners 1056">
                <a:extLst>
                  <a:ext uri="{FF2B5EF4-FFF2-40B4-BE49-F238E27FC236}">
                    <a16:creationId xmlns:a16="http://schemas.microsoft.com/office/drawing/2014/main" xmlns="" id="{F1E3538F-C8BC-4E83-B960-5BC4992B3983}"/>
                  </a:ext>
                </a:extLst>
              </p:cNvPr>
              <p:cNvSpPr/>
              <p:nvPr/>
            </p:nvSpPr>
            <p:spPr>
              <a:xfrm>
                <a:off x="3778170" y="379575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58" name="Rectangle: Rounded Corners 1057">
                <a:extLst>
                  <a:ext uri="{FF2B5EF4-FFF2-40B4-BE49-F238E27FC236}">
                    <a16:creationId xmlns:a16="http://schemas.microsoft.com/office/drawing/2014/main" xmlns="" id="{5651D685-745D-4D64-A0A4-B237C6E39333}"/>
                  </a:ext>
                </a:extLst>
              </p:cNvPr>
              <p:cNvSpPr/>
              <p:nvPr/>
            </p:nvSpPr>
            <p:spPr>
              <a:xfrm>
                <a:off x="3778170" y="449190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59" name="Rectangle: Rounded Corners 1058">
                <a:extLst>
                  <a:ext uri="{FF2B5EF4-FFF2-40B4-BE49-F238E27FC236}">
                    <a16:creationId xmlns:a16="http://schemas.microsoft.com/office/drawing/2014/main" xmlns="" id="{F5D89AC1-0C26-4A96-953A-2BC7926C61A5}"/>
                  </a:ext>
                </a:extLst>
              </p:cNvPr>
              <p:cNvSpPr/>
              <p:nvPr/>
            </p:nvSpPr>
            <p:spPr>
              <a:xfrm>
                <a:off x="3778170" y="518805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60" name="Rectangle: Rounded Corners 1059">
                <a:extLst>
                  <a:ext uri="{FF2B5EF4-FFF2-40B4-BE49-F238E27FC236}">
                    <a16:creationId xmlns:a16="http://schemas.microsoft.com/office/drawing/2014/main" xmlns="" id="{2F102BCA-326F-4004-948A-B1BC757BF748}"/>
                  </a:ext>
                </a:extLst>
              </p:cNvPr>
              <p:cNvSpPr/>
              <p:nvPr/>
            </p:nvSpPr>
            <p:spPr>
              <a:xfrm>
                <a:off x="3778170" y="588420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grpSp>
        <p:nvGrpSpPr>
          <p:cNvPr id="1063" name="Group 1062">
            <a:extLst>
              <a:ext uri="{FF2B5EF4-FFF2-40B4-BE49-F238E27FC236}">
                <a16:creationId xmlns:a16="http://schemas.microsoft.com/office/drawing/2014/main" xmlns="" id="{4F3AF672-CAD8-4B1B-9D9C-DB4E76DA36D1}"/>
              </a:ext>
            </a:extLst>
          </p:cNvPr>
          <p:cNvGrpSpPr/>
          <p:nvPr/>
        </p:nvGrpSpPr>
        <p:grpSpPr>
          <a:xfrm>
            <a:off x="5158462" y="2664687"/>
            <a:ext cx="614343" cy="379815"/>
            <a:chOff x="3719147" y="303257"/>
            <a:chExt cx="614343" cy="379815"/>
          </a:xfrm>
        </p:grpSpPr>
        <p:grpSp>
          <p:nvGrpSpPr>
            <p:cNvPr id="1064" name="Group 1063">
              <a:extLst>
                <a:ext uri="{FF2B5EF4-FFF2-40B4-BE49-F238E27FC236}">
                  <a16:creationId xmlns:a16="http://schemas.microsoft.com/office/drawing/2014/main" xmlns="" id="{D837BF86-6B42-458C-A3AE-88528EDFEBC2}"/>
                </a:ext>
              </a:extLst>
            </p:cNvPr>
            <p:cNvGrpSpPr/>
            <p:nvPr/>
          </p:nvGrpSpPr>
          <p:grpSpPr>
            <a:xfrm>
              <a:off x="3719147" y="303257"/>
              <a:ext cx="614343" cy="379815"/>
              <a:chOff x="3719147" y="303257"/>
              <a:chExt cx="614343" cy="379815"/>
            </a:xfrm>
          </p:grpSpPr>
          <p:sp>
            <p:nvSpPr>
              <p:cNvPr id="1070" name="Rectangle: Rounded Corners 1069">
                <a:extLst>
                  <a:ext uri="{FF2B5EF4-FFF2-40B4-BE49-F238E27FC236}">
                    <a16:creationId xmlns:a16="http://schemas.microsoft.com/office/drawing/2014/main" xmlns="" id="{DFFA90A7-6C77-4781-8C9C-6B4FDE15146F}"/>
                  </a:ext>
                </a:extLst>
              </p:cNvPr>
              <p:cNvSpPr/>
              <p:nvPr/>
            </p:nvSpPr>
            <p:spPr>
              <a:xfrm>
                <a:off x="3719147" y="303257"/>
                <a:ext cx="531191" cy="379815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71" name="Isosceles Triangle 1070">
                <a:extLst>
                  <a:ext uri="{FF2B5EF4-FFF2-40B4-BE49-F238E27FC236}">
                    <a16:creationId xmlns:a16="http://schemas.microsoft.com/office/drawing/2014/main" xmlns="" id="{1A9AD615-9D42-4C4B-BF60-5AE4989A4D64}"/>
                  </a:ext>
                </a:extLst>
              </p:cNvPr>
              <p:cNvSpPr/>
              <p:nvPr/>
            </p:nvSpPr>
            <p:spPr>
              <a:xfrm rot="16200000" flipH="1" flipV="1">
                <a:off x="4150902" y="452825"/>
                <a:ext cx="196113" cy="169063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grpSp>
          <p:nvGrpSpPr>
            <p:cNvPr id="1065" name="Group 1064">
              <a:extLst>
                <a:ext uri="{FF2B5EF4-FFF2-40B4-BE49-F238E27FC236}">
                  <a16:creationId xmlns:a16="http://schemas.microsoft.com/office/drawing/2014/main" xmlns="" id="{9134CD75-D8DD-4C29-A293-BD7094A4219B}"/>
                </a:ext>
              </a:extLst>
            </p:cNvPr>
            <p:cNvGrpSpPr/>
            <p:nvPr/>
          </p:nvGrpSpPr>
          <p:grpSpPr>
            <a:xfrm>
              <a:off x="3778170" y="365111"/>
              <a:ext cx="400244" cy="254564"/>
              <a:chOff x="3778170" y="379575"/>
              <a:chExt cx="400244" cy="254564"/>
            </a:xfrm>
            <a:solidFill>
              <a:schemeClr val="bg2"/>
            </a:solidFill>
          </p:grpSpPr>
          <p:sp>
            <p:nvSpPr>
              <p:cNvPr id="1066" name="Rectangle: Rounded Corners 1065">
                <a:extLst>
                  <a:ext uri="{FF2B5EF4-FFF2-40B4-BE49-F238E27FC236}">
                    <a16:creationId xmlns:a16="http://schemas.microsoft.com/office/drawing/2014/main" xmlns="" id="{9452827F-F47B-41B9-AE03-2043E45D09D6}"/>
                  </a:ext>
                </a:extLst>
              </p:cNvPr>
              <p:cNvSpPr/>
              <p:nvPr/>
            </p:nvSpPr>
            <p:spPr>
              <a:xfrm>
                <a:off x="3778170" y="379575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67" name="Rectangle: Rounded Corners 1066">
                <a:extLst>
                  <a:ext uri="{FF2B5EF4-FFF2-40B4-BE49-F238E27FC236}">
                    <a16:creationId xmlns:a16="http://schemas.microsoft.com/office/drawing/2014/main" xmlns="" id="{7F3C99B0-831A-4C3B-8F05-CC77D4023DD0}"/>
                  </a:ext>
                </a:extLst>
              </p:cNvPr>
              <p:cNvSpPr/>
              <p:nvPr/>
            </p:nvSpPr>
            <p:spPr>
              <a:xfrm>
                <a:off x="3778170" y="449190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68" name="Rectangle: Rounded Corners 1067">
                <a:extLst>
                  <a:ext uri="{FF2B5EF4-FFF2-40B4-BE49-F238E27FC236}">
                    <a16:creationId xmlns:a16="http://schemas.microsoft.com/office/drawing/2014/main" xmlns="" id="{F7A543CD-DC5E-47BE-BE1B-6D52BEBE306C}"/>
                  </a:ext>
                </a:extLst>
              </p:cNvPr>
              <p:cNvSpPr/>
              <p:nvPr/>
            </p:nvSpPr>
            <p:spPr>
              <a:xfrm>
                <a:off x="3778170" y="518805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69" name="Rectangle: Rounded Corners 1068">
                <a:extLst>
                  <a:ext uri="{FF2B5EF4-FFF2-40B4-BE49-F238E27FC236}">
                    <a16:creationId xmlns:a16="http://schemas.microsoft.com/office/drawing/2014/main" xmlns="" id="{84AA082B-C713-4FBB-8B23-87727D40DE27}"/>
                  </a:ext>
                </a:extLst>
              </p:cNvPr>
              <p:cNvSpPr/>
              <p:nvPr/>
            </p:nvSpPr>
            <p:spPr>
              <a:xfrm>
                <a:off x="3778170" y="588420"/>
                <a:ext cx="400244" cy="45719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sp>
        <p:nvSpPr>
          <p:cNvPr id="1072" name="Oval 17">
            <a:extLst>
              <a:ext uri="{FF2B5EF4-FFF2-40B4-BE49-F238E27FC236}">
                <a16:creationId xmlns:a16="http://schemas.microsoft.com/office/drawing/2014/main" xmlns="" id="{EA81DF65-6676-432F-A972-71FD0E8E43A1}"/>
              </a:ext>
            </a:extLst>
          </p:cNvPr>
          <p:cNvSpPr/>
          <p:nvPr/>
        </p:nvSpPr>
        <p:spPr>
          <a:xfrm>
            <a:off x="5942814" y="2543803"/>
            <a:ext cx="426966" cy="426943"/>
          </a:xfrm>
          <a:custGeom>
            <a:avLst/>
            <a:gdLst/>
            <a:ahLst/>
            <a:cxnLst/>
            <a:rect l="l" t="t" r="r" b="b"/>
            <a:pathLst>
              <a:path w="1373008" h="1373008">
                <a:moveTo>
                  <a:pt x="686539" y="740055"/>
                </a:moveTo>
                <a:cubicBezTo>
                  <a:pt x="666786" y="740214"/>
                  <a:pt x="650903" y="756358"/>
                  <a:pt x="651063" y="776110"/>
                </a:cubicBezTo>
                <a:lnTo>
                  <a:pt x="652775" y="987279"/>
                </a:lnTo>
                <a:lnTo>
                  <a:pt x="631372" y="966559"/>
                </a:lnTo>
                <a:cubicBezTo>
                  <a:pt x="617179" y="952819"/>
                  <a:pt x="594535" y="953187"/>
                  <a:pt x="580796" y="967379"/>
                </a:cubicBezTo>
                <a:cubicBezTo>
                  <a:pt x="567056" y="981571"/>
                  <a:pt x="567424" y="1004215"/>
                  <a:pt x="581616" y="1017955"/>
                </a:cubicBezTo>
                <a:lnTo>
                  <a:pt x="663890" y="1097602"/>
                </a:lnTo>
                <a:lnTo>
                  <a:pt x="671552" y="1102513"/>
                </a:lnTo>
                <a:lnTo>
                  <a:pt x="675578" y="1105180"/>
                </a:lnTo>
                <a:lnTo>
                  <a:pt x="675833" y="1105257"/>
                </a:lnTo>
                <a:lnTo>
                  <a:pt x="675848" y="1105266"/>
                </a:lnTo>
                <a:lnTo>
                  <a:pt x="675887" y="1105273"/>
                </a:lnTo>
                <a:lnTo>
                  <a:pt x="682308" y="1107210"/>
                </a:lnTo>
                <a:cubicBezTo>
                  <a:pt x="684640" y="1107667"/>
                  <a:pt x="687053" y="1107897"/>
                  <a:pt x="689522" y="1107878"/>
                </a:cubicBezTo>
                <a:cubicBezTo>
                  <a:pt x="691991" y="1107858"/>
                  <a:pt x="694400" y="1107588"/>
                  <a:pt x="696724" y="1107093"/>
                </a:cubicBezTo>
                <a:lnTo>
                  <a:pt x="703113" y="1105053"/>
                </a:lnTo>
                <a:lnTo>
                  <a:pt x="703152" y="1105045"/>
                </a:lnTo>
                <a:lnTo>
                  <a:pt x="703167" y="1105035"/>
                </a:lnTo>
                <a:lnTo>
                  <a:pt x="703421" y="1104954"/>
                </a:lnTo>
                <a:lnTo>
                  <a:pt x="707387" y="1102233"/>
                </a:lnTo>
                <a:lnTo>
                  <a:pt x="714984" y="1097188"/>
                </a:lnTo>
                <a:lnTo>
                  <a:pt x="795956" y="1016217"/>
                </a:lnTo>
                <a:cubicBezTo>
                  <a:pt x="809924" y="1002249"/>
                  <a:pt x="809924" y="979603"/>
                  <a:pt x="795956" y="965635"/>
                </a:cubicBezTo>
                <a:cubicBezTo>
                  <a:pt x="781988" y="951667"/>
                  <a:pt x="759342" y="951667"/>
                  <a:pt x="745374" y="965635"/>
                </a:cubicBezTo>
                <a:lnTo>
                  <a:pt x="724307" y="986700"/>
                </a:lnTo>
                <a:lnTo>
                  <a:pt x="722595" y="775531"/>
                </a:lnTo>
                <a:cubicBezTo>
                  <a:pt x="722435" y="755778"/>
                  <a:pt x="706292" y="739895"/>
                  <a:pt x="686539" y="740055"/>
                </a:cubicBezTo>
                <a:close/>
                <a:moveTo>
                  <a:pt x="866904" y="568650"/>
                </a:moveTo>
                <a:cubicBezTo>
                  <a:pt x="857750" y="568724"/>
                  <a:pt x="848626" y="572291"/>
                  <a:pt x="841699" y="579331"/>
                </a:cubicBezTo>
                <a:lnTo>
                  <a:pt x="761387" y="660956"/>
                </a:lnTo>
                <a:lnTo>
                  <a:pt x="756414" y="668578"/>
                </a:lnTo>
                <a:lnTo>
                  <a:pt x="753714" y="672582"/>
                </a:lnTo>
                <a:lnTo>
                  <a:pt x="753636" y="672837"/>
                </a:lnTo>
                <a:lnTo>
                  <a:pt x="753626" y="672851"/>
                </a:lnTo>
                <a:lnTo>
                  <a:pt x="753619" y="672891"/>
                </a:lnTo>
                <a:lnTo>
                  <a:pt x="751631" y="679296"/>
                </a:lnTo>
                <a:cubicBezTo>
                  <a:pt x="751154" y="681625"/>
                  <a:pt x="750903" y="684035"/>
                  <a:pt x="750904" y="686505"/>
                </a:cubicBezTo>
                <a:cubicBezTo>
                  <a:pt x="750904" y="688973"/>
                  <a:pt x="751154" y="691384"/>
                  <a:pt x="751631" y="693713"/>
                </a:cubicBezTo>
                <a:lnTo>
                  <a:pt x="753618" y="700117"/>
                </a:lnTo>
                <a:lnTo>
                  <a:pt x="753626" y="700157"/>
                </a:lnTo>
                <a:lnTo>
                  <a:pt x="753636" y="700171"/>
                </a:lnTo>
                <a:lnTo>
                  <a:pt x="753715" y="700426"/>
                </a:lnTo>
                <a:lnTo>
                  <a:pt x="756403" y="704414"/>
                </a:lnTo>
                <a:lnTo>
                  <a:pt x="761386" y="712053"/>
                </a:lnTo>
                <a:lnTo>
                  <a:pt x="841699" y="793678"/>
                </a:lnTo>
                <a:cubicBezTo>
                  <a:pt x="855552" y="807758"/>
                  <a:pt x="878199" y="807942"/>
                  <a:pt x="892279" y="794088"/>
                </a:cubicBezTo>
                <a:cubicBezTo>
                  <a:pt x="906360" y="780234"/>
                  <a:pt x="906543" y="757588"/>
                  <a:pt x="892690" y="743507"/>
                </a:cubicBezTo>
                <a:lnTo>
                  <a:pt x="871795" y="722271"/>
                </a:lnTo>
                <a:lnTo>
                  <a:pt x="1082972" y="722271"/>
                </a:lnTo>
                <a:cubicBezTo>
                  <a:pt x="1092849" y="722271"/>
                  <a:pt x="1101790" y="718267"/>
                  <a:pt x="1108263" y="711795"/>
                </a:cubicBezTo>
                <a:lnTo>
                  <a:pt x="1118739" y="686504"/>
                </a:lnTo>
                <a:lnTo>
                  <a:pt x="1108263" y="661213"/>
                </a:lnTo>
                <a:cubicBezTo>
                  <a:pt x="1101790" y="654740"/>
                  <a:pt x="1092849" y="650737"/>
                  <a:pt x="1082972" y="650736"/>
                </a:cubicBezTo>
                <a:lnTo>
                  <a:pt x="871796" y="650737"/>
                </a:lnTo>
                <a:lnTo>
                  <a:pt x="892690" y="629501"/>
                </a:lnTo>
                <a:cubicBezTo>
                  <a:pt x="906543" y="615421"/>
                  <a:pt x="906360" y="592775"/>
                  <a:pt x="892279" y="578920"/>
                </a:cubicBezTo>
                <a:cubicBezTo>
                  <a:pt x="885240" y="571994"/>
                  <a:pt x="876058" y="568576"/>
                  <a:pt x="866904" y="568650"/>
                </a:cubicBezTo>
                <a:close/>
                <a:moveTo>
                  <a:pt x="506104" y="568650"/>
                </a:moveTo>
                <a:lnTo>
                  <a:pt x="480729" y="578921"/>
                </a:lnTo>
                <a:lnTo>
                  <a:pt x="480729" y="578920"/>
                </a:lnTo>
                <a:lnTo>
                  <a:pt x="480729" y="578921"/>
                </a:lnTo>
                <a:lnTo>
                  <a:pt x="480729" y="578921"/>
                </a:lnTo>
                <a:lnTo>
                  <a:pt x="470049" y="604126"/>
                </a:lnTo>
                <a:cubicBezTo>
                  <a:pt x="469974" y="613279"/>
                  <a:pt x="473392" y="622461"/>
                  <a:pt x="480318" y="629502"/>
                </a:cubicBezTo>
                <a:lnTo>
                  <a:pt x="501213" y="650736"/>
                </a:lnTo>
                <a:lnTo>
                  <a:pt x="290036" y="650737"/>
                </a:lnTo>
                <a:cubicBezTo>
                  <a:pt x="270283" y="650737"/>
                  <a:pt x="254269" y="666750"/>
                  <a:pt x="254270" y="686504"/>
                </a:cubicBezTo>
                <a:cubicBezTo>
                  <a:pt x="254270" y="706258"/>
                  <a:pt x="270283" y="722270"/>
                  <a:pt x="290037" y="722271"/>
                </a:cubicBezTo>
                <a:lnTo>
                  <a:pt x="501214" y="722272"/>
                </a:lnTo>
                <a:lnTo>
                  <a:pt x="480319" y="743506"/>
                </a:lnTo>
                <a:cubicBezTo>
                  <a:pt x="466465" y="757588"/>
                  <a:pt x="466649" y="780234"/>
                  <a:pt x="480729" y="794088"/>
                </a:cubicBezTo>
                <a:cubicBezTo>
                  <a:pt x="494810" y="807942"/>
                  <a:pt x="517456" y="807758"/>
                  <a:pt x="531310" y="793677"/>
                </a:cubicBezTo>
                <a:lnTo>
                  <a:pt x="611622" y="712053"/>
                </a:lnTo>
                <a:lnTo>
                  <a:pt x="616606" y="704414"/>
                </a:lnTo>
                <a:lnTo>
                  <a:pt x="619294" y="700426"/>
                </a:lnTo>
                <a:lnTo>
                  <a:pt x="619373" y="700172"/>
                </a:lnTo>
                <a:lnTo>
                  <a:pt x="619382" y="700157"/>
                </a:lnTo>
                <a:lnTo>
                  <a:pt x="619390" y="700117"/>
                </a:lnTo>
                <a:lnTo>
                  <a:pt x="621378" y="693713"/>
                </a:lnTo>
                <a:cubicBezTo>
                  <a:pt x="621854" y="691384"/>
                  <a:pt x="622104" y="688973"/>
                  <a:pt x="622104" y="686504"/>
                </a:cubicBezTo>
                <a:cubicBezTo>
                  <a:pt x="622105" y="684035"/>
                  <a:pt x="621854" y="681624"/>
                  <a:pt x="621377" y="679296"/>
                </a:cubicBezTo>
                <a:lnTo>
                  <a:pt x="619390" y="672890"/>
                </a:lnTo>
                <a:lnTo>
                  <a:pt x="619382" y="672851"/>
                </a:lnTo>
                <a:lnTo>
                  <a:pt x="619373" y="672837"/>
                </a:lnTo>
                <a:lnTo>
                  <a:pt x="619294" y="672582"/>
                </a:lnTo>
                <a:lnTo>
                  <a:pt x="616594" y="668579"/>
                </a:lnTo>
                <a:lnTo>
                  <a:pt x="611621" y="660957"/>
                </a:lnTo>
                <a:lnTo>
                  <a:pt x="531311" y="579331"/>
                </a:lnTo>
                <a:cubicBezTo>
                  <a:pt x="524383" y="572291"/>
                  <a:pt x="515258" y="568725"/>
                  <a:pt x="506104" y="568650"/>
                </a:cubicBezTo>
                <a:close/>
                <a:moveTo>
                  <a:pt x="689522" y="278119"/>
                </a:moveTo>
                <a:cubicBezTo>
                  <a:pt x="687053" y="278099"/>
                  <a:pt x="684640" y="278330"/>
                  <a:pt x="682308" y="278788"/>
                </a:cubicBezTo>
                <a:lnTo>
                  <a:pt x="675887" y="280725"/>
                </a:lnTo>
                <a:lnTo>
                  <a:pt x="675848" y="280731"/>
                </a:lnTo>
                <a:lnTo>
                  <a:pt x="675833" y="280741"/>
                </a:lnTo>
                <a:lnTo>
                  <a:pt x="675578" y="280817"/>
                </a:lnTo>
                <a:lnTo>
                  <a:pt x="671552" y="283484"/>
                </a:lnTo>
                <a:lnTo>
                  <a:pt x="663890" y="288395"/>
                </a:lnTo>
                <a:lnTo>
                  <a:pt x="581616" y="368043"/>
                </a:lnTo>
                <a:cubicBezTo>
                  <a:pt x="567424" y="381782"/>
                  <a:pt x="567056" y="404426"/>
                  <a:pt x="580796" y="418619"/>
                </a:cubicBezTo>
                <a:cubicBezTo>
                  <a:pt x="594536" y="432811"/>
                  <a:pt x="617179" y="433178"/>
                  <a:pt x="631372" y="419439"/>
                </a:cubicBezTo>
                <a:lnTo>
                  <a:pt x="652775" y="398717"/>
                </a:lnTo>
                <a:lnTo>
                  <a:pt x="651063" y="609886"/>
                </a:lnTo>
                <a:cubicBezTo>
                  <a:pt x="650903" y="629639"/>
                  <a:pt x="666786" y="645783"/>
                  <a:pt x="686540" y="645943"/>
                </a:cubicBezTo>
                <a:cubicBezTo>
                  <a:pt x="706293" y="646103"/>
                  <a:pt x="722434" y="630220"/>
                  <a:pt x="722595" y="610466"/>
                </a:cubicBezTo>
                <a:lnTo>
                  <a:pt x="724308" y="399297"/>
                </a:lnTo>
                <a:lnTo>
                  <a:pt x="745373" y="420363"/>
                </a:lnTo>
                <a:cubicBezTo>
                  <a:pt x="759341" y="434331"/>
                  <a:pt x="781988" y="434331"/>
                  <a:pt x="795956" y="420363"/>
                </a:cubicBezTo>
                <a:cubicBezTo>
                  <a:pt x="809924" y="406395"/>
                  <a:pt x="809924" y="383749"/>
                  <a:pt x="795956" y="369781"/>
                </a:cubicBezTo>
                <a:lnTo>
                  <a:pt x="714985" y="288809"/>
                </a:lnTo>
                <a:lnTo>
                  <a:pt x="707387" y="283764"/>
                </a:lnTo>
                <a:lnTo>
                  <a:pt x="703420" y="281044"/>
                </a:lnTo>
                <a:lnTo>
                  <a:pt x="703167" y="280962"/>
                </a:lnTo>
                <a:lnTo>
                  <a:pt x="703152" y="280952"/>
                </a:lnTo>
                <a:lnTo>
                  <a:pt x="703113" y="280945"/>
                </a:lnTo>
                <a:lnTo>
                  <a:pt x="696724" y="278905"/>
                </a:lnTo>
                <a:cubicBezTo>
                  <a:pt x="694400" y="278410"/>
                  <a:pt x="691991" y="278139"/>
                  <a:pt x="689522" y="278119"/>
                </a:cubicBezTo>
                <a:close/>
                <a:moveTo>
                  <a:pt x="686504" y="0"/>
                </a:moveTo>
                <a:cubicBezTo>
                  <a:pt x="1065650" y="0"/>
                  <a:pt x="1373008" y="307358"/>
                  <a:pt x="1373008" y="686504"/>
                </a:cubicBezTo>
                <a:cubicBezTo>
                  <a:pt x="1373008" y="1065650"/>
                  <a:pt x="1065650" y="1373008"/>
                  <a:pt x="686504" y="1373008"/>
                </a:cubicBezTo>
                <a:cubicBezTo>
                  <a:pt x="307358" y="1373008"/>
                  <a:pt x="0" y="1065650"/>
                  <a:pt x="0" y="686504"/>
                </a:cubicBezTo>
                <a:cubicBezTo>
                  <a:pt x="0" y="307358"/>
                  <a:pt x="307358" y="0"/>
                  <a:pt x="68650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457189">
              <a:defRPr/>
            </a:pPr>
            <a:endParaRPr lang="en-US" dirty="0">
              <a:solidFill>
                <a:srgbClr val="005073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1875" name="Group 1874"/>
          <p:cNvGrpSpPr/>
          <p:nvPr/>
        </p:nvGrpSpPr>
        <p:grpSpPr>
          <a:xfrm>
            <a:off x="4087836" y="1976391"/>
            <a:ext cx="577435" cy="440072"/>
            <a:chOff x="6462713" y="4906772"/>
            <a:chExt cx="509587" cy="412750"/>
          </a:xfrm>
          <a:solidFill>
            <a:schemeClr val="accent1"/>
          </a:solidFill>
        </p:grpSpPr>
        <p:sp>
          <p:nvSpPr>
            <p:cNvPr id="1876" name="Freeform 1875"/>
            <p:cNvSpPr>
              <a:spLocks/>
            </p:cNvSpPr>
            <p:nvPr/>
          </p:nvSpPr>
          <p:spPr bwMode="auto">
            <a:xfrm>
              <a:off x="6724650" y="4960747"/>
              <a:ext cx="247650" cy="325438"/>
            </a:xfrm>
            <a:custGeom>
              <a:avLst/>
              <a:gdLst>
                <a:gd name="T0" fmla="*/ 302 w 312"/>
                <a:gd name="T1" fmla="*/ 333 h 410"/>
                <a:gd name="T2" fmla="*/ 298 w 312"/>
                <a:gd name="T3" fmla="*/ 322 h 410"/>
                <a:gd name="T4" fmla="*/ 283 w 312"/>
                <a:gd name="T5" fmla="*/ 303 h 410"/>
                <a:gd name="T6" fmla="*/ 274 w 312"/>
                <a:gd name="T7" fmla="*/ 298 h 410"/>
                <a:gd name="T8" fmla="*/ 197 w 312"/>
                <a:gd name="T9" fmla="*/ 259 h 410"/>
                <a:gd name="T10" fmla="*/ 209 w 312"/>
                <a:gd name="T11" fmla="*/ 255 h 410"/>
                <a:gd name="T12" fmla="*/ 232 w 312"/>
                <a:gd name="T13" fmla="*/ 246 h 410"/>
                <a:gd name="T14" fmla="*/ 256 w 312"/>
                <a:gd name="T15" fmla="*/ 230 h 410"/>
                <a:gd name="T16" fmla="*/ 276 w 312"/>
                <a:gd name="T17" fmla="*/ 210 h 410"/>
                <a:gd name="T18" fmla="*/ 286 w 312"/>
                <a:gd name="T19" fmla="*/ 194 h 410"/>
                <a:gd name="T20" fmla="*/ 276 w 312"/>
                <a:gd name="T21" fmla="*/ 191 h 410"/>
                <a:gd name="T22" fmla="*/ 259 w 312"/>
                <a:gd name="T23" fmla="*/ 180 h 410"/>
                <a:gd name="T24" fmla="*/ 251 w 312"/>
                <a:gd name="T25" fmla="*/ 168 h 410"/>
                <a:gd name="T26" fmla="*/ 244 w 312"/>
                <a:gd name="T27" fmla="*/ 152 h 410"/>
                <a:gd name="T28" fmla="*/ 241 w 312"/>
                <a:gd name="T29" fmla="*/ 131 h 410"/>
                <a:gd name="T30" fmla="*/ 243 w 312"/>
                <a:gd name="T31" fmla="*/ 104 h 410"/>
                <a:gd name="T32" fmla="*/ 244 w 312"/>
                <a:gd name="T33" fmla="*/ 94 h 410"/>
                <a:gd name="T34" fmla="*/ 243 w 312"/>
                <a:gd name="T35" fmla="*/ 85 h 410"/>
                <a:gd name="T36" fmla="*/ 241 w 312"/>
                <a:gd name="T37" fmla="*/ 68 h 410"/>
                <a:gd name="T38" fmla="*/ 237 w 312"/>
                <a:gd name="T39" fmla="*/ 54 h 410"/>
                <a:gd name="T40" fmla="*/ 229 w 312"/>
                <a:gd name="T41" fmla="*/ 39 h 410"/>
                <a:gd name="T42" fmla="*/ 217 w 312"/>
                <a:gd name="T43" fmla="*/ 25 h 410"/>
                <a:gd name="T44" fmla="*/ 204 w 312"/>
                <a:gd name="T45" fmla="*/ 15 h 410"/>
                <a:gd name="T46" fmla="*/ 186 w 312"/>
                <a:gd name="T47" fmla="*/ 6 h 410"/>
                <a:gd name="T48" fmla="*/ 166 w 312"/>
                <a:gd name="T49" fmla="*/ 1 h 410"/>
                <a:gd name="T50" fmla="*/ 143 w 312"/>
                <a:gd name="T51" fmla="*/ 0 h 410"/>
                <a:gd name="T52" fmla="*/ 131 w 312"/>
                <a:gd name="T53" fmla="*/ 0 h 410"/>
                <a:gd name="T54" fmla="*/ 109 w 312"/>
                <a:gd name="T55" fmla="*/ 4 h 410"/>
                <a:gd name="T56" fmla="*/ 90 w 312"/>
                <a:gd name="T57" fmla="*/ 11 h 410"/>
                <a:gd name="T58" fmla="*/ 74 w 312"/>
                <a:gd name="T59" fmla="*/ 20 h 410"/>
                <a:gd name="T60" fmla="*/ 62 w 312"/>
                <a:gd name="T61" fmla="*/ 32 h 410"/>
                <a:gd name="T62" fmla="*/ 51 w 312"/>
                <a:gd name="T63" fmla="*/ 46 h 410"/>
                <a:gd name="T64" fmla="*/ 45 w 312"/>
                <a:gd name="T65" fmla="*/ 60 h 410"/>
                <a:gd name="T66" fmla="*/ 42 w 312"/>
                <a:gd name="T67" fmla="*/ 77 h 410"/>
                <a:gd name="T68" fmla="*/ 42 w 312"/>
                <a:gd name="T69" fmla="*/ 85 h 410"/>
                <a:gd name="T70" fmla="*/ 42 w 312"/>
                <a:gd name="T71" fmla="*/ 104 h 410"/>
                <a:gd name="T72" fmla="*/ 45 w 312"/>
                <a:gd name="T73" fmla="*/ 118 h 410"/>
                <a:gd name="T74" fmla="*/ 43 w 312"/>
                <a:gd name="T75" fmla="*/ 143 h 410"/>
                <a:gd name="T76" fmla="*/ 38 w 312"/>
                <a:gd name="T77" fmla="*/ 162 h 410"/>
                <a:gd name="T78" fmla="*/ 31 w 312"/>
                <a:gd name="T79" fmla="*/ 175 h 410"/>
                <a:gd name="T80" fmla="*/ 16 w 312"/>
                <a:gd name="T81" fmla="*/ 187 h 410"/>
                <a:gd name="T82" fmla="*/ 0 w 312"/>
                <a:gd name="T83" fmla="*/ 194 h 410"/>
                <a:gd name="T84" fmla="*/ 1 w 312"/>
                <a:gd name="T85" fmla="*/ 198 h 410"/>
                <a:gd name="T86" fmla="*/ 15 w 312"/>
                <a:gd name="T87" fmla="*/ 218 h 410"/>
                <a:gd name="T88" fmla="*/ 30 w 312"/>
                <a:gd name="T89" fmla="*/ 232 h 410"/>
                <a:gd name="T90" fmla="*/ 80 w 312"/>
                <a:gd name="T91" fmla="*/ 252 h 410"/>
                <a:gd name="T92" fmla="*/ 88 w 312"/>
                <a:gd name="T93" fmla="*/ 256 h 410"/>
                <a:gd name="T94" fmla="*/ 103 w 312"/>
                <a:gd name="T95" fmla="*/ 269 h 410"/>
                <a:gd name="T96" fmla="*/ 117 w 312"/>
                <a:gd name="T97" fmla="*/ 286 h 410"/>
                <a:gd name="T98" fmla="*/ 127 w 312"/>
                <a:gd name="T99" fmla="*/ 306 h 410"/>
                <a:gd name="T100" fmla="*/ 144 w 312"/>
                <a:gd name="T101" fmla="*/ 410 h 410"/>
                <a:gd name="T102" fmla="*/ 181 w 312"/>
                <a:gd name="T103" fmla="*/ 408 h 410"/>
                <a:gd name="T104" fmla="*/ 243 w 312"/>
                <a:gd name="T105" fmla="*/ 403 h 410"/>
                <a:gd name="T106" fmla="*/ 286 w 312"/>
                <a:gd name="T107" fmla="*/ 393 h 410"/>
                <a:gd name="T108" fmla="*/ 305 w 312"/>
                <a:gd name="T109" fmla="*/ 385 h 410"/>
                <a:gd name="T110" fmla="*/ 312 w 312"/>
                <a:gd name="T111" fmla="*/ 377 h 410"/>
                <a:gd name="T112" fmla="*/ 312 w 312"/>
                <a:gd name="T113" fmla="*/ 375 h 410"/>
                <a:gd name="T114" fmla="*/ 302 w 312"/>
                <a:gd name="T115" fmla="*/ 333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12" h="410">
                  <a:moveTo>
                    <a:pt x="302" y="333"/>
                  </a:moveTo>
                  <a:lnTo>
                    <a:pt x="302" y="333"/>
                  </a:lnTo>
                  <a:lnTo>
                    <a:pt x="301" y="327"/>
                  </a:lnTo>
                  <a:lnTo>
                    <a:pt x="298" y="322"/>
                  </a:lnTo>
                  <a:lnTo>
                    <a:pt x="291" y="311"/>
                  </a:lnTo>
                  <a:lnTo>
                    <a:pt x="283" y="303"/>
                  </a:lnTo>
                  <a:lnTo>
                    <a:pt x="274" y="298"/>
                  </a:lnTo>
                  <a:lnTo>
                    <a:pt x="274" y="298"/>
                  </a:lnTo>
                  <a:lnTo>
                    <a:pt x="197" y="259"/>
                  </a:lnTo>
                  <a:lnTo>
                    <a:pt x="197" y="259"/>
                  </a:lnTo>
                  <a:lnTo>
                    <a:pt x="197" y="259"/>
                  </a:lnTo>
                  <a:lnTo>
                    <a:pt x="209" y="255"/>
                  </a:lnTo>
                  <a:lnTo>
                    <a:pt x="221" y="251"/>
                  </a:lnTo>
                  <a:lnTo>
                    <a:pt x="232" y="246"/>
                  </a:lnTo>
                  <a:lnTo>
                    <a:pt x="241" y="241"/>
                  </a:lnTo>
                  <a:lnTo>
                    <a:pt x="256" y="230"/>
                  </a:lnTo>
                  <a:lnTo>
                    <a:pt x="268" y="220"/>
                  </a:lnTo>
                  <a:lnTo>
                    <a:pt x="276" y="210"/>
                  </a:lnTo>
                  <a:lnTo>
                    <a:pt x="282" y="202"/>
                  </a:lnTo>
                  <a:lnTo>
                    <a:pt x="286" y="194"/>
                  </a:lnTo>
                  <a:lnTo>
                    <a:pt x="286" y="194"/>
                  </a:lnTo>
                  <a:lnTo>
                    <a:pt x="276" y="191"/>
                  </a:lnTo>
                  <a:lnTo>
                    <a:pt x="268" y="187"/>
                  </a:lnTo>
                  <a:lnTo>
                    <a:pt x="259" y="180"/>
                  </a:lnTo>
                  <a:lnTo>
                    <a:pt x="255" y="175"/>
                  </a:lnTo>
                  <a:lnTo>
                    <a:pt x="251" y="168"/>
                  </a:lnTo>
                  <a:lnTo>
                    <a:pt x="247" y="162"/>
                  </a:lnTo>
                  <a:lnTo>
                    <a:pt x="244" y="152"/>
                  </a:lnTo>
                  <a:lnTo>
                    <a:pt x="241" y="143"/>
                  </a:lnTo>
                  <a:lnTo>
                    <a:pt x="241" y="131"/>
                  </a:lnTo>
                  <a:lnTo>
                    <a:pt x="241" y="118"/>
                  </a:lnTo>
                  <a:lnTo>
                    <a:pt x="243" y="104"/>
                  </a:lnTo>
                  <a:lnTo>
                    <a:pt x="243" y="104"/>
                  </a:lnTo>
                  <a:lnTo>
                    <a:pt x="244" y="94"/>
                  </a:lnTo>
                  <a:lnTo>
                    <a:pt x="243" y="85"/>
                  </a:lnTo>
                  <a:lnTo>
                    <a:pt x="243" y="85"/>
                  </a:lnTo>
                  <a:lnTo>
                    <a:pt x="243" y="77"/>
                  </a:lnTo>
                  <a:lnTo>
                    <a:pt x="241" y="68"/>
                  </a:lnTo>
                  <a:lnTo>
                    <a:pt x="240" y="60"/>
                  </a:lnTo>
                  <a:lnTo>
                    <a:pt x="237" y="54"/>
                  </a:lnTo>
                  <a:lnTo>
                    <a:pt x="233" y="46"/>
                  </a:lnTo>
                  <a:lnTo>
                    <a:pt x="229" y="39"/>
                  </a:lnTo>
                  <a:lnTo>
                    <a:pt x="224" y="32"/>
                  </a:lnTo>
                  <a:lnTo>
                    <a:pt x="217" y="25"/>
                  </a:lnTo>
                  <a:lnTo>
                    <a:pt x="210" y="20"/>
                  </a:lnTo>
                  <a:lnTo>
                    <a:pt x="204" y="15"/>
                  </a:lnTo>
                  <a:lnTo>
                    <a:pt x="194" y="11"/>
                  </a:lnTo>
                  <a:lnTo>
                    <a:pt x="186" y="6"/>
                  </a:lnTo>
                  <a:lnTo>
                    <a:pt x="175" y="4"/>
                  </a:lnTo>
                  <a:lnTo>
                    <a:pt x="166" y="1"/>
                  </a:lnTo>
                  <a:lnTo>
                    <a:pt x="154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31" y="0"/>
                  </a:lnTo>
                  <a:lnTo>
                    <a:pt x="120" y="1"/>
                  </a:lnTo>
                  <a:lnTo>
                    <a:pt x="109" y="4"/>
                  </a:lnTo>
                  <a:lnTo>
                    <a:pt x="100" y="6"/>
                  </a:lnTo>
                  <a:lnTo>
                    <a:pt x="90" y="11"/>
                  </a:lnTo>
                  <a:lnTo>
                    <a:pt x="82" y="15"/>
                  </a:lnTo>
                  <a:lnTo>
                    <a:pt x="74" y="20"/>
                  </a:lnTo>
                  <a:lnTo>
                    <a:pt x="67" y="25"/>
                  </a:lnTo>
                  <a:lnTo>
                    <a:pt x="62" y="32"/>
                  </a:lnTo>
                  <a:lnTo>
                    <a:pt x="57" y="39"/>
                  </a:lnTo>
                  <a:lnTo>
                    <a:pt x="51" y="46"/>
                  </a:lnTo>
                  <a:lnTo>
                    <a:pt x="49" y="54"/>
                  </a:lnTo>
                  <a:lnTo>
                    <a:pt x="45" y="60"/>
                  </a:lnTo>
                  <a:lnTo>
                    <a:pt x="43" y="68"/>
                  </a:lnTo>
                  <a:lnTo>
                    <a:pt x="42" y="77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42" y="94"/>
                  </a:lnTo>
                  <a:lnTo>
                    <a:pt x="42" y="104"/>
                  </a:lnTo>
                  <a:lnTo>
                    <a:pt x="42" y="104"/>
                  </a:lnTo>
                  <a:lnTo>
                    <a:pt x="45" y="118"/>
                  </a:lnTo>
                  <a:lnTo>
                    <a:pt x="45" y="131"/>
                  </a:lnTo>
                  <a:lnTo>
                    <a:pt x="43" y="143"/>
                  </a:lnTo>
                  <a:lnTo>
                    <a:pt x="42" y="152"/>
                  </a:lnTo>
                  <a:lnTo>
                    <a:pt x="38" y="162"/>
                  </a:lnTo>
                  <a:lnTo>
                    <a:pt x="35" y="168"/>
                  </a:lnTo>
                  <a:lnTo>
                    <a:pt x="31" y="175"/>
                  </a:lnTo>
                  <a:lnTo>
                    <a:pt x="26" y="180"/>
                  </a:lnTo>
                  <a:lnTo>
                    <a:pt x="16" y="187"/>
                  </a:lnTo>
                  <a:lnTo>
                    <a:pt x="8" y="191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1" y="198"/>
                  </a:lnTo>
                  <a:lnTo>
                    <a:pt x="5" y="206"/>
                  </a:lnTo>
                  <a:lnTo>
                    <a:pt x="15" y="218"/>
                  </a:lnTo>
                  <a:lnTo>
                    <a:pt x="22" y="225"/>
                  </a:lnTo>
                  <a:lnTo>
                    <a:pt x="30" y="232"/>
                  </a:lnTo>
                  <a:lnTo>
                    <a:pt x="30" y="232"/>
                  </a:lnTo>
                  <a:lnTo>
                    <a:pt x="80" y="252"/>
                  </a:lnTo>
                  <a:lnTo>
                    <a:pt x="80" y="252"/>
                  </a:lnTo>
                  <a:lnTo>
                    <a:pt x="88" y="256"/>
                  </a:lnTo>
                  <a:lnTo>
                    <a:pt x="96" y="261"/>
                  </a:lnTo>
                  <a:lnTo>
                    <a:pt x="103" y="269"/>
                  </a:lnTo>
                  <a:lnTo>
                    <a:pt x="111" y="277"/>
                  </a:lnTo>
                  <a:lnTo>
                    <a:pt x="117" y="286"/>
                  </a:lnTo>
                  <a:lnTo>
                    <a:pt x="123" y="295"/>
                  </a:lnTo>
                  <a:lnTo>
                    <a:pt x="127" y="306"/>
                  </a:lnTo>
                  <a:lnTo>
                    <a:pt x="128" y="315"/>
                  </a:lnTo>
                  <a:lnTo>
                    <a:pt x="144" y="410"/>
                  </a:lnTo>
                  <a:lnTo>
                    <a:pt x="144" y="410"/>
                  </a:lnTo>
                  <a:lnTo>
                    <a:pt x="181" y="408"/>
                  </a:lnTo>
                  <a:lnTo>
                    <a:pt x="214" y="407"/>
                  </a:lnTo>
                  <a:lnTo>
                    <a:pt x="243" y="403"/>
                  </a:lnTo>
                  <a:lnTo>
                    <a:pt x="267" y="399"/>
                  </a:lnTo>
                  <a:lnTo>
                    <a:pt x="286" y="393"/>
                  </a:lnTo>
                  <a:lnTo>
                    <a:pt x="299" y="388"/>
                  </a:lnTo>
                  <a:lnTo>
                    <a:pt x="305" y="385"/>
                  </a:lnTo>
                  <a:lnTo>
                    <a:pt x="309" y="381"/>
                  </a:lnTo>
                  <a:lnTo>
                    <a:pt x="312" y="377"/>
                  </a:lnTo>
                  <a:lnTo>
                    <a:pt x="312" y="375"/>
                  </a:lnTo>
                  <a:lnTo>
                    <a:pt x="312" y="375"/>
                  </a:lnTo>
                  <a:lnTo>
                    <a:pt x="302" y="333"/>
                  </a:lnTo>
                  <a:lnTo>
                    <a:pt x="302" y="3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877" name="Freeform 1876"/>
            <p:cNvSpPr>
              <a:spLocks/>
            </p:cNvSpPr>
            <p:nvPr/>
          </p:nvSpPr>
          <p:spPr bwMode="auto">
            <a:xfrm>
              <a:off x="6462713" y="4906772"/>
              <a:ext cx="355600" cy="412750"/>
            </a:xfrm>
            <a:custGeom>
              <a:avLst/>
              <a:gdLst>
                <a:gd name="T0" fmla="*/ 433 w 447"/>
                <a:gd name="T1" fmla="*/ 381 h 521"/>
                <a:gd name="T2" fmla="*/ 420 w 447"/>
                <a:gd name="T3" fmla="*/ 360 h 521"/>
                <a:gd name="T4" fmla="*/ 399 w 447"/>
                <a:gd name="T5" fmla="*/ 341 h 521"/>
                <a:gd name="T6" fmla="*/ 341 w 447"/>
                <a:gd name="T7" fmla="*/ 319 h 521"/>
                <a:gd name="T8" fmla="*/ 295 w 447"/>
                <a:gd name="T9" fmla="*/ 294 h 521"/>
                <a:gd name="T10" fmla="*/ 290 w 447"/>
                <a:gd name="T11" fmla="*/ 288 h 521"/>
                <a:gd name="T12" fmla="*/ 287 w 447"/>
                <a:gd name="T13" fmla="*/ 254 h 521"/>
                <a:gd name="T14" fmla="*/ 290 w 447"/>
                <a:gd name="T15" fmla="*/ 234 h 521"/>
                <a:gd name="T16" fmla="*/ 311 w 447"/>
                <a:gd name="T17" fmla="*/ 188 h 521"/>
                <a:gd name="T18" fmla="*/ 313 w 447"/>
                <a:gd name="T19" fmla="*/ 188 h 521"/>
                <a:gd name="T20" fmla="*/ 326 w 447"/>
                <a:gd name="T21" fmla="*/ 181 h 521"/>
                <a:gd name="T22" fmla="*/ 340 w 447"/>
                <a:gd name="T23" fmla="*/ 154 h 521"/>
                <a:gd name="T24" fmla="*/ 340 w 447"/>
                <a:gd name="T25" fmla="*/ 131 h 521"/>
                <a:gd name="T26" fmla="*/ 333 w 447"/>
                <a:gd name="T27" fmla="*/ 122 h 521"/>
                <a:gd name="T28" fmla="*/ 326 w 447"/>
                <a:gd name="T29" fmla="*/ 122 h 521"/>
                <a:gd name="T30" fmla="*/ 331 w 447"/>
                <a:gd name="T31" fmla="*/ 100 h 521"/>
                <a:gd name="T32" fmla="*/ 329 w 447"/>
                <a:gd name="T33" fmla="*/ 68 h 521"/>
                <a:gd name="T34" fmla="*/ 314 w 447"/>
                <a:gd name="T35" fmla="*/ 39 h 521"/>
                <a:gd name="T36" fmla="*/ 288 w 447"/>
                <a:gd name="T37" fmla="*/ 16 h 521"/>
                <a:gd name="T38" fmla="*/ 253 w 447"/>
                <a:gd name="T39" fmla="*/ 3 h 521"/>
                <a:gd name="T40" fmla="*/ 224 w 447"/>
                <a:gd name="T41" fmla="*/ 0 h 521"/>
                <a:gd name="T42" fmla="*/ 180 w 447"/>
                <a:gd name="T43" fmla="*/ 7 h 521"/>
                <a:gd name="T44" fmla="*/ 148 w 447"/>
                <a:gd name="T45" fmla="*/ 23 h 521"/>
                <a:gd name="T46" fmla="*/ 126 w 447"/>
                <a:gd name="T47" fmla="*/ 49 h 521"/>
                <a:gd name="T48" fmla="*/ 116 w 447"/>
                <a:gd name="T49" fmla="*/ 79 h 521"/>
                <a:gd name="T50" fmla="*/ 117 w 447"/>
                <a:gd name="T51" fmla="*/ 111 h 521"/>
                <a:gd name="T52" fmla="*/ 118 w 447"/>
                <a:gd name="T53" fmla="*/ 122 h 521"/>
                <a:gd name="T54" fmla="*/ 110 w 447"/>
                <a:gd name="T55" fmla="*/ 124 h 521"/>
                <a:gd name="T56" fmla="*/ 106 w 447"/>
                <a:gd name="T57" fmla="*/ 142 h 521"/>
                <a:gd name="T58" fmla="*/ 112 w 447"/>
                <a:gd name="T59" fmla="*/ 166 h 521"/>
                <a:gd name="T60" fmla="*/ 125 w 447"/>
                <a:gd name="T61" fmla="*/ 185 h 521"/>
                <a:gd name="T62" fmla="*/ 135 w 447"/>
                <a:gd name="T63" fmla="*/ 188 h 521"/>
                <a:gd name="T64" fmla="*/ 145 w 447"/>
                <a:gd name="T65" fmla="*/ 212 h 521"/>
                <a:gd name="T66" fmla="*/ 157 w 447"/>
                <a:gd name="T67" fmla="*/ 234 h 521"/>
                <a:gd name="T68" fmla="*/ 160 w 447"/>
                <a:gd name="T69" fmla="*/ 273 h 521"/>
                <a:gd name="T70" fmla="*/ 157 w 447"/>
                <a:gd name="T71" fmla="*/ 288 h 521"/>
                <a:gd name="T72" fmla="*/ 139 w 447"/>
                <a:gd name="T73" fmla="*/ 302 h 521"/>
                <a:gd name="T74" fmla="*/ 70 w 447"/>
                <a:gd name="T75" fmla="*/ 333 h 521"/>
                <a:gd name="T76" fmla="*/ 43 w 447"/>
                <a:gd name="T77" fmla="*/ 344 h 521"/>
                <a:gd name="T78" fmla="*/ 21 w 447"/>
                <a:gd name="T79" fmla="*/ 367 h 521"/>
                <a:gd name="T80" fmla="*/ 12 w 447"/>
                <a:gd name="T81" fmla="*/ 387 h 521"/>
                <a:gd name="T82" fmla="*/ 1 w 447"/>
                <a:gd name="T83" fmla="*/ 479 h 521"/>
                <a:gd name="T84" fmla="*/ 16 w 447"/>
                <a:gd name="T85" fmla="*/ 492 h 521"/>
                <a:gd name="T86" fmla="*/ 60 w 447"/>
                <a:gd name="T87" fmla="*/ 507 h 521"/>
                <a:gd name="T88" fmla="*/ 175 w 447"/>
                <a:gd name="T89" fmla="*/ 519 h 521"/>
                <a:gd name="T90" fmla="*/ 272 w 447"/>
                <a:gd name="T91" fmla="*/ 519 h 521"/>
                <a:gd name="T92" fmla="*/ 387 w 447"/>
                <a:gd name="T93" fmla="*/ 507 h 521"/>
                <a:gd name="T94" fmla="*/ 431 w 447"/>
                <a:gd name="T95" fmla="*/ 492 h 521"/>
                <a:gd name="T96" fmla="*/ 446 w 447"/>
                <a:gd name="T97" fmla="*/ 479 h 521"/>
                <a:gd name="T98" fmla="*/ 447 w 447"/>
                <a:gd name="T99" fmla="*/ 47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47" h="521">
                  <a:moveTo>
                    <a:pt x="434" y="387"/>
                  </a:moveTo>
                  <a:lnTo>
                    <a:pt x="434" y="387"/>
                  </a:lnTo>
                  <a:lnTo>
                    <a:pt x="433" y="381"/>
                  </a:lnTo>
                  <a:lnTo>
                    <a:pt x="430" y="374"/>
                  </a:lnTo>
                  <a:lnTo>
                    <a:pt x="426" y="367"/>
                  </a:lnTo>
                  <a:lnTo>
                    <a:pt x="420" y="360"/>
                  </a:lnTo>
                  <a:lnTo>
                    <a:pt x="410" y="350"/>
                  </a:lnTo>
                  <a:lnTo>
                    <a:pt x="404" y="344"/>
                  </a:lnTo>
                  <a:lnTo>
                    <a:pt x="399" y="341"/>
                  </a:lnTo>
                  <a:lnTo>
                    <a:pt x="399" y="341"/>
                  </a:lnTo>
                  <a:lnTo>
                    <a:pt x="376" y="333"/>
                  </a:lnTo>
                  <a:lnTo>
                    <a:pt x="341" y="319"/>
                  </a:lnTo>
                  <a:lnTo>
                    <a:pt x="323" y="310"/>
                  </a:lnTo>
                  <a:lnTo>
                    <a:pt x="307" y="302"/>
                  </a:lnTo>
                  <a:lnTo>
                    <a:pt x="295" y="294"/>
                  </a:lnTo>
                  <a:lnTo>
                    <a:pt x="291" y="292"/>
                  </a:lnTo>
                  <a:lnTo>
                    <a:pt x="290" y="288"/>
                  </a:lnTo>
                  <a:lnTo>
                    <a:pt x="290" y="288"/>
                  </a:lnTo>
                  <a:lnTo>
                    <a:pt x="287" y="281"/>
                  </a:lnTo>
                  <a:lnTo>
                    <a:pt x="286" y="273"/>
                  </a:lnTo>
                  <a:lnTo>
                    <a:pt x="287" y="254"/>
                  </a:lnTo>
                  <a:lnTo>
                    <a:pt x="288" y="240"/>
                  </a:lnTo>
                  <a:lnTo>
                    <a:pt x="290" y="234"/>
                  </a:lnTo>
                  <a:lnTo>
                    <a:pt x="290" y="234"/>
                  </a:lnTo>
                  <a:lnTo>
                    <a:pt x="295" y="223"/>
                  </a:lnTo>
                  <a:lnTo>
                    <a:pt x="302" y="212"/>
                  </a:lnTo>
                  <a:lnTo>
                    <a:pt x="311" y="188"/>
                  </a:lnTo>
                  <a:lnTo>
                    <a:pt x="311" y="188"/>
                  </a:lnTo>
                  <a:lnTo>
                    <a:pt x="313" y="188"/>
                  </a:lnTo>
                  <a:lnTo>
                    <a:pt x="313" y="188"/>
                  </a:lnTo>
                  <a:lnTo>
                    <a:pt x="317" y="188"/>
                  </a:lnTo>
                  <a:lnTo>
                    <a:pt x="322" y="185"/>
                  </a:lnTo>
                  <a:lnTo>
                    <a:pt x="326" y="181"/>
                  </a:lnTo>
                  <a:lnTo>
                    <a:pt x="330" y="177"/>
                  </a:lnTo>
                  <a:lnTo>
                    <a:pt x="335" y="166"/>
                  </a:lnTo>
                  <a:lnTo>
                    <a:pt x="340" y="154"/>
                  </a:lnTo>
                  <a:lnTo>
                    <a:pt x="340" y="154"/>
                  </a:lnTo>
                  <a:lnTo>
                    <a:pt x="341" y="142"/>
                  </a:lnTo>
                  <a:lnTo>
                    <a:pt x="340" y="131"/>
                  </a:lnTo>
                  <a:lnTo>
                    <a:pt x="338" y="127"/>
                  </a:lnTo>
                  <a:lnTo>
                    <a:pt x="337" y="124"/>
                  </a:lnTo>
                  <a:lnTo>
                    <a:pt x="333" y="122"/>
                  </a:lnTo>
                  <a:lnTo>
                    <a:pt x="329" y="122"/>
                  </a:lnTo>
                  <a:lnTo>
                    <a:pt x="329" y="122"/>
                  </a:lnTo>
                  <a:lnTo>
                    <a:pt x="326" y="122"/>
                  </a:lnTo>
                  <a:lnTo>
                    <a:pt x="326" y="122"/>
                  </a:lnTo>
                  <a:lnTo>
                    <a:pt x="330" y="111"/>
                  </a:lnTo>
                  <a:lnTo>
                    <a:pt x="331" y="100"/>
                  </a:lnTo>
                  <a:lnTo>
                    <a:pt x="331" y="89"/>
                  </a:lnTo>
                  <a:lnTo>
                    <a:pt x="331" y="79"/>
                  </a:lnTo>
                  <a:lnTo>
                    <a:pt x="329" y="68"/>
                  </a:lnTo>
                  <a:lnTo>
                    <a:pt x="326" y="58"/>
                  </a:lnTo>
                  <a:lnTo>
                    <a:pt x="321" y="49"/>
                  </a:lnTo>
                  <a:lnTo>
                    <a:pt x="314" y="39"/>
                  </a:lnTo>
                  <a:lnTo>
                    <a:pt x="307" y="31"/>
                  </a:lnTo>
                  <a:lnTo>
                    <a:pt x="299" y="23"/>
                  </a:lnTo>
                  <a:lnTo>
                    <a:pt x="288" y="16"/>
                  </a:lnTo>
                  <a:lnTo>
                    <a:pt x="277" y="11"/>
                  </a:lnTo>
                  <a:lnTo>
                    <a:pt x="265" y="7"/>
                  </a:lnTo>
                  <a:lnTo>
                    <a:pt x="253" y="3"/>
                  </a:lnTo>
                  <a:lnTo>
                    <a:pt x="238" y="2"/>
                  </a:lnTo>
                  <a:lnTo>
                    <a:pt x="224" y="0"/>
                  </a:lnTo>
                  <a:lnTo>
                    <a:pt x="224" y="0"/>
                  </a:lnTo>
                  <a:lnTo>
                    <a:pt x="209" y="2"/>
                  </a:lnTo>
                  <a:lnTo>
                    <a:pt x="194" y="3"/>
                  </a:lnTo>
                  <a:lnTo>
                    <a:pt x="180" y="7"/>
                  </a:lnTo>
                  <a:lnTo>
                    <a:pt x="168" y="11"/>
                  </a:lnTo>
                  <a:lnTo>
                    <a:pt x="157" y="16"/>
                  </a:lnTo>
                  <a:lnTo>
                    <a:pt x="148" y="23"/>
                  </a:lnTo>
                  <a:lnTo>
                    <a:pt x="140" y="31"/>
                  </a:lnTo>
                  <a:lnTo>
                    <a:pt x="132" y="39"/>
                  </a:lnTo>
                  <a:lnTo>
                    <a:pt x="126" y="49"/>
                  </a:lnTo>
                  <a:lnTo>
                    <a:pt x="121" y="58"/>
                  </a:lnTo>
                  <a:lnTo>
                    <a:pt x="118" y="68"/>
                  </a:lnTo>
                  <a:lnTo>
                    <a:pt x="116" y="79"/>
                  </a:lnTo>
                  <a:lnTo>
                    <a:pt x="114" y="89"/>
                  </a:lnTo>
                  <a:lnTo>
                    <a:pt x="116" y="100"/>
                  </a:lnTo>
                  <a:lnTo>
                    <a:pt x="117" y="111"/>
                  </a:lnTo>
                  <a:lnTo>
                    <a:pt x="121" y="122"/>
                  </a:lnTo>
                  <a:lnTo>
                    <a:pt x="121" y="122"/>
                  </a:lnTo>
                  <a:lnTo>
                    <a:pt x="118" y="122"/>
                  </a:lnTo>
                  <a:lnTo>
                    <a:pt x="118" y="122"/>
                  </a:lnTo>
                  <a:lnTo>
                    <a:pt x="113" y="122"/>
                  </a:lnTo>
                  <a:lnTo>
                    <a:pt x="110" y="124"/>
                  </a:lnTo>
                  <a:lnTo>
                    <a:pt x="108" y="127"/>
                  </a:lnTo>
                  <a:lnTo>
                    <a:pt x="106" y="131"/>
                  </a:lnTo>
                  <a:lnTo>
                    <a:pt x="106" y="142"/>
                  </a:lnTo>
                  <a:lnTo>
                    <a:pt x="108" y="154"/>
                  </a:lnTo>
                  <a:lnTo>
                    <a:pt x="108" y="154"/>
                  </a:lnTo>
                  <a:lnTo>
                    <a:pt x="112" y="166"/>
                  </a:lnTo>
                  <a:lnTo>
                    <a:pt x="117" y="177"/>
                  </a:lnTo>
                  <a:lnTo>
                    <a:pt x="121" y="181"/>
                  </a:lnTo>
                  <a:lnTo>
                    <a:pt x="125" y="185"/>
                  </a:lnTo>
                  <a:lnTo>
                    <a:pt x="129" y="188"/>
                  </a:lnTo>
                  <a:lnTo>
                    <a:pt x="135" y="188"/>
                  </a:lnTo>
                  <a:lnTo>
                    <a:pt x="135" y="188"/>
                  </a:lnTo>
                  <a:lnTo>
                    <a:pt x="136" y="188"/>
                  </a:lnTo>
                  <a:lnTo>
                    <a:pt x="136" y="188"/>
                  </a:lnTo>
                  <a:lnTo>
                    <a:pt x="145" y="212"/>
                  </a:lnTo>
                  <a:lnTo>
                    <a:pt x="151" y="223"/>
                  </a:lnTo>
                  <a:lnTo>
                    <a:pt x="157" y="234"/>
                  </a:lnTo>
                  <a:lnTo>
                    <a:pt x="157" y="234"/>
                  </a:lnTo>
                  <a:lnTo>
                    <a:pt x="159" y="240"/>
                  </a:lnTo>
                  <a:lnTo>
                    <a:pt x="160" y="254"/>
                  </a:lnTo>
                  <a:lnTo>
                    <a:pt x="160" y="273"/>
                  </a:lnTo>
                  <a:lnTo>
                    <a:pt x="160" y="281"/>
                  </a:lnTo>
                  <a:lnTo>
                    <a:pt x="157" y="288"/>
                  </a:lnTo>
                  <a:lnTo>
                    <a:pt x="157" y="288"/>
                  </a:lnTo>
                  <a:lnTo>
                    <a:pt x="155" y="292"/>
                  </a:lnTo>
                  <a:lnTo>
                    <a:pt x="151" y="294"/>
                  </a:lnTo>
                  <a:lnTo>
                    <a:pt x="139" y="302"/>
                  </a:lnTo>
                  <a:lnTo>
                    <a:pt x="124" y="310"/>
                  </a:lnTo>
                  <a:lnTo>
                    <a:pt x="105" y="319"/>
                  </a:lnTo>
                  <a:lnTo>
                    <a:pt x="70" y="333"/>
                  </a:lnTo>
                  <a:lnTo>
                    <a:pt x="48" y="341"/>
                  </a:lnTo>
                  <a:lnTo>
                    <a:pt x="48" y="341"/>
                  </a:lnTo>
                  <a:lnTo>
                    <a:pt x="43" y="344"/>
                  </a:lnTo>
                  <a:lnTo>
                    <a:pt x="37" y="350"/>
                  </a:lnTo>
                  <a:lnTo>
                    <a:pt x="25" y="360"/>
                  </a:lnTo>
                  <a:lnTo>
                    <a:pt x="21" y="367"/>
                  </a:lnTo>
                  <a:lnTo>
                    <a:pt x="17" y="374"/>
                  </a:lnTo>
                  <a:lnTo>
                    <a:pt x="15" y="381"/>
                  </a:lnTo>
                  <a:lnTo>
                    <a:pt x="12" y="387"/>
                  </a:lnTo>
                  <a:lnTo>
                    <a:pt x="0" y="475"/>
                  </a:lnTo>
                  <a:lnTo>
                    <a:pt x="0" y="475"/>
                  </a:lnTo>
                  <a:lnTo>
                    <a:pt x="1" y="479"/>
                  </a:lnTo>
                  <a:lnTo>
                    <a:pt x="4" y="484"/>
                  </a:lnTo>
                  <a:lnTo>
                    <a:pt x="9" y="488"/>
                  </a:lnTo>
                  <a:lnTo>
                    <a:pt x="16" y="492"/>
                  </a:lnTo>
                  <a:lnTo>
                    <a:pt x="24" y="496"/>
                  </a:lnTo>
                  <a:lnTo>
                    <a:pt x="35" y="501"/>
                  </a:lnTo>
                  <a:lnTo>
                    <a:pt x="60" y="507"/>
                  </a:lnTo>
                  <a:lnTo>
                    <a:pt x="93" y="513"/>
                  </a:lnTo>
                  <a:lnTo>
                    <a:pt x="132" y="517"/>
                  </a:lnTo>
                  <a:lnTo>
                    <a:pt x="175" y="519"/>
                  </a:lnTo>
                  <a:lnTo>
                    <a:pt x="224" y="521"/>
                  </a:lnTo>
                  <a:lnTo>
                    <a:pt x="224" y="521"/>
                  </a:lnTo>
                  <a:lnTo>
                    <a:pt x="272" y="519"/>
                  </a:lnTo>
                  <a:lnTo>
                    <a:pt x="315" y="517"/>
                  </a:lnTo>
                  <a:lnTo>
                    <a:pt x="354" y="513"/>
                  </a:lnTo>
                  <a:lnTo>
                    <a:pt x="387" y="507"/>
                  </a:lnTo>
                  <a:lnTo>
                    <a:pt x="412" y="501"/>
                  </a:lnTo>
                  <a:lnTo>
                    <a:pt x="423" y="496"/>
                  </a:lnTo>
                  <a:lnTo>
                    <a:pt x="431" y="492"/>
                  </a:lnTo>
                  <a:lnTo>
                    <a:pt x="438" y="488"/>
                  </a:lnTo>
                  <a:lnTo>
                    <a:pt x="443" y="484"/>
                  </a:lnTo>
                  <a:lnTo>
                    <a:pt x="446" y="479"/>
                  </a:lnTo>
                  <a:lnTo>
                    <a:pt x="447" y="475"/>
                  </a:lnTo>
                  <a:lnTo>
                    <a:pt x="447" y="475"/>
                  </a:lnTo>
                  <a:lnTo>
                    <a:pt x="447" y="474"/>
                  </a:lnTo>
                  <a:lnTo>
                    <a:pt x="434" y="3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u="none" strike="noStrike" kern="1200" cap="none" spc="0" normalizeH="0" baseline="0" noProof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sp>
        <p:nvSpPr>
          <p:cNvPr id="1878" name="TextBox 1877">
            <a:extLst>
              <a:ext uri="{FF2B5EF4-FFF2-40B4-BE49-F238E27FC236}">
                <a16:creationId xmlns:a16="http://schemas.microsoft.com/office/drawing/2014/main" xmlns="" id="{4D02394A-3901-4070-8F9A-F4812968A3C8}"/>
              </a:ext>
            </a:extLst>
          </p:cNvPr>
          <p:cNvSpPr txBox="1"/>
          <p:nvPr/>
        </p:nvSpPr>
        <p:spPr>
          <a:xfrm>
            <a:off x="5233563" y="1417169"/>
            <a:ext cx="693706" cy="220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900" dirty="0" smtClean="0">
                <a:solidFill>
                  <a:schemeClr val="bg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Branch</a:t>
            </a:r>
            <a:endParaRPr lang="en-US" sz="900" dirty="0">
              <a:solidFill>
                <a:schemeClr val="bg1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879" name="TextBox 1878">
            <a:extLst>
              <a:ext uri="{FF2B5EF4-FFF2-40B4-BE49-F238E27FC236}">
                <a16:creationId xmlns:a16="http://schemas.microsoft.com/office/drawing/2014/main" xmlns="" id="{4D02394A-3901-4070-8F9A-F4812968A3C8}"/>
              </a:ext>
            </a:extLst>
          </p:cNvPr>
          <p:cNvSpPr txBox="1"/>
          <p:nvPr/>
        </p:nvSpPr>
        <p:spPr>
          <a:xfrm>
            <a:off x="5198257" y="1932776"/>
            <a:ext cx="693706" cy="220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900" dirty="0" smtClean="0">
                <a:solidFill>
                  <a:schemeClr val="bg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Campus</a:t>
            </a:r>
            <a:endParaRPr lang="en-US" sz="900" dirty="0">
              <a:solidFill>
                <a:schemeClr val="bg1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880" name="TextBox 1879">
            <a:extLst>
              <a:ext uri="{FF2B5EF4-FFF2-40B4-BE49-F238E27FC236}">
                <a16:creationId xmlns:a16="http://schemas.microsoft.com/office/drawing/2014/main" xmlns="" id="{4D02394A-3901-4070-8F9A-F4812968A3C8}"/>
              </a:ext>
            </a:extLst>
          </p:cNvPr>
          <p:cNvSpPr txBox="1"/>
          <p:nvPr/>
        </p:nvSpPr>
        <p:spPr>
          <a:xfrm>
            <a:off x="5956698" y="1418900"/>
            <a:ext cx="839812" cy="220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900" dirty="0" smtClean="0">
                <a:solidFill>
                  <a:schemeClr val="bg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Data Center</a:t>
            </a:r>
            <a:endParaRPr lang="en-US" sz="900" dirty="0">
              <a:solidFill>
                <a:schemeClr val="bg1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671" name="TextBox 2670">
            <a:extLst>
              <a:ext uri="{FF2B5EF4-FFF2-40B4-BE49-F238E27FC236}">
                <a16:creationId xmlns:a16="http://schemas.microsoft.com/office/drawing/2014/main" xmlns="" id="{4D02394A-3901-4070-8F9A-F4812968A3C8}"/>
              </a:ext>
            </a:extLst>
          </p:cNvPr>
          <p:cNvSpPr txBox="1"/>
          <p:nvPr/>
        </p:nvSpPr>
        <p:spPr>
          <a:xfrm>
            <a:off x="6013598" y="1932776"/>
            <a:ext cx="890264" cy="220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900" dirty="0" smtClean="0">
                <a:solidFill>
                  <a:schemeClr val="bg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Cloud</a:t>
            </a:r>
            <a:endParaRPr lang="en-US" sz="900" dirty="0">
              <a:solidFill>
                <a:schemeClr val="bg1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015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42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990" fill="hold"/>
                                        <p:tgtEl>
                                          <p:spTgt spid="42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2" dur="10" fill="hold"/>
                                        <p:tgtEl>
                                          <p:spTgt spid="33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6" presetClass="emph" presetSubtype="0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Scale>
                                      <p:cBhvr>
                                        <p:cTn id="24" dur="990" fill="hold"/>
                                        <p:tgtEl>
                                          <p:spTgt spid="33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10" fill="hold"/>
                                        <p:tgtEl>
                                          <p:spTgt spid="35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6" presetClass="emp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34" dur="990" fill="hold"/>
                                        <p:tgtEl>
                                          <p:spTgt spid="35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2" dur="10" fill="hold"/>
                                        <p:tgtEl>
                                          <p:spTgt spid="39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6" presetClass="emph" presetSubtype="0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Scale>
                                      <p:cBhvr>
                                        <p:cTn id="44" dur="990" fill="hold"/>
                                        <p:tgtEl>
                                          <p:spTgt spid="39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9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2" dur="10" fill="hold"/>
                                        <p:tgtEl>
                                          <p:spTgt spid="40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6" presetClass="emp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54" dur="990" fill="hold"/>
                                        <p:tgtEl>
                                          <p:spTgt spid="40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0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2" dur="10" fill="hold"/>
                                        <p:tgtEl>
                                          <p:spTgt spid="41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63" presetID="6" presetClass="emph" presetSubtype="0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64" dur="990" fill="hold"/>
                                        <p:tgtEl>
                                          <p:spTgt spid="41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0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9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1740"/>
                            </p:stCondLst>
                            <p:childTnLst>
                              <p:par>
                                <p:cTn id="72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86 -4.93827E-7 C -0.00086 -0.00833 0.00087 -0.02531 0.00035 -0.02654 C -0.00555 -0.04167 -0.01736 -0.06759 -0.0184 -0.07191 C -0.01805 -0.07284 -0.00468 -0.10586 0.00035 -0.11821 C 0.00556 -0.1287 0.0132 -0.14167 0.0191 -0.15123 " pathEditMode="relative" rAng="0" ptsTypes="AAAAA">
                                      <p:cBhvr>
                                        <p:cTn id="99" dur="2500" fill="hold"/>
                                        <p:tgtEl>
                                          <p:spTgt spid="10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2" y="-7562"/>
                                    </p:animMotion>
                                  </p:childTnLst>
                                </p:cTn>
                              </p:par>
                              <p:par>
                                <p:cTn id="100" presetID="0" presetClass="path" presetSubtype="0" repeatCount="indefinite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5.55556E-7 -0.00031 C -0.00017 -0.00247 0.0132 -0.01297 0.0132 -0.01235 C 0.01441 -0.01204 0.03976 0.00216 0.05191 0.01018 C 0.05278 0.01111 0.0901 -0.00278 0.09132 -0.00216 C 0.09063 -0.00155 0.07778 0.04197 0.07795 0.04413 C 0.07813 0.04382 0.12257 0.1003 0.14184 0.125 C 0.14983 0.12345 0.15313 0.12098 0.16649 0.11543 " pathEditMode="relative" rAng="0" ptsTypes="AAAAAAA">
                                      <p:cBhvr>
                                        <p:cTn id="101" dur="2250" fill="hold"/>
                                        <p:tgtEl>
                                          <p:spTgt spid="10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316" y="5648"/>
                                    </p:animMotion>
                                  </p:childTnLst>
                                </p:cTn>
                              </p:par>
                              <p:par>
                                <p:cTn id="102" presetID="0" presetClass="path" presetSubtype="0" repeatCount="indefinite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3.05556E-6 -0.00124 C 0.00156 0.0003 0.00729 0.00216 0.01319 0.00493 C 0.01493 0.00586 0.03316 0.02284 0.03906 0.02685 C 0.0408 0.02746 0.05781 0.00833 0.05972 0.00432 C 0.05972 0.0037 0.08125 -0.02531 0.08402 -0.03025 C 0.08802 -0.03396 0.10139 -0.07037 0.10382 -0.07346 C 0.10677 -0.07315 0.14305 -0.03889 0.14218 -0.04013 C 0.14218 -0.03858 0.16041 -0.05649 0.16319 -0.05865 " pathEditMode="relative" rAng="0" ptsTypes="AAAAAAAA">
                                      <p:cBhvr>
                                        <p:cTn id="103" dur="3250" fill="hold"/>
                                        <p:tgtEl>
                                          <p:spTgt spid="10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160" y="-2191"/>
                                    </p:animMotion>
                                  </p:childTnLst>
                                </p:cTn>
                              </p:par>
                              <p:par>
                                <p:cTn id="104" presetID="0" presetClass="path" presetSubtype="0" repeatCount="indefinite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0017 -0.00031 C -0.00104 0.00185 0.00018 -0.02562 0.0007 -0.03179 C 0.00382 -0.05247 0.01962 -0.12161 0.01928 -0.125 C 0.02014 -0.12469 0.01303 -0.16667 0.01285 -0.17099 C 0.01285 -0.17192 0.01042 -0.20309 0.00851 -0.22531 " pathEditMode="relative" rAng="0" ptsTypes="AAAAA">
                                      <p:cBhvr>
                                        <p:cTn id="105" dur="2250" fill="hold"/>
                                        <p:tgtEl>
                                          <p:spTgt spid="10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72" y="-11235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0" presetClass="path" presetSubtype="0" repeatCount="indefinite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007 -0.00093 C -0.00799 -0.00803 -0.01736 -0.0142 -0.02379 -0.01883 C -0.02292 -0.02655 -0.02379 -0.05618 -0.02361 -0.075 C -0.0375 -0.0676 -0.0691 -0.05186 -0.06979 -0.0534 C -0.06979 -0.05155 -0.12327 -0.08889 -0.12049 -0.08889 " pathEditMode="relative" rAng="0" ptsTypes="AAAAA">
                                      <p:cBhvr>
                                        <p:cTn id="107" dur="3000" fill="hold"/>
                                        <p:tgtEl>
                                          <p:spTgt spid="10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990" y="-4414"/>
                                    </p:animMotion>
                                  </p:childTnLst>
                                </p:cTn>
                              </p:par>
                              <p:par>
                                <p:cTn id="108" presetID="0" presetClass="path" presetSubtype="0" repeatCount="indefinite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1.94444E-6 -0.00093 C -0.00903 0.00617 -0.03073 0.03055 -0.03698 0.03642 C -0.04097 0.04691 -0.0526 0.07376 -0.05607 0.08302 C -0.06788 0.07037 -0.0809 0.05956 -0.0816 0.0574 C -0.0816 0.05987 -0.11788 0.03426 -0.11528 0.03426 " pathEditMode="relative" rAng="0" ptsTypes="AAAAA">
                                      <p:cBhvr>
                                        <p:cTn id="109" dur="2250" fill="hold"/>
                                        <p:tgtEl>
                                          <p:spTgt spid="10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764" y="4198"/>
                                    </p:animMotion>
                                  </p:childTnLst>
                                </p:cTn>
                              </p:par>
                              <p:par>
                                <p:cTn id="110" presetID="0" presetClass="path" presetSubtype="0" repeatCount="indefinite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5.55556E-7 -1.7284E-6 C 0.00469 -0.00586 0.05278 -0.09105 0.05191 -0.09321 C 0.06458 -0.11296 0.06615 -0.11759 0.07066 -0.12346 C 0.0717 -0.12531 0.09271 -0.10463 0.0974 -0.10092 C 0.09705 -0.10741 0.1033 -0.14722 0.10295 -0.14784 C 0.10295 -0.14753 0.1599 -0.15926 0.16042 -0.15926 C 0.17153 -0.17346 0.19549 -0.20339 0.20434 -0.21265 " pathEditMode="relative" rAng="0" ptsTypes="AAAAAAA">
                                      <p:cBhvr>
                                        <p:cTn id="111" dur="2250" fill="hold"/>
                                        <p:tgtEl>
                                          <p:spTgt spid="10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208" y="-10648"/>
                                    </p:animMotion>
                                  </p:childTnLst>
                                </p:cTn>
                              </p:par>
                              <p:par>
                                <p:cTn id="112" presetID="0" presetClass="path" presetSubtype="0" repeatCount="indefinite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61111E-6 1.97531E-6 C -0.00069 -0.00648 0.0099 -0.02377 0.00868 -0.02624 C 0.01198 -0.02871 0.02552 -0.04105 0.03421 -0.04846 C 0.03507 -0.05093 0.03438 -0.09043 0.03525 -0.09383 C 0.03525 -0.0963 0.06042 -0.11698 0.06007 -0.11698 C 0.06007 -0.11698 0.0665 -0.15155 0.06806 -0.15278 C 0.06893 -0.15247 0.09236 -0.1642 0.09289 -0.1642 C 0.10313 -0.17006 0.13681 -0.18488 0.13855 -0.1858 C 0.13403 -0.18735 0.11493 -0.19722 0.11233 -0.19877 C 0.11302 -0.20463 0.11858 -0.24074 0.11875 -0.24352 C 0.12118 -0.24321 0.14775 -0.23334 0.15035 -0.23334 C 0.15452 -0.23673 0.1625 -0.24259 0.16459 -0.24445 " pathEditMode="relative" rAng="0" ptsTypes="AAAAAAAAAAAA">
                                      <p:cBhvr>
                                        <p:cTn id="113" dur="3000" fill="hold"/>
                                        <p:tgtEl>
                                          <p:spTgt spid="10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229" y="-12222"/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0" presetClass="path" presetSubtype="0" repeatCount="indefinite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5.55556E-7 1.23457E-7 C -0.00087 -0.00278 -0.00746 -0.05648 -0.00746 -0.05648 C -0.00903 -0.05648 -0.03837 -0.02253 -0.03993 -0.02407 C -0.04149 -0.0284 -0.05833 -0.06698 -0.0592 -0.07037 C -0.05833 -0.07037 -0.09792 -0.09784 -0.11198 -0.1037 C -0.11545 -0.1037 -0.14132 -0.10278 -0.14132 -0.10216 C -0.14323 -0.10617 -0.16007 -0.13704 -0.16215 -0.13858 C -0.16493 -0.13889 -0.20885 -0.13765 -0.21389 -0.13858 C -0.21424 -0.13889 -0.26927 -0.20031 -0.2842 -0.21728 C -0.2993 -0.23457 -0.30226 -0.24136 -0.30417 -0.24136 C -0.30573 -0.24228 -0.3158 -0.24661 -0.31892 -0.24969 " pathEditMode="relative" rAng="0" ptsTypes="AAAAAAAAAAA">
                                      <p:cBhvr>
                                        <p:cTn id="115" dur="2250" fill="hold"/>
                                        <p:tgtEl>
                                          <p:spTgt spid="10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955" y="-12500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0" presetClass="path" presetSubtype="0" repeatCount="indefinite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2.22222E-6 -9.87654E-7 C -0.00347 0.00463 -0.02309 0.02562 -0.02656 0.03426 C -0.02691 0.03611 -0.02136 0.07624 -0.02084 0.07716 C -0.02066 0.07747 -0.00052 0.19722 -0.00122 0.1963 C -0.00087 0.19074 -0.00816 0.27531 -0.00781 0.27531 C -0.00643 0.27593 0.01059 0.29568 0.01059 0.29691 C 0.01146 0.29846 0.01423 0.30432 0.0158 0.30957 " pathEditMode="relative" rAng="0" ptsTypes="AAAAAAA">
                                      <p:cBhvr>
                                        <p:cTn id="117" dur="2250" fill="hold"/>
                                        <p:tgtEl>
                                          <p:spTgt spid="10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8" y="15463"/>
                                    </p:animMotion>
                                  </p:childTnLst>
                                </p:cTn>
                              </p:par>
                              <p:par>
                                <p:cTn id="118" presetID="0" presetClass="path" presetSubtype="0" repeatCount="indefinite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0018 -2.71605E-6 C 0.00052 0.00371 0.01962 0.04013 0.02309 0.04476 C 0.02187 0.04506 0.04982 0.0679 0.04826 0.0679 C 0.05139 0.0713 0.10087 0.14074 0.10729 0.14846 C 0.11041 0.14969 0.13767 0.15864 0.13889 0.15957 C 0.14218 0.16327 0.17812 0.21605 0.17812 0.21667 C 0.1783 0.21482 0.17656 0.17253 0.17899 0.17253 C 0.18576 0.16605 0.20243 0.15093 0.20399 0.14939 C 0.20486 0.14352 0.20885 0.12037 0.20989 0.11667 C 0.21041 0.1142 0.25833 0.14476 0.2618 0.14969 C 0.26302 0.15093 0.27812 0.18889 0.28125 0.19383 C 0.28732 0.19877 0.31389 0.21389 0.31909 0.21636 " pathEditMode="relative" rAng="0" ptsTypes="AAAAAAAAAAAA">
                                      <p:cBhvr>
                                        <p:cTn id="119" dur="2000" fill="hold"/>
                                        <p:tgtEl>
                                          <p:spTgt spid="10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955" y="10833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0" presetClass="path" presetSubtype="0" repeatCount="indefinite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0104 1.48148E-6 C -0.00451 0.00463 0.02448 -0.01266 0.02865 -0.01729 C 0.02952 -0.02315 0.03334 -0.04445 0.03403 -0.05401 C 0.0349 -0.06358 0.03334 -0.09321 0.03455 -0.0963 C 0.03733 -0.10062 0.06007 -0.11605 0.06146 -0.11945 C 0.06146 -0.11914 0.03507 -0.15278 0.03438 -0.1534 C 0.03473 -0.15895 0.01389 -0.18889 0.01424 -0.18889 C 0.01563 -0.18858 0.02761 -0.27346 0.02761 -0.27068 C 0.02848 -0.27006 0.03855 -0.31142 0.04028 -0.31142 " pathEditMode="relative" rAng="0" ptsTypes="AAAAAAAAA">
                                      <p:cBhvr>
                                        <p:cTn id="121" dur="2250" fill="hold"/>
                                        <p:tgtEl>
                                          <p:spTgt spid="10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08" y="-15525"/>
                                    </p:animMotion>
                                  </p:childTnLst>
                                </p:cTn>
                              </p:par>
                              <p:par>
                                <p:cTn id="122" presetID="0" presetClass="path" presetSubtype="0" repeatCount="indefinite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61111E-6 -0.0003 C -0.00538 -0.0003 -0.01701 0.0142 -0.01788 0.0142 C -0.02378 0.01081 -0.04757 0.0034 -0.05052 0.0034 C -0.04948 0.00618 -0.05555 0.03982 -0.05659 0.04537 C -0.05816 0.04877 -0.0717 0.07562 -0.07656 0.07902 C -0.07743 0.08241 -0.09288 0.09136 -0.10243 0.09414 C -0.11215 0.09414 -0.12934 0.09075 -0.13333 0.09229 C -0.13715 0.09414 -0.15902 0.1176 -0.16093 0.11636 C -0.16389 0.1176 -0.18402 0.10587 -0.18507 0.10463 C -0.18698 0.10402 -0.20034 0.12531 -0.20347 0.12809 C -0.20711 0.12655 -0.24757 0.09352 -0.25034 0.09352 C -0.25451 0.09784 -0.28003 0.12747 -0.28211 0.13087 C -0.28489 0.12809 -0.30607 0.10679 -0.30798 0.10587 C -0.31093 0.11142 -0.34444 0.19414 -0.34583 0.19815 C -0.35139 0.19754 -0.35989 0.18303 -0.36024 0.18396 " pathEditMode="relative" rAng="0" ptsTypes="AAAAAAAAAAAAAAA">
                                      <p:cBhvr>
                                        <p:cTn id="123" dur="2750" fill="hold"/>
                                        <p:tgtEl>
                                          <p:spTgt spid="10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021" y="990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73" grpId="0" animBg="1"/>
      <p:bldP spid="1073" grpId="1" animBg="1"/>
      <p:bldP spid="1074" grpId="0" animBg="1"/>
      <p:bldP spid="1074" grpId="1" animBg="1"/>
      <p:bldP spid="1075" grpId="0" animBg="1"/>
      <p:bldP spid="1075" grpId="1" animBg="1"/>
      <p:bldP spid="1076" grpId="0" animBg="1"/>
      <p:bldP spid="1076" grpId="1" animBg="1"/>
      <p:bldP spid="1077" grpId="0" animBg="1"/>
      <p:bldP spid="1077" grpId="1" animBg="1"/>
      <p:bldP spid="1078" grpId="0" animBg="1"/>
      <p:bldP spid="1078" grpId="1" animBg="1"/>
      <p:bldP spid="1079" grpId="0" animBg="1"/>
      <p:bldP spid="1079" grpId="1" animBg="1"/>
      <p:bldP spid="1080" grpId="0" animBg="1"/>
      <p:bldP spid="1080" grpId="1" animBg="1"/>
      <p:bldP spid="1081" grpId="0" animBg="1"/>
      <p:bldP spid="1081" grpId="1" animBg="1"/>
      <p:bldP spid="1082" grpId="0" animBg="1"/>
      <p:bldP spid="1082" grpId="1" animBg="1"/>
      <p:bldP spid="1083" grpId="0" animBg="1"/>
      <p:bldP spid="1083" grpId="1" animBg="1"/>
      <p:bldP spid="1084" grpId="0" animBg="1"/>
      <p:bldP spid="1084" grpId="1" animBg="1"/>
      <p:bldP spid="1085" grpId="0" animBg="1"/>
      <p:bldP spid="1085" grpId="1" animBg="1"/>
      <p:bldP spid="107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9A1242C5-353F-4E0D-B96B-F4B4FCB66C4E}"/>
              </a:ext>
            </a:extLst>
          </p:cNvPr>
          <p:cNvSpPr/>
          <p:nvPr/>
        </p:nvSpPr>
        <p:spPr>
          <a:xfrm>
            <a:off x="0" y="4533900"/>
            <a:ext cx="4048125" cy="6096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602" name="Group 2380">
            <a:extLst>
              <a:ext uri="{FF2B5EF4-FFF2-40B4-BE49-F238E27FC236}">
                <a16:creationId xmlns:a16="http://schemas.microsoft.com/office/drawing/2014/main" xmlns="" id="{0EDEE642-4793-44E0-94E8-2A77AECB015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51873" y="-615394"/>
            <a:ext cx="6429375" cy="6374289"/>
            <a:chOff x="1246" y="0"/>
            <a:chExt cx="3268" cy="3240"/>
          </a:xfrm>
        </p:grpSpPr>
        <p:grpSp>
          <p:nvGrpSpPr>
            <p:cNvPr id="2604" name="Group 2581">
              <a:extLst>
                <a:ext uri="{FF2B5EF4-FFF2-40B4-BE49-F238E27FC236}">
                  <a16:creationId xmlns:a16="http://schemas.microsoft.com/office/drawing/2014/main" xmlns="" id="{EEF02138-350E-4B6F-A9F9-3E6ABF8E47A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76" y="30"/>
              <a:ext cx="3178" cy="3180"/>
              <a:chOff x="1276" y="30"/>
              <a:chExt cx="3178" cy="3180"/>
            </a:xfrm>
          </p:grpSpPr>
          <p:sp>
            <p:nvSpPr>
              <p:cNvPr id="3192" name="Line 2381">
                <a:extLst>
                  <a:ext uri="{FF2B5EF4-FFF2-40B4-BE49-F238E27FC236}">
                    <a16:creationId xmlns:a16="http://schemas.microsoft.com/office/drawing/2014/main" xmlns="" id="{1ECBEB15-D25A-4424-9F12-6EAB46551E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47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3" name="Freeform 2382">
                <a:extLst>
                  <a:ext uri="{FF2B5EF4-FFF2-40B4-BE49-F238E27FC236}">
                    <a16:creationId xmlns:a16="http://schemas.microsoft.com/office/drawing/2014/main" xmlns="" id="{8D1389BA-1FA9-4EA6-94FA-166A13A3F3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1410"/>
                <a:ext cx="300" cy="210"/>
              </a:xfrm>
              <a:custGeom>
                <a:avLst/>
                <a:gdLst>
                  <a:gd name="T0" fmla="*/ 210 w 300"/>
                  <a:gd name="T1" fmla="*/ 90 h 210"/>
                  <a:gd name="T2" fmla="*/ 300 w 300"/>
                  <a:gd name="T3" fmla="*/ 30 h 210"/>
                  <a:gd name="T4" fmla="*/ 300 w 300"/>
                  <a:gd name="T5" fmla="*/ 120 h 210"/>
                  <a:gd name="T6" fmla="*/ 240 w 300"/>
                  <a:gd name="T7" fmla="*/ 210 h 210"/>
                  <a:gd name="T8" fmla="*/ 150 w 300"/>
                  <a:gd name="T9" fmla="*/ 150 h 210"/>
                  <a:gd name="T10" fmla="*/ 60 w 300"/>
                  <a:gd name="T11" fmla="*/ 90 h 210"/>
                  <a:gd name="T12" fmla="*/ 0 w 300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0" h="210">
                    <a:moveTo>
                      <a:pt x="210" y="90"/>
                    </a:moveTo>
                    <a:lnTo>
                      <a:pt x="300" y="30"/>
                    </a:lnTo>
                    <a:lnTo>
                      <a:pt x="300" y="120"/>
                    </a:lnTo>
                    <a:lnTo>
                      <a:pt x="240" y="210"/>
                    </a:lnTo>
                    <a:lnTo>
                      <a:pt x="150" y="150"/>
                    </a:lnTo>
                    <a:lnTo>
                      <a:pt x="60" y="9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4" name="Freeform 2383">
                <a:extLst>
                  <a:ext uri="{FF2B5EF4-FFF2-40B4-BE49-F238E27FC236}">
                    <a16:creationId xmlns:a16="http://schemas.microsoft.com/office/drawing/2014/main" xmlns="" id="{A5EAB024-A9DB-41F4-85FA-3DEC21014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5" y="1292"/>
                <a:ext cx="180" cy="208"/>
              </a:xfrm>
              <a:custGeom>
                <a:avLst/>
                <a:gdLst>
                  <a:gd name="T0" fmla="*/ 0 w 180"/>
                  <a:gd name="T1" fmla="*/ 149 h 208"/>
                  <a:gd name="T2" fmla="*/ 150 w 180"/>
                  <a:gd name="T3" fmla="*/ 208 h 208"/>
                  <a:gd name="T4" fmla="*/ 180 w 180"/>
                  <a:gd name="T5" fmla="*/ 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08">
                    <a:moveTo>
                      <a:pt x="0" y="149"/>
                    </a:moveTo>
                    <a:lnTo>
                      <a:pt x="150" y="208"/>
                    </a:lnTo>
                    <a:lnTo>
                      <a:pt x="1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5" name="Line 2384">
                <a:extLst>
                  <a:ext uri="{FF2B5EF4-FFF2-40B4-BE49-F238E27FC236}">
                    <a16:creationId xmlns:a16="http://schemas.microsoft.com/office/drawing/2014/main" xmlns="" id="{C0105CE3-91E4-49BD-A09C-133AA6C6EE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535" y="1620"/>
                <a:ext cx="18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6" name="Line 2385">
                <a:extLst>
                  <a:ext uri="{FF2B5EF4-FFF2-40B4-BE49-F238E27FC236}">
                    <a16:creationId xmlns:a16="http://schemas.microsoft.com/office/drawing/2014/main" xmlns="" id="{00FD4591-1FAA-4A52-BF05-0A469113DA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560"/>
                <a:ext cx="6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7" name="Freeform 2386">
                <a:extLst>
                  <a:ext uri="{FF2B5EF4-FFF2-40B4-BE49-F238E27FC236}">
                    <a16:creationId xmlns:a16="http://schemas.microsoft.com/office/drawing/2014/main" xmlns="" id="{3DC532BC-999E-4E57-A580-8052E03F79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5" y="1650"/>
                <a:ext cx="210" cy="330"/>
              </a:xfrm>
              <a:custGeom>
                <a:avLst/>
                <a:gdLst>
                  <a:gd name="T0" fmla="*/ 120 w 210"/>
                  <a:gd name="T1" fmla="*/ 60 h 330"/>
                  <a:gd name="T2" fmla="*/ 0 w 210"/>
                  <a:gd name="T3" fmla="*/ 0 h 330"/>
                  <a:gd name="T4" fmla="*/ 0 w 210"/>
                  <a:gd name="T5" fmla="*/ 330 h 330"/>
                  <a:gd name="T6" fmla="*/ 210 w 210"/>
                  <a:gd name="T7" fmla="*/ 270 h 330"/>
                  <a:gd name="T8" fmla="*/ 119 w 210"/>
                  <a:gd name="T9" fmla="*/ 182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0" h="330">
                    <a:moveTo>
                      <a:pt x="120" y="60"/>
                    </a:moveTo>
                    <a:lnTo>
                      <a:pt x="0" y="0"/>
                    </a:lnTo>
                    <a:lnTo>
                      <a:pt x="0" y="330"/>
                    </a:lnTo>
                    <a:lnTo>
                      <a:pt x="210" y="270"/>
                    </a:lnTo>
                    <a:lnTo>
                      <a:pt x="119" y="18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8" name="Freeform 2387">
                <a:extLst>
                  <a:ext uri="{FF2B5EF4-FFF2-40B4-BE49-F238E27FC236}">
                    <a16:creationId xmlns:a16="http://schemas.microsoft.com/office/drawing/2014/main" xmlns="" id="{0AB008BF-00BD-4037-B5DC-D9802EF350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4" y="1680"/>
                <a:ext cx="151" cy="152"/>
              </a:xfrm>
              <a:custGeom>
                <a:avLst/>
                <a:gdLst>
                  <a:gd name="T0" fmla="*/ 121 w 151"/>
                  <a:gd name="T1" fmla="*/ 0 h 152"/>
                  <a:gd name="T2" fmla="*/ 151 w 151"/>
                  <a:gd name="T3" fmla="*/ 120 h 152"/>
                  <a:gd name="T4" fmla="*/ 0 w 151"/>
                  <a:gd name="T5" fmla="*/ 152 h 152"/>
                  <a:gd name="T6" fmla="*/ 1 w 151"/>
                  <a:gd name="T7" fmla="*/ 30 h 152"/>
                  <a:gd name="T8" fmla="*/ 121 w 151"/>
                  <a:gd name="T9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1" h="152">
                    <a:moveTo>
                      <a:pt x="121" y="0"/>
                    </a:moveTo>
                    <a:lnTo>
                      <a:pt x="151" y="120"/>
                    </a:lnTo>
                    <a:lnTo>
                      <a:pt x="0" y="152"/>
                    </a:lnTo>
                    <a:lnTo>
                      <a:pt x="1" y="30"/>
                    </a:lnTo>
                    <a:lnTo>
                      <a:pt x="121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9" name="Freeform 2388">
                <a:extLst>
                  <a:ext uri="{FF2B5EF4-FFF2-40B4-BE49-F238E27FC236}">
                    <a16:creationId xmlns:a16="http://schemas.microsoft.com/office/drawing/2014/main" xmlns="" id="{25E9705F-6348-40DE-9BCD-3F90416B8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620"/>
                <a:ext cx="240" cy="270"/>
              </a:xfrm>
              <a:custGeom>
                <a:avLst/>
                <a:gdLst>
                  <a:gd name="T0" fmla="*/ 0 w 240"/>
                  <a:gd name="T1" fmla="*/ 180 h 270"/>
                  <a:gd name="T2" fmla="*/ 60 w 240"/>
                  <a:gd name="T3" fmla="*/ 0 h 270"/>
                  <a:gd name="T4" fmla="*/ 90 w 240"/>
                  <a:gd name="T5" fmla="*/ 90 h 270"/>
                  <a:gd name="T6" fmla="*/ 120 w 240"/>
                  <a:gd name="T7" fmla="*/ 180 h 270"/>
                  <a:gd name="T8" fmla="*/ 150 w 240"/>
                  <a:gd name="T9" fmla="*/ 270 h 270"/>
                  <a:gd name="T10" fmla="*/ 240 w 240"/>
                  <a:gd name="T11" fmla="*/ 15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0" h="270">
                    <a:moveTo>
                      <a:pt x="0" y="180"/>
                    </a:moveTo>
                    <a:lnTo>
                      <a:pt x="60" y="0"/>
                    </a:lnTo>
                    <a:lnTo>
                      <a:pt x="90" y="90"/>
                    </a:lnTo>
                    <a:lnTo>
                      <a:pt x="120" y="180"/>
                    </a:lnTo>
                    <a:lnTo>
                      <a:pt x="150" y="270"/>
                    </a:lnTo>
                    <a:lnTo>
                      <a:pt x="24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0" name="Freeform 2389">
                <a:extLst>
                  <a:ext uri="{FF2B5EF4-FFF2-40B4-BE49-F238E27FC236}">
                    <a16:creationId xmlns:a16="http://schemas.microsoft.com/office/drawing/2014/main" xmlns="" id="{AE724297-FBA2-4E6F-AD6E-ADDAD1291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8" y="1800"/>
                <a:ext cx="237" cy="270"/>
              </a:xfrm>
              <a:custGeom>
                <a:avLst/>
                <a:gdLst>
                  <a:gd name="T0" fmla="*/ 237 w 237"/>
                  <a:gd name="T1" fmla="*/ 0 h 270"/>
                  <a:gd name="T2" fmla="*/ 177 w 237"/>
                  <a:gd name="T3" fmla="*/ 122 h 270"/>
                  <a:gd name="T4" fmla="*/ 117 w 237"/>
                  <a:gd name="T5" fmla="*/ 0 h 270"/>
                  <a:gd name="T6" fmla="*/ 57 w 237"/>
                  <a:gd name="T7" fmla="*/ 120 h 270"/>
                  <a:gd name="T8" fmla="*/ 147 w 237"/>
                  <a:gd name="T9" fmla="*/ 270 h 270"/>
                  <a:gd name="T10" fmla="*/ 0 w 237"/>
                  <a:gd name="T11" fmla="*/ 213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7" h="270">
                    <a:moveTo>
                      <a:pt x="237" y="0"/>
                    </a:moveTo>
                    <a:lnTo>
                      <a:pt x="177" y="122"/>
                    </a:lnTo>
                    <a:lnTo>
                      <a:pt x="117" y="0"/>
                    </a:lnTo>
                    <a:lnTo>
                      <a:pt x="57" y="120"/>
                    </a:lnTo>
                    <a:lnTo>
                      <a:pt x="147" y="270"/>
                    </a:lnTo>
                    <a:lnTo>
                      <a:pt x="0" y="213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1" name="Freeform 2390">
                <a:extLst>
                  <a:ext uri="{FF2B5EF4-FFF2-40B4-BE49-F238E27FC236}">
                    <a16:creationId xmlns:a16="http://schemas.microsoft.com/office/drawing/2014/main" xmlns="" id="{1ECF84DE-5057-4ECA-BDC7-6E65C89328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440"/>
                <a:ext cx="390" cy="570"/>
              </a:xfrm>
              <a:custGeom>
                <a:avLst/>
                <a:gdLst>
                  <a:gd name="T0" fmla="*/ 390 w 390"/>
                  <a:gd name="T1" fmla="*/ 480 h 570"/>
                  <a:gd name="T2" fmla="*/ 330 w 390"/>
                  <a:gd name="T3" fmla="*/ 570 h 570"/>
                  <a:gd name="T4" fmla="*/ 180 w 390"/>
                  <a:gd name="T5" fmla="*/ 540 h 570"/>
                  <a:gd name="T6" fmla="*/ 300 w 390"/>
                  <a:gd name="T7" fmla="*/ 390 h 570"/>
                  <a:gd name="T8" fmla="*/ 120 w 390"/>
                  <a:gd name="T9" fmla="*/ 390 h 570"/>
                  <a:gd name="T10" fmla="*/ 180 w 390"/>
                  <a:gd name="T11" fmla="*/ 210 h 570"/>
                  <a:gd name="T12" fmla="*/ 60 w 390"/>
                  <a:gd name="T13" fmla="*/ 330 h 570"/>
                  <a:gd name="T14" fmla="*/ 0 w 390"/>
                  <a:gd name="T15" fmla="*/ 180 h 570"/>
                  <a:gd name="T16" fmla="*/ 60 w 390"/>
                  <a:gd name="T17" fmla="*/ 60 h 570"/>
                  <a:gd name="T18" fmla="*/ 240 w 390"/>
                  <a:gd name="T19" fmla="*/ 120 h 570"/>
                  <a:gd name="T20" fmla="*/ 180 w 390"/>
                  <a:gd name="T21" fmla="*/ 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0" h="570">
                    <a:moveTo>
                      <a:pt x="390" y="480"/>
                    </a:moveTo>
                    <a:lnTo>
                      <a:pt x="330" y="570"/>
                    </a:lnTo>
                    <a:lnTo>
                      <a:pt x="180" y="540"/>
                    </a:lnTo>
                    <a:lnTo>
                      <a:pt x="300" y="390"/>
                    </a:lnTo>
                    <a:lnTo>
                      <a:pt x="120" y="390"/>
                    </a:lnTo>
                    <a:lnTo>
                      <a:pt x="180" y="210"/>
                    </a:lnTo>
                    <a:lnTo>
                      <a:pt x="60" y="330"/>
                    </a:lnTo>
                    <a:lnTo>
                      <a:pt x="0" y="180"/>
                    </a:lnTo>
                    <a:lnTo>
                      <a:pt x="60" y="60"/>
                    </a:lnTo>
                    <a:lnTo>
                      <a:pt x="240" y="120"/>
                    </a:lnTo>
                    <a:lnTo>
                      <a:pt x="1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2" name="Freeform 2391">
                <a:extLst>
                  <a:ext uri="{FF2B5EF4-FFF2-40B4-BE49-F238E27FC236}">
                    <a16:creationId xmlns:a16="http://schemas.microsoft.com/office/drawing/2014/main" xmlns="" id="{CA331197-3057-4A48-A8AA-7C9771DE5F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410"/>
                <a:ext cx="480" cy="420"/>
              </a:xfrm>
              <a:custGeom>
                <a:avLst/>
                <a:gdLst>
                  <a:gd name="T0" fmla="*/ 300 w 480"/>
                  <a:gd name="T1" fmla="*/ 420 h 420"/>
                  <a:gd name="T2" fmla="*/ 0 w 480"/>
                  <a:gd name="T3" fmla="*/ 210 h 420"/>
                  <a:gd name="T4" fmla="*/ 180 w 480"/>
                  <a:gd name="T5" fmla="*/ 240 h 420"/>
                  <a:gd name="T6" fmla="*/ 90 w 480"/>
                  <a:gd name="T7" fmla="*/ 0 h 420"/>
                  <a:gd name="T8" fmla="*/ 240 w 480"/>
                  <a:gd name="T9" fmla="*/ 150 h 420"/>
                  <a:gd name="T10" fmla="*/ 270 w 480"/>
                  <a:gd name="T11" fmla="*/ 0 h 420"/>
                  <a:gd name="T12" fmla="*/ 420 w 480"/>
                  <a:gd name="T13" fmla="*/ 0 h 420"/>
                  <a:gd name="T14" fmla="*/ 480 w 480"/>
                  <a:gd name="T15" fmla="*/ 9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0" h="420">
                    <a:moveTo>
                      <a:pt x="300" y="420"/>
                    </a:moveTo>
                    <a:lnTo>
                      <a:pt x="0" y="210"/>
                    </a:lnTo>
                    <a:lnTo>
                      <a:pt x="180" y="240"/>
                    </a:lnTo>
                    <a:lnTo>
                      <a:pt x="90" y="0"/>
                    </a:lnTo>
                    <a:lnTo>
                      <a:pt x="240" y="150"/>
                    </a:lnTo>
                    <a:lnTo>
                      <a:pt x="270" y="0"/>
                    </a:lnTo>
                    <a:lnTo>
                      <a:pt x="420" y="0"/>
                    </a:lnTo>
                    <a:lnTo>
                      <a:pt x="4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3" name="Freeform 2392">
                <a:extLst>
                  <a:ext uri="{FF2B5EF4-FFF2-40B4-BE49-F238E27FC236}">
                    <a16:creationId xmlns:a16="http://schemas.microsoft.com/office/drawing/2014/main" xmlns="" id="{C52AF545-197E-476E-AA37-6F3453FE4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" y="1260"/>
                <a:ext cx="120" cy="300"/>
              </a:xfrm>
              <a:custGeom>
                <a:avLst/>
                <a:gdLst>
                  <a:gd name="T0" fmla="*/ 0 w 120"/>
                  <a:gd name="T1" fmla="*/ 0 h 300"/>
                  <a:gd name="T2" fmla="*/ 0 w 120"/>
                  <a:gd name="T3" fmla="*/ 180 h 300"/>
                  <a:gd name="T4" fmla="*/ 120 w 120"/>
                  <a:gd name="T5" fmla="*/ 90 h 300"/>
                  <a:gd name="T6" fmla="*/ 120 w 120"/>
                  <a:gd name="T7" fmla="*/ 210 h 300"/>
                  <a:gd name="T8" fmla="*/ 90 w 120"/>
                  <a:gd name="T9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300">
                    <a:moveTo>
                      <a:pt x="0" y="0"/>
                    </a:moveTo>
                    <a:lnTo>
                      <a:pt x="0" y="180"/>
                    </a:lnTo>
                    <a:lnTo>
                      <a:pt x="120" y="90"/>
                    </a:lnTo>
                    <a:lnTo>
                      <a:pt x="120" y="210"/>
                    </a:lnTo>
                    <a:lnTo>
                      <a:pt x="9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4" name="Freeform 2393">
                <a:extLst>
                  <a:ext uri="{FF2B5EF4-FFF2-40B4-BE49-F238E27FC236}">
                    <a16:creationId xmlns:a16="http://schemas.microsoft.com/office/drawing/2014/main" xmlns="" id="{81E07F59-EA5D-467C-BA5F-96E5C3CA15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292"/>
                <a:ext cx="330" cy="178"/>
              </a:xfrm>
              <a:custGeom>
                <a:avLst/>
                <a:gdLst>
                  <a:gd name="T0" fmla="*/ 0 w 330"/>
                  <a:gd name="T1" fmla="*/ 0 h 178"/>
                  <a:gd name="T2" fmla="*/ 60 w 330"/>
                  <a:gd name="T3" fmla="*/ 118 h 178"/>
                  <a:gd name="T4" fmla="*/ 150 w 330"/>
                  <a:gd name="T5" fmla="*/ 28 h 178"/>
                  <a:gd name="T6" fmla="*/ 330 w 330"/>
                  <a:gd name="T7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0" h="178">
                    <a:moveTo>
                      <a:pt x="0" y="0"/>
                    </a:moveTo>
                    <a:lnTo>
                      <a:pt x="60" y="118"/>
                    </a:lnTo>
                    <a:lnTo>
                      <a:pt x="150" y="28"/>
                    </a:lnTo>
                    <a:lnTo>
                      <a:pt x="330" y="17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5" name="Line 2394">
                <a:extLst>
                  <a:ext uri="{FF2B5EF4-FFF2-40B4-BE49-F238E27FC236}">
                    <a16:creationId xmlns:a16="http://schemas.microsoft.com/office/drawing/2014/main" xmlns="" id="{92DFA82E-4DE7-4F77-9605-15DB7A7C7D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925" y="1410"/>
                <a:ext cx="24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6" name="Freeform 2395">
                <a:extLst>
                  <a:ext uri="{FF2B5EF4-FFF2-40B4-BE49-F238E27FC236}">
                    <a16:creationId xmlns:a16="http://schemas.microsoft.com/office/drawing/2014/main" xmlns="" id="{5606F496-2131-455D-BE54-2E2164F78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2070"/>
                <a:ext cx="899" cy="720"/>
              </a:xfrm>
              <a:custGeom>
                <a:avLst/>
                <a:gdLst>
                  <a:gd name="T0" fmla="*/ 59 w 899"/>
                  <a:gd name="T1" fmla="*/ 240 h 720"/>
                  <a:gd name="T2" fmla="*/ 179 w 899"/>
                  <a:gd name="T3" fmla="*/ 390 h 720"/>
                  <a:gd name="T4" fmla="*/ 239 w 899"/>
                  <a:gd name="T5" fmla="*/ 300 h 720"/>
                  <a:gd name="T6" fmla="*/ 329 w 899"/>
                  <a:gd name="T7" fmla="*/ 360 h 720"/>
                  <a:gd name="T8" fmla="*/ 329 w 899"/>
                  <a:gd name="T9" fmla="*/ 240 h 720"/>
                  <a:gd name="T10" fmla="*/ 179 w 899"/>
                  <a:gd name="T11" fmla="*/ 181 h 720"/>
                  <a:gd name="T12" fmla="*/ 269 w 899"/>
                  <a:gd name="T13" fmla="*/ 150 h 720"/>
                  <a:gd name="T14" fmla="*/ 389 w 899"/>
                  <a:gd name="T15" fmla="*/ 120 h 720"/>
                  <a:gd name="T16" fmla="*/ 449 w 899"/>
                  <a:gd name="T17" fmla="*/ 300 h 720"/>
                  <a:gd name="T18" fmla="*/ 539 w 899"/>
                  <a:gd name="T19" fmla="*/ 180 h 720"/>
                  <a:gd name="T20" fmla="*/ 509 w 899"/>
                  <a:gd name="T21" fmla="*/ 60 h 720"/>
                  <a:gd name="T22" fmla="*/ 359 w 899"/>
                  <a:gd name="T23" fmla="*/ 30 h 720"/>
                  <a:gd name="T24" fmla="*/ 569 w 899"/>
                  <a:gd name="T25" fmla="*/ 0 h 720"/>
                  <a:gd name="T26" fmla="*/ 689 w 899"/>
                  <a:gd name="T27" fmla="*/ 90 h 720"/>
                  <a:gd name="T28" fmla="*/ 659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89 w 899"/>
                  <a:gd name="T41" fmla="*/ 390 h 720"/>
                  <a:gd name="T42" fmla="*/ 539 w 899"/>
                  <a:gd name="T43" fmla="*/ 330 h 720"/>
                  <a:gd name="T44" fmla="*/ 569 w 899"/>
                  <a:gd name="T45" fmla="*/ 450 h 720"/>
                  <a:gd name="T46" fmla="*/ 419 w 899"/>
                  <a:gd name="T47" fmla="*/ 420 h 720"/>
                  <a:gd name="T48" fmla="*/ 389 w 899"/>
                  <a:gd name="T49" fmla="*/ 540 h 720"/>
                  <a:gd name="T50" fmla="*/ 509 w 899"/>
                  <a:gd name="T51" fmla="*/ 570 h 720"/>
                  <a:gd name="T52" fmla="*/ 659 w 899"/>
                  <a:gd name="T53" fmla="*/ 570 h 720"/>
                  <a:gd name="T54" fmla="*/ 599 w 899"/>
                  <a:gd name="T55" fmla="*/ 720 h 720"/>
                  <a:gd name="T56" fmla="*/ 299 w 899"/>
                  <a:gd name="T57" fmla="*/ 630 h 720"/>
                  <a:gd name="T58" fmla="*/ 268 w 899"/>
                  <a:gd name="T59" fmla="*/ 482 h 720"/>
                  <a:gd name="T60" fmla="*/ 179 w 899"/>
                  <a:gd name="T61" fmla="*/ 570 h 720"/>
                  <a:gd name="T62" fmla="*/ 59 w 899"/>
                  <a:gd name="T63" fmla="*/ 480 h 720"/>
                  <a:gd name="T64" fmla="*/ 0 w 899"/>
                  <a:gd name="T65" fmla="*/ 360 h 720"/>
                  <a:gd name="T66" fmla="*/ 59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59" y="240"/>
                    </a:moveTo>
                    <a:lnTo>
                      <a:pt x="179" y="390"/>
                    </a:lnTo>
                    <a:lnTo>
                      <a:pt x="239" y="300"/>
                    </a:lnTo>
                    <a:lnTo>
                      <a:pt x="329" y="360"/>
                    </a:lnTo>
                    <a:lnTo>
                      <a:pt x="329" y="240"/>
                    </a:lnTo>
                    <a:lnTo>
                      <a:pt x="179" y="181"/>
                    </a:lnTo>
                    <a:lnTo>
                      <a:pt x="269" y="150"/>
                    </a:lnTo>
                    <a:lnTo>
                      <a:pt x="389" y="120"/>
                    </a:lnTo>
                    <a:lnTo>
                      <a:pt x="449" y="300"/>
                    </a:lnTo>
                    <a:lnTo>
                      <a:pt x="539" y="180"/>
                    </a:lnTo>
                    <a:lnTo>
                      <a:pt x="509" y="60"/>
                    </a:lnTo>
                    <a:lnTo>
                      <a:pt x="359" y="30"/>
                    </a:lnTo>
                    <a:lnTo>
                      <a:pt x="569" y="0"/>
                    </a:lnTo>
                    <a:lnTo>
                      <a:pt x="689" y="90"/>
                    </a:lnTo>
                    <a:lnTo>
                      <a:pt x="659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89" y="390"/>
                    </a:lnTo>
                    <a:lnTo>
                      <a:pt x="539" y="330"/>
                    </a:lnTo>
                    <a:lnTo>
                      <a:pt x="569" y="450"/>
                    </a:lnTo>
                    <a:lnTo>
                      <a:pt x="419" y="420"/>
                    </a:lnTo>
                    <a:lnTo>
                      <a:pt x="389" y="540"/>
                    </a:lnTo>
                    <a:lnTo>
                      <a:pt x="509" y="570"/>
                    </a:lnTo>
                    <a:lnTo>
                      <a:pt x="659" y="570"/>
                    </a:lnTo>
                    <a:lnTo>
                      <a:pt x="599" y="720"/>
                    </a:lnTo>
                    <a:lnTo>
                      <a:pt x="299" y="630"/>
                    </a:lnTo>
                    <a:lnTo>
                      <a:pt x="268" y="482"/>
                    </a:lnTo>
                    <a:lnTo>
                      <a:pt x="179" y="570"/>
                    </a:lnTo>
                    <a:lnTo>
                      <a:pt x="59" y="480"/>
                    </a:lnTo>
                    <a:lnTo>
                      <a:pt x="0" y="360"/>
                    </a:lnTo>
                    <a:lnTo>
                      <a:pt x="59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7" name="Line 2396">
                <a:extLst>
                  <a:ext uri="{FF2B5EF4-FFF2-40B4-BE49-F238E27FC236}">
                    <a16:creationId xmlns:a16="http://schemas.microsoft.com/office/drawing/2014/main" xmlns="" id="{A046A652-3A64-44DE-9578-0270B723AF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145" y="2251"/>
                <a:ext cx="120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8" name="Freeform 2397">
                <a:extLst>
                  <a:ext uri="{FF2B5EF4-FFF2-40B4-BE49-F238E27FC236}">
                    <a16:creationId xmlns:a16="http://schemas.microsoft.com/office/drawing/2014/main" xmlns="" id="{07F41C8C-7EB2-46E4-9D3F-BB63074A61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4" y="2430"/>
                <a:ext cx="121" cy="180"/>
              </a:xfrm>
              <a:custGeom>
                <a:avLst/>
                <a:gdLst>
                  <a:gd name="T0" fmla="*/ 61 w 121"/>
                  <a:gd name="T1" fmla="*/ 0 h 180"/>
                  <a:gd name="T2" fmla="*/ 121 w 121"/>
                  <a:gd name="T3" fmla="*/ 180 h 180"/>
                  <a:gd name="T4" fmla="*/ 0 w 121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1" h="180">
                    <a:moveTo>
                      <a:pt x="61" y="0"/>
                    </a:moveTo>
                    <a:lnTo>
                      <a:pt x="121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9" name="Freeform 2398">
                <a:extLst>
                  <a:ext uri="{FF2B5EF4-FFF2-40B4-BE49-F238E27FC236}">
                    <a16:creationId xmlns:a16="http://schemas.microsoft.com/office/drawing/2014/main" xmlns="" id="{8FC47CB8-19B4-404B-BAB5-8DB9752FBB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5" y="1980"/>
                <a:ext cx="240" cy="330"/>
              </a:xfrm>
              <a:custGeom>
                <a:avLst/>
                <a:gdLst>
                  <a:gd name="T0" fmla="*/ 180 w 240"/>
                  <a:gd name="T1" fmla="*/ 150 h 330"/>
                  <a:gd name="T2" fmla="*/ 120 w 240"/>
                  <a:gd name="T3" fmla="*/ 0 h 330"/>
                  <a:gd name="T4" fmla="*/ 240 w 240"/>
                  <a:gd name="T5" fmla="*/ 90 h 330"/>
                  <a:gd name="T6" fmla="*/ 210 w 240"/>
                  <a:gd name="T7" fmla="*/ 270 h 330"/>
                  <a:gd name="T8" fmla="*/ 0 w 240"/>
                  <a:gd name="T9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30">
                    <a:moveTo>
                      <a:pt x="180" y="150"/>
                    </a:moveTo>
                    <a:lnTo>
                      <a:pt x="120" y="0"/>
                    </a:lnTo>
                    <a:lnTo>
                      <a:pt x="240" y="90"/>
                    </a:lnTo>
                    <a:lnTo>
                      <a:pt x="210" y="270"/>
                    </a:lnTo>
                    <a:lnTo>
                      <a:pt x="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0" name="Line 2399">
                <a:extLst>
                  <a:ext uri="{FF2B5EF4-FFF2-40B4-BE49-F238E27FC236}">
                    <a16:creationId xmlns:a16="http://schemas.microsoft.com/office/drawing/2014/main" xmlns="" id="{3C76CECA-7678-4B73-B96B-032E5152AF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5" y="219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1" name="Freeform 2400">
                <a:extLst>
                  <a:ext uri="{FF2B5EF4-FFF2-40B4-BE49-F238E27FC236}">
                    <a16:creationId xmlns:a16="http://schemas.microsoft.com/office/drawing/2014/main" xmlns="" id="{F543B3C8-6283-486A-AB6C-3DBF593E85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2070"/>
                <a:ext cx="899" cy="720"/>
              </a:xfrm>
              <a:custGeom>
                <a:avLst/>
                <a:gdLst>
                  <a:gd name="T0" fmla="*/ 60 w 899"/>
                  <a:gd name="T1" fmla="*/ 240 h 720"/>
                  <a:gd name="T2" fmla="*/ 180 w 899"/>
                  <a:gd name="T3" fmla="*/ 390 h 720"/>
                  <a:gd name="T4" fmla="*/ 240 w 899"/>
                  <a:gd name="T5" fmla="*/ 300 h 720"/>
                  <a:gd name="T6" fmla="*/ 330 w 899"/>
                  <a:gd name="T7" fmla="*/ 360 h 720"/>
                  <a:gd name="T8" fmla="*/ 330 w 899"/>
                  <a:gd name="T9" fmla="*/ 240 h 720"/>
                  <a:gd name="T10" fmla="*/ 180 w 899"/>
                  <a:gd name="T11" fmla="*/ 181 h 720"/>
                  <a:gd name="T12" fmla="*/ 270 w 899"/>
                  <a:gd name="T13" fmla="*/ 150 h 720"/>
                  <a:gd name="T14" fmla="*/ 390 w 899"/>
                  <a:gd name="T15" fmla="*/ 120 h 720"/>
                  <a:gd name="T16" fmla="*/ 450 w 899"/>
                  <a:gd name="T17" fmla="*/ 300 h 720"/>
                  <a:gd name="T18" fmla="*/ 540 w 899"/>
                  <a:gd name="T19" fmla="*/ 180 h 720"/>
                  <a:gd name="T20" fmla="*/ 510 w 899"/>
                  <a:gd name="T21" fmla="*/ 60 h 720"/>
                  <a:gd name="T22" fmla="*/ 360 w 899"/>
                  <a:gd name="T23" fmla="*/ 30 h 720"/>
                  <a:gd name="T24" fmla="*/ 570 w 899"/>
                  <a:gd name="T25" fmla="*/ 0 h 720"/>
                  <a:gd name="T26" fmla="*/ 690 w 899"/>
                  <a:gd name="T27" fmla="*/ 90 h 720"/>
                  <a:gd name="T28" fmla="*/ 660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90 w 899"/>
                  <a:gd name="T41" fmla="*/ 390 h 720"/>
                  <a:gd name="T42" fmla="*/ 540 w 899"/>
                  <a:gd name="T43" fmla="*/ 330 h 720"/>
                  <a:gd name="T44" fmla="*/ 570 w 899"/>
                  <a:gd name="T45" fmla="*/ 450 h 720"/>
                  <a:gd name="T46" fmla="*/ 420 w 899"/>
                  <a:gd name="T47" fmla="*/ 420 h 720"/>
                  <a:gd name="T48" fmla="*/ 390 w 899"/>
                  <a:gd name="T49" fmla="*/ 540 h 720"/>
                  <a:gd name="T50" fmla="*/ 510 w 899"/>
                  <a:gd name="T51" fmla="*/ 570 h 720"/>
                  <a:gd name="T52" fmla="*/ 660 w 899"/>
                  <a:gd name="T53" fmla="*/ 570 h 720"/>
                  <a:gd name="T54" fmla="*/ 600 w 899"/>
                  <a:gd name="T55" fmla="*/ 720 h 720"/>
                  <a:gd name="T56" fmla="*/ 300 w 899"/>
                  <a:gd name="T57" fmla="*/ 630 h 720"/>
                  <a:gd name="T58" fmla="*/ 268 w 899"/>
                  <a:gd name="T59" fmla="*/ 482 h 720"/>
                  <a:gd name="T60" fmla="*/ 180 w 899"/>
                  <a:gd name="T61" fmla="*/ 570 h 720"/>
                  <a:gd name="T62" fmla="*/ 60 w 899"/>
                  <a:gd name="T63" fmla="*/ 480 h 720"/>
                  <a:gd name="T64" fmla="*/ 0 w 899"/>
                  <a:gd name="T65" fmla="*/ 360 h 720"/>
                  <a:gd name="T66" fmla="*/ 60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60" y="240"/>
                    </a:moveTo>
                    <a:lnTo>
                      <a:pt x="180" y="390"/>
                    </a:lnTo>
                    <a:lnTo>
                      <a:pt x="240" y="300"/>
                    </a:lnTo>
                    <a:lnTo>
                      <a:pt x="330" y="360"/>
                    </a:lnTo>
                    <a:lnTo>
                      <a:pt x="330" y="240"/>
                    </a:lnTo>
                    <a:lnTo>
                      <a:pt x="180" y="181"/>
                    </a:lnTo>
                    <a:lnTo>
                      <a:pt x="270" y="150"/>
                    </a:lnTo>
                    <a:lnTo>
                      <a:pt x="390" y="120"/>
                    </a:lnTo>
                    <a:lnTo>
                      <a:pt x="450" y="300"/>
                    </a:lnTo>
                    <a:lnTo>
                      <a:pt x="540" y="180"/>
                    </a:lnTo>
                    <a:lnTo>
                      <a:pt x="510" y="60"/>
                    </a:lnTo>
                    <a:lnTo>
                      <a:pt x="360" y="30"/>
                    </a:lnTo>
                    <a:lnTo>
                      <a:pt x="570" y="0"/>
                    </a:lnTo>
                    <a:lnTo>
                      <a:pt x="690" y="90"/>
                    </a:lnTo>
                    <a:lnTo>
                      <a:pt x="660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90" y="390"/>
                    </a:lnTo>
                    <a:lnTo>
                      <a:pt x="540" y="330"/>
                    </a:lnTo>
                    <a:lnTo>
                      <a:pt x="570" y="450"/>
                    </a:lnTo>
                    <a:lnTo>
                      <a:pt x="420" y="420"/>
                    </a:lnTo>
                    <a:lnTo>
                      <a:pt x="390" y="540"/>
                    </a:lnTo>
                    <a:lnTo>
                      <a:pt x="510" y="570"/>
                    </a:lnTo>
                    <a:lnTo>
                      <a:pt x="660" y="570"/>
                    </a:lnTo>
                    <a:lnTo>
                      <a:pt x="600" y="720"/>
                    </a:lnTo>
                    <a:lnTo>
                      <a:pt x="300" y="630"/>
                    </a:lnTo>
                    <a:lnTo>
                      <a:pt x="268" y="482"/>
                    </a:lnTo>
                    <a:lnTo>
                      <a:pt x="180" y="570"/>
                    </a:lnTo>
                    <a:lnTo>
                      <a:pt x="60" y="480"/>
                    </a:lnTo>
                    <a:lnTo>
                      <a:pt x="0" y="360"/>
                    </a:lnTo>
                    <a:lnTo>
                      <a:pt x="6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2" name="Freeform 2401">
                <a:extLst>
                  <a:ext uri="{FF2B5EF4-FFF2-40B4-BE49-F238E27FC236}">
                    <a16:creationId xmlns:a16="http://schemas.microsoft.com/office/drawing/2014/main" xmlns="" id="{83E96365-B4AE-414A-B221-31F44F7461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2220"/>
                <a:ext cx="210" cy="150"/>
              </a:xfrm>
              <a:custGeom>
                <a:avLst/>
                <a:gdLst>
                  <a:gd name="T0" fmla="*/ 0 w 210"/>
                  <a:gd name="T1" fmla="*/ 90 h 150"/>
                  <a:gd name="T2" fmla="*/ 180 w 210"/>
                  <a:gd name="T3" fmla="*/ 150 h 150"/>
                  <a:gd name="T4" fmla="*/ 210 w 210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150">
                    <a:moveTo>
                      <a:pt x="0" y="90"/>
                    </a:moveTo>
                    <a:lnTo>
                      <a:pt x="180" y="150"/>
                    </a:lnTo>
                    <a:lnTo>
                      <a:pt x="21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3" name="Freeform 2402">
                <a:extLst>
                  <a:ext uri="{FF2B5EF4-FFF2-40B4-BE49-F238E27FC236}">
                    <a16:creationId xmlns:a16="http://schemas.microsoft.com/office/drawing/2014/main" xmlns="" id="{B76B3836-D7A6-40D4-A0BF-6142C522CF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5" y="2251"/>
                <a:ext cx="240" cy="389"/>
              </a:xfrm>
              <a:custGeom>
                <a:avLst/>
                <a:gdLst>
                  <a:gd name="T0" fmla="*/ 240 w 240"/>
                  <a:gd name="T1" fmla="*/ 0 h 389"/>
                  <a:gd name="T2" fmla="*/ 120 w 240"/>
                  <a:gd name="T3" fmla="*/ 299 h 389"/>
                  <a:gd name="T4" fmla="*/ 0 w 240"/>
                  <a:gd name="T5" fmla="*/ 389 h 389"/>
                  <a:gd name="T6" fmla="*/ 60 w 240"/>
                  <a:gd name="T7" fmla="*/ 179 h 389"/>
                  <a:gd name="T8" fmla="*/ 0 w 240"/>
                  <a:gd name="T9" fmla="*/ 59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89">
                    <a:moveTo>
                      <a:pt x="240" y="0"/>
                    </a:moveTo>
                    <a:lnTo>
                      <a:pt x="120" y="299"/>
                    </a:lnTo>
                    <a:lnTo>
                      <a:pt x="0" y="389"/>
                    </a:lnTo>
                    <a:lnTo>
                      <a:pt x="60" y="179"/>
                    </a:lnTo>
                    <a:lnTo>
                      <a:pt x="0" y="5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4" name="Freeform 2403">
                <a:extLst>
                  <a:ext uri="{FF2B5EF4-FFF2-40B4-BE49-F238E27FC236}">
                    <a16:creationId xmlns:a16="http://schemas.microsoft.com/office/drawing/2014/main" xmlns="" id="{1DA23454-0E94-40AF-9820-8835AE7651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2430"/>
                <a:ext cx="122" cy="180"/>
              </a:xfrm>
              <a:custGeom>
                <a:avLst/>
                <a:gdLst>
                  <a:gd name="T0" fmla="*/ 62 w 122"/>
                  <a:gd name="T1" fmla="*/ 0 h 180"/>
                  <a:gd name="T2" fmla="*/ 122 w 122"/>
                  <a:gd name="T3" fmla="*/ 180 h 180"/>
                  <a:gd name="T4" fmla="*/ 0 w 122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2" h="180">
                    <a:moveTo>
                      <a:pt x="62" y="0"/>
                    </a:moveTo>
                    <a:lnTo>
                      <a:pt x="122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5" name="Freeform 2404">
                <a:extLst>
                  <a:ext uri="{FF2B5EF4-FFF2-40B4-BE49-F238E27FC236}">
                    <a16:creationId xmlns:a16="http://schemas.microsoft.com/office/drawing/2014/main" xmlns="" id="{93B04752-F4EB-4780-B5D9-DEC6C341A0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5" y="204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6" name="Line 2405">
                <a:extLst>
                  <a:ext uri="{FF2B5EF4-FFF2-40B4-BE49-F238E27FC236}">
                    <a16:creationId xmlns:a16="http://schemas.microsoft.com/office/drawing/2014/main" xmlns="" id="{FE780FEF-FA2C-4405-8C0F-01647448EE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35" y="219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7" name="Line 2406">
                <a:extLst>
                  <a:ext uri="{FF2B5EF4-FFF2-40B4-BE49-F238E27FC236}">
                    <a16:creationId xmlns:a16="http://schemas.microsoft.com/office/drawing/2014/main" xmlns="" id="{50B6133D-07FF-4912-8183-F5B1543668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55" y="18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8" name="Line 2407">
                <a:extLst>
                  <a:ext uri="{FF2B5EF4-FFF2-40B4-BE49-F238E27FC236}">
                    <a16:creationId xmlns:a16="http://schemas.microsoft.com/office/drawing/2014/main" xmlns="" id="{05130E31-ABC3-4967-B247-520CBE2B74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55" y="183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9" name="Line 2408">
                <a:extLst>
                  <a:ext uri="{FF2B5EF4-FFF2-40B4-BE49-F238E27FC236}">
                    <a16:creationId xmlns:a16="http://schemas.microsoft.com/office/drawing/2014/main" xmlns="" id="{65CF0AE6-463B-4F6D-81A3-E8BAA8DCEF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77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0" name="Line 2409">
                <a:extLst>
                  <a:ext uri="{FF2B5EF4-FFF2-40B4-BE49-F238E27FC236}">
                    <a16:creationId xmlns:a16="http://schemas.microsoft.com/office/drawing/2014/main" xmlns="" id="{36088EEA-A2BC-4B8C-B584-417F228A56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3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1" name="Line 2410">
                <a:extLst>
                  <a:ext uri="{FF2B5EF4-FFF2-40B4-BE49-F238E27FC236}">
                    <a16:creationId xmlns:a16="http://schemas.microsoft.com/office/drawing/2014/main" xmlns="" id="{CBEDC4F8-D87D-4585-94AD-B3273D72A2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415" y="1770"/>
                <a:ext cx="6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2" name="Line 2411">
                <a:extLst>
                  <a:ext uri="{FF2B5EF4-FFF2-40B4-BE49-F238E27FC236}">
                    <a16:creationId xmlns:a16="http://schemas.microsoft.com/office/drawing/2014/main" xmlns="" id="{7386F278-D864-4A24-AF11-6A613C6130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5" y="1830"/>
                <a:ext cx="21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3" name="Line 2412">
                <a:extLst>
                  <a:ext uri="{FF2B5EF4-FFF2-40B4-BE49-F238E27FC236}">
                    <a16:creationId xmlns:a16="http://schemas.microsoft.com/office/drawing/2014/main" xmlns="" id="{FBA35497-967B-4C8E-9DDB-07510B11B4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35" y="165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4" name="Line 2413">
                <a:extLst>
                  <a:ext uri="{FF2B5EF4-FFF2-40B4-BE49-F238E27FC236}">
                    <a16:creationId xmlns:a16="http://schemas.microsoft.com/office/drawing/2014/main" xmlns="" id="{B68F6885-E3B4-4F95-92F1-99F635B85E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35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5" name="Line 2414">
                <a:extLst>
                  <a:ext uri="{FF2B5EF4-FFF2-40B4-BE49-F238E27FC236}">
                    <a16:creationId xmlns:a16="http://schemas.microsoft.com/office/drawing/2014/main" xmlns="" id="{985E2B84-1458-4E20-8324-91D9A3E76F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25" y="12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6" name="Freeform 2415">
                <a:extLst>
                  <a:ext uri="{FF2B5EF4-FFF2-40B4-BE49-F238E27FC236}">
                    <a16:creationId xmlns:a16="http://schemas.microsoft.com/office/drawing/2014/main" xmlns="" id="{266283E5-D104-4D07-A65C-C7ED37E89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5" y="1710"/>
                <a:ext cx="240" cy="240"/>
              </a:xfrm>
              <a:custGeom>
                <a:avLst/>
                <a:gdLst>
                  <a:gd name="T0" fmla="*/ 240 w 240"/>
                  <a:gd name="T1" fmla="*/ 0 h 240"/>
                  <a:gd name="T2" fmla="*/ 210 w 240"/>
                  <a:gd name="T3" fmla="*/ 180 h 240"/>
                  <a:gd name="T4" fmla="*/ 180 w 240"/>
                  <a:gd name="T5" fmla="*/ 60 h 240"/>
                  <a:gd name="T6" fmla="*/ 150 w 240"/>
                  <a:gd name="T7" fmla="*/ 240 h 240"/>
                  <a:gd name="T8" fmla="*/ 90 w 240"/>
                  <a:gd name="T9" fmla="*/ 180 h 240"/>
                  <a:gd name="T10" fmla="*/ 0 w 240"/>
                  <a:gd name="T11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0" h="240">
                    <a:moveTo>
                      <a:pt x="240" y="0"/>
                    </a:moveTo>
                    <a:lnTo>
                      <a:pt x="210" y="180"/>
                    </a:lnTo>
                    <a:lnTo>
                      <a:pt x="180" y="60"/>
                    </a:lnTo>
                    <a:lnTo>
                      <a:pt x="150" y="240"/>
                    </a:lnTo>
                    <a:lnTo>
                      <a:pt x="90" y="18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7" name="Line 2416">
                <a:extLst>
                  <a:ext uri="{FF2B5EF4-FFF2-40B4-BE49-F238E27FC236}">
                    <a16:creationId xmlns:a16="http://schemas.microsoft.com/office/drawing/2014/main" xmlns="" id="{28670604-1B2A-4183-8F39-350929E7C2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9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8" name="Freeform 2417">
                <a:extLst>
                  <a:ext uri="{FF2B5EF4-FFF2-40B4-BE49-F238E27FC236}">
                    <a16:creationId xmlns:a16="http://schemas.microsoft.com/office/drawing/2014/main" xmlns="" id="{980F12FC-73EF-4A49-AE96-140F9C0BC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1770"/>
                <a:ext cx="180" cy="120"/>
              </a:xfrm>
              <a:custGeom>
                <a:avLst/>
                <a:gdLst>
                  <a:gd name="T0" fmla="*/ 150 w 180"/>
                  <a:gd name="T1" fmla="*/ 120 h 120"/>
                  <a:gd name="T2" fmla="*/ 180 w 180"/>
                  <a:gd name="T3" fmla="*/ 0 h 120"/>
                  <a:gd name="T4" fmla="*/ 30 w 180"/>
                  <a:gd name="T5" fmla="*/ 120 h 120"/>
                  <a:gd name="T6" fmla="*/ 150 w 180"/>
                  <a:gd name="T7" fmla="*/ 120 h 120"/>
                  <a:gd name="T8" fmla="*/ 0 w 180"/>
                  <a:gd name="T9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120">
                    <a:moveTo>
                      <a:pt x="150" y="120"/>
                    </a:moveTo>
                    <a:lnTo>
                      <a:pt x="180" y="0"/>
                    </a:lnTo>
                    <a:lnTo>
                      <a:pt x="30" y="120"/>
                    </a:lnTo>
                    <a:lnTo>
                      <a:pt x="150" y="12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9" name="Freeform 2418">
                <a:extLst>
                  <a:ext uri="{FF2B5EF4-FFF2-40B4-BE49-F238E27FC236}">
                    <a16:creationId xmlns:a16="http://schemas.microsoft.com/office/drawing/2014/main" xmlns="" id="{D3F81549-A5B3-40F7-BF58-FB5FE82F13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530"/>
                <a:ext cx="240" cy="360"/>
              </a:xfrm>
              <a:custGeom>
                <a:avLst/>
                <a:gdLst>
                  <a:gd name="T0" fmla="*/ 120 w 240"/>
                  <a:gd name="T1" fmla="*/ 240 h 360"/>
                  <a:gd name="T2" fmla="*/ 90 w 240"/>
                  <a:gd name="T3" fmla="*/ 120 h 360"/>
                  <a:gd name="T4" fmla="*/ 90 w 240"/>
                  <a:gd name="T5" fmla="*/ 0 h 360"/>
                  <a:gd name="T6" fmla="*/ 210 w 240"/>
                  <a:gd name="T7" fmla="*/ 30 h 360"/>
                  <a:gd name="T8" fmla="*/ 240 w 240"/>
                  <a:gd name="T9" fmla="*/ 180 h 360"/>
                  <a:gd name="T10" fmla="*/ 120 w 240"/>
                  <a:gd name="T11" fmla="*/ 240 h 360"/>
                  <a:gd name="T12" fmla="*/ 210 w 240"/>
                  <a:gd name="T13" fmla="*/ 330 h 360"/>
                  <a:gd name="T14" fmla="*/ 90 w 240"/>
                  <a:gd name="T15" fmla="*/ 360 h 360"/>
                  <a:gd name="T16" fmla="*/ 0 w 240"/>
                  <a:gd name="T17" fmla="*/ 18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360">
                    <a:moveTo>
                      <a:pt x="120" y="240"/>
                    </a:moveTo>
                    <a:lnTo>
                      <a:pt x="90" y="120"/>
                    </a:lnTo>
                    <a:lnTo>
                      <a:pt x="90" y="0"/>
                    </a:lnTo>
                    <a:lnTo>
                      <a:pt x="210" y="30"/>
                    </a:lnTo>
                    <a:lnTo>
                      <a:pt x="240" y="180"/>
                    </a:lnTo>
                    <a:lnTo>
                      <a:pt x="120" y="240"/>
                    </a:lnTo>
                    <a:lnTo>
                      <a:pt x="210" y="330"/>
                    </a:lnTo>
                    <a:lnTo>
                      <a:pt x="90" y="36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0" name="Freeform 2419">
                <a:extLst>
                  <a:ext uri="{FF2B5EF4-FFF2-40B4-BE49-F238E27FC236}">
                    <a16:creationId xmlns:a16="http://schemas.microsoft.com/office/drawing/2014/main" xmlns="" id="{396FE12F-3DEC-4E47-A37C-9FE894434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590"/>
                <a:ext cx="90" cy="120"/>
              </a:xfrm>
              <a:custGeom>
                <a:avLst/>
                <a:gdLst>
                  <a:gd name="T0" fmla="*/ 0 w 90"/>
                  <a:gd name="T1" fmla="*/ 120 h 120"/>
                  <a:gd name="T2" fmla="*/ 90 w 90"/>
                  <a:gd name="T3" fmla="*/ 60 h 120"/>
                  <a:gd name="T4" fmla="*/ 0 w 90"/>
                  <a:gd name="T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120">
                    <a:moveTo>
                      <a:pt x="0" y="120"/>
                    </a:moveTo>
                    <a:lnTo>
                      <a:pt x="9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1" name="Line 2420">
                <a:extLst>
                  <a:ext uri="{FF2B5EF4-FFF2-40B4-BE49-F238E27FC236}">
                    <a16:creationId xmlns:a16="http://schemas.microsoft.com/office/drawing/2014/main" xmlns="" id="{7509DD0B-388A-4FBE-AC16-5FA915C93A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5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2" name="Freeform 2421">
                <a:extLst>
                  <a:ext uri="{FF2B5EF4-FFF2-40B4-BE49-F238E27FC236}">
                    <a16:creationId xmlns:a16="http://schemas.microsoft.com/office/drawing/2014/main" xmlns="" id="{1E9738AE-A95A-473B-A072-85395EC12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230"/>
                <a:ext cx="450" cy="180"/>
              </a:xfrm>
              <a:custGeom>
                <a:avLst/>
                <a:gdLst>
                  <a:gd name="T0" fmla="*/ 450 w 450"/>
                  <a:gd name="T1" fmla="*/ 180 h 180"/>
                  <a:gd name="T2" fmla="*/ 450 w 450"/>
                  <a:gd name="T3" fmla="*/ 60 h 180"/>
                  <a:gd name="T4" fmla="*/ 330 w 450"/>
                  <a:gd name="T5" fmla="*/ 120 h 180"/>
                  <a:gd name="T6" fmla="*/ 210 w 450"/>
                  <a:gd name="T7" fmla="*/ 30 h 180"/>
                  <a:gd name="T8" fmla="*/ 90 w 450"/>
                  <a:gd name="T9" fmla="*/ 0 h 180"/>
                  <a:gd name="T10" fmla="*/ 150 w 450"/>
                  <a:gd name="T11" fmla="*/ 90 h 180"/>
                  <a:gd name="T12" fmla="*/ 0 w 450"/>
                  <a:gd name="T13" fmla="*/ 6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0" h="180">
                    <a:moveTo>
                      <a:pt x="450" y="180"/>
                    </a:moveTo>
                    <a:lnTo>
                      <a:pt x="450" y="60"/>
                    </a:lnTo>
                    <a:lnTo>
                      <a:pt x="330" y="120"/>
                    </a:lnTo>
                    <a:lnTo>
                      <a:pt x="210" y="30"/>
                    </a:lnTo>
                    <a:lnTo>
                      <a:pt x="90" y="0"/>
                    </a:lnTo>
                    <a:lnTo>
                      <a:pt x="150" y="9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3" name="Freeform 2422">
                <a:extLst>
                  <a:ext uri="{FF2B5EF4-FFF2-40B4-BE49-F238E27FC236}">
                    <a16:creationId xmlns:a16="http://schemas.microsoft.com/office/drawing/2014/main" xmlns="" id="{5DA8B0CF-EC86-4160-AB0A-AEE84A1A93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440"/>
                <a:ext cx="180" cy="150"/>
              </a:xfrm>
              <a:custGeom>
                <a:avLst/>
                <a:gdLst>
                  <a:gd name="T0" fmla="*/ 180 w 180"/>
                  <a:gd name="T1" fmla="*/ 0 h 150"/>
                  <a:gd name="T2" fmla="*/ 90 w 180"/>
                  <a:gd name="T3" fmla="*/ 90 h 150"/>
                  <a:gd name="T4" fmla="*/ 0 w 180"/>
                  <a:gd name="T5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180" y="0"/>
                    </a:moveTo>
                    <a:lnTo>
                      <a:pt x="90" y="90"/>
                    </a:lnTo>
                    <a:lnTo>
                      <a:pt x="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4" name="Freeform 2423">
                <a:extLst>
                  <a:ext uri="{FF2B5EF4-FFF2-40B4-BE49-F238E27FC236}">
                    <a16:creationId xmlns:a16="http://schemas.microsoft.com/office/drawing/2014/main" xmlns="" id="{BB18136F-6660-4F40-B0F0-C6A3AC5528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" y="1260"/>
                <a:ext cx="390" cy="390"/>
              </a:xfrm>
              <a:custGeom>
                <a:avLst/>
                <a:gdLst>
                  <a:gd name="T0" fmla="*/ 270 w 390"/>
                  <a:gd name="T1" fmla="*/ 390 h 390"/>
                  <a:gd name="T2" fmla="*/ 390 w 390"/>
                  <a:gd name="T3" fmla="*/ 300 h 390"/>
                  <a:gd name="T4" fmla="*/ 360 w 390"/>
                  <a:gd name="T5" fmla="*/ 180 h 390"/>
                  <a:gd name="T6" fmla="*/ 240 w 390"/>
                  <a:gd name="T7" fmla="*/ 30 h 390"/>
                  <a:gd name="T8" fmla="*/ 0 w 390"/>
                  <a:gd name="T9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0" h="390">
                    <a:moveTo>
                      <a:pt x="270" y="390"/>
                    </a:moveTo>
                    <a:lnTo>
                      <a:pt x="390" y="300"/>
                    </a:lnTo>
                    <a:lnTo>
                      <a:pt x="360" y="180"/>
                    </a:lnTo>
                    <a:lnTo>
                      <a:pt x="24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5" name="Freeform 2424">
                <a:extLst>
                  <a:ext uri="{FF2B5EF4-FFF2-40B4-BE49-F238E27FC236}">
                    <a16:creationId xmlns:a16="http://schemas.microsoft.com/office/drawing/2014/main" xmlns="" id="{27911EAA-6238-49F0-84A5-CD151891CD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5" y="1230"/>
                <a:ext cx="360" cy="210"/>
              </a:xfrm>
              <a:custGeom>
                <a:avLst/>
                <a:gdLst>
                  <a:gd name="T0" fmla="*/ 90 w 360"/>
                  <a:gd name="T1" fmla="*/ 60 h 210"/>
                  <a:gd name="T2" fmla="*/ 0 w 360"/>
                  <a:gd name="T3" fmla="*/ 180 h 210"/>
                  <a:gd name="T4" fmla="*/ 90 w 360"/>
                  <a:gd name="T5" fmla="*/ 210 h 210"/>
                  <a:gd name="T6" fmla="*/ 180 w 360"/>
                  <a:gd name="T7" fmla="*/ 180 h 210"/>
                  <a:gd name="T8" fmla="*/ 90 w 360"/>
                  <a:gd name="T9" fmla="*/ 60 h 210"/>
                  <a:gd name="T10" fmla="*/ 270 w 360"/>
                  <a:gd name="T11" fmla="*/ 60 h 210"/>
                  <a:gd name="T12" fmla="*/ 360 w 360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0" h="210">
                    <a:moveTo>
                      <a:pt x="90" y="60"/>
                    </a:moveTo>
                    <a:lnTo>
                      <a:pt x="0" y="180"/>
                    </a:lnTo>
                    <a:lnTo>
                      <a:pt x="90" y="210"/>
                    </a:lnTo>
                    <a:lnTo>
                      <a:pt x="180" y="180"/>
                    </a:lnTo>
                    <a:lnTo>
                      <a:pt x="90" y="60"/>
                    </a:lnTo>
                    <a:lnTo>
                      <a:pt x="270" y="60"/>
                    </a:lnTo>
                    <a:lnTo>
                      <a:pt x="3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6" name="Line 2425">
                <a:extLst>
                  <a:ext uri="{FF2B5EF4-FFF2-40B4-BE49-F238E27FC236}">
                    <a16:creationId xmlns:a16="http://schemas.microsoft.com/office/drawing/2014/main" xmlns="" id="{8268A157-E1C8-4D59-AFE0-DDDD9A5385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3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7" name="Line 2426">
                <a:extLst>
                  <a:ext uri="{FF2B5EF4-FFF2-40B4-BE49-F238E27FC236}">
                    <a16:creationId xmlns:a16="http://schemas.microsoft.com/office/drawing/2014/main" xmlns="" id="{1E3FDC2D-37DE-4D8C-972B-A7826AEF96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105" y="141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8" name="Freeform 2427">
                <a:extLst>
                  <a:ext uri="{FF2B5EF4-FFF2-40B4-BE49-F238E27FC236}">
                    <a16:creationId xmlns:a16="http://schemas.microsoft.com/office/drawing/2014/main" xmlns="" id="{BE99F115-7C58-4FD2-8DD9-6C40DC005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5" y="2490"/>
                <a:ext cx="450" cy="300"/>
              </a:xfrm>
              <a:custGeom>
                <a:avLst/>
                <a:gdLst>
                  <a:gd name="T0" fmla="*/ 180 w 450"/>
                  <a:gd name="T1" fmla="*/ 300 h 300"/>
                  <a:gd name="T2" fmla="*/ 300 w 450"/>
                  <a:gd name="T3" fmla="*/ 240 h 300"/>
                  <a:gd name="T4" fmla="*/ 450 w 450"/>
                  <a:gd name="T5" fmla="*/ 300 h 300"/>
                  <a:gd name="T6" fmla="*/ 360 w 450"/>
                  <a:gd name="T7" fmla="*/ 90 h 300"/>
                  <a:gd name="T8" fmla="*/ 240 w 450"/>
                  <a:gd name="T9" fmla="*/ 150 h 300"/>
                  <a:gd name="T10" fmla="*/ 0 w 450"/>
                  <a:gd name="T11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0" h="300">
                    <a:moveTo>
                      <a:pt x="180" y="300"/>
                    </a:moveTo>
                    <a:lnTo>
                      <a:pt x="300" y="240"/>
                    </a:lnTo>
                    <a:lnTo>
                      <a:pt x="450" y="300"/>
                    </a:lnTo>
                    <a:lnTo>
                      <a:pt x="360" y="9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9" name="Line 2428">
                <a:extLst>
                  <a:ext uri="{FF2B5EF4-FFF2-40B4-BE49-F238E27FC236}">
                    <a16:creationId xmlns:a16="http://schemas.microsoft.com/office/drawing/2014/main" xmlns="" id="{4FA8AFF8-3D78-4FF6-9F8A-1DC6F40571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925" y="243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0" name="Freeform 2429">
                <a:extLst>
                  <a:ext uri="{FF2B5EF4-FFF2-40B4-BE49-F238E27FC236}">
                    <a16:creationId xmlns:a16="http://schemas.microsoft.com/office/drawing/2014/main" xmlns="" id="{EA568BC4-F458-45E1-87EB-7CE82BC4E2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2070"/>
                <a:ext cx="300" cy="240"/>
              </a:xfrm>
              <a:custGeom>
                <a:avLst/>
                <a:gdLst>
                  <a:gd name="T0" fmla="*/ 180 w 300"/>
                  <a:gd name="T1" fmla="*/ 0 h 240"/>
                  <a:gd name="T2" fmla="*/ 0 w 300"/>
                  <a:gd name="T3" fmla="*/ 0 h 240"/>
                  <a:gd name="T4" fmla="*/ 60 w 300"/>
                  <a:gd name="T5" fmla="*/ 120 h 240"/>
                  <a:gd name="T6" fmla="*/ 180 w 300"/>
                  <a:gd name="T7" fmla="*/ 0 h 240"/>
                  <a:gd name="T8" fmla="*/ 300 w 300"/>
                  <a:gd name="T9" fmla="*/ 150 h 240"/>
                  <a:gd name="T10" fmla="*/ 150 w 300"/>
                  <a:gd name="T11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0" h="240">
                    <a:moveTo>
                      <a:pt x="180" y="0"/>
                    </a:moveTo>
                    <a:lnTo>
                      <a:pt x="0" y="0"/>
                    </a:lnTo>
                    <a:lnTo>
                      <a:pt x="60" y="120"/>
                    </a:lnTo>
                    <a:lnTo>
                      <a:pt x="180" y="0"/>
                    </a:lnTo>
                    <a:lnTo>
                      <a:pt x="300" y="150"/>
                    </a:lnTo>
                    <a:lnTo>
                      <a:pt x="15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1" name="Line 2430">
                <a:extLst>
                  <a:ext uri="{FF2B5EF4-FFF2-40B4-BE49-F238E27FC236}">
                    <a16:creationId xmlns:a16="http://schemas.microsoft.com/office/drawing/2014/main" xmlns="" id="{DAFC6CC4-FC5E-4EDA-9957-AA350D3D31C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35" y="2040"/>
                <a:ext cx="90" cy="21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2" name="Freeform 2431">
                <a:extLst>
                  <a:ext uri="{FF2B5EF4-FFF2-40B4-BE49-F238E27FC236}">
                    <a16:creationId xmlns:a16="http://schemas.microsoft.com/office/drawing/2014/main" xmlns="" id="{33356E3A-DA1D-4CF0-82AA-2DF76CECF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2310"/>
                <a:ext cx="690" cy="420"/>
              </a:xfrm>
              <a:custGeom>
                <a:avLst/>
                <a:gdLst>
                  <a:gd name="T0" fmla="*/ 120 w 690"/>
                  <a:gd name="T1" fmla="*/ 150 h 420"/>
                  <a:gd name="T2" fmla="*/ 330 w 690"/>
                  <a:gd name="T3" fmla="*/ 0 h 420"/>
                  <a:gd name="T4" fmla="*/ 180 w 690"/>
                  <a:gd name="T5" fmla="*/ 30 h 420"/>
                  <a:gd name="T6" fmla="*/ 270 w 690"/>
                  <a:gd name="T7" fmla="*/ 180 h 420"/>
                  <a:gd name="T8" fmla="*/ 0 w 690"/>
                  <a:gd name="T9" fmla="*/ 210 h 420"/>
                  <a:gd name="T10" fmla="*/ 210 w 690"/>
                  <a:gd name="T11" fmla="*/ 270 h 420"/>
                  <a:gd name="T12" fmla="*/ 330 w 690"/>
                  <a:gd name="T13" fmla="*/ 330 h 420"/>
                  <a:gd name="T14" fmla="*/ 420 w 690"/>
                  <a:gd name="T15" fmla="*/ 420 h 420"/>
                  <a:gd name="T16" fmla="*/ 450 w 690"/>
                  <a:gd name="T17" fmla="*/ 240 h 420"/>
                  <a:gd name="T18" fmla="*/ 570 w 690"/>
                  <a:gd name="T19" fmla="*/ 420 h 420"/>
                  <a:gd name="T20" fmla="*/ 690 w 690"/>
                  <a:gd name="T21" fmla="*/ 39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0" h="420">
                    <a:moveTo>
                      <a:pt x="120" y="150"/>
                    </a:moveTo>
                    <a:lnTo>
                      <a:pt x="330" y="0"/>
                    </a:lnTo>
                    <a:lnTo>
                      <a:pt x="180" y="30"/>
                    </a:lnTo>
                    <a:lnTo>
                      <a:pt x="270" y="180"/>
                    </a:lnTo>
                    <a:lnTo>
                      <a:pt x="0" y="210"/>
                    </a:lnTo>
                    <a:lnTo>
                      <a:pt x="210" y="270"/>
                    </a:lnTo>
                    <a:lnTo>
                      <a:pt x="330" y="330"/>
                    </a:lnTo>
                    <a:lnTo>
                      <a:pt x="420" y="420"/>
                    </a:lnTo>
                    <a:lnTo>
                      <a:pt x="450" y="240"/>
                    </a:lnTo>
                    <a:lnTo>
                      <a:pt x="570" y="420"/>
                    </a:lnTo>
                    <a:lnTo>
                      <a:pt x="690" y="3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3" name="Freeform 2432">
                <a:extLst>
                  <a:ext uri="{FF2B5EF4-FFF2-40B4-BE49-F238E27FC236}">
                    <a16:creationId xmlns:a16="http://schemas.microsoft.com/office/drawing/2014/main" xmlns="" id="{F106D933-6D5B-4BC9-9A44-8076B60F6D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" y="2490"/>
                <a:ext cx="389" cy="300"/>
              </a:xfrm>
              <a:custGeom>
                <a:avLst/>
                <a:gdLst>
                  <a:gd name="T0" fmla="*/ 180 w 389"/>
                  <a:gd name="T1" fmla="*/ 300 h 300"/>
                  <a:gd name="T2" fmla="*/ 389 w 389"/>
                  <a:gd name="T3" fmla="*/ 270 h 300"/>
                  <a:gd name="T4" fmla="*/ 240 w 389"/>
                  <a:gd name="T5" fmla="*/ 150 h 300"/>
                  <a:gd name="T6" fmla="*/ 0 w 389"/>
                  <a:gd name="T7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9" h="300">
                    <a:moveTo>
                      <a:pt x="180" y="300"/>
                    </a:moveTo>
                    <a:lnTo>
                      <a:pt x="389" y="27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4" name="Freeform 2433">
                <a:extLst>
                  <a:ext uri="{FF2B5EF4-FFF2-40B4-BE49-F238E27FC236}">
                    <a16:creationId xmlns:a16="http://schemas.microsoft.com/office/drawing/2014/main" xmlns="" id="{44884E62-54B7-4F19-B6A0-D82BDC70E4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5" y="2310"/>
                <a:ext cx="389" cy="360"/>
              </a:xfrm>
              <a:custGeom>
                <a:avLst/>
                <a:gdLst>
                  <a:gd name="T0" fmla="*/ 90 w 389"/>
                  <a:gd name="T1" fmla="*/ 330 h 360"/>
                  <a:gd name="T2" fmla="*/ 389 w 389"/>
                  <a:gd name="T3" fmla="*/ 360 h 360"/>
                  <a:gd name="T4" fmla="*/ 359 w 389"/>
                  <a:gd name="T5" fmla="*/ 240 h 360"/>
                  <a:gd name="T6" fmla="*/ 209 w 389"/>
                  <a:gd name="T7" fmla="*/ 270 h 360"/>
                  <a:gd name="T8" fmla="*/ 0 w 389"/>
                  <a:gd name="T9" fmla="*/ 210 h 360"/>
                  <a:gd name="T10" fmla="*/ 269 w 389"/>
                  <a:gd name="T11" fmla="*/ 180 h 360"/>
                  <a:gd name="T12" fmla="*/ 179 w 389"/>
                  <a:gd name="T13" fmla="*/ 30 h 360"/>
                  <a:gd name="T14" fmla="*/ 329 w 389"/>
                  <a:gd name="T15" fmla="*/ 0 h 360"/>
                  <a:gd name="T16" fmla="*/ 120 w 389"/>
                  <a:gd name="T17" fmla="*/ 15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9" h="360">
                    <a:moveTo>
                      <a:pt x="90" y="330"/>
                    </a:moveTo>
                    <a:lnTo>
                      <a:pt x="389" y="360"/>
                    </a:lnTo>
                    <a:lnTo>
                      <a:pt x="359" y="240"/>
                    </a:lnTo>
                    <a:lnTo>
                      <a:pt x="209" y="270"/>
                    </a:lnTo>
                    <a:lnTo>
                      <a:pt x="0" y="210"/>
                    </a:lnTo>
                    <a:lnTo>
                      <a:pt x="269" y="180"/>
                    </a:lnTo>
                    <a:lnTo>
                      <a:pt x="179" y="30"/>
                    </a:lnTo>
                    <a:lnTo>
                      <a:pt x="329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5" name="Line 2434">
                <a:extLst>
                  <a:ext uri="{FF2B5EF4-FFF2-40B4-BE49-F238E27FC236}">
                    <a16:creationId xmlns:a16="http://schemas.microsoft.com/office/drawing/2014/main" xmlns="" id="{D9606FCA-BC61-413D-9665-B66D3BA837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44" y="2310"/>
                <a:ext cx="30" cy="24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6" name="Freeform 2435">
                <a:extLst>
                  <a:ext uri="{FF2B5EF4-FFF2-40B4-BE49-F238E27FC236}">
                    <a16:creationId xmlns:a16="http://schemas.microsoft.com/office/drawing/2014/main" xmlns="" id="{0B02F323-3A65-434C-8981-11C1CAB4C7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5" y="2160"/>
                <a:ext cx="239" cy="30"/>
              </a:xfrm>
              <a:custGeom>
                <a:avLst/>
                <a:gdLst>
                  <a:gd name="T0" fmla="*/ 0 w 239"/>
                  <a:gd name="T1" fmla="*/ 0 h 30"/>
                  <a:gd name="T2" fmla="*/ 119 w 239"/>
                  <a:gd name="T3" fmla="*/ 30 h 30"/>
                  <a:gd name="T4" fmla="*/ 239 w 239"/>
                  <a:gd name="T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30">
                    <a:moveTo>
                      <a:pt x="0" y="0"/>
                    </a:moveTo>
                    <a:lnTo>
                      <a:pt x="119" y="30"/>
                    </a:lnTo>
                    <a:lnTo>
                      <a:pt x="23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7" name="Freeform 2436">
                <a:extLst>
                  <a:ext uri="{FF2B5EF4-FFF2-40B4-BE49-F238E27FC236}">
                    <a16:creationId xmlns:a16="http://schemas.microsoft.com/office/drawing/2014/main" xmlns="" id="{B5CDCA35-4247-47AD-9321-E5575BF93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2160"/>
                <a:ext cx="210" cy="510"/>
              </a:xfrm>
              <a:custGeom>
                <a:avLst/>
                <a:gdLst>
                  <a:gd name="T0" fmla="*/ 210 w 210"/>
                  <a:gd name="T1" fmla="*/ 180 h 510"/>
                  <a:gd name="T2" fmla="*/ 0 w 210"/>
                  <a:gd name="T3" fmla="*/ 510 h 510"/>
                  <a:gd name="T4" fmla="*/ 120 w 210"/>
                  <a:gd name="T5" fmla="*/ 480 h 510"/>
                  <a:gd name="T6" fmla="*/ 30 w 210"/>
                  <a:gd name="T7" fmla="*/ 330 h 510"/>
                  <a:gd name="T8" fmla="*/ 120 w 210"/>
                  <a:gd name="T9" fmla="*/ 240 h 510"/>
                  <a:gd name="T10" fmla="*/ 0 w 210"/>
                  <a:gd name="T11" fmla="*/ 180 h 510"/>
                  <a:gd name="T12" fmla="*/ 90 w 210"/>
                  <a:gd name="T13" fmla="*/ 0 h 510"/>
                  <a:gd name="T14" fmla="*/ 210 w 210"/>
                  <a:gd name="T15" fmla="*/ 18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0" h="510">
                    <a:moveTo>
                      <a:pt x="210" y="180"/>
                    </a:moveTo>
                    <a:lnTo>
                      <a:pt x="0" y="510"/>
                    </a:lnTo>
                    <a:lnTo>
                      <a:pt x="120" y="480"/>
                    </a:lnTo>
                    <a:lnTo>
                      <a:pt x="30" y="330"/>
                    </a:lnTo>
                    <a:lnTo>
                      <a:pt x="120" y="240"/>
                    </a:lnTo>
                    <a:lnTo>
                      <a:pt x="0" y="180"/>
                    </a:lnTo>
                    <a:lnTo>
                      <a:pt x="90" y="0"/>
                    </a:lnTo>
                    <a:lnTo>
                      <a:pt x="210" y="18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8" name="Freeform 2437">
                <a:extLst>
                  <a:ext uri="{FF2B5EF4-FFF2-40B4-BE49-F238E27FC236}">
                    <a16:creationId xmlns:a16="http://schemas.microsoft.com/office/drawing/2014/main" xmlns="" id="{EA6A00EF-E27E-4FB9-9FB8-26C402021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2100"/>
                <a:ext cx="719" cy="690"/>
              </a:xfrm>
              <a:custGeom>
                <a:avLst/>
                <a:gdLst>
                  <a:gd name="T0" fmla="*/ 119 w 719"/>
                  <a:gd name="T1" fmla="*/ 120 h 690"/>
                  <a:gd name="T2" fmla="*/ 0 w 719"/>
                  <a:gd name="T3" fmla="*/ 30 h 690"/>
                  <a:gd name="T4" fmla="*/ 209 w 719"/>
                  <a:gd name="T5" fmla="*/ 0 h 690"/>
                  <a:gd name="T6" fmla="*/ 299 w 719"/>
                  <a:gd name="T7" fmla="*/ 120 h 690"/>
                  <a:gd name="T8" fmla="*/ 389 w 719"/>
                  <a:gd name="T9" fmla="*/ 0 h 690"/>
                  <a:gd name="T10" fmla="*/ 209 w 719"/>
                  <a:gd name="T11" fmla="*/ 0 h 690"/>
                  <a:gd name="T12" fmla="*/ 209 w 719"/>
                  <a:gd name="T13" fmla="*/ 151 h 690"/>
                  <a:gd name="T14" fmla="*/ 119 w 719"/>
                  <a:gd name="T15" fmla="*/ 120 h 690"/>
                  <a:gd name="T16" fmla="*/ 89 w 719"/>
                  <a:gd name="T17" fmla="*/ 210 h 690"/>
                  <a:gd name="T18" fmla="*/ 89 w 719"/>
                  <a:gd name="T19" fmla="*/ 450 h 690"/>
                  <a:gd name="T20" fmla="*/ 209 w 719"/>
                  <a:gd name="T21" fmla="*/ 360 h 690"/>
                  <a:gd name="T22" fmla="*/ 298 w 719"/>
                  <a:gd name="T23" fmla="*/ 452 h 690"/>
                  <a:gd name="T24" fmla="*/ 269 w 719"/>
                  <a:gd name="T25" fmla="*/ 270 h 690"/>
                  <a:gd name="T26" fmla="*/ 359 w 719"/>
                  <a:gd name="T27" fmla="*/ 210 h 690"/>
                  <a:gd name="T28" fmla="*/ 479 w 719"/>
                  <a:gd name="T29" fmla="*/ 270 h 690"/>
                  <a:gd name="T30" fmla="*/ 359 w 719"/>
                  <a:gd name="T31" fmla="*/ 330 h 690"/>
                  <a:gd name="T32" fmla="*/ 449 w 719"/>
                  <a:gd name="T33" fmla="*/ 390 h 690"/>
                  <a:gd name="T34" fmla="*/ 719 w 719"/>
                  <a:gd name="T35" fmla="*/ 360 h 690"/>
                  <a:gd name="T36" fmla="*/ 599 w 719"/>
                  <a:gd name="T37" fmla="*/ 420 h 690"/>
                  <a:gd name="T38" fmla="*/ 629 w 719"/>
                  <a:gd name="T39" fmla="*/ 690 h 690"/>
                  <a:gd name="T40" fmla="*/ 419 w 719"/>
                  <a:gd name="T41" fmla="*/ 510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9" h="690">
                    <a:moveTo>
                      <a:pt x="119" y="120"/>
                    </a:moveTo>
                    <a:lnTo>
                      <a:pt x="0" y="30"/>
                    </a:lnTo>
                    <a:lnTo>
                      <a:pt x="209" y="0"/>
                    </a:lnTo>
                    <a:lnTo>
                      <a:pt x="299" y="120"/>
                    </a:lnTo>
                    <a:lnTo>
                      <a:pt x="389" y="0"/>
                    </a:lnTo>
                    <a:lnTo>
                      <a:pt x="209" y="0"/>
                    </a:lnTo>
                    <a:lnTo>
                      <a:pt x="209" y="151"/>
                    </a:lnTo>
                    <a:lnTo>
                      <a:pt x="119" y="120"/>
                    </a:lnTo>
                    <a:lnTo>
                      <a:pt x="89" y="210"/>
                    </a:lnTo>
                    <a:lnTo>
                      <a:pt x="89" y="450"/>
                    </a:lnTo>
                    <a:lnTo>
                      <a:pt x="209" y="360"/>
                    </a:lnTo>
                    <a:lnTo>
                      <a:pt x="298" y="452"/>
                    </a:lnTo>
                    <a:lnTo>
                      <a:pt x="269" y="270"/>
                    </a:lnTo>
                    <a:lnTo>
                      <a:pt x="359" y="210"/>
                    </a:lnTo>
                    <a:lnTo>
                      <a:pt x="479" y="270"/>
                    </a:lnTo>
                    <a:lnTo>
                      <a:pt x="359" y="330"/>
                    </a:lnTo>
                    <a:lnTo>
                      <a:pt x="449" y="390"/>
                    </a:lnTo>
                    <a:lnTo>
                      <a:pt x="719" y="360"/>
                    </a:lnTo>
                    <a:lnTo>
                      <a:pt x="599" y="420"/>
                    </a:lnTo>
                    <a:lnTo>
                      <a:pt x="629" y="690"/>
                    </a:lnTo>
                    <a:lnTo>
                      <a:pt x="419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9" name="Freeform 2438">
                <a:extLst>
                  <a:ext uri="{FF2B5EF4-FFF2-40B4-BE49-F238E27FC236}">
                    <a16:creationId xmlns:a16="http://schemas.microsoft.com/office/drawing/2014/main" xmlns="" id="{D0DFAE96-F160-43D0-9D72-9FD883AAFD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2190"/>
                <a:ext cx="359" cy="330"/>
              </a:xfrm>
              <a:custGeom>
                <a:avLst/>
                <a:gdLst>
                  <a:gd name="T0" fmla="*/ 300 w 359"/>
                  <a:gd name="T1" fmla="*/ 240 h 330"/>
                  <a:gd name="T2" fmla="*/ 210 w 359"/>
                  <a:gd name="T3" fmla="*/ 330 h 330"/>
                  <a:gd name="T4" fmla="*/ 30 w 359"/>
                  <a:gd name="T5" fmla="*/ 300 h 330"/>
                  <a:gd name="T6" fmla="*/ 0 w 359"/>
                  <a:gd name="T7" fmla="*/ 150 h 330"/>
                  <a:gd name="T8" fmla="*/ 210 w 359"/>
                  <a:gd name="T9" fmla="*/ 0 h 330"/>
                  <a:gd name="T10" fmla="*/ 359 w 359"/>
                  <a:gd name="T11" fmla="*/ 12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9" h="330">
                    <a:moveTo>
                      <a:pt x="300" y="240"/>
                    </a:moveTo>
                    <a:lnTo>
                      <a:pt x="210" y="330"/>
                    </a:lnTo>
                    <a:lnTo>
                      <a:pt x="30" y="300"/>
                    </a:lnTo>
                    <a:lnTo>
                      <a:pt x="0" y="150"/>
                    </a:lnTo>
                    <a:lnTo>
                      <a:pt x="210" y="0"/>
                    </a:lnTo>
                    <a:lnTo>
                      <a:pt x="359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0" name="Freeform 2439">
                <a:extLst>
                  <a:ext uri="{FF2B5EF4-FFF2-40B4-BE49-F238E27FC236}">
                    <a16:creationId xmlns:a16="http://schemas.microsoft.com/office/drawing/2014/main" xmlns="" id="{65B028FD-571D-4DF0-8134-6B6AD565FE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6" y="2520"/>
                <a:ext cx="239" cy="120"/>
              </a:xfrm>
              <a:custGeom>
                <a:avLst/>
                <a:gdLst>
                  <a:gd name="T0" fmla="*/ 90 w 239"/>
                  <a:gd name="T1" fmla="*/ 0 h 120"/>
                  <a:gd name="T2" fmla="*/ 0 w 239"/>
                  <a:gd name="T3" fmla="*/ 120 h 120"/>
                  <a:gd name="T4" fmla="*/ 239 w 239"/>
                  <a:gd name="T5" fmla="*/ 3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120">
                    <a:moveTo>
                      <a:pt x="90" y="0"/>
                    </a:moveTo>
                    <a:lnTo>
                      <a:pt x="0" y="120"/>
                    </a:lnTo>
                    <a:lnTo>
                      <a:pt x="23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1" name="Freeform 2440">
                <a:extLst>
                  <a:ext uri="{FF2B5EF4-FFF2-40B4-BE49-F238E27FC236}">
                    <a16:creationId xmlns:a16="http://schemas.microsoft.com/office/drawing/2014/main" xmlns="" id="{BD49CB6C-8549-40C8-B788-AC7EBB9165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540"/>
                <a:ext cx="899" cy="750"/>
              </a:xfrm>
              <a:custGeom>
                <a:avLst/>
                <a:gdLst>
                  <a:gd name="T0" fmla="*/ 299 w 899"/>
                  <a:gd name="T1" fmla="*/ 630 h 750"/>
                  <a:gd name="T2" fmla="*/ 268 w 899"/>
                  <a:gd name="T3" fmla="*/ 482 h 750"/>
                  <a:gd name="T4" fmla="*/ 179 w 899"/>
                  <a:gd name="T5" fmla="*/ 570 h 750"/>
                  <a:gd name="T6" fmla="*/ 59 w 899"/>
                  <a:gd name="T7" fmla="*/ 480 h 750"/>
                  <a:gd name="T8" fmla="*/ 0 w 899"/>
                  <a:gd name="T9" fmla="*/ 360 h 750"/>
                  <a:gd name="T10" fmla="*/ 59 w 899"/>
                  <a:gd name="T11" fmla="*/ 240 h 750"/>
                  <a:gd name="T12" fmla="*/ 179 w 899"/>
                  <a:gd name="T13" fmla="*/ 390 h 750"/>
                  <a:gd name="T14" fmla="*/ 239 w 899"/>
                  <a:gd name="T15" fmla="*/ 300 h 750"/>
                  <a:gd name="T16" fmla="*/ 329 w 899"/>
                  <a:gd name="T17" fmla="*/ 360 h 750"/>
                  <a:gd name="T18" fmla="*/ 329 w 899"/>
                  <a:gd name="T19" fmla="*/ 240 h 750"/>
                  <a:gd name="T20" fmla="*/ 179 w 899"/>
                  <a:gd name="T21" fmla="*/ 181 h 750"/>
                  <a:gd name="T22" fmla="*/ 269 w 899"/>
                  <a:gd name="T23" fmla="*/ 150 h 750"/>
                  <a:gd name="T24" fmla="*/ 389 w 899"/>
                  <a:gd name="T25" fmla="*/ 120 h 750"/>
                  <a:gd name="T26" fmla="*/ 449 w 899"/>
                  <a:gd name="T27" fmla="*/ 300 h 750"/>
                  <a:gd name="T28" fmla="*/ 539 w 899"/>
                  <a:gd name="T29" fmla="*/ 180 h 750"/>
                  <a:gd name="T30" fmla="*/ 509 w 899"/>
                  <a:gd name="T31" fmla="*/ 60 h 750"/>
                  <a:gd name="T32" fmla="*/ 359 w 899"/>
                  <a:gd name="T33" fmla="*/ 30 h 750"/>
                  <a:gd name="T34" fmla="*/ 569 w 899"/>
                  <a:gd name="T35" fmla="*/ 0 h 750"/>
                  <a:gd name="T36" fmla="*/ 689 w 899"/>
                  <a:gd name="T37" fmla="*/ 90 h 750"/>
                  <a:gd name="T38" fmla="*/ 659 w 899"/>
                  <a:gd name="T39" fmla="*/ 240 h 750"/>
                  <a:gd name="T40" fmla="*/ 749 w 899"/>
                  <a:gd name="T41" fmla="*/ 270 h 750"/>
                  <a:gd name="T42" fmla="*/ 809 w 899"/>
                  <a:gd name="T43" fmla="*/ 120 h 750"/>
                  <a:gd name="T44" fmla="*/ 899 w 899"/>
                  <a:gd name="T45" fmla="*/ 240 h 750"/>
                  <a:gd name="T46" fmla="*/ 839 w 899"/>
                  <a:gd name="T47" fmla="*/ 420 h 750"/>
                  <a:gd name="T48" fmla="*/ 779 w 899"/>
                  <a:gd name="T49" fmla="*/ 510 h 750"/>
                  <a:gd name="T50" fmla="*/ 689 w 899"/>
                  <a:gd name="T51" fmla="*/ 390 h 750"/>
                  <a:gd name="T52" fmla="*/ 539 w 899"/>
                  <a:gd name="T53" fmla="*/ 330 h 750"/>
                  <a:gd name="T54" fmla="*/ 569 w 899"/>
                  <a:gd name="T55" fmla="*/ 450 h 750"/>
                  <a:gd name="T56" fmla="*/ 419 w 899"/>
                  <a:gd name="T57" fmla="*/ 420 h 750"/>
                  <a:gd name="T58" fmla="*/ 389 w 899"/>
                  <a:gd name="T59" fmla="*/ 540 h 750"/>
                  <a:gd name="T60" fmla="*/ 509 w 899"/>
                  <a:gd name="T61" fmla="*/ 570 h 750"/>
                  <a:gd name="T62" fmla="*/ 659 w 899"/>
                  <a:gd name="T63" fmla="*/ 570 h 750"/>
                  <a:gd name="T64" fmla="*/ 659 w 899"/>
                  <a:gd name="T65" fmla="*/ 75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99" h="750">
                    <a:moveTo>
                      <a:pt x="299" y="630"/>
                    </a:moveTo>
                    <a:lnTo>
                      <a:pt x="268" y="482"/>
                    </a:lnTo>
                    <a:lnTo>
                      <a:pt x="179" y="570"/>
                    </a:lnTo>
                    <a:lnTo>
                      <a:pt x="59" y="480"/>
                    </a:lnTo>
                    <a:lnTo>
                      <a:pt x="0" y="360"/>
                    </a:lnTo>
                    <a:lnTo>
                      <a:pt x="59" y="240"/>
                    </a:lnTo>
                    <a:lnTo>
                      <a:pt x="179" y="390"/>
                    </a:lnTo>
                    <a:lnTo>
                      <a:pt x="239" y="300"/>
                    </a:lnTo>
                    <a:lnTo>
                      <a:pt x="329" y="360"/>
                    </a:lnTo>
                    <a:lnTo>
                      <a:pt x="329" y="240"/>
                    </a:lnTo>
                    <a:lnTo>
                      <a:pt x="179" y="181"/>
                    </a:lnTo>
                    <a:lnTo>
                      <a:pt x="269" y="150"/>
                    </a:lnTo>
                    <a:lnTo>
                      <a:pt x="389" y="120"/>
                    </a:lnTo>
                    <a:lnTo>
                      <a:pt x="449" y="300"/>
                    </a:lnTo>
                    <a:lnTo>
                      <a:pt x="539" y="180"/>
                    </a:lnTo>
                    <a:lnTo>
                      <a:pt x="509" y="60"/>
                    </a:lnTo>
                    <a:lnTo>
                      <a:pt x="359" y="30"/>
                    </a:lnTo>
                    <a:lnTo>
                      <a:pt x="569" y="0"/>
                    </a:lnTo>
                    <a:lnTo>
                      <a:pt x="689" y="90"/>
                    </a:lnTo>
                    <a:lnTo>
                      <a:pt x="659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89" y="390"/>
                    </a:lnTo>
                    <a:lnTo>
                      <a:pt x="539" y="330"/>
                    </a:lnTo>
                    <a:lnTo>
                      <a:pt x="569" y="450"/>
                    </a:lnTo>
                    <a:lnTo>
                      <a:pt x="419" y="420"/>
                    </a:lnTo>
                    <a:lnTo>
                      <a:pt x="389" y="540"/>
                    </a:lnTo>
                    <a:lnTo>
                      <a:pt x="509" y="570"/>
                    </a:lnTo>
                    <a:lnTo>
                      <a:pt x="659" y="570"/>
                    </a:lnTo>
                    <a:lnTo>
                      <a:pt x="659" y="7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2" name="Line 2441">
                <a:extLst>
                  <a:ext uri="{FF2B5EF4-FFF2-40B4-BE49-F238E27FC236}">
                    <a16:creationId xmlns:a16="http://schemas.microsoft.com/office/drawing/2014/main" xmlns="" id="{183CE9D6-EEB1-4E8B-8141-69B7E29FEC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115" y="721"/>
                <a:ext cx="120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3" name="Freeform 2442">
                <a:extLst>
                  <a:ext uri="{FF2B5EF4-FFF2-40B4-BE49-F238E27FC236}">
                    <a16:creationId xmlns:a16="http://schemas.microsoft.com/office/drawing/2014/main" xmlns="" id="{4A9B83AF-3F9B-41BF-A242-68F66EAC58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" y="900"/>
                <a:ext cx="121" cy="180"/>
              </a:xfrm>
              <a:custGeom>
                <a:avLst/>
                <a:gdLst>
                  <a:gd name="T0" fmla="*/ 61 w 121"/>
                  <a:gd name="T1" fmla="*/ 0 h 180"/>
                  <a:gd name="T2" fmla="*/ 121 w 121"/>
                  <a:gd name="T3" fmla="*/ 180 h 180"/>
                  <a:gd name="T4" fmla="*/ 0 w 121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1" h="180">
                    <a:moveTo>
                      <a:pt x="61" y="0"/>
                    </a:moveTo>
                    <a:lnTo>
                      <a:pt x="121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4" name="Freeform 2443">
                <a:extLst>
                  <a:ext uri="{FF2B5EF4-FFF2-40B4-BE49-F238E27FC236}">
                    <a16:creationId xmlns:a16="http://schemas.microsoft.com/office/drawing/2014/main" xmlns="" id="{04D7D19B-7BC1-4157-BDCF-F9C5E6F0A1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5" y="51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5" name="Line 2444">
                <a:extLst>
                  <a:ext uri="{FF2B5EF4-FFF2-40B4-BE49-F238E27FC236}">
                    <a16:creationId xmlns:a16="http://schemas.microsoft.com/office/drawing/2014/main" xmlns="" id="{9094EBC4-2634-48FA-8434-417FD3EFBC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45" y="6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6" name="Freeform 2445">
                <a:extLst>
                  <a:ext uri="{FF2B5EF4-FFF2-40B4-BE49-F238E27FC236}">
                    <a16:creationId xmlns:a16="http://schemas.microsoft.com/office/drawing/2014/main" xmlns="" id="{1FB9E07E-C9CE-4AA7-927A-F7DC054E96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6" y="600"/>
                <a:ext cx="599" cy="630"/>
              </a:xfrm>
              <a:custGeom>
                <a:avLst/>
                <a:gdLst>
                  <a:gd name="T0" fmla="*/ 599 w 599"/>
                  <a:gd name="T1" fmla="*/ 510 h 630"/>
                  <a:gd name="T2" fmla="*/ 389 w 599"/>
                  <a:gd name="T3" fmla="*/ 570 h 630"/>
                  <a:gd name="T4" fmla="*/ 269 w 599"/>
                  <a:gd name="T5" fmla="*/ 510 h 630"/>
                  <a:gd name="T6" fmla="*/ 90 w 599"/>
                  <a:gd name="T7" fmla="*/ 540 h 630"/>
                  <a:gd name="T8" fmla="*/ 0 w 599"/>
                  <a:gd name="T9" fmla="*/ 390 h 630"/>
                  <a:gd name="T10" fmla="*/ 0 w 599"/>
                  <a:gd name="T11" fmla="*/ 630 h 630"/>
                  <a:gd name="T12" fmla="*/ 90 w 599"/>
                  <a:gd name="T13" fmla="*/ 300 h 630"/>
                  <a:gd name="T14" fmla="*/ 0 w 599"/>
                  <a:gd name="T15" fmla="*/ 210 h 630"/>
                  <a:gd name="T16" fmla="*/ 0 w 599"/>
                  <a:gd name="T17" fmla="*/ 60 h 630"/>
                  <a:gd name="T18" fmla="*/ 60 w 599"/>
                  <a:gd name="T19" fmla="*/ 0 h 630"/>
                  <a:gd name="T20" fmla="*/ 149 w 599"/>
                  <a:gd name="T21" fmla="*/ 180 h 630"/>
                  <a:gd name="T22" fmla="*/ 329 w 599"/>
                  <a:gd name="T23" fmla="*/ 240 h 630"/>
                  <a:gd name="T24" fmla="*/ 359 w 599"/>
                  <a:gd name="T25" fmla="*/ 9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9" h="630">
                    <a:moveTo>
                      <a:pt x="599" y="510"/>
                    </a:moveTo>
                    <a:lnTo>
                      <a:pt x="389" y="570"/>
                    </a:lnTo>
                    <a:lnTo>
                      <a:pt x="269" y="510"/>
                    </a:lnTo>
                    <a:lnTo>
                      <a:pt x="90" y="540"/>
                    </a:lnTo>
                    <a:lnTo>
                      <a:pt x="0" y="390"/>
                    </a:lnTo>
                    <a:lnTo>
                      <a:pt x="0" y="630"/>
                    </a:lnTo>
                    <a:lnTo>
                      <a:pt x="90" y="300"/>
                    </a:lnTo>
                    <a:lnTo>
                      <a:pt x="0" y="210"/>
                    </a:lnTo>
                    <a:lnTo>
                      <a:pt x="0" y="60"/>
                    </a:lnTo>
                    <a:lnTo>
                      <a:pt x="60" y="0"/>
                    </a:lnTo>
                    <a:lnTo>
                      <a:pt x="149" y="180"/>
                    </a:lnTo>
                    <a:lnTo>
                      <a:pt x="329" y="240"/>
                    </a:lnTo>
                    <a:lnTo>
                      <a:pt x="359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7" name="Freeform 2446">
                <a:extLst>
                  <a:ext uri="{FF2B5EF4-FFF2-40B4-BE49-F238E27FC236}">
                    <a16:creationId xmlns:a16="http://schemas.microsoft.com/office/drawing/2014/main" xmlns="" id="{4CC2CCE0-8B45-4306-9D02-24739493D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5" y="540"/>
                <a:ext cx="899" cy="720"/>
              </a:xfrm>
              <a:custGeom>
                <a:avLst/>
                <a:gdLst>
                  <a:gd name="T0" fmla="*/ 60 w 899"/>
                  <a:gd name="T1" fmla="*/ 240 h 720"/>
                  <a:gd name="T2" fmla="*/ 180 w 899"/>
                  <a:gd name="T3" fmla="*/ 390 h 720"/>
                  <a:gd name="T4" fmla="*/ 240 w 899"/>
                  <a:gd name="T5" fmla="*/ 300 h 720"/>
                  <a:gd name="T6" fmla="*/ 330 w 899"/>
                  <a:gd name="T7" fmla="*/ 360 h 720"/>
                  <a:gd name="T8" fmla="*/ 330 w 899"/>
                  <a:gd name="T9" fmla="*/ 240 h 720"/>
                  <a:gd name="T10" fmla="*/ 180 w 899"/>
                  <a:gd name="T11" fmla="*/ 181 h 720"/>
                  <a:gd name="T12" fmla="*/ 270 w 899"/>
                  <a:gd name="T13" fmla="*/ 150 h 720"/>
                  <a:gd name="T14" fmla="*/ 390 w 899"/>
                  <a:gd name="T15" fmla="*/ 120 h 720"/>
                  <a:gd name="T16" fmla="*/ 450 w 899"/>
                  <a:gd name="T17" fmla="*/ 300 h 720"/>
                  <a:gd name="T18" fmla="*/ 540 w 899"/>
                  <a:gd name="T19" fmla="*/ 180 h 720"/>
                  <a:gd name="T20" fmla="*/ 510 w 899"/>
                  <a:gd name="T21" fmla="*/ 60 h 720"/>
                  <a:gd name="T22" fmla="*/ 360 w 899"/>
                  <a:gd name="T23" fmla="*/ 30 h 720"/>
                  <a:gd name="T24" fmla="*/ 570 w 899"/>
                  <a:gd name="T25" fmla="*/ 0 h 720"/>
                  <a:gd name="T26" fmla="*/ 690 w 899"/>
                  <a:gd name="T27" fmla="*/ 90 h 720"/>
                  <a:gd name="T28" fmla="*/ 660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90 w 899"/>
                  <a:gd name="T41" fmla="*/ 390 h 720"/>
                  <a:gd name="T42" fmla="*/ 540 w 899"/>
                  <a:gd name="T43" fmla="*/ 330 h 720"/>
                  <a:gd name="T44" fmla="*/ 570 w 899"/>
                  <a:gd name="T45" fmla="*/ 450 h 720"/>
                  <a:gd name="T46" fmla="*/ 420 w 899"/>
                  <a:gd name="T47" fmla="*/ 420 h 720"/>
                  <a:gd name="T48" fmla="*/ 390 w 899"/>
                  <a:gd name="T49" fmla="*/ 540 h 720"/>
                  <a:gd name="T50" fmla="*/ 510 w 899"/>
                  <a:gd name="T51" fmla="*/ 570 h 720"/>
                  <a:gd name="T52" fmla="*/ 660 w 899"/>
                  <a:gd name="T53" fmla="*/ 570 h 720"/>
                  <a:gd name="T54" fmla="*/ 600 w 899"/>
                  <a:gd name="T55" fmla="*/ 720 h 720"/>
                  <a:gd name="T56" fmla="*/ 300 w 899"/>
                  <a:gd name="T57" fmla="*/ 630 h 720"/>
                  <a:gd name="T58" fmla="*/ 268 w 899"/>
                  <a:gd name="T59" fmla="*/ 482 h 720"/>
                  <a:gd name="T60" fmla="*/ 180 w 899"/>
                  <a:gd name="T61" fmla="*/ 570 h 720"/>
                  <a:gd name="T62" fmla="*/ 60 w 899"/>
                  <a:gd name="T63" fmla="*/ 480 h 720"/>
                  <a:gd name="T64" fmla="*/ 0 w 899"/>
                  <a:gd name="T65" fmla="*/ 360 h 720"/>
                  <a:gd name="T66" fmla="*/ 60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60" y="240"/>
                    </a:moveTo>
                    <a:lnTo>
                      <a:pt x="180" y="390"/>
                    </a:lnTo>
                    <a:lnTo>
                      <a:pt x="240" y="300"/>
                    </a:lnTo>
                    <a:lnTo>
                      <a:pt x="330" y="360"/>
                    </a:lnTo>
                    <a:lnTo>
                      <a:pt x="330" y="240"/>
                    </a:lnTo>
                    <a:lnTo>
                      <a:pt x="180" y="181"/>
                    </a:lnTo>
                    <a:lnTo>
                      <a:pt x="270" y="150"/>
                    </a:lnTo>
                    <a:lnTo>
                      <a:pt x="390" y="120"/>
                    </a:lnTo>
                    <a:lnTo>
                      <a:pt x="450" y="300"/>
                    </a:lnTo>
                    <a:lnTo>
                      <a:pt x="540" y="180"/>
                    </a:lnTo>
                    <a:lnTo>
                      <a:pt x="510" y="60"/>
                    </a:lnTo>
                    <a:lnTo>
                      <a:pt x="360" y="30"/>
                    </a:lnTo>
                    <a:lnTo>
                      <a:pt x="570" y="0"/>
                    </a:lnTo>
                    <a:lnTo>
                      <a:pt x="690" y="90"/>
                    </a:lnTo>
                    <a:lnTo>
                      <a:pt x="660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90" y="390"/>
                    </a:lnTo>
                    <a:lnTo>
                      <a:pt x="540" y="330"/>
                    </a:lnTo>
                    <a:lnTo>
                      <a:pt x="570" y="450"/>
                    </a:lnTo>
                    <a:lnTo>
                      <a:pt x="420" y="420"/>
                    </a:lnTo>
                    <a:lnTo>
                      <a:pt x="390" y="540"/>
                    </a:lnTo>
                    <a:lnTo>
                      <a:pt x="510" y="570"/>
                    </a:lnTo>
                    <a:lnTo>
                      <a:pt x="660" y="570"/>
                    </a:lnTo>
                    <a:lnTo>
                      <a:pt x="600" y="720"/>
                    </a:lnTo>
                    <a:lnTo>
                      <a:pt x="300" y="630"/>
                    </a:lnTo>
                    <a:lnTo>
                      <a:pt x="268" y="482"/>
                    </a:lnTo>
                    <a:lnTo>
                      <a:pt x="180" y="570"/>
                    </a:lnTo>
                    <a:lnTo>
                      <a:pt x="60" y="480"/>
                    </a:lnTo>
                    <a:lnTo>
                      <a:pt x="0" y="360"/>
                    </a:lnTo>
                    <a:lnTo>
                      <a:pt x="6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8" name="Freeform 2447">
                <a:extLst>
                  <a:ext uri="{FF2B5EF4-FFF2-40B4-BE49-F238E27FC236}">
                    <a16:creationId xmlns:a16="http://schemas.microsoft.com/office/drawing/2014/main" xmlns="" id="{54130A2D-79C4-485A-B64E-0A4DA5ED7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690"/>
                <a:ext cx="210" cy="150"/>
              </a:xfrm>
              <a:custGeom>
                <a:avLst/>
                <a:gdLst>
                  <a:gd name="T0" fmla="*/ 0 w 210"/>
                  <a:gd name="T1" fmla="*/ 90 h 150"/>
                  <a:gd name="T2" fmla="*/ 180 w 210"/>
                  <a:gd name="T3" fmla="*/ 150 h 150"/>
                  <a:gd name="T4" fmla="*/ 210 w 210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150">
                    <a:moveTo>
                      <a:pt x="0" y="90"/>
                    </a:moveTo>
                    <a:lnTo>
                      <a:pt x="180" y="150"/>
                    </a:lnTo>
                    <a:lnTo>
                      <a:pt x="21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9" name="Freeform 2448">
                <a:extLst>
                  <a:ext uri="{FF2B5EF4-FFF2-40B4-BE49-F238E27FC236}">
                    <a16:creationId xmlns:a16="http://schemas.microsoft.com/office/drawing/2014/main" xmlns="" id="{FD9594E0-7F0E-4412-B167-5CB9DB84C7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721"/>
                <a:ext cx="240" cy="389"/>
              </a:xfrm>
              <a:custGeom>
                <a:avLst/>
                <a:gdLst>
                  <a:gd name="T0" fmla="*/ 240 w 240"/>
                  <a:gd name="T1" fmla="*/ 0 h 389"/>
                  <a:gd name="T2" fmla="*/ 120 w 240"/>
                  <a:gd name="T3" fmla="*/ 299 h 389"/>
                  <a:gd name="T4" fmla="*/ 0 w 240"/>
                  <a:gd name="T5" fmla="*/ 389 h 389"/>
                  <a:gd name="T6" fmla="*/ 60 w 240"/>
                  <a:gd name="T7" fmla="*/ 179 h 389"/>
                  <a:gd name="T8" fmla="*/ 0 w 240"/>
                  <a:gd name="T9" fmla="*/ 59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89">
                    <a:moveTo>
                      <a:pt x="240" y="0"/>
                    </a:moveTo>
                    <a:lnTo>
                      <a:pt x="120" y="299"/>
                    </a:lnTo>
                    <a:lnTo>
                      <a:pt x="0" y="389"/>
                    </a:lnTo>
                    <a:lnTo>
                      <a:pt x="60" y="179"/>
                    </a:lnTo>
                    <a:lnTo>
                      <a:pt x="0" y="5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0" name="Freeform 2449">
                <a:extLst>
                  <a:ext uri="{FF2B5EF4-FFF2-40B4-BE49-F238E27FC236}">
                    <a16:creationId xmlns:a16="http://schemas.microsoft.com/office/drawing/2014/main" xmlns="" id="{C99822E5-027C-49C7-9956-5F103E28C1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3" y="900"/>
                <a:ext cx="122" cy="180"/>
              </a:xfrm>
              <a:custGeom>
                <a:avLst/>
                <a:gdLst>
                  <a:gd name="T0" fmla="*/ 62 w 122"/>
                  <a:gd name="T1" fmla="*/ 0 h 180"/>
                  <a:gd name="T2" fmla="*/ 122 w 122"/>
                  <a:gd name="T3" fmla="*/ 180 h 180"/>
                  <a:gd name="T4" fmla="*/ 0 w 122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2" h="180">
                    <a:moveTo>
                      <a:pt x="62" y="0"/>
                    </a:moveTo>
                    <a:lnTo>
                      <a:pt x="122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1" name="Freeform 2450">
                <a:extLst>
                  <a:ext uri="{FF2B5EF4-FFF2-40B4-BE49-F238E27FC236}">
                    <a16:creationId xmlns:a16="http://schemas.microsoft.com/office/drawing/2014/main" xmlns="" id="{D7C0589B-DFCB-41F1-82E6-76CA946C9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5" y="51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2" name="Line 2451">
                <a:extLst>
                  <a:ext uri="{FF2B5EF4-FFF2-40B4-BE49-F238E27FC236}">
                    <a16:creationId xmlns:a16="http://schemas.microsoft.com/office/drawing/2014/main" xmlns="" id="{C914DC24-B310-4F88-BFEC-7973009206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05" y="6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3" name="Freeform 2452">
                <a:extLst>
                  <a:ext uri="{FF2B5EF4-FFF2-40B4-BE49-F238E27FC236}">
                    <a16:creationId xmlns:a16="http://schemas.microsoft.com/office/drawing/2014/main" xmlns="" id="{EE6D7AC2-9EC1-4687-B84A-1679CF17C1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780"/>
                <a:ext cx="450" cy="390"/>
              </a:xfrm>
              <a:custGeom>
                <a:avLst/>
                <a:gdLst>
                  <a:gd name="T0" fmla="*/ 450 w 450"/>
                  <a:gd name="T1" fmla="*/ 330 h 390"/>
                  <a:gd name="T2" fmla="*/ 240 w 450"/>
                  <a:gd name="T3" fmla="*/ 390 h 390"/>
                  <a:gd name="T4" fmla="*/ 120 w 450"/>
                  <a:gd name="T5" fmla="*/ 330 h 390"/>
                  <a:gd name="T6" fmla="*/ 0 w 450"/>
                  <a:gd name="T7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0" h="390">
                    <a:moveTo>
                      <a:pt x="450" y="330"/>
                    </a:moveTo>
                    <a:lnTo>
                      <a:pt x="240" y="390"/>
                    </a:lnTo>
                    <a:lnTo>
                      <a:pt x="120" y="3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4" name="Freeform 2453">
                <a:extLst>
                  <a:ext uri="{FF2B5EF4-FFF2-40B4-BE49-F238E27FC236}">
                    <a16:creationId xmlns:a16="http://schemas.microsoft.com/office/drawing/2014/main" xmlns="" id="{453F4DEF-66A3-402A-BE8B-BC695A171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960"/>
                <a:ext cx="570" cy="300"/>
              </a:xfrm>
              <a:custGeom>
                <a:avLst/>
                <a:gdLst>
                  <a:gd name="T0" fmla="*/ 0 w 570"/>
                  <a:gd name="T1" fmla="*/ 0 h 300"/>
                  <a:gd name="T2" fmla="*/ 240 w 570"/>
                  <a:gd name="T3" fmla="*/ 150 h 300"/>
                  <a:gd name="T4" fmla="*/ 360 w 570"/>
                  <a:gd name="T5" fmla="*/ 90 h 300"/>
                  <a:gd name="T6" fmla="*/ 450 w 570"/>
                  <a:gd name="T7" fmla="*/ 300 h 300"/>
                  <a:gd name="T8" fmla="*/ 570 w 570"/>
                  <a:gd name="T9" fmla="*/ 24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0" h="300">
                    <a:moveTo>
                      <a:pt x="0" y="0"/>
                    </a:moveTo>
                    <a:lnTo>
                      <a:pt x="240" y="150"/>
                    </a:lnTo>
                    <a:lnTo>
                      <a:pt x="360" y="90"/>
                    </a:lnTo>
                    <a:lnTo>
                      <a:pt x="450" y="300"/>
                    </a:lnTo>
                    <a:lnTo>
                      <a:pt x="57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5" name="Line 2454">
                <a:extLst>
                  <a:ext uri="{FF2B5EF4-FFF2-40B4-BE49-F238E27FC236}">
                    <a16:creationId xmlns:a16="http://schemas.microsoft.com/office/drawing/2014/main" xmlns="" id="{0BDC0ABA-FB6D-402B-BAAE-498CDFB75C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95" y="90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6" name="Line 2455">
                <a:extLst>
                  <a:ext uri="{FF2B5EF4-FFF2-40B4-BE49-F238E27FC236}">
                    <a16:creationId xmlns:a16="http://schemas.microsoft.com/office/drawing/2014/main" xmlns="" id="{8758586D-C798-4FB9-A631-CBC7419311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05" y="510"/>
                <a:ext cx="90" cy="21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7" name="Freeform 2456">
                <a:extLst>
                  <a:ext uri="{FF2B5EF4-FFF2-40B4-BE49-F238E27FC236}">
                    <a16:creationId xmlns:a16="http://schemas.microsoft.com/office/drawing/2014/main" xmlns="" id="{D3C5BE8C-9E1C-47E0-AB74-2DE1D7A75F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5" y="960"/>
                <a:ext cx="389" cy="300"/>
              </a:xfrm>
              <a:custGeom>
                <a:avLst/>
                <a:gdLst>
                  <a:gd name="T0" fmla="*/ 180 w 389"/>
                  <a:gd name="T1" fmla="*/ 300 h 300"/>
                  <a:gd name="T2" fmla="*/ 389 w 389"/>
                  <a:gd name="T3" fmla="*/ 270 h 300"/>
                  <a:gd name="T4" fmla="*/ 240 w 389"/>
                  <a:gd name="T5" fmla="*/ 150 h 300"/>
                  <a:gd name="T6" fmla="*/ 0 w 389"/>
                  <a:gd name="T7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9" h="300">
                    <a:moveTo>
                      <a:pt x="180" y="300"/>
                    </a:moveTo>
                    <a:lnTo>
                      <a:pt x="389" y="27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8" name="Freeform 2457">
                <a:extLst>
                  <a:ext uri="{FF2B5EF4-FFF2-40B4-BE49-F238E27FC236}">
                    <a16:creationId xmlns:a16="http://schemas.microsoft.com/office/drawing/2014/main" xmlns="" id="{547E6695-D628-4002-8368-E35D0D4B0A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780"/>
                <a:ext cx="389" cy="360"/>
              </a:xfrm>
              <a:custGeom>
                <a:avLst/>
                <a:gdLst>
                  <a:gd name="T0" fmla="*/ 90 w 389"/>
                  <a:gd name="T1" fmla="*/ 330 h 360"/>
                  <a:gd name="T2" fmla="*/ 389 w 389"/>
                  <a:gd name="T3" fmla="*/ 360 h 360"/>
                  <a:gd name="T4" fmla="*/ 359 w 389"/>
                  <a:gd name="T5" fmla="*/ 240 h 360"/>
                  <a:gd name="T6" fmla="*/ 209 w 389"/>
                  <a:gd name="T7" fmla="*/ 270 h 360"/>
                  <a:gd name="T8" fmla="*/ 0 w 389"/>
                  <a:gd name="T9" fmla="*/ 210 h 360"/>
                  <a:gd name="T10" fmla="*/ 269 w 389"/>
                  <a:gd name="T11" fmla="*/ 180 h 360"/>
                  <a:gd name="T12" fmla="*/ 179 w 389"/>
                  <a:gd name="T13" fmla="*/ 30 h 360"/>
                  <a:gd name="T14" fmla="*/ 329 w 389"/>
                  <a:gd name="T15" fmla="*/ 0 h 360"/>
                  <a:gd name="T16" fmla="*/ 120 w 389"/>
                  <a:gd name="T17" fmla="*/ 15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9" h="360">
                    <a:moveTo>
                      <a:pt x="90" y="330"/>
                    </a:moveTo>
                    <a:lnTo>
                      <a:pt x="389" y="360"/>
                    </a:lnTo>
                    <a:lnTo>
                      <a:pt x="359" y="240"/>
                    </a:lnTo>
                    <a:lnTo>
                      <a:pt x="209" y="270"/>
                    </a:lnTo>
                    <a:lnTo>
                      <a:pt x="0" y="210"/>
                    </a:lnTo>
                    <a:lnTo>
                      <a:pt x="269" y="180"/>
                    </a:lnTo>
                    <a:lnTo>
                      <a:pt x="179" y="30"/>
                    </a:lnTo>
                    <a:lnTo>
                      <a:pt x="329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9" name="Line 2458">
                <a:extLst>
                  <a:ext uri="{FF2B5EF4-FFF2-40B4-BE49-F238E27FC236}">
                    <a16:creationId xmlns:a16="http://schemas.microsoft.com/office/drawing/2014/main" xmlns="" id="{43FE14E3-2E67-4ECD-97AE-C4A9E8F6631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14" y="780"/>
                <a:ext cx="30" cy="24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0" name="Freeform 2459">
                <a:extLst>
                  <a:ext uri="{FF2B5EF4-FFF2-40B4-BE49-F238E27FC236}">
                    <a16:creationId xmlns:a16="http://schemas.microsoft.com/office/drawing/2014/main" xmlns="" id="{B90B6BC7-1C66-4DBB-A4C0-E4B67C321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5" y="630"/>
                <a:ext cx="239" cy="30"/>
              </a:xfrm>
              <a:custGeom>
                <a:avLst/>
                <a:gdLst>
                  <a:gd name="T0" fmla="*/ 0 w 239"/>
                  <a:gd name="T1" fmla="*/ 0 h 30"/>
                  <a:gd name="T2" fmla="*/ 119 w 239"/>
                  <a:gd name="T3" fmla="*/ 30 h 30"/>
                  <a:gd name="T4" fmla="*/ 239 w 239"/>
                  <a:gd name="T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30">
                    <a:moveTo>
                      <a:pt x="0" y="0"/>
                    </a:moveTo>
                    <a:lnTo>
                      <a:pt x="119" y="30"/>
                    </a:lnTo>
                    <a:lnTo>
                      <a:pt x="23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1" name="Freeform 2460">
                <a:extLst>
                  <a:ext uri="{FF2B5EF4-FFF2-40B4-BE49-F238E27FC236}">
                    <a16:creationId xmlns:a16="http://schemas.microsoft.com/office/drawing/2014/main" xmlns="" id="{55E51B30-2F75-44DE-B2FD-280F797D22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630"/>
                <a:ext cx="210" cy="510"/>
              </a:xfrm>
              <a:custGeom>
                <a:avLst/>
                <a:gdLst>
                  <a:gd name="T0" fmla="*/ 210 w 210"/>
                  <a:gd name="T1" fmla="*/ 180 h 510"/>
                  <a:gd name="T2" fmla="*/ 0 w 210"/>
                  <a:gd name="T3" fmla="*/ 510 h 510"/>
                  <a:gd name="T4" fmla="*/ 120 w 210"/>
                  <a:gd name="T5" fmla="*/ 480 h 510"/>
                  <a:gd name="T6" fmla="*/ 30 w 210"/>
                  <a:gd name="T7" fmla="*/ 330 h 510"/>
                  <a:gd name="T8" fmla="*/ 120 w 210"/>
                  <a:gd name="T9" fmla="*/ 240 h 510"/>
                  <a:gd name="T10" fmla="*/ 0 w 210"/>
                  <a:gd name="T11" fmla="*/ 180 h 510"/>
                  <a:gd name="T12" fmla="*/ 90 w 210"/>
                  <a:gd name="T13" fmla="*/ 0 h 510"/>
                  <a:gd name="T14" fmla="*/ 210 w 210"/>
                  <a:gd name="T15" fmla="*/ 18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0" h="510">
                    <a:moveTo>
                      <a:pt x="210" y="180"/>
                    </a:moveTo>
                    <a:lnTo>
                      <a:pt x="0" y="510"/>
                    </a:lnTo>
                    <a:lnTo>
                      <a:pt x="120" y="480"/>
                    </a:lnTo>
                    <a:lnTo>
                      <a:pt x="30" y="330"/>
                    </a:lnTo>
                    <a:lnTo>
                      <a:pt x="120" y="240"/>
                    </a:lnTo>
                    <a:lnTo>
                      <a:pt x="0" y="180"/>
                    </a:lnTo>
                    <a:lnTo>
                      <a:pt x="90" y="0"/>
                    </a:lnTo>
                    <a:lnTo>
                      <a:pt x="210" y="18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2" name="Freeform 2461">
                <a:extLst>
                  <a:ext uri="{FF2B5EF4-FFF2-40B4-BE49-F238E27FC236}">
                    <a16:creationId xmlns:a16="http://schemas.microsoft.com/office/drawing/2014/main" xmlns="" id="{6C203705-0D95-4727-9620-DDF5F3972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6" y="570"/>
                <a:ext cx="719" cy="720"/>
              </a:xfrm>
              <a:custGeom>
                <a:avLst/>
                <a:gdLst>
                  <a:gd name="T0" fmla="*/ 119 w 719"/>
                  <a:gd name="T1" fmla="*/ 120 h 720"/>
                  <a:gd name="T2" fmla="*/ 0 w 719"/>
                  <a:gd name="T3" fmla="*/ 30 h 720"/>
                  <a:gd name="T4" fmla="*/ 209 w 719"/>
                  <a:gd name="T5" fmla="*/ 0 h 720"/>
                  <a:gd name="T6" fmla="*/ 299 w 719"/>
                  <a:gd name="T7" fmla="*/ 120 h 720"/>
                  <a:gd name="T8" fmla="*/ 389 w 719"/>
                  <a:gd name="T9" fmla="*/ 0 h 720"/>
                  <a:gd name="T10" fmla="*/ 209 w 719"/>
                  <a:gd name="T11" fmla="*/ 0 h 720"/>
                  <a:gd name="T12" fmla="*/ 209 w 719"/>
                  <a:gd name="T13" fmla="*/ 151 h 720"/>
                  <a:gd name="T14" fmla="*/ 119 w 719"/>
                  <a:gd name="T15" fmla="*/ 120 h 720"/>
                  <a:gd name="T16" fmla="*/ 89 w 719"/>
                  <a:gd name="T17" fmla="*/ 210 h 720"/>
                  <a:gd name="T18" fmla="*/ 89 w 719"/>
                  <a:gd name="T19" fmla="*/ 450 h 720"/>
                  <a:gd name="T20" fmla="*/ 209 w 719"/>
                  <a:gd name="T21" fmla="*/ 360 h 720"/>
                  <a:gd name="T22" fmla="*/ 298 w 719"/>
                  <a:gd name="T23" fmla="*/ 452 h 720"/>
                  <a:gd name="T24" fmla="*/ 269 w 719"/>
                  <a:gd name="T25" fmla="*/ 270 h 720"/>
                  <a:gd name="T26" fmla="*/ 359 w 719"/>
                  <a:gd name="T27" fmla="*/ 210 h 720"/>
                  <a:gd name="T28" fmla="*/ 479 w 719"/>
                  <a:gd name="T29" fmla="*/ 270 h 720"/>
                  <a:gd name="T30" fmla="*/ 359 w 719"/>
                  <a:gd name="T31" fmla="*/ 330 h 720"/>
                  <a:gd name="T32" fmla="*/ 449 w 719"/>
                  <a:gd name="T33" fmla="*/ 390 h 720"/>
                  <a:gd name="T34" fmla="*/ 719 w 719"/>
                  <a:gd name="T35" fmla="*/ 360 h 720"/>
                  <a:gd name="T36" fmla="*/ 599 w 719"/>
                  <a:gd name="T37" fmla="*/ 420 h 720"/>
                  <a:gd name="T38" fmla="*/ 689 w 719"/>
                  <a:gd name="T39" fmla="*/ 720 h 720"/>
                  <a:gd name="T40" fmla="*/ 419 w 719"/>
                  <a:gd name="T41" fmla="*/ 51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9" h="720">
                    <a:moveTo>
                      <a:pt x="119" y="120"/>
                    </a:moveTo>
                    <a:lnTo>
                      <a:pt x="0" y="30"/>
                    </a:lnTo>
                    <a:lnTo>
                      <a:pt x="209" y="0"/>
                    </a:lnTo>
                    <a:lnTo>
                      <a:pt x="299" y="120"/>
                    </a:lnTo>
                    <a:lnTo>
                      <a:pt x="389" y="0"/>
                    </a:lnTo>
                    <a:lnTo>
                      <a:pt x="209" y="0"/>
                    </a:lnTo>
                    <a:lnTo>
                      <a:pt x="209" y="151"/>
                    </a:lnTo>
                    <a:lnTo>
                      <a:pt x="119" y="120"/>
                    </a:lnTo>
                    <a:lnTo>
                      <a:pt x="89" y="210"/>
                    </a:lnTo>
                    <a:lnTo>
                      <a:pt x="89" y="450"/>
                    </a:lnTo>
                    <a:lnTo>
                      <a:pt x="209" y="360"/>
                    </a:lnTo>
                    <a:lnTo>
                      <a:pt x="298" y="452"/>
                    </a:lnTo>
                    <a:lnTo>
                      <a:pt x="269" y="270"/>
                    </a:lnTo>
                    <a:lnTo>
                      <a:pt x="359" y="210"/>
                    </a:lnTo>
                    <a:lnTo>
                      <a:pt x="479" y="270"/>
                    </a:lnTo>
                    <a:lnTo>
                      <a:pt x="359" y="330"/>
                    </a:lnTo>
                    <a:lnTo>
                      <a:pt x="449" y="390"/>
                    </a:lnTo>
                    <a:lnTo>
                      <a:pt x="719" y="360"/>
                    </a:lnTo>
                    <a:lnTo>
                      <a:pt x="599" y="420"/>
                    </a:lnTo>
                    <a:lnTo>
                      <a:pt x="689" y="720"/>
                    </a:lnTo>
                    <a:lnTo>
                      <a:pt x="419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3" name="Freeform 2462">
                <a:extLst>
                  <a:ext uri="{FF2B5EF4-FFF2-40B4-BE49-F238E27FC236}">
                    <a16:creationId xmlns:a16="http://schemas.microsoft.com/office/drawing/2014/main" xmlns="" id="{BD7618C3-9C37-46B1-B4E3-A1E68D632C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660"/>
                <a:ext cx="359" cy="330"/>
              </a:xfrm>
              <a:custGeom>
                <a:avLst/>
                <a:gdLst>
                  <a:gd name="T0" fmla="*/ 300 w 359"/>
                  <a:gd name="T1" fmla="*/ 240 h 330"/>
                  <a:gd name="T2" fmla="*/ 210 w 359"/>
                  <a:gd name="T3" fmla="*/ 330 h 330"/>
                  <a:gd name="T4" fmla="*/ 30 w 359"/>
                  <a:gd name="T5" fmla="*/ 300 h 330"/>
                  <a:gd name="T6" fmla="*/ 0 w 359"/>
                  <a:gd name="T7" fmla="*/ 150 h 330"/>
                  <a:gd name="T8" fmla="*/ 210 w 359"/>
                  <a:gd name="T9" fmla="*/ 0 h 330"/>
                  <a:gd name="T10" fmla="*/ 359 w 359"/>
                  <a:gd name="T11" fmla="*/ 12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9" h="330">
                    <a:moveTo>
                      <a:pt x="300" y="240"/>
                    </a:moveTo>
                    <a:lnTo>
                      <a:pt x="210" y="330"/>
                    </a:lnTo>
                    <a:lnTo>
                      <a:pt x="30" y="300"/>
                    </a:lnTo>
                    <a:lnTo>
                      <a:pt x="0" y="150"/>
                    </a:lnTo>
                    <a:lnTo>
                      <a:pt x="210" y="0"/>
                    </a:lnTo>
                    <a:lnTo>
                      <a:pt x="359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4" name="Freeform 2463">
                <a:extLst>
                  <a:ext uri="{FF2B5EF4-FFF2-40B4-BE49-F238E27FC236}">
                    <a16:creationId xmlns:a16="http://schemas.microsoft.com/office/drawing/2014/main" xmlns="" id="{B16FE604-9235-4727-87F9-759D91ACF5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990"/>
                <a:ext cx="239" cy="120"/>
              </a:xfrm>
              <a:custGeom>
                <a:avLst/>
                <a:gdLst>
                  <a:gd name="T0" fmla="*/ 90 w 239"/>
                  <a:gd name="T1" fmla="*/ 0 h 120"/>
                  <a:gd name="T2" fmla="*/ 0 w 239"/>
                  <a:gd name="T3" fmla="*/ 120 h 120"/>
                  <a:gd name="T4" fmla="*/ 239 w 239"/>
                  <a:gd name="T5" fmla="*/ 3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120">
                    <a:moveTo>
                      <a:pt x="90" y="0"/>
                    </a:moveTo>
                    <a:lnTo>
                      <a:pt x="0" y="120"/>
                    </a:lnTo>
                    <a:lnTo>
                      <a:pt x="23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5" name="Freeform 2464">
                <a:extLst>
                  <a:ext uri="{FF2B5EF4-FFF2-40B4-BE49-F238E27FC236}">
                    <a16:creationId xmlns:a16="http://schemas.microsoft.com/office/drawing/2014/main" xmlns="" id="{612D1B63-B3A0-4658-8F3E-914CBA90DF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170"/>
                <a:ext cx="360" cy="120"/>
              </a:xfrm>
              <a:custGeom>
                <a:avLst/>
                <a:gdLst>
                  <a:gd name="T0" fmla="*/ 360 w 360"/>
                  <a:gd name="T1" fmla="*/ 120 h 120"/>
                  <a:gd name="T2" fmla="*/ 150 w 360"/>
                  <a:gd name="T3" fmla="*/ 30 h 120"/>
                  <a:gd name="T4" fmla="*/ 0 w 360"/>
                  <a:gd name="T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120">
                    <a:moveTo>
                      <a:pt x="360" y="120"/>
                    </a:moveTo>
                    <a:lnTo>
                      <a:pt x="15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6" name="Freeform 2465">
                <a:extLst>
                  <a:ext uri="{FF2B5EF4-FFF2-40B4-BE49-F238E27FC236}">
                    <a16:creationId xmlns:a16="http://schemas.microsoft.com/office/drawing/2014/main" xmlns="" id="{F5644EB5-924F-40F7-894B-2368DAF2D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5" y="930"/>
                <a:ext cx="720" cy="360"/>
              </a:xfrm>
              <a:custGeom>
                <a:avLst/>
                <a:gdLst>
                  <a:gd name="T0" fmla="*/ 510 w 720"/>
                  <a:gd name="T1" fmla="*/ 0 h 360"/>
                  <a:gd name="T2" fmla="*/ 570 w 720"/>
                  <a:gd name="T3" fmla="*/ 300 h 360"/>
                  <a:gd name="T4" fmla="*/ 720 w 720"/>
                  <a:gd name="T5" fmla="*/ 180 h 360"/>
                  <a:gd name="T6" fmla="*/ 480 w 720"/>
                  <a:gd name="T7" fmla="*/ 180 h 360"/>
                  <a:gd name="T8" fmla="*/ 300 w 720"/>
                  <a:gd name="T9" fmla="*/ 360 h 360"/>
                  <a:gd name="T10" fmla="*/ 270 w 720"/>
                  <a:gd name="T11" fmla="*/ 270 h 360"/>
                  <a:gd name="T12" fmla="*/ 120 w 720"/>
                  <a:gd name="T13" fmla="*/ 360 h 360"/>
                  <a:gd name="T14" fmla="*/ 0 w 720"/>
                  <a:gd name="T15" fmla="*/ 301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0" h="360">
                    <a:moveTo>
                      <a:pt x="510" y="0"/>
                    </a:moveTo>
                    <a:lnTo>
                      <a:pt x="570" y="300"/>
                    </a:lnTo>
                    <a:lnTo>
                      <a:pt x="720" y="180"/>
                    </a:lnTo>
                    <a:lnTo>
                      <a:pt x="480" y="180"/>
                    </a:lnTo>
                    <a:lnTo>
                      <a:pt x="300" y="360"/>
                    </a:lnTo>
                    <a:lnTo>
                      <a:pt x="270" y="270"/>
                    </a:lnTo>
                    <a:lnTo>
                      <a:pt x="120" y="360"/>
                    </a:lnTo>
                    <a:lnTo>
                      <a:pt x="0" y="301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7" name="Freeform 2466">
                <a:extLst>
                  <a:ext uri="{FF2B5EF4-FFF2-40B4-BE49-F238E27FC236}">
                    <a16:creationId xmlns:a16="http://schemas.microsoft.com/office/drawing/2014/main" xmlns="" id="{8C92DF9F-924E-42F5-AF42-B258E50E5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1200"/>
                <a:ext cx="150" cy="90"/>
              </a:xfrm>
              <a:custGeom>
                <a:avLst/>
                <a:gdLst>
                  <a:gd name="T0" fmla="*/ 150 w 150"/>
                  <a:gd name="T1" fmla="*/ 0 h 90"/>
                  <a:gd name="T2" fmla="*/ 0 w 150"/>
                  <a:gd name="T3" fmla="*/ 0 h 90"/>
                  <a:gd name="T4" fmla="*/ 120 w 150"/>
                  <a:gd name="T5" fmla="*/ 90 h 90"/>
                  <a:gd name="T6" fmla="*/ 150 w 150"/>
                  <a:gd name="T7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0" h="90">
                    <a:moveTo>
                      <a:pt x="150" y="0"/>
                    </a:moveTo>
                    <a:lnTo>
                      <a:pt x="0" y="0"/>
                    </a:lnTo>
                    <a:lnTo>
                      <a:pt x="120" y="90"/>
                    </a:lnTo>
                    <a:lnTo>
                      <a:pt x="15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8" name="Freeform 2467">
                <a:extLst>
                  <a:ext uri="{FF2B5EF4-FFF2-40B4-BE49-F238E27FC236}">
                    <a16:creationId xmlns:a16="http://schemas.microsoft.com/office/drawing/2014/main" xmlns="" id="{3B105C70-C5B0-462A-AC67-DFAA8804A8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480"/>
                <a:ext cx="390" cy="360"/>
              </a:xfrm>
              <a:custGeom>
                <a:avLst/>
                <a:gdLst>
                  <a:gd name="T0" fmla="*/ 180 w 390"/>
                  <a:gd name="T1" fmla="*/ 360 h 360"/>
                  <a:gd name="T2" fmla="*/ 150 w 390"/>
                  <a:gd name="T3" fmla="*/ 150 h 360"/>
                  <a:gd name="T4" fmla="*/ 30 w 390"/>
                  <a:gd name="T5" fmla="*/ 0 h 360"/>
                  <a:gd name="T6" fmla="*/ 330 w 390"/>
                  <a:gd name="T7" fmla="*/ 120 h 360"/>
                  <a:gd name="T8" fmla="*/ 390 w 390"/>
                  <a:gd name="T9" fmla="*/ 0 h 360"/>
                  <a:gd name="T10" fmla="*/ 210 w 390"/>
                  <a:gd name="T11" fmla="*/ 30 h 360"/>
                  <a:gd name="T12" fmla="*/ 0 w 390"/>
                  <a:gd name="T13" fmla="*/ 180 h 360"/>
                  <a:gd name="T14" fmla="*/ 270 w 390"/>
                  <a:gd name="T15" fmla="*/ 33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0" h="360">
                    <a:moveTo>
                      <a:pt x="180" y="360"/>
                    </a:moveTo>
                    <a:lnTo>
                      <a:pt x="150" y="150"/>
                    </a:lnTo>
                    <a:lnTo>
                      <a:pt x="30" y="0"/>
                    </a:lnTo>
                    <a:lnTo>
                      <a:pt x="330" y="120"/>
                    </a:lnTo>
                    <a:lnTo>
                      <a:pt x="390" y="0"/>
                    </a:lnTo>
                    <a:lnTo>
                      <a:pt x="210" y="30"/>
                    </a:lnTo>
                    <a:lnTo>
                      <a:pt x="0" y="180"/>
                    </a:lnTo>
                    <a:lnTo>
                      <a:pt x="27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9" name="Line 2468">
                <a:extLst>
                  <a:ext uri="{FF2B5EF4-FFF2-40B4-BE49-F238E27FC236}">
                    <a16:creationId xmlns:a16="http://schemas.microsoft.com/office/drawing/2014/main" xmlns="" id="{B7264139-EDBF-4394-B406-77CE40E755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846" y="510"/>
                <a:ext cx="6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0" name="Freeform 2469">
                <a:extLst>
                  <a:ext uri="{FF2B5EF4-FFF2-40B4-BE49-F238E27FC236}">
                    <a16:creationId xmlns:a16="http://schemas.microsoft.com/office/drawing/2014/main" xmlns="" id="{6F30AE07-F97D-4839-A090-FE26085F94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450"/>
                <a:ext cx="239" cy="120"/>
              </a:xfrm>
              <a:custGeom>
                <a:avLst/>
                <a:gdLst>
                  <a:gd name="T0" fmla="*/ 239 w 239"/>
                  <a:gd name="T1" fmla="*/ 0 h 120"/>
                  <a:gd name="T2" fmla="*/ 0 w 239"/>
                  <a:gd name="T3" fmla="*/ 30 h 120"/>
                  <a:gd name="T4" fmla="*/ 149 w 239"/>
                  <a:gd name="T5" fmla="*/ 120 h 120"/>
                  <a:gd name="T6" fmla="*/ 239 w 239"/>
                  <a:gd name="T7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9" h="120">
                    <a:moveTo>
                      <a:pt x="239" y="0"/>
                    </a:moveTo>
                    <a:lnTo>
                      <a:pt x="0" y="30"/>
                    </a:lnTo>
                    <a:lnTo>
                      <a:pt x="149" y="120"/>
                    </a:lnTo>
                    <a:lnTo>
                      <a:pt x="239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1" name="Line 2470">
                <a:extLst>
                  <a:ext uri="{FF2B5EF4-FFF2-40B4-BE49-F238E27FC236}">
                    <a16:creationId xmlns:a16="http://schemas.microsoft.com/office/drawing/2014/main" xmlns="" id="{1E35B2BA-D7F8-4B95-ACE7-9041ACFB5E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25" y="540"/>
                <a:ext cx="18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2" name="Freeform 2471">
                <a:extLst>
                  <a:ext uri="{FF2B5EF4-FFF2-40B4-BE49-F238E27FC236}">
                    <a16:creationId xmlns:a16="http://schemas.microsoft.com/office/drawing/2014/main" xmlns="" id="{937699B8-0284-405C-9E7B-7704F6076B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450"/>
                <a:ext cx="300" cy="330"/>
              </a:xfrm>
              <a:custGeom>
                <a:avLst/>
                <a:gdLst>
                  <a:gd name="T0" fmla="*/ 90 w 300"/>
                  <a:gd name="T1" fmla="*/ 0 h 330"/>
                  <a:gd name="T2" fmla="*/ 180 w 300"/>
                  <a:gd name="T3" fmla="*/ 90 h 330"/>
                  <a:gd name="T4" fmla="*/ 0 w 300"/>
                  <a:gd name="T5" fmla="*/ 90 h 330"/>
                  <a:gd name="T6" fmla="*/ 60 w 300"/>
                  <a:gd name="T7" fmla="*/ 210 h 330"/>
                  <a:gd name="T8" fmla="*/ 180 w 300"/>
                  <a:gd name="T9" fmla="*/ 90 h 330"/>
                  <a:gd name="T10" fmla="*/ 300 w 300"/>
                  <a:gd name="T11" fmla="*/ 240 h 330"/>
                  <a:gd name="T12" fmla="*/ 150 w 300"/>
                  <a:gd name="T13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0" h="330">
                    <a:moveTo>
                      <a:pt x="90" y="0"/>
                    </a:moveTo>
                    <a:lnTo>
                      <a:pt x="180" y="90"/>
                    </a:lnTo>
                    <a:lnTo>
                      <a:pt x="0" y="90"/>
                    </a:lnTo>
                    <a:lnTo>
                      <a:pt x="60" y="210"/>
                    </a:lnTo>
                    <a:lnTo>
                      <a:pt x="180" y="90"/>
                    </a:lnTo>
                    <a:lnTo>
                      <a:pt x="300" y="240"/>
                    </a:lnTo>
                    <a:lnTo>
                      <a:pt x="15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3" name="Freeform 2472">
                <a:extLst>
                  <a:ext uri="{FF2B5EF4-FFF2-40B4-BE49-F238E27FC236}">
                    <a16:creationId xmlns:a16="http://schemas.microsoft.com/office/drawing/2014/main" xmlns="" id="{7B66893D-5ECB-40C0-B698-DBBC02AD78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480"/>
                <a:ext cx="180" cy="90"/>
              </a:xfrm>
              <a:custGeom>
                <a:avLst/>
                <a:gdLst>
                  <a:gd name="T0" fmla="*/ 0 w 180"/>
                  <a:gd name="T1" fmla="*/ 90 h 90"/>
                  <a:gd name="T2" fmla="*/ 90 w 180"/>
                  <a:gd name="T3" fmla="*/ 0 h 90"/>
                  <a:gd name="T4" fmla="*/ 180 w 180"/>
                  <a:gd name="T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90">
                    <a:moveTo>
                      <a:pt x="0" y="90"/>
                    </a:moveTo>
                    <a:lnTo>
                      <a:pt x="90" y="0"/>
                    </a:lnTo>
                    <a:lnTo>
                      <a:pt x="1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4" name="Freeform 2473">
                <a:extLst>
                  <a:ext uri="{FF2B5EF4-FFF2-40B4-BE49-F238E27FC236}">
                    <a16:creationId xmlns:a16="http://schemas.microsoft.com/office/drawing/2014/main" xmlns="" id="{436E07E4-ED01-4251-8726-24822D3A7B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450"/>
                <a:ext cx="269" cy="210"/>
              </a:xfrm>
              <a:custGeom>
                <a:avLst/>
                <a:gdLst>
                  <a:gd name="T0" fmla="*/ 119 w 269"/>
                  <a:gd name="T1" fmla="*/ 60 h 210"/>
                  <a:gd name="T2" fmla="*/ 269 w 269"/>
                  <a:gd name="T3" fmla="*/ 30 h 210"/>
                  <a:gd name="T4" fmla="*/ 149 w 269"/>
                  <a:gd name="T5" fmla="*/ 210 h 210"/>
                  <a:gd name="T6" fmla="*/ 0 w 269"/>
                  <a:gd name="T7" fmla="*/ 0 h 210"/>
                  <a:gd name="T8" fmla="*/ 30 w 269"/>
                  <a:gd name="T9" fmla="*/ 18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9" h="210">
                    <a:moveTo>
                      <a:pt x="119" y="60"/>
                    </a:moveTo>
                    <a:lnTo>
                      <a:pt x="269" y="30"/>
                    </a:lnTo>
                    <a:lnTo>
                      <a:pt x="149" y="210"/>
                    </a:lnTo>
                    <a:lnTo>
                      <a:pt x="0" y="0"/>
                    </a:lnTo>
                    <a:lnTo>
                      <a:pt x="3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5" name="Freeform 2474">
                <a:extLst>
                  <a:ext uri="{FF2B5EF4-FFF2-40B4-BE49-F238E27FC236}">
                    <a16:creationId xmlns:a16="http://schemas.microsoft.com/office/drawing/2014/main" xmlns="" id="{AD16E3E4-9F4F-4448-8609-8B3F57A20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1530"/>
                <a:ext cx="180" cy="390"/>
              </a:xfrm>
              <a:custGeom>
                <a:avLst/>
                <a:gdLst>
                  <a:gd name="T0" fmla="*/ 0 w 216"/>
                  <a:gd name="T1" fmla="*/ 468 h 468"/>
                  <a:gd name="T2" fmla="*/ 216 w 216"/>
                  <a:gd name="T3" fmla="*/ 0 h 468"/>
                  <a:gd name="T4" fmla="*/ 36 w 216"/>
                  <a:gd name="T5" fmla="*/ 7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" h="468">
                    <a:moveTo>
                      <a:pt x="0" y="468"/>
                    </a:moveTo>
                    <a:cubicBezTo>
                      <a:pt x="0" y="432"/>
                      <a:pt x="216" y="0"/>
                      <a:pt x="216" y="0"/>
                    </a:cubicBezTo>
                    <a:cubicBezTo>
                      <a:pt x="36" y="72"/>
                      <a:pt x="36" y="72"/>
                      <a:pt x="36" y="72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6" name="Freeform 2475">
                <a:extLst>
                  <a:ext uri="{FF2B5EF4-FFF2-40B4-BE49-F238E27FC236}">
                    <a16:creationId xmlns:a16="http://schemas.microsoft.com/office/drawing/2014/main" xmlns="" id="{09F4CC8A-09C6-4525-B73B-256F23FBB8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" y="1470"/>
                <a:ext cx="179" cy="210"/>
              </a:xfrm>
              <a:custGeom>
                <a:avLst/>
                <a:gdLst>
                  <a:gd name="T0" fmla="*/ 0 w 179"/>
                  <a:gd name="T1" fmla="*/ 210 h 210"/>
                  <a:gd name="T2" fmla="*/ 120 w 179"/>
                  <a:gd name="T3" fmla="*/ 0 h 210"/>
                  <a:gd name="T4" fmla="*/ 179 w 179"/>
                  <a:gd name="T5" fmla="*/ 150 h 210"/>
                  <a:gd name="T6" fmla="*/ 0 w 179"/>
                  <a:gd name="T7" fmla="*/ 210 h 210"/>
                  <a:gd name="T8" fmla="*/ 0 w 179"/>
                  <a:gd name="T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210">
                    <a:moveTo>
                      <a:pt x="0" y="210"/>
                    </a:moveTo>
                    <a:lnTo>
                      <a:pt x="120" y="0"/>
                    </a:lnTo>
                    <a:lnTo>
                      <a:pt x="179" y="150"/>
                    </a:lnTo>
                    <a:lnTo>
                      <a:pt x="0" y="21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7" name="Freeform 2476">
                <a:extLst>
                  <a:ext uri="{FF2B5EF4-FFF2-40B4-BE49-F238E27FC236}">
                    <a16:creationId xmlns:a16="http://schemas.microsoft.com/office/drawing/2014/main" xmlns="" id="{B5FEF867-BBE3-41BF-82B2-6EA92B493C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1740"/>
                <a:ext cx="479" cy="270"/>
              </a:xfrm>
              <a:custGeom>
                <a:avLst/>
                <a:gdLst>
                  <a:gd name="T0" fmla="*/ 0 w 479"/>
                  <a:gd name="T1" fmla="*/ 90 h 270"/>
                  <a:gd name="T2" fmla="*/ 180 w 479"/>
                  <a:gd name="T3" fmla="*/ 30 h 270"/>
                  <a:gd name="T4" fmla="*/ 299 w 479"/>
                  <a:gd name="T5" fmla="*/ 150 h 270"/>
                  <a:gd name="T6" fmla="*/ 210 w 479"/>
                  <a:gd name="T7" fmla="*/ 270 h 270"/>
                  <a:gd name="T8" fmla="*/ 30 w 479"/>
                  <a:gd name="T9" fmla="*/ 270 h 270"/>
                  <a:gd name="T10" fmla="*/ 0 w 479"/>
                  <a:gd name="T11" fmla="*/ 90 h 270"/>
                  <a:gd name="T12" fmla="*/ 150 w 479"/>
                  <a:gd name="T13" fmla="*/ 150 h 270"/>
                  <a:gd name="T14" fmla="*/ 299 w 479"/>
                  <a:gd name="T15" fmla="*/ 0 h 270"/>
                  <a:gd name="T16" fmla="*/ 479 w 479"/>
                  <a:gd name="T17" fmla="*/ 210 h 270"/>
                  <a:gd name="T18" fmla="*/ 419 w 479"/>
                  <a:gd name="T19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9" h="270">
                    <a:moveTo>
                      <a:pt x="0" y="90"/>
                    </a:moveTo>
                    <a:lnTo>
                      <a:pt x="180" y="30"/>
                    </a:lnTo>
                    <a:lnTo>
                      <a:pt x="299" y="150"/>
                    </a:lnTo>
                    <a:lnTo>
                      <a:pt x="210" y="270"/>
                    </a:lnTo>
                    <a:lnTo>
                      <a:pt x="30" y="270"/>
                    </a:lnTo>
                    <a:lnTo>
                      <a:pt x="0" y="90"/>
                    </a:lnTo>
                    <a:lnTo>
                      <a:pt x="150" y="150"/>
                    </a:lnTo>
                    <a:lnTo>
                      <a:pt x="299" y="0"/>
                    </a:lnTo>
                    <a:lnTo>
                      <a:pt x="479" y="210"/>
                    </a:lnTo>
                    <a:lnTo>
                      <a:pt x="41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8" name="Freeform 2477">
                <a:extLst>
                  <a:ext uri="{FF2B5EF4-FFF2-40B4-BE49-F238E27FC236}">
                    <a16:creationId xmlns:a16="http://schemas.microsoft.com/office/drawing/2014/main" xmlns="" id="{C4D9D6AE-FC18-46E9-8BF5-61AE849F0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6" y="1740"/>
                <a:ext cx="149" cy="150"/>
              </a:xfrm>
              <a:custGeom>
                <a:avLst/>
                <a:gdLst>
                  <a:gd name="T0" fmla="*/ 0 w 149"/>
                  <a:gd name="T1" fmla="*/ 150 h 150"/>
                  <a:gd name="T2" fmla="*/ 30 w 149"/>
                  <a:gd name="T3" fmla="*/ 30 h 150"/>
                  <a:gd name="T4" fmla="*/ 149 w 149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150"/>
                    </a:moveTo>
                    <a:lnTo>
                      <a:pt x="30" y="30"/>
                    </a:lnTo>
                    <a:lnTo>
                      <a:pt x="14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9" name="Freeform 2478">
                <a:extLst>
                  <a:ext uri="{FF2B5EF4-FFF2-40B4-BE49-F238E27FC236}">
                    <a16:creationId xmlns:a16="http://schemas.microsoft.com/office/drawing/2014/main" xmlns="" id="{234DC8D1-F4E2-423B-8A58-EDC6BFD7AD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530"/>
                <a:ext cx="180" cy="390"/>
              </a:xfrm>
              <a:custGeom>
                <a:avLst/>
                <a:gdLst>
                  <a:gd name="T0" fmla="*/ 0 w 216"/>
                  <a:gd name="T1" fmla="*/ 468 h 468"/>
                  <a:gd name="T2" fmla="*/ 216 w 216"/>
                  <a:gd name="T3" fmla="*/ 0 h 468"/>
                  <a:gd name="T4" fmla="*/ 36 w 216"/>
                  <a:gd name="T5" fmla="*/ 7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" h="468">
                    <a:moveTo>
                      <a:pt x="0" y="468"/>
                    </a:moveTo>
                    <a:cubicBezTo>
                      <a:pt x="0" y="432"/>
                      <a:pt x="216" y="0"/>
                      <a:pt x="216" y="0"/>
                    </a:cubicBezTo>
                    <a:cubicBezTo>
                      <a:pt x="36" y="72"/>
                      <a:pt x="36" y="72"/>
                      <a:pt x="36" y="72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0" name="Freeform 2479">
                <a:extLst>
                  <a:ext uri="{FF2B5EF4-FFF2-40B4-BE49-F238E27FC236}">
                    <a16:creationId xmlns:a16="http://schemas.microsoft.com/office/drawing/2014/main" xmlns="" id="{6AB3E43C-CAA1-4681-A538-065FAA506D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290"/>
                <a:ext cx="300" cy="540"/>
              </a:xfrm>
              <a:custGeom>
                <a:avLst/>
                <a:gdLst>
                  <a:gd name="T0" fmla="*/ 0 w 300"/>
                  <a:gd name="T1" fmla="*/ 390 h 540"/>
                  <a:gd name="T2" fmla="*/ 180 w 300"/>
                  <a:gd name="T3" fmla="*/ 240 h 540"/>
                  <a:gd name="T4" fmla="*/ 0 w 300"/>
                  <a:gd name="T5" fmla="*/ 150 h 540"/>
                  <a:gd name="T6" fmla="*/ 120 w 300"/>
                  <a:gd name="T7" fmla="*/ 120 h 540"/>
                  <a:gd name="T8" fmla="*/ 300 w 300"/>
                  <a:gd name="T9" fmla="*/ 180 h 540"/>
                  <a:gd name="T10" fmla="*/ 270 w 300"/>
                  <a:gd name="T11" fmla="*/ 30 h 540"/>
                  <a:gd name="T12" fmla="*/ 120 w 300"/>
                  <a:gd name="T13" fmla="*/ 120 h 540"/>
                  <a:gd name="T14" fmla="*/ 30 w 300"/>
                  <a:gd name="T15" fmla="*/ 0 h 540"/>
                  <a:gd name="T16" fmla="*/ 0 w 300"/>
                  <a:gd name="T17" fmla="*/ 150 h 540"/>
                  <a:gd name="T18" fmla="*/ 30 w 300"/>
                  <a:gd name="T19" fmla="*/ 300 h 540"/>
                  <a:gd name="T20" fmla="*/ 0 w 300"/>
                  <a:gd name="T21" fmla="*/ 390 h 540"/>
                  <a:gd name="T22" fmla="*/ 120 w 300"/>
                  <a:gd name="T23" fmla="*/ 54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00" h="540">
                    <a:moveTo>
                      <a:pt x="0" y="390"/>
                    </a:moveTo>
                    <a:lnTo>
                      <a:pt x="180" y="240"/>
                    </a:lnTo>
                    <a:lnTo>
                      <a:pt x="0" y="150"/>
                    </a:lnTo>
                    <a:lnTo>
                      <a:pt x="120" y="120"/>
                    </a:lnTo>
                    <a:lnTo>
                      <a:pt x="300" y="180"/>
                    </a:lnTo>
                    <a:lnTo>
                      <a:pt x="270" y="30"/>
                    </a:lnTo>
                    <a:lnTo>
                      <a:pt x="120" y="120"/>
                    </a:lnTo>
                    <a:lnTo>
                      <a:pt x="30" y="0"/>
                    </a:lnTo>
                    <a:lnTo>
                      <a:pt x="0" y="150"/>
                    </a:lnTo>
                    <a:lnTo>
                      <a:pt x="30" y="300"/>
                    </a:lnTo>
                    <a:lnTo>
                      <a:pt x="0" y="390"/>
                    </a:lnTo>
                    <a:lnTo>
                      <a:pt x="12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1" name="Freeform 2480">
                <a:extLst>
                  <a:ext uri="{FF2B5EF4-FFF2-40B4-BE49-F238E27FC236}">
                    <a16:creationId xmlns:a16="http://schemas.microsoft.com/office/drawing/2014/main" xmlns="" id="{5C3CD6F2-A262-4CFA-9F87-FD26EA0694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1470"/>
                <a:ext cx="179" cy="210"/>
              </a:xfrm>
              <a:custGeom>
                <a:avLst/>
                <a:gdLst>
                  <a:gd name="T0" fmla="*/ 0 w 179"/>
                  <a:gd name="T1" fmla="*/ 210 h 210"/>
                  <a:gd name="T2" fmla="*/ 120 w 179"/>
                  <a:gd name="T3" fmla="*/ 0 h 210"/>
                  <a:gd name="T4" fmla="*/ 179 w 179"/>
                  <a:gd name="T5" fmla="*/ 150 h 210"/>
                  <a:gd name="T6" fmla="*/ 0 w 179"/>
                  <a:gd name="T7" fmla="*/ 210 h 210"/>
                  <a:gd name="T8" fmla="*/ 0 w 179"/>
                  <a:gd name="T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210">
                    <a:moveTo>
                      <a:pt x="0" y="210"/>
                    </a:moveTo>
                    <a:lnTo>
                      <a:pt x="120" y="0"/>
                    </a:lnTo>
                    <a:lnTo>
                      <a:pt x="179" y="150"/>
                    </a:lnTo>
                    <a:lnTo>
                      <a:pt x="0" y="21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2" name="Freeform 2481">
                <a:extLst>
                  <a:ext uri="{FF2B5EF4-FFF2-40B4-BE49-F238E27FC236}">
                    <a16:creationId xmlns:a16="http://schemas.microsoft.com/office/drawing/2014/main" xmlns="" id="{A1800979-E0E2-4522-ACEF-170FDF76F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320"/>
                <a:ext cx="599" cy="750"/>
              </a:xfrm>
              <a:custGeom>
                <a:avLst/>
                <a:gdLst>
                  <a:gd name="T0" fmla="*/ 300 w 599"/>
                  <a:gd name="T1" fmla="*/ 150 h 750"/>
                  <a:gd name="T2" fmla="*/ 479 w 599"/>
                  <a:gd name="T3" fmla="*/ 210 h 750"/>
                  <a:gd name="T4" fmla="*/ 479 w 599"/>
                  <a:gd name="T5" fmla="*/ 60 h 750"/>
                  <a:gd name="T6" fmla="*/ 359 w 599"/>
                  <a:gd name="T7" fmla="*/ 300 h 750"/>
                  <a:gd name="T8" fmla="*/ 419 w 599"/>
                  <a:gd name="T9" fmla="*/ 420 h 750"/>
                  <a:gd name="T10" fmla="*/ 539 w 599"/>
                  <a:gd name="T11" fmla="*/ 480 h 750"/>
                  <a:gd name="T12" fmla="*/ 479 w 599"/>
                  <a:gd name="T13" fmla="*/ 210 h 750"/>
                  <a:gd name="T14" fmla="*/ 419 w 599"/>
                  <a:gd name="T15" fmla="*/ 420 h 750"/>
                  <a:gd name="T16" fmla="*/ 419 w 599"/>
                  <a:gd name="T17" fmla="*/ 570 h 750"/>
                  <a:gd name="T18" fmla="*/ 599 w 599"/>
                  <a:gd name="T19" fmla="*/ 630 h 750"/>
                  <a:gd name="T20" fmla="*/ 300 w 599"/>
                  <a:gd name="T21" fmla="*/ 660 h 750"/>
                  <a:gd name="T22" fmla="*/ 270 w 599"/>
                  <a:gd name="T23" fmla="*/ 570 h 750"/>
                  <a:gd name="T24" fmla="*/ 210 w 599"/>
                  <a:gd name="T25" fmla="*/ 750 h 750"/>
                  <a:gd name="T26" fmla="*/ 0 w 599"/>
                  <a:gd name="T27" fmla="*/ 600 h 750"/>
                  <a:gd name="T28" fmla="*/ 120 w 599"/>
                  <a:gd name="T29" fmla="*/ 510 h 750"/>
                  <a:gd name="T30" fmla="*/ 180 w 599"/>
                  <a:gd name="T31" fmla="*/ 360 h 750"/>
                  <a:gd name="T32" fmla="*/ 300 w 599"/>
                  <a:gd name="T33" fmla="*/ 450 h 750"/>
                  <a:gd name="T34" fmla="*/ 359 w 599"/>
                  <a:gd name="T35" fmla="*/ 300 h 750"/>
                  <a:gd name="T36" fmla="*/ 180 w 599"/>
                  <a:gd name="T37" fmla="*/ 210 h 750"/>
                  <a:gd name="T38" fmla="*/ 300 w 599"/>
                  <a:gd name="T39" fmla="*/ 150 h 750"/>
                  <a:gd name="T40" fmla="*/ 389 w 599"/>
                  <a:gd name="T41" fmla="*/ 90 h 750"/>
                  <a:gd name="T42" fmla="*/ 270 w 599"/>
                  <a:gd name="T43" fmla="*/ 0 h 750"/>
                  <a:gd name="T44" fmla="*/ 479 w 599"/>
                  <a:gd name="T45" fmla="*/ 6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99" h="750">
                    <a:moveTo>
                      <a:pt x="300" y="150"/>
                    </a:moveTo>
                    <a:lnTo>
                      <a:pt x="479" y="210"/>
                    </a:lnTo>
                    <a:lnTo>
                      <a:pt x="479" y="60"/>
                    </a:lnTo>
                    <a:lnTo>
                      <a:pt x="359" y="300"/>
                    </a:lnTo>
                    <a:lnTo>
                      <a:pt x="419" y="420"/>
                    </a:lnTo>
                    <a:lnTo>
                      <a:pt x="539" y="480"/>
                    </a:lnTo>
                    <a:lnTo>
                      <a:pt x="479" y="210"/>
                    </a:lnTo>
                    <a:lnTo>
                      <a:pt x="419" y="420"/>
                    </a:lnTo>
                    <a:lnTo>
                      <a:pt x="419" y="570"/>
                    </a:lnTo>
                    <a:lnTo>
                      <a:pt x="599" y="630"/>
                    </a:lnTo>
                    <a:lnTo>
                      <a:pt x="300" y="660"/>
                    </a:lnTo>
                    <a:lnTo>
                      <a:pt x="270" y="570"/>
                    </a:lnTo>
                    <a:lnTo>
                      <a:pt x="210" y="750"/>
                    </a:lnTo>
                    <a:lnTo>
                      <a:pt x="0" y="600"/>
                    </a:lnTo>
                    <a:lnTo>
                      <a:pt x="120" y="510"/>
                    </a:lnTo>
                    <a:lnTo>
                      <a:pt x="180" y="360"/>
                    </a:lnTo>
                    <a:lnTo>
                      <a:pt x="300" y="450"/>
                    </a:lnTo>
                    <a:lnTo>
                      <a:pt x="359" y="300"/>
                    </a:lnTo>
                    <a:lnTo>
                      <a:pt x="180" y="210"/>
                    </a:lnTo>
                    <a:lnTo>
                      <a:pt x="300" y="150"/>
                    </a:lnTo>
                    <a:lnTo>
                      <a:pt x="389" y="90"/>
                    </a:lnTo>
                    <a:lnTo>
                      <a:pt x="270" y="0"/>
                    </a:lnTo>
                    <a:lnTo>
                      <a:pt x="47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3" name="Freeform 2482">
                <a:extLst>
                  <a:ext uri="{FF2B5EF4-FFF2-40B4-BE49-F238E27FC236}">
                    <a16:creationId xmlns:a16="http://schemas.microsoft.com/office/drawing/2014/main" xmlns="" id="{FDB5CEE2-CFA7-46C2-B09A-68E9275E91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" y="1770"/>
                <a:ext cx="299" cy="210"/>
              </a:xfrm>
              <a:custGeom>
                <a:avLst/>
                <a:gdLst>
                  <a:gd name="T0" fmla="*/ 0 w 299"/>
                  <a:gd name="T1" fmla="*/ 60 h 210"/>
                  <a:gd name="T2" fmla="*/ 180 w 299"/>
                  <a:gd name="T3" fmla="*/ 0 h 210"/>
                  <a:gd name="T4" fmla="*/ 299 w 299"/>
                  <a:gd name="T5" fmla="*/ 120 h 210"/>
                  <a:gd name="T6" fmla="*/ 180 w 299"/>
                  <a:gd name="T7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9" h="210">
                    <a:moveTo>
                      <a:pt x="0" y="60"/>
                    </a:moveTo>
                    <a:lnTo>
                      <a:pt x="180" y="0"/>
                    </a:lnTo>
                    <a:lnTo>
                      <a:pt x="299" y="120"/>
                    </a:lnTo>
                    <a:lnTo>
                      <a:pt x="18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4" name="Freeform 2483">
                <a:extLst>
                  <a:ext uri="{FF2B5EF4-FFF2-40B4-BE49-F238E27FC236}">
                    <a16:creationId xmlns:a16="http://schemas.microsoft.com/office/drawing/2014/main" xmlns="" id="{BED12907-96DD-4899-A874-84764769C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1740"/>
                <a:ext cx="149" cy="150"/>
              </a:xfrm>
              <a:custGeom>
                <a:avLst/>
                <a:gdLst>
                  <a:gd name="T0" fmla="*/ 0 w 149"/>
                  <a:gd name="T1" fmla="*/ 150 h 150"/>
                  <a:gd name="T2" fmla="*/ 30 w 149"/>
                  <a:gd name="T3" fmla="*/ 30 h 150"/>
                  <a:gd name="T4" fmla="*/ 149 w 149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150"/>
                    </a:moveTo>
                    <a:lnTo>
                      <a:pt x="30" y="30"/>
                    </a:lnTo>
                    <a:lnTo>
                      <a:pt x="14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5" name="Line 2484">
                <a:extLst>
                  <a:ext uri="{FF2B5EF4-FFF2-40B4-BE49-F238E27FC236}">
                    <a16:creationId xmlns:a16="http://schemas.microsoft.com/office/drawing/2014/main" xmlns="" id="{51A0CA5D-B038-481A-9808-152286CEEF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786" y="1233"/>
                <a:ext cx="181" cy="57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6" name="Line 2485">
                <a:extLst>
                  <a:ext uri="{FF2B5EF4-FFF2-40B4-BE49-F238E27FC236}">
                    <a16:creationId xmlns:a16="http://schemas.microsoft.com/office/drawing/2014/main" xmlns="" id="{4896A9F5-6CA1-4864-A3F7-9A61F2441B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936" y="1233"/>
                <a:ext cx="31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7" name="Freeform 2486">
                <a:extLst>
                  <a:ext uri="{FF2B5EF4-FFF2-40B4-BE49-F238E27FC236}">
                    <a16:creationId xmlns:a16="http://schemas.microsoft.com/office/drawing/2014/main" xmlns="" id="{F64ECFFD-D15C-4AB6-9C2F-137E4FC9A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5" y="1231"/>
                <a:ext cx="210" cy="302"/>
              </a:xfrm>
              <a:custGeom>
                <a:avLst/>
                <a:gdLst>
                  <a:gd name="T0" fmla="*/ 0 w 210"/>
                  <a:gd name="T1" fmla="*/ 0 h 302"/>
                  <a:gd name="T2" fmla="*/ 180 w 210"/>
                  <a:gd name="T3" fmla="*/ 269 h 302"/>
                  <a:gd name="T4" fmla="*/ 2 w 210"/>
                  <a:gd name="T5" fmla="*/ 302 h 302"/>
                  <a:gd name="T6" fmla="*/ 210 w 210"/>
                  <a:gd name="T7" fmla="*/ 179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0" h="302">
                    <a:moveTo>
                      <a:pt x="0" y="0"/>
                    </a:moveTo>
                    <a:lnTo>
                      <a:pt x="180" y="269"/>
                    </a:lnTo>
                    <a:lnTo>
                      <a:pt x="2" y="302"/>
                    </a:lnTo>
                    <a:lnTo>
                      <a:pt x="210" y="17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8" name="Line 2487">
                <a:extLst>
                  <a:ext uri="{FF2B5EF4-FFF2-40B4-BE49-F238E27FC236}">
                    <a16:creationId xmlns:a16="http://schemas.microsoft.com/office/drawing/2014/main" xmlns="" id="{1B0F1571-3CCD-4A6B-819A-6D42D7AE2B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35" y="1380"/>
                <a:ext cx="21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9" name="Freeform 2488">
                <a:extLst>
                  <a:ext uri="{FF2B5EF4-FFF2-40B4-BE49-F238E27FC236}">
                    <a16:creationId xmlns:a16="http://schemas.microsoft.com/office/drawing/2014/main" xmlns="" id="{40125F09-49A9-45F0-B31A-1F483C140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1140"/>
                <a:ext cx="599" cy="870"/>
              </a:xfrm>
              <a:custGeom>
                <a:avLst/>
                <a:gdLst>
                  <a:gd name="T0" fmla="*/ 300 w 599"/>
                  <a:gd name="T1" fmla="*/ 0 h 870"/>
                  <a:gd name="T2" fmla="*/ 479 w 599"/>
                  <a:gd name="T3" fmla="*/ 91 h 870"/>
                  <a:gd name="T4" fmla="*/ 300 w 599"/>
                  <a:gd name="T5" fmla="*/ 330 h 870"/>
                  <a:gd name="T6" fmla="*/ 479 w 599"/>
                  <a:gd name="T7" fmla="*/ 390 h 870"/>
                  <a:gd name="T8" fmla="*/ 479 w 599"/>
                  <a:gd name="T9" fmla="*/ 240 h 870"/>
                  <a:gd name="T10" fmla="*/ 359 w 599"/>
                  <a:gd name="T11" fmla="*/ 480 h 870"/>
                  <a:gd name="T12" fmla="*/ 419 w 599"/>
                  <a:gd name="T13" fmla="*/ 600 h 870"/>
                  <a:gd name="T14" fmla="*/ 539 w 599"/>
                  <a:gd name="T15" fmla="*/ 660 h 870"/>
                  <a:gd name="T16" fmla="*/ 479 w 599"/>
                  <a:gd name="T17" fmla="*/ 390 h 870"/>
                  <a:gd name="T18" fmla="*/ 419 w 599"/>
                  <a:gd name="T19" fmla="*/ 600 h 870"/>
                  <a:gd name="T20" fmla="*/ 419 w 599"/>
                  <a:gd name="T21" fmla="*/ 750 h 870"/>
                  <a:gd name="T22" fmla="*/ 599 w 599"/>
                  <a:gd name="T23" fmla="*/ 810 h 870"/>
                  <a:gd name="T24" fmla="*/ 330 w 599"/>
                  <a:gd name="T25" fmla="*/ 870 h 870"/>
                  <a:gd name="T26" fmla="*/ 270 w 599"/>
                  <a:gd name="T27" fmla="*/ 750 h 870"/>
                  <a:gd name="T28" fmla="*/ 150 w 599"/>
                  <a:gd name="T29" fmla="*/ 870 h 870"/>
                  <a:gd name="T30" fmla="*/ 0 w 599"/>
                  <a:gd name="T31" fmla="*/ 780 h 870"/>
                  <a:gd name="T32" fmla="*/ 120 w 599"/>
                  <a:gd name="T33" fmla="*/ 690 h 870"/>
                  <a:gd name="T34" fmla="*/ 180 w 599"/>
                  <a:gd name="T35" fmla="*/ 540 h 870"/>
                  <a:gd name="T36" fmla="*/ 300 w 599"/>
                  <a:gd name="T37" fmla="*/ 630 h 870"/>
                  <a:gd name="T38" fmla="*/ 359 w 599"/>
                  <a:gd name="T39" fmla="*/ 480 h 870"/>
                  <a:gd name="T40" fmla="*/ 180 w 599"/>
                  <a:gd name="T41" fmla="*/ 390 h 870"/>
                  <a:gd name="T42" fmla="*/ 300 w 599"/>
                  <a:gd name="T43" fmla="*/ 330 h 870"/>
                  <a:gd name="T44" fmla="*/ 389 w 599"/>
                  <a:gd name="T45" fmla="*/ 270 h 870"/>
                  <a:gd name="T46" fmla="*/ 270 w 599"/>
                  <a:gd name="T47" fmla="*/ 180 h 870"/>
                  <a:gd name="T48" fmla="*/ 479 w 599"/>
                  <a:gd name="T49" fmla="*/ 240 h 870"/>
                  <a:gd name="T50" fmla="*/ 479 w 599"/>
                  <a:gd name="T51" fmla="*/ 90 h 870"/>
                  <a:gd name="T52" fmla="*/ 210 w 599"/>
                  <a:gd name="T53" fmla="*/ 90 h 8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99" h="870">
                    <a:moveTo>
                      <a:pt x="300" y="0"/>
                    </a:moveTo>
                    <a:lnTo>
                      <a:pt x="479" y="91"/>
                    </a:lnTo>
                    <a:lnTo>
                      <a:pt x="300" y="330"/>
                    </a:lnTo>
                    <a:lnTo>
                      <a:pt x="479" y="390"/>
                    </a:lnTo>
                    <a:lnTo>
                      <a:pt x="479" y="240"/>
                    </a:lnTo>
                    <a:lnTo>
                      <a:pt x="359" y="480"/>
                    </a:lnTo>
                    <a:lnTo>
                      <a:pt x="419" y="600"/>
                    </a:lnTo>
                    <a:lnTo>
                      <a:pt x="539" y="660"/>
                    </a:lnTo>
                    <a:lnTo>
                      <a:pt x="479" y="390"/>
                    </a:lnTo>
                    <a:lnTo>
                      <a:pt x="419" y="600"/>
                    </a:lnTo>
                    <a:lnTo>
                      <a:pt x="419" y="750"/>
                    </a:lnTo>
                    <a:lnTo>
                      <a:pt x="599" y="810"/>
                    </a:lnTo>
                    <a:lnTo>
                      <a:pt x="330" y="870"/>
                    </a:lnTo>
                    <a:lnTo>
                      <a:pt x="270" y="750"/>
                    </a:lnTo>
                    <a:lnTo>
                      <a:pt x="150" y="870"/>
                    </a:lnTo>
                    <a:lnTo>
                      <a:pt x="0" y="780"/>
                    </a:lnTo>
                    <a:lnTo>
                      <a:pt x="120" y="690"/>
                    </a:lnTo>
                    <a:lnTo>
                      <a:pt x="180" y="540"/>
                    </a:lnTo>
                    <a:lnTo>
                      <a:pt x="300" y="630"/>
                    </a:lnTo>
                    <a:lnTo>
                      <a:pt x="359" y="480"/>
                    </a:lnTo>
                    <a:lnTo>
                      <a:pt x="180" y="390"/>
                    </a:lnTo>
                    <a:lnTo>
                      <a:pt x="300" y="330"/>
                    </a:lnTo>
                    <a:lnTo>
                      <a:pt x="389" y="270"/>
                    </a:lnTo>
                    <a:lnTo>
                      <a:pt x="270" y="180"/>
                    </a:lnTo>
                    <a:lnTo>
                      <a:pt x="479" y="240"/>
                    </a:lnTo>
                    <a:lnTo>
                      <a:pt x="479" y="90"/>
                    </a:lnTo>
                    <a:lnTo>
                      <a:pt x="21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0" name="Line 2489">
                <a:extLst>
                  <a:ext uri="{FF2B5EF4-FFF2-40B4-BE49-F238E27FC236}">
                    <a16:creationId xmlns:a16="http://schemas.microsoft.com/office/drawing/2014/main" xmlns="" id="{F988E886-021C-415A-A371-14F2459FD6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026" y="1110"/>
                <a:ext cx="209" cy="21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1" name="Freeform 2490">
                <a:extLst>
                  <a:ext uri="{FF2B5EF4-FFF2-40B4-BE49-F238E27FC236}">
                    <a16:creationId xmlns:a16="http://schemas.microsoft.com/office/drawing/2014/main" xmlns="" id="{892D0493-1FC9-48C7-92AC-5589A98A0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290"/>
                <a:ext cx="780" cy="1080"/>
              </a:xfrm>
              <a:custGeom>
                <a:avLst/>
                <a:gdLst>
                  <a:gd name="T0" fmla="*/ 630 w 780"/>
                  <a:gd name="T1" fmla="*/ 1080 h 1080"/>
                  <a:gd name="T2" fmla="*/ 600 w 780"/>
                  <a:gd name="T3" fmla="*/ 870 h 1080"/>
                  <a:gd name="T4" fmla="*/ 480 w 780"/>
                  <a:gd name="T5" fmla="*/ 630 h 1080"/>
                  <a:gd name="T6" fmla="*/ 390 w 780"/>
                  <a:gd name="T7" fmla="*/ 720 h 1080"/>
                  <a:gd name="T8" fmla="*/ 270 w 780"/>
                  <a:gd name="T9" fmla="*/ 870 h 1080"/>
                  <a:gd name="T10" fmla="*/ 180 w 780"/>
                  <a:gd name="T11" fmla="*/ 750 h 1080"/>
                  <a:gd name="T12" fmla="*/ 210 w 780"/>
                  <a:gd name="T13" fmla="*/ 600 h 1080"/>
                  <a:gd name="T14" fmla="*/ 90 w 780"/>
                  <a:gd name="T15" fmla="*/ 660 h 1080"/>
                  <a:gd name="T16" fmla="*/ 0 w 780"/>
                  <a:gd name="T17" fmla="*/ 870 h 1080"/>
                  <a:gd name="T18" fmla="*/ 60 w 780"/>
                  <a:gd name="T19" fmla="*/ 510 h 1080"/>
                  <a:gd name="T20" fmla="*/ 0 w 780"/>
                  <a:gd name="T21" fmla="*/ 420 h 1080"/>
                  <a:gd name="T22" fmla="*/ 120 w 780"/>
                  <a:gd name="T23" fmla="*/ 330 h 1080"/>
                  <a:gd name="T24" fmla="*/ 300 w 780"/>
                  <a:gd name="T25" fmla="*/ 390 h 1080"/>
                  <a:gd name="T26" fmla="*/ 330 w 780"/>
                  <a:gd name="T27" fmla="*/ 510 h 1080"/>
                  <a:gd name="T28" fmla="*/ 480 w 780"/>
                  <a:gd name="T29" fmla="*/ 390 h 1080"/>
                  <a:gd name="T30" fmla="*/ 660 w 780"/>
                  <a:gd name="T31" fmla="*/ 240 h 1080"/>
                  <a:gd name="T32" fmla="*/ 480 w 780"/>
                  <a:gd name="T33" fmla="*/ 150 h 1080"/>
                  <a:gd name="T34" fmla="*/ 600 w 780"/>
                  <a:gd name="T35" fmla="*/ 120 h 1080"/>
                  <a:gd name="T36" fmla="*/ 780 w 780"/>
                  <a:gd name="T37" fmla="*/ 180 h 1080"/>
                  <a:gd name="T38" fmla="*/ 750 w 780"/>
                  <a:gd name="T39" fmla="*/ 30 h 1080"/>
                  <a:gd name="T40" fmla="*/ 600 w 780"/>
                  <a:gd name="T41" fmla="*/ 120 h 1080"/>
                  <a:gd name="T42" fmla="*/ 510 w 780"/>
                  <a:gd name="T43" fmla="*/ 0 h 1080"/>
                  <a:gd name="T44" fmla="*/ 480 w 780"/>
                  <a:gd name="T45" fmla="*/ 150 h 1080"/>
                  <a:gd name="T46" fmla="*/ 510 w 780"/>
                  <a:gd name="T47" fmla="*/ 300 h 1080"/>
                  <a:gd name="T48" fmla="*/ 480 w 780"/>
                  <a:gd name="T49" fmla="*/ 390 h 1080"/>
                  <a:gd name="T50" fmla="*/ 600 w 780"/>
                  <a:gd name="T51" fmla="*/ 540 h 10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80" h="1080">
                    <a:moveTo>
                      <a:pt x="630" y="1080"/>
                    </a:moveTo>
                    <a:lnTo>
                      <a:pt x="600" y="870"/>
                    </a:lnTo>
                    <a:lnTo>
                      <a:pt x="480" y="630"/>
                    </a:lnTo>
                    <a:lnTo>
                      <a:pt x="390" y="720"/>
                    </a:lnTo>
                    <a:lnTo>
                      <a:pt x="270" y="870"/>
                    </a:lnTo>
                    <a:lnTo>
                      <a:pt x="180" y="750"/>
                    </a:lnTo>
                    <a:lnTo>
                      <a:pt x="210" y="600"/>
                    </a:lnTo>
                    <a:lnTo>
                      <a:pt x="90" y="660"/>
                    </a:lnTo>
                    <a:lnTo>
                      <a:pt x="0" y="870"/>
                    </a:lnTo>
                    <a:lnTo>
                      <a:pt x="60" y="510"/>
                    </a:lnTo>
                    <a:lnTo>
                      <a:pt x="0" y="420"/>
                    </a:lnTo>
                    <a:lnTo>
                      <a:pt x="120" y="330"/>
                    </a:lnTo>
                    <a:lnTo>
                      <a:pt x="300" y="390"/>
                    </a:lnTo>
                    <a:lnTo>
                      <a:pt x="330" y="510"/>
                    </a:lnTo>
                    <a:lnTo>
                      <a:pt x="480" y="390"/>
                    </a:lnTo>
                    <a:lnTo>
                      <a:pt x="660" y="240"/>
                    </a:lnTo>
                    <a:lnTo>
                      <a:pt x="480" y="150"/>
                    </a:lnTo>
                    <a:lnTo>
                      <a:pt x="600" y="120"/>
                    </a:lnTo>
                    <a:lnTo>
                      <a:pt x="780" y="180"/>
                    </a:lnTo>
                    <a:lnTo>
                      <a:pt x="750" y="30"/>
                    </a:lnTo>
                    <a:lnTo>
                      <a:pt x="600" y="120"/>
                    </a:lnTo>
                    <a:lnTo>
                      <a:pt x="510" y="0"/>
                    </a:lnTo>
                    <a:lnTo>
                      <a:pt x="480" y="150"/>
                    </a:lnTo>
                    <a:lnTo>
                      <a:pt x="510" y="300"/>
                    </a:lnTo>
                    <a:lnTo>
                      <a:pt x="480" y="390"/>
                    </a:lnTo>
                    <a:lnTo>
                      <a:pt x="60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2" name="Line 2491">
                <a:extLst>
                  <a:ext uri="{FF2B5EF4-FFF2-40B4-BE49-F238E27FC236}">
                    <a16:creationId xmlns:a16="http://schemas.microsoft.com/office/drawing/2014/main" xmlns="" id="{FFCCED91-9206-463A-AFA7-85C01D8297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09" y="2013"/>
                <a:ext cx="87" cy="177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3" name="Freeform 2492">
                <a:extLst>
                  <a:ext uri="{FF2B5EF4-FFF2-40B4-BE49-F238E27FC236}">
                    <a16:creationId xmlns:a16="http://schemas.microsoft.com/office/drawing/2014/main" xmlns="" id="{88EC9DD2-F85E-4D92-8E39-C949F58969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1890"/>
                <a:ext cx="210" cy="270"/>
              </a:xfrm>
              <a:custGeom>
                <a:avLst/>
                <a:gdLst>
                  <a:gd name="T0" fmla="*/ 210 w 210"/>
                  <a:gd name="T1" fmla="*/ 120 h 270"/>
                  <a:gd name="T2" fmla="*/ 0 w 210"/>
                  <a:gd name="T3" fmla="*/ 270 h 270"/>
                  <a:gd name="T4" fmla="*/ 150 w 210"/>
                  <a:gd name="T5" fmla="*/ 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270">
                    <a:moveTo>
                      <a:pt x="210" y="120"/>
                    </a:moveTo>
                    <a:lnTo>
                      <a:pt x="0" y="27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4" name="Freeform 2493">
                <a:extLst>
                  <a:ext uri="{FF2B5EF4-FFF2-40B4-BE49-F238E27FC236}">
                    <a16:creationId xmlns:a16="http://schemas.microsoft.com/office/drawing/2014/main" xmlns="" id="{C83B85F5-B1C5-4AE9-9DE3-C774B5674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5" y="1620"/>
                <a:ext cx="360" cy="483"/>
              </a:xfrm>
              <a:custGeom>
                <a:avLst/>
                <a:gdLst>
                  <a:gd name="T0" fmla="*/ 0 w 432"/>
                  <a:gd name="T1" fmla="*/ 146 h 579"/>
                  <a:gd name="T2" fmla="*/ 216 w 432"/>
                  <a:gd name="T3" fmla="*/ 0 h 579"/>
                  <a:gd name="T4" fmla="*/ 144 w 432"/>
                  <a:gd name="T5" fmla="*/ 216 h 579"/>
                  <a:gd name="T6" fmla="*/ 360 w 432"/>
                  <a:gd name="T7" fmla="*/ 252 h 579"/>
                  <a:gd name="T8" fmla="*/ 324 w 432"/>
                  <a:gd name="T9" fmla="*/ 578 h 579"/>
                  <a:gd name="T10" fmla="*/ 432 w 432"/>
                  <a:gd name="T11" fmla="*/ 432 h 579"/>
                  <a:gd name="T12" fmla="*/ 220 w 432"/>
                  <a:gd name="T13" fmla="*/ 399 h 579"/>
                  <a:gd name="T14" fmla="*/ 112 w 432"/>
                  <a:gd name="T15" fmla="*/ 579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2" h="579">
                    <a:moveTo>
                      <a:pt x="0" y="146"/>
                    </a:moveTo>
                    <a:cubicBezTo>
                      <a:pt x="216" y="0"/>
                      <a:pt x="216" y="0"/>
                      <a:pt x="216" y="0"/>
                    </a:cubicBezTo>
                    <a:cubicBezTo>
                      <a:pt x="144" y="216"/>
                      <a:pt x="144" y="216"/>
                      <a:pt x="144" y="216"/>
                    </a:cubicBezTo>
                    <a:cubicBezTo>
                      <a:pt x="360" y="252"/>
                      <a:pt x="360" y="252"/>
                      <a:pt x="360" y="252"/>
                    </a:cubicBezTo>
                    <a:cubicBezTo>
                      <a:pt x="324" y="578"/>
                      <a:pt x="324" y="578"/>
                      <a:pt x="324" y="578"/>
                    </a:cubicBezTo>
                    <a:cubicBezTo>
                      <a:pt x="432" y="432"/>
                      <a:pt x="432" y="432"/>
                      <a:pt x="432" y="432"/>
                    </a:cubicBezTo>
                    <a:cubicBezTo>
                      <a:pt x="220" y="399"/>
                      <a:pt x="220" y="399"/>
                      <a:pt x="220" y="399"/>
                    </a:cubicBezTo>
                    <a:cubicBezTo>
                      <a:pt x="220" y="399"/>
                      <a:pt x="108" y="576"/>
                      <a:pt x="112" y="579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5" name="Freeform 2494">
                <a:extLst>
                  <a:ext uri="{FF2B5EF4-FFF2-40B4-BE49-F238E27FC236}">
                    <a16:creationId xmlns:a16="http://schemas.microsoft.com/office/drawing/2014/main" xmlns="" id="{67015895-6415-4558-ABDF-91BEFDF1F8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5" y="1800"/>
                <a:ext cx="120" cy="303"/>
              </a:xfrm>
              <a:custGeom>
                <a:avLst/>
                <a:gdLst>
                  <a:gd name="T0" fmla="*/ 0 w 120"/>
                  <a:gd name="T1" fmla="*/ 90 h 303"/>
                  <a:gd name="T2" fmla="*/ 120 w 120"/>
                  <a:gd name="T3" fmla="*/ 0 h 303"/>
                  <a:gd name="T4" fmla="*/ 94 w 120"/>
                  <a:gd name="T5" fmla="*/ 30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0" h="303">
                    <a:moveTo>
                      <a:pt x="0" y="90"/>
                    </a:moveTo>
                    <a:lnTo>
                      <a:pt x="120" y="0"/>
                    </a:lnTo>
                    <a:lnTo>
                      <a:pt x="94" y="303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6" name="Freeform 2495">
                <a:extLst>
                  <a:ext uri="{FF2B5EF4-FFF2-40B4-BE49-F238E27FC236}">
                    <a16:creationId xmlns:a16="http://schemas.microsoft.com/office/drawing/2014/main" xmlns="" id="{0E443648-D2B6-494A-B7A3-83D436971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1922"/>
                <a:ext cx="1110" cy="868"/>
              </a:xfrm>
              <a:custGeom>
                <a:avLst/>
                <a:gdLst>
                  <a:gd name="T0" fmla="*/ 240 w 1110"/>
                  <a:gd name="T1" fmla="*/ 0 h 868"/>
                  <a:gd name="T2" fmla="*/ 210 w 1110"/>
                  <a:gd name="T3" fmla="*/ 148 h 868"/>
                  <a:gd name="T4" fmla="*/ 150 w 1110"/>
                  <a:gd name="T5" fmla="*/ 238 h 868"/>
                  <a:gd name="T6" fmla="*/ 0 w 1110"/>
                  <a:gd name="T7" fmla="*/ 328 h 868"/>
                  <a:gd name="T8" fmla="*/ 0 w 1110"/>
                  <a:gd name="T9" fmla="*/ 478 h 868"/>
                  <a:gd name="T10" fmla="*/ 120 w 1110"/>
                  <a:gd name="T11" fmla="*/ 388 h 868"/>
                  <a:gd name="T12" fmla="*/ 270 w 1110"/>
                  <a:gd name="T13" fmla="*/ 268 h 868"/>
                  <a:gd name="T14" fmla="*/ 510 w 1110"/>
                  <a:gd name="T15" fmla="*/ 118 h 868"/>
                  <a:gd name="T16" fmla="*/ 600 w 1110"/>
                  <a:gd name="T17" fmla="*/ 178 h 868"/>
                  <a:gd name="T18" fmla="*/ 690 w 1110"/>
                  <a:gd name="T19" fmla="*/ 298 h 868"/>
                  <a:gd name="T20" fmla="*/ 780 w 1110"/>
                  <a:gd name="T21" fmla="*/ 178 h 868"/>
                  <a:gd name="T22" fmla="*/ 600 w 1110"/>
                  <a:gd name="T23" fmla="*/ 178 h 868"/>
                  <a:gd name="T24" fmla="*/ 600 w 1110"/>
                  <a:gd name="T25" fmla="*/ 329 h 868"/>
                  <a:gd name="T26" fmla="*/ 510 w 1110"/>
                  <a:gd name="T27" fmla="*/ 298 h 868"/>
                  <a:gd name="T28" fmla="*/ 480 w 1110"/>
                  <a:gd name="T29" fmla="*/ 388 h 868"/>
                  <a:gd name="T30" fmla="*/ 480 w 1110"/>
                  <a:gd name="T31" fmla="*/ 628 h 868"/>
                  <a:gd name="T32" fmla="*/ 600 w 1110"/>
                  <a:gd name="T33" fmla="*/ 538 h 868"/>
                  <a:gd name="T34" fmla="*/ 688 w 1110"/>
                  <a:gd name="T35" fmla="*/ 630 h 868"/>
                  <a:gd name="T36" fmla="*/ 660 w 1110"/>
                  <a:gd name="T37" fmla="*/ 448 h 868"/>
                  <a:gd name="T38" fmla="*/ 750 w 1110"/>
                  <a:gd name="T39" fmla="*/ 388 h 868"/>
                  <a:gd name="T40" fmla="*/ 870 w 1110"/>
                  <a:gd name="T41" fmla="*/ 448 h 868"/>
                  <a:gd name="T42" fmla="*/ 750 w 1110"/>
                  <a:gd name="T43" fmla="*/ 508 h 868"/>
                  <a:gd name="T44" fmla="*/ 840 w 1110"/>
                  <a:gd name="T45" fmla="*/ 568 h 868"/>
                  <a:gd name="T46" fmla="*/ 1110 w 1110"/>
                  <a:gd name="T47" fmla="*/ 538 h 868"/>
                  <a:gd name="T48" fmla="*/ 990 w 1110"/>
                  <a:gd name="T49" fmla="*/ 598 h 868"/>
                  <a:gd name="T50" fmla="*/ 1020 w 1110"/>
                  <a:gd name="T51" fmla="*/ 868 h 868"/>
                  <a:gd name="T52" fmla="*/ 810 w 1110"/>
                  <a:gd name="T53" fmla="*/ 688 h 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10" h="868">
                    <a:moveTo>
                      <a:pt x="240" y="0"/>
                    </a:moveTo>
                    <a:lnTo>
                      <a:pt x="210" y="148"/>
                    </a:lnTo>
                    <a:lnTo>
                      <a:pt x="150" y="238"/>
                    </a:lnTo>
                    <a:lnTo>
                      <a:pt x="0" y="328"/>
                    </a:lnTo>
                    <a:lnTo>
                      <a:pt x="0" y="478"/>
                    </a:lnTo>
                    <a:lnTo>
                      <a:pt x="120" y="388"/>
                    </a:lnTo>
                    <a:lnTo>
                      <a:pt x="270" y="268"/>
                    </a:lnTo>
                    <a:lnTo>
                      <a:pt x="510" y="118"/>
                    </a:lnTo>
                    <a:lnTo>
                      <a:pt x="600" y="178"/>
                    </a:lnTo>
                    <a:lnTo>
                      <a:pt x="690" y="298"/>
                    </a:lnTo>
                    <a:lnTo>
                      <a:pt x="780" y="178"/>
                    </a:lnTo>
                    <a:lnTo>
                      <a:pt x="600" y="178"/>
                    </a:lnTo>
                    <a:lnTo>
                      <a:pt x="600" y="329"/>
                    </a:lnTo>
                    <a:lnTo>
                      <a:pt x="510" y="298"/>
                    </a:lnTo>
                    <a:lnTo>
                      <a:pt x="480" y="388"/>
                    </a:lnTo>
                    <a:lnTo>
                      <a:pt x="480" y="628"/>
                    </a:lnTo>
                    <a:lnTo>
                      <a:pt x="600" y="538"/>
                    </a:lnTo>
                    <a:lnTo>
                      <a:pt x="688" y="630"/>
                    </a:lnTo>
                    <a:lnTo>
                      <a:pt x="660" y="448"/>
                    </a:lnTo>
                    <a:lnTo>
                      <a:pt x="750" y="388"/>
                    </a:lnTo>
                    <a:lnTo>
                      <a:pt x="870" y="448"/>
                    </a:lnTo>
                    <a:lnTo>
                      <a:pt x="750" y="508"/>
                    </a:lnTo>
                    <a:lnTo>
                      <a:pt x="840" y="568"/>
                    </a:lnTo>
                    <a:lnTo>
                      <a:pt x="1110" y="538"/>
                    </a:lnTo>
                    <a:lnTo>
                      <a:pt x="990" y="598"/>
                    </a:lnTo>
                    <a:lnTo>
                      <a:pt x="1020" y="868"/>
                    </a:lnTo>
                    <a:lnTo>
                      <a:pt x="810" y="68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7" name="Line 2496">
                <a:extLst>
                  <a:ext uri="{FF2B5EF4-FFF2-40B4-BE49-F238E27FC236}">
                    <a16:creationId xmlns:a16="http://schemas.microsoft.com/office/drawing/2014/main" xmlns="" id="{B0C312D1-7451-42D6-8F17-26EE13CDF6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35" y="1950"/>
                <a:ext cx="18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8" name="Line 2497">
                <a:extLst>
                  <a:ext uri="{FF2B5EF4-FFF2-40B4-BE49-F238E27FC236}">
                    <a16:creationId xmlns:a16="http://schemas.microsoft.com/office/drawing/2014/main" xmlns="" id="{1DEC7386-E963-42D4-9D1F-43377D35BA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865" y="1922"/>
                <a:ext cx="152" cy="15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9" name="Freeform 2498">
                <a:extLst>
                  <a:ext uri="{FF2B5EF4-FFF2-40B4-BE49-F238E27FC236}">
                    <a16:creationId xmlns:a16="http://schemas.microsoft.com/office/drawing/2014/main" xmlns="" id="{0D795EC9-1283-426D-BFAA-A3E48746F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7" y="1713"/>
                <a:ext cx="328" cy="390"/>
              </a:xfrm>
              <a:custGeom>
                <a:avLst/>
                <a:gdLst>
                  <a:gd name="T0" fmla="*/ 271 w 328"/>
                  <a:gd name="T1" fmla="*/ 0 h 390"/>
                  <a:gd name="T2" fmla="*/ 238 w 328"/>
                  <a:gd name="T3" fmla="*/ 147 h 390"/>
                  <a:gd name="T4" fmla="*/ 151 w 328"/>
                  <a:gd name="T5" fmla="*/ 390 h 390"/>
                  <a:gd name="T6" fmla="*/ 328 w 328"/>
                  <a:gd name="T7" fmla="*/ 207 h 390"/>
                  <a:gd name="T8" fmla="*/ 328 w 328"/>
                  <a:gd name="T9" fmla="*/ 389 h 390"/>
                  <a:gd name="T10" fmla="*/ 118 w 328"/>
                  <a:gd name="T11" fmla="*/ 177 h 390"/>
                  <a:gd name="T12" fmla="*/ 58 w 328"/>
                  <a:gd name="T13" fmla="*/ 327 h 390"/>
                  <a:gd name="T14" fmla="*/ 0 w 328"/>
                  <a:gd name="T15" fmla="*/ 18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8" h="390">
                    <a:moveTo>
                      <a:pt x="271" y="0"/>
                    </a:moveTo>
                    <a:lnTo>
                      <a:pt x="238" y="147"/>
                    </a:lnTo>
                    <a:lnTo>
                      <a:pt x="151" y="390"/>
                    </a:lnTo>
                    <a:lnTo>
                      <a:pt x="328" y="207"/>
                    </a:lnTo>
                    <a:lnTo>
                      <a:pt x="328" y="389"/>
                    </a:lnTo>
                    <a:lnTo>
                      <a:pt x="118" y="177"/>
                    </a:lnTo>
                    <a:lnTo>
                      <a:pt x="58" y="327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0" name="Line 2499">
                <a:extLst>
                  <a:ext uri="{FF2B5EF4-FFF2-40B4-BE49-F238E27FC236}">
                    <a16:creationId xmlns:a16="http://schemas.microsoft.com/office/drawing/2014/main" xmlns="" id="{2494AD39-37D6-4A18-B37C-27142FDF3E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348" y="1713"/>
                <a:ext cx="177" cy="11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1" name="Line 2500">
                <a:extLst>
                  <a:ext uri="{FF2B5EF4-FFF2-40B4-BE49-F238E27FC236}">
                    <a16:creationId xmlns:a16="http://schemas.microsoft.com/office/drawing/2014/main" xmlns="" id="{9540DE55-71AF-490C-9D44-161DB2BB5E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315" y="1442"/>
                <a:ext cx="88" cy="118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2" name="Freeform 2501">
                <a:extLst>
                  <a:ext uri="{FF2B5EF4-FFF2-40B4-BE49-F238E27FC236}">
                    <a16:creationId xmlns:a16="http://schemas.microsoft.com/office/drawing/2014/main" xmlns="" id="{7CDB3288-BBCE-4A1D-B460-DED4EEF7D3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780"/>
                <a:ext cx="690" cy="630"/>
              </a:xfrm>
              <a:custGeom>
                <a:avLst/>
                <a:gdLst>
                  <a:gd name="T0" fmla="*/ 660 w 690"/>
                  <a:gd name="T1" fmla="*/ 630 h 630"/>
                  <a:gd name="T2" fmla="*/ 690 w 690"/>
                  <a:gd name="T3" fmla="*/ 390 h 630"/>
                  <a:gd name="T4" fmla="*/ 570 w 690"/>
                  <a:gd name="T5" fmla="*/ 420 h 630"/>
                  <a:gd name="T6" fmla="*/ 450 w 690"/>
                  <a:gd name="T7" fmla="*/ 240 h 630"/>
                  <a:gd name="T8" fmla="*/ 420 w 690"/>
                  <a:gd name="T9" fmla="*/ 420 h 630"/>
                  <a:gd name="T10" fmla="*/ 330 w 690"/>
                  <a:gd name="T11" fmla="*/ 330 h 630"/>
                  <a:gd name="T12" fmla="*/ 210 w 690"/>
                  <a:gd name="T13" fmla="*/ 270 h 630"/>
                  <a:gd name="T14" fmla="*/ 0 w 690"/>
                  <a:gd name="T15" fmla="*/ 210 h 630"/>
                  <a:gd name="T16" fmla="*/ 270 w 690"/>
                  <a:gd name="T17" fmla="*/ 180 h 630"/>
                  <a:gd name="T18" fmla="*/ 180 w 690"/>
                  <a:gd name="T19" fmla="*/ 30 h 630"/>
                  <a:gd name="T20" fmla="*/ 330 w 690"/>
                  <a:gd name="T21" fmla="*/ 0 h 630"/>
                  <a:gd name="T22" fmla="*/ 120 w 690"/>
                  <a:gd name="T23" fmla="*/ 15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90" h="630">
                    <a:moveTo>
                      <a:pt x="660" y="630"/>
                    </a:moveTo>
                    <a:lnTo>
                      <a:pt x="690" y="390"/>
                    </a:lnTo>
                    <a:lnTo>
                      <a:pt x="570" y="420"/>
                    </a:lnTo>
                    <a:lnTo>
                      <a:pt x="450" y="240"/>
                    </a:lnTo>
                    <a:lnTo>
                      <a:pt x="420" y="420"/>
                    </a:lnTo>
                    <a:lnTo>
                      <a:pt x="330" y="330"/>
                    </a:lnTo>
                    <a:lnTo>
                      <a:pt x="210" y="270"/>
                    </a:lnTo>
                    <a:lnTo>
                      <a:pt x="0" y="210"/>
                    </a:lnTo>
                    <a:lnTo>
                      <a:pt x="270" y="180"/>
                    </a:lnTo>
                    <a:lnTo>
                      <a:pt x="180" y="30"/>
                    </a:lnTo>
                    <a:lnTo>
                      <a:pt x="330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3" name="Line 2502">
                <a:extLst>
                  <a:ext uri="{FF2B5EF4-FFF2-40B4-BE49-F238E27FC236}">
                    <a16:creationId xmlns:a16="http://schemas.microsoft.com/office/drawing/2014/main" xmlns="" id="{13AB2D93-C3EC-484F-8128-C69070FA73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285" y="1290"/>
                <a:ext cx="15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4" name="Freeform 2503">
                <a:extLst>
                  <a:ext uri="{FF2B5EF4-FFF2-40B4-BE49-F238E27FC236}">
                    <a16:creationId xmlns:a16="http://schemas.microsoft.com/office/drawing/2014/main" xmlns="" id="{E79B62DD-1ED8-4B04-A3D8-A8F487B50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1082"/>
                <a:ext cx="120" cy="208"/>
              </a:xfrm>
              <a:custGeom>
                <a:avLst/>
                <a:gdLst>
                  <a:gd name="T0" fmla="*/ 120 w 120"/>
                  <a:gd name="T1" fmla="*/ 208 h 208"/>
                  <a:gd name="T2" fmla="*/ 90 w 120"/>
                  <a:gd name="T3" fmla="*/ 0 h 208"/>
                  <a:gd name="T4" fmla="*/ 0 w 120"/>
                  <a:gd name="T5" fmla="*/ 88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0" h="208">
                    <a:moveTo>
                      <a:pt x="120" y="208"/>
                    </a:moveTo>
                    <a:lnTo>
                      <a:pt x="90" y="0"/>
                    </a:lnTo>
                    <a:lnTo>
                      <a:pt x="0" y="8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5" name="Freeform 2504">
                <a:extLst>
                  <a:ext uri="{FF2B5EF4-FFF2-40B4-BE49-F238E27FC236}">
                    <a16:creationId xmlns:a16="http://schemas.microsoft.com/office/drawing/2014/main" xmlns="" id="{E054FF8A-49B2-456A-B74E-990897C83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1200"/>
                <a:ext cx="240" cy="242"/>
              </a:xfrm>
              <a:custGeom>
                <a:avLst/>
                <a:gdLst>
                  <a:gd name="T0" fmla="*/ 240 w 240"/>
                  <a:gd name="T1" fmla="*/ 90 h 242"/>
                  <a:gd name="T2" fmla="*/ 0 w 240"/>
                  <a:gd name="T3" fmla="*/ 0 h 242"/>
                  <a:gd name="T4" fmla="*/ 208 w 240"/>
                  <a:gd name="T5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0" h="242">
                    <a:moveTo>
                      <a:pt x="240" y="90"/>
                    </a:moveTo>
                    <a:lnTo>
                      <a:pt x="0" y="0"/>
                    </a:lnTo>
                    <a:lnTo>
                      <a:pt x="208" y="24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6" name="Line 2505">
                <a:extLst>
                  <a:ext uri="{FF2B5EF4-FFF2-40B4-BE49-F238E27FC236}">
                    <a16:creationId xmlns:a16="http://schemas.microsoft.com/office/drawing/2014/main" xmlns="" id="{A945A76C-3251-4098-A845-DFDF1DA60A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85" y="1260"/>
                <a:ext cx="30" cy="272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7" name="Freeform 2506">
                <a:extLst>
                  <a:ext uri="{FF2B5EF4-FFF2-40B4-BE49-F238E27FC236}">
                    <a16:creationId xmlns:a16="http://schemas.microsoft.com/office/drawing/2014/main" xmlns="" id="{F8416B36-BAA8-4609-BA62-999BDE6CB5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5" y="450"/>
                <a:ext cx="449" cy="1140"/>
              </a:xfrm>
              <a:custGeom>
                <a:avLst/>
                <a:gdLst>
                  <a:gd name="T0" fmla="*/ 449 w 449"/>
                  <a:gd name="T1" fmla="*/ 1140 h 1140"/>
                  <a:gd name="T2" fmla="*/ 329 w 449"/>
                  <a:gd name="T3" fmla="*/ 930 h 1140"/>
                  <a:gd name="T4" fmla="*/ 419 w 449"/>
                  <a:gd name="T5" fmla="*/ 690 h 1140"/>
                  <a:gd name="T6" fmla="*/ 239 w 449"/>
                  <a:gd name="T7" fmla="*/ 600 h 1140"/>
                  <a:gd name="T8" fmla="*/ 269 w 449"/>
                  <a:gd name="T9" fmla="*/ 780 h 1140"/>
                  <a:gd name="T10" fmla="*/ 389 w 449"/>
                  <a:gd name="T11" fmla="*/ 570 h 1140"/>
                  <a:gd name="T12" fmla="*/ 419 w 449"/>
                  <a:gd name="T13" fmla="*/ 450 h 1140"/>
                  <a:gd name="T14" fmla="*/ 359 w 449"/>
                  <a:gd name="T15" fmla="*/ 330 h 1140"/>
                  <a:gd name="T16" fmla="*/ 389 w 449"/>
                  <a:gd name="T17" fmla="*/ 180 h 1140"/>
                  <a:gd name="T18" fmla="*/ 239 w 449"/>
                  <a:gd name="T19" fmla="*/ 60 h 1140"/>
                  <a:gd name="T20" fmla="*/ 150 w 449"/>
                  <a:gd name="T21" fmla="*/ 180 h 1140"/>
                  <a:gd name="T22" fmla="*/ 0 w 449"/>
                  <a:gd name="T23" fmla="*/ 270 h 1140"/>
                  <a:gd name="T24" fmla="*/ 0 w 449"/>
                  <a:gd name="T25" fmla="*/ 420 h 1140"/>
                  <a:gd name="T26" fmla="*/ 120 w 449"/>
                  <a:gd name="T27" fmla="*/ 330 h 1140"/>
                  <a:gd name="T28" fmla="*/ 269 w 449"/>
                  <a:gd name="T29" fmla="*/ 210 h 1140"/>
                  <a:gd name="T30" fmla="*/ 239 w 449"/>
                  <a:gd name="T31" fmla="*/ 60 h 1140"/>
                  <a:gd name="T32" fmla="*/ 120 w 449"/>
                  <a:gd name="T33" fmla="*/ 0 h 1140"/>
                  <a:gd name="T34" fmla="*/ 30 w 449"/>
                  <a:gd name="T35" fmla="*/ 90 h 1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9" h="1140">
                    <a:moveTo>
                      <a:pt x="449" y="1140"/>
                    </a:moveTo>
                    <a:lnTo>
                      <a:pt x="329" y="930"/>
                    </a:lnTo>
                    <a:lnTo>
                      <a:pt x="419" y="690"/>
                    </a:lnTo>
                    <a:lnTo>
                      <a:pt x="239" y="600"/>
                    </a:lnTo>
                    <a:lnTo>
                      <a:pt x="269" y="780"/>
                    </a:lnTo>
                    <a:lnTo>
                      <a:pt x="389" y="570"/>
                    </a:lnTo>
                    <a:lnTo>
                      <a:pt x="419" y="450"/>
                    </a:lnTo>
                    <a:lnTo>
                      <a:pt x="359" y="330"/>
                    </a:lnTo>
                    <a:lnTo>
                      <a:pt x="389" y="180"/>
                    </a:lnTo>
                    <a:lnTo>
                      <a:pt x="239" y="60"/>
                    </a:lnTo>
                    <a:lnTo>
                      <a:pt x="150" y="180"/>
                    </a:lnTo>
                    <a:lnTo>
                      <a:pt x="0" y="270"/>
                    </a:lnTo>
                    <a:lnTo>
                      <a:pt x="0" y="420"/>
                    </a:lnTo>
                    <a:lnTo>
                      <a:pt x="120" y="330"/>
                    </a:lnTo>
                    <a:lnTo>
                      <a:pt x="269" y="210"/>
                    </a:lnTo>
                    <a:lnTo>
                      <a:pt x="239" y="60"/>
                    </a:lnTo>
                    <a:lnTo>
                      <a:pt x="120" y="0"/>
                    </a:lnTo>
                    <a:lnTo>
                      <a:pt x="3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8" name="Line 2507">
                <a:extLst>
                  <a:ext uri="{FF2B5EF4-FFF2-40B4-BE49-F238E27FC236}">
                    <a16:creationId xmlns:a16="http://schemas.microsoft.com/office/drawing/2014/main" xmlns="" id="{286A39A2-8C80-4F5F-B812-F740D4C5DA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4" y="159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9" name="Freeform 2508">
                <a:extLst>
                  <a:ext uri="{FF2B5EF4-FFF2-40B4-BE49-F238E27FC236}">
                    <a16:creationId xmlns:a16="http://schemas.microsoft.com/office/drawing/2014/main" xmlns="" id="{89DA4A61-5A79-48B2-B6E1-B422E48145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" y="1740"/>
                <a:ext cx="659" cy="423"/>
              </a:xfrm>
              <a:custGeom>
                <a:avLst/>
                <a:gdLst>
                  <a:gd name="T0" fmla="*/ 300 w 659"/>
                  <a:gd name="T1" fmla="*/ 303 h 423"/>
                  <a:gd name="T2" fmla="*/ 299 w 659"/>
                  <a:gd name="T3" fmla="*/ 150 h 423"/>
                  <a:gd name="T4" fmla="*/ 451 w 659"/>
                  <a:gd name="T5" fmla="*/ 423 h 423"/>
                  <a:gd name="T6" fmla="*/ 483 w 659"/>
                  <a:gd name="T7" fmla="*/ 213 h 423"/>
                  <a:gd name="T8" fmla="*/ 659 w 659"/>
                  <a:gd name="T9" fmla="*/ 300 h 423"/>
                  <a:gd name="T10" fmla="*/ 419 w 659"/>
                  <a:gd name="T11" fmla="*/ 60 h 423"/>
                  <a:gd name="T12" fmla="*/ 479 w 659"/>
                  <a:gd name="T13" fmla="*/ 210 h 423"/>
                  <a:gd name="T14" fmla="*/ 299 w 659"/>
                  <a:gd name="T15" fmla="*/ 0 h 423"/>
                  <a:gd name="T16" fmla="*/ 150 w 659"/>
                  <a:gd name="T17" fmla="*/ 150 h 423"/>
                  <a:gd name="T18" fmla="*/ 0 w 659"/>
                  <a:gd name="T19" fmla="*/ 90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9" h="423">
                    <a:moveTo>
                      <a:pt x="300" y="303"/>
                    </a:moveTo>
                    <a:lnTo>
                      <a:pt x="299" y="150"/>
                    </a:lnTo>
                    <a:lnTo>
                      <a:pt x="451" y="423"/>
                    </a:lnTo>
                    <a:lnTo>
                      <a:pt x="483" y="213"/>
                    </a:lnTo>
                    <a:lnTo>
                      <a:pt x="659" y="300"/>
                    </a:lnTo>
                    <a:lnTo>
                      <a:pt x="419" y="60"/>
                    </a:lnTo>
                    <a:lnTo>
                      <a:pt x="479" y="210"/>
                    </a:lnTo>
                    <a:lnTo>
                      <a:pt x="299" y="0"/>
                    </a:lnTo>
                    <a:lnTo>
                      <a:pt x="150" y="150"/>
                    </a:lnTo>
                    <a:lnTo>
                      <a:pt x="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0" name="Freeform 2509">
                <a:extLst>
                  <a:ext uri="{FF2B5EF4-FFF2-40B4-BE49-F238E27FC236}">
                    <a16:creationId xmlns:a16="http://schemas.microsoft.com/office/drawing/2014/main" xmlns="" id="{389B0C02-E0F1-4BB9-8B6A-A41CA1C9E3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1860"/>
                <a:ext cx="393" cy="123"/>
              </a:xfrm>
              <a:custGeom>
                <a:avLst/>
                <a:gdLst>
                  <a:gd name="T0" fmla="*/ 393 w 393"/>
                  <a:gd name="T1" fmla="*/ 123 h 123"/>
                  <a:gd name="T2" fmla="*/ 90 w 393"/>
                  <a:gd name="T3" fmla="*/ 60 h 123"/>
                  <a:gd name="T4" fmla="*/ 0 w 393"/>
                  <a:gd name="T5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3" h="123">
                    <a:moveTo>
                      <a:pt x="393" y="123"/>
                    </a:moveTo>
                    <a:lnTo>
                      <a:pt x="9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1" name="Freeform 2510">
                <a:extLst>
                  <a:ext uri="{FF2B5EF4-FFF2-40B4-BE49-F238E27FC236}">
                    <a16:creationId xmlns:a16="http://schemas.microsoft.com/office/drawing/2014/main" xmlns="" id="{7F013949-2F1A-43CC-84B7-66C8E611A5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60"/>
                <a:ext cx="690" cy="600"/>
              </a:xfrm>
              <a:custGeom>
                <a:avLst/>
                <a:gdLst>
                  <a:gd name="T0" fmla="*/ 690 w 690"/>
                  <a:gd name="T1" fmla="*/ 600 h 600"/>
                  <a:gd name="T2" fmla="*/ 630 w 690"/>
                  <a:gd name="T3" fmla="*/ 450 h 600"/>
                  <a:gd name="T4" fmla="*/ 480 w 690"/>
                  <a:gd name="T5" fmla="*/ 210 h 600"/>
                  <a:gd name="T6" fmla="*/ 330 w 690"/>
                  <a:gd name="T7" fmla="*/ 0 h 600"/>
                  <a:gd name="T8" fmla="*/ 150 w 690"/>
                  <a:gd name="T9" fmla="*/ 90 h 600"/>
                  <a:gd name="T10" fmla="*/ 60 w 690"/>
                  <a:gd name="T11" fmla="*/ 210 h 600"/>
                  <a:gd name="T12" fmla="*/ 300 w 690"/>
                  <a:gd name="T13" fmla="*/ 210 h 600"/>
                  <a:gd name="T14" fmla="*/ 330 w 690"/>
                  <a:gd name="T15" fmla="*/ 0 h 600"/>
                  <a:gd name="T16" fmla="*/ 0 w 690"/>
                  <a:gd name="T17" fmla="*/ 60 h 600"/>
                  <a:gd name="T18" fmla="*/ 150 w 690"/>
                  <a:gd name="T19" fmla="*/ 90 h 600"/>
                  <a:gd name="T20" fmla="*/ 180 w 690"/>
                  <a:gd name="T21" fmla="*/ 240 h 600"/>
                  <a:gd name="T22" fmla="*/ 60 w 690"/>
                  <a:gd name="T23" fmla="*/ 210 h 600"/>
                  <a:gd name="T24" fmla="*/ 30 w 690"/>
                  <a:gd name="T25" fmla="*/ 360 h 600"/>
                  <a:gd name="T26" fmla="*/ 60 w 690"/>
                  <a:gd name="T27" fmla="*/ 51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90" h="600">
                    <a:moveTo>
                      <a:pt x="690" y="600"/>
                    </a:moveTo>
                    <a:lnTo>
                      <a:pt x="630" y="450"/>
                    </a:lnTo>
                    <a:lnTo>
                      <a:pt x="480" y="210"/>
                    </a:lnTo>
                    <a:lnTo>
                      <a:pt x="330" y="0"/>
                    </a:lnTo>
                    <a:lnTo>
                      <a:pt x="150" y="90"/>
                    </a:lnTo>
                    <a:lnTo>
                      <a:pt x="60" y="210"/>
                    </a:lnTo>
                    <a:lnTo>
                      <a:pt x="300" y="210"/>
                    </a:lnTo>
                    <a:lnTo>
                      <a:pt x="330" y="0"/>
                    </a:lnTo>
                    <a:lnTo>
                      <a:pt x="0" y="60"/>
                    </a:lnTo>
                    <a:lnTo>
                      <a:pt x="150" y="90"/>
                    </a:lnTo>
                    <a:lnTo>
                      <a:pt x="180" y="240"/>
                    </a:lnTo>
                    <a:lnTo>
                      <a:pt x="60" y="210"/>
                    </a:lnTo>
                    <a:lnTo>
                      <a:pt x="30" y="360"/>
                    </a:lnTo>
                    <a:lnTo>
                      <a:pt x="60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2" name="Freeform 2511">
                <a:extLst>
                  <a:ext uri="{FF2B5EF4-FFF2-40B4-BE49-F238E27FC236}">
                    <a16:creationId xmlns:a16="http://schemas.microsoft.com/office/drawing/2014/main" xmlns="" id="{55AC3E09-B6A8-4771-9E4C-520D4D70C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2700"/>
                <a:ext cx="600" cy="510"/>
              </a:xfrm>
              <a:custGeom>
                <a:avLst/>
                <a:gdLst>
                  <a:gd name="T0" fmla="*/ 540 w 600"/>
                  <a:gd name="T1" fmla="*/ 90 h 510"/>
                  <a:gd name="T2" fmla="*/ 600 w 600"/>
                  <a:gd name="T3" fmla="*/ 270 h 510"/>
                  <a:gd name="T4" fmla="*/ 480 w 600"/>
                  <a:gd name="T5" fmla="*/ 270 h 510"/>
                  <a:gd name="T6" fmla="*/ 570 w 600"/>
                  <a:gd name="T7" fmla="*/ 420 h 510"/>
                  <a:gd name="T8" fmla="*/ 510 w 600"/>
                  <a:gd name="T9" fmla="*/ 510 h 510"/>
                  <a:gd name="T10" fmla="*/ 420 w 600"/>
                  <a:gd name="T11" fmla="*/ 360 h 510"/>
                  <a:gd name="T12" fmla="*/ 240 w 600"/>
                  <a:gd name="T13" fmla="*/ 450 h 510"/>
                  <a:gd name="T14" fmla="*/ 300 w 600"/>
                  <a:gd name="T15" fmla="*/ 270 h 510"/>
                  <a:gd name="T16" fmla="*/ 150 w 600"/>
                  <a:gd name="T17" fmla="*/ 420 h 510"/>
                  <a:gd name="T18" fmla="*/ 180 w 600"/>
                  <a:gd name="T19" fmla="*/ 300 h 510"/>
                  <a:gd name="T20" fmla="*/ 30 w 600"/>
                  <a:gd name="T21" fmla="*/ 360 h 510"/>
                  <a:gd name="T22" fmla="*/ 0 w 600"/>
                  <a:gd name="T23" fmla="*/ 510 h 510"/>
                  <a:gd name="T24" fmla="*/ 180 w 600"/>
                  <a:gd name="T25" fmla="*/ 210 h 510"/>
                  <a:gd name="T26" fmla="*/ 60 w 600"/>
                  <a:gd name="T27" fmla="*/ 120 h 510"/>
                  <a:gd name="T28" fmla="*/ 0 w 600"/>
                  <a:gd name="T29" fmla="*/ 210 h 510"/>
                  <a:gd name="T30" fmla="*/ 0 w 600"/>
                  <a:gd name="T31" fmla="*/ 0 h 510"/>
                  <a:gd name="T32" fmla="*/ 180 w 600"/>
                  <a:gd name="T33" fmla="*/ 30 h 510"/>
                  <a:gd name="T34" fmla="*/ 270 w 600"/>
                  <a:gd name="T35" fmla="*/ 120 h 510"/>
                  <a:gd name="T36" fmla="*/ 390 w 600"/>
                  <a:gd name="T37" fmla="*/ 150 h 510"/>
                  <a:gd name="T38" fmla="*/ 540 w 600"/>
                  <a:gd name="T39" fmla="*/ 9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00" h="510">
                    <a:moveTo>
                      <a:pt x="540" y="90"/>
                    </a:moveTo>
                    <a:lnTo>
                      <a:pt x="600" y="270"/>
                    </a:lnTo>
                    <a:lnTo>
                      <a:pt x="480" y="270"/>
                    </a:lnTo>
                    <a:lnTo>
                      <a:pt x="570" y="420"/>
                    </a:lnTo>
                    <a:lnTo>
                      <a:pt x="510" y="510"/>
                    </a:lnTo>
                    <a:lnTo>
                      <a:pt x="420" y="360"/>
                    </a:lnTo>
                    <a:lnTo>
                      <a:pt x="240" y="450"/>
                    </a:lnTo>
                    <a:lnTo>
                      <a:pt x="300" y="270"/>
                    </a:lnTo>
                    <a:lnTo>
                      <a:pt x="150" y="420"/>
                    </a:lnTo>
                    <a:lnTo>
                      <a:pt x="180" y="300"/>
                    </a:lnTo>
                    <a:lnTo>
                      <a:pt x="30" y="360"/>
                    </a:lnTo>
                    <a:lnTo>
                      <a:pt x="0" y="510"/>
                    </a:lnTo>
                    <a:lnTo>
                      <a:pt x="180" y="210"/>
                    </a:lnTo>
                    <a:lnTo>
                      <a:pt x="60" y="120"/>
                    </a:lnTo>
                    <a:lnTo>
                      <a:pt x="0" y="210"/>
                    </a:lnTo>
                    <a:lnTo>
                      <a:pt x="0" y="0"/>
                    </a:lnTo>
                    <a:lnTo>
                      <a:pt x="180" y="30"/>
                    </a:lnTo>
                    <a:lnTo>
                      <a:pt x="270" y="120"/>
                    </a:lnTo>
                    <a:lnTo>
                      <a:pt x="390" y="150"/>
                    </a:lnTo>
                    <a:lnTo>
                      <a:pt x="540" y="9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3" name="Freeform 2512">
                <a:extLst>
                  <a:ext uri="{FF2B5EF4-FFF2-40B4-BE49-F238E27FC236}">
                    <a16:creationId xmlns:a16="http://schemas.microsoft.com/office/drawing/2014/main" xmlns="" id="{BFE34CC8-D34E-4EA3-BC20-57CB1B7559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6" y="2700"/>
                <a:ext cx="539" cy="360"/>
              </a:xfrm>
              <a:custGeom>
                <a:avLst/>
                <a:gdLst>
                  <a:gd name="T0" fmla="*/ 90 w 539"/>
                  <a:gd name="T1" fmla="*/ 360 h 360"/>
                  <a:gd name="T2" fmla="*/ 60 w 539"/>
                  <a:gd name="T3" fmla="*/ 150 h 360"/>
                  <a:gd name="T4" fmla="*/ 0 w 539"/>
                  <a:gd name="T5" fmla="*/ 0 h 360"/>
                  <a:gd name="T6" fmla="*/ 210 w 539"/>
                  <a:gd name="T7" fmla="*/ 90 h 360"/>
                  <a:gd name="T8" fmla="*/ 360 w 539"/>
                  <a:gd name="T9" fmla="*/ 180 h 360"/>
                  <a:gd name="T10" fmla="*/ 270 w 539"/>
                  <a:gd name="T11" fmla="*/ 270 h 360"/>
                  <a:gd name="T12" fmla="*/ 450 w 539"/>
                  <a:gd name="T13" fmla="*/ 330 h 360"/>
                  <a:gd name="T14" fmla="*/ 509 w 539"/>
                  <a:gd name="T15" fmla="*/ 210 h 360"/>
                  <a:gd name="T16" fmla="*/ 360 w 539"/>
                  <a:gd name="T17" fmla="*/ 60 h 360"/>
                  <a:gd name="T18" fmla="*/ 539 w 539"/>
                  <a:gd name="T19" fmla="*/ 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9" h="360">
                    <a:moveTo>
                      <a:pt x="90" y="360"/>
                    </a:moveTo>
                    <a:lnTo>
                      <a:pt x="60" y="150"/>
                    </a:lnTo>
                    <a:lnTo>
                      <a:pt x="0" y="0"/>
                    </a:lnTo>
                    <a:lnTo>
                      <a:pt x="210" y="90"/>
                    </a:lnTo>
                    <a:lnTo>
                      <a:pt x="360" y="180"/>
                    </a:lnTo>
                    <a:lnTo>
                      <a:pt x="270" y="270"/>
                    </a:lnTo>
                    <a:lnTo>
                      <a:pt x="450" y="330"/>
                    </a:lnTo>
                    <a:lnTo>
                      <a:pt x="509" y="210"/>
                    </a:lnTo>
                    <a:lnTo>
                      <a:pt x="360" y="60"/>
                    </a:lnTo>
                    <a:lnTo>
                      <a:pt x="53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4" name="Freeform 2513">
                <a:extLst>
                  <a:ext uri="{FF2B5EF4-FFF2-40B4-BE49-F238E27FC236}">
                    <a16:creationId xmlns:a16="http://schemas.microsoft.com/office/drawing/2014/main" xmlns="" id="{B7FE7D6A-C07A-4C29-8501-7526109E26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6" y="3120"/>
                <a:ext cx="360" cy="90"/>
              </a:xfrm>
              <a:custGeom>
                <a:avLst/>
                <a:gdLst>
                  <a:gd name="T0" fmla="*/ 360 w 360"/>
                  <a:gd name="T1" fmla="*/ 90 h 90"/>
                  <a:gd name="T2" fmla="*/ 90 w 360"/>
                  <a:gd name="T3" fmla="*/ 30 h 90"/>
                  <a:gd name="T4" fmla="*/ 0 w 360"/>
                  <a:gd name="T5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90">
                    <a:moveTo>
                      <a:pt x="360" y="90"/>
                    </a:moveTo>
                    <a:lnTo>
                      <a:pt x="9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5" name="Freeform 2514">
                <a:extLst>
                  <a:ext uri="{FF2B5EF4-FFF2-40B4-BE49-F238E27FC236}">
                    <a16:creationId xmlns:a16="http://schemas.microsoft.com/office/drawing/2014/main" xmlns="" id="{AD7F05CC-6F18-499D-8B88-DAA8A4AE69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2820"/>
                <a:ext cx="270" cy="240"/>
              </a:xfrm>
              <a:custGeom>
                <a:avLst/>
                <a:gdLst>
                  <a:gd name="T0" fmla="*/ 30 w 270"/>
                  <a:gd name="T1" fmla="*/ 240 h 240"/>
                  <a:gd name="T2" fmla="*/ 0 w 270"/>
                  <a:gd name="T3" fmla="*/ 90 h 240"/>
                  <a:gd name="T4" fmla="*/ 270 w 270"/>
                  <a:gd name="T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240">
                    <a:moveTo>
                      <a:pt x="30" y="240"/>
                    </a:moveTo>
                    <a:lnTo>
                      <a:pt x="0" y="90"/>
                    </a:lnTo>
                    <a:lnTo>
                      <a:pt x="27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6" name="Freeform 2515">
                <a:extLst>
                  <a:ext uri="{FF2B5EF4-FFF2-40B4-BE49-F238E27FC236}">
                    <a16:creationId xmlns:a16="http://schemas.microsoft.com/office/drawing/2014/main" xmlns="" id="{D56011FC-231A-4F65-893E-058D81B552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90"/>
                <a:ext cx="210" cy="240"/>
              </a:xfrm>
              <a:custGeom>
                <a:avLst/>
                <a:gdLst>
                  <a:gd name="T0" fmla="*/ 0 w 210"/>
                  <a:gd name="T1" fmla="*/ 240 h 240"/>
                  <a:gd name="T2" fmla="*/ 150 w 210"/>
                  <a:gd name="T3" fmla="*/ 210 h 240"/>
                  <a:gd name="T4" fmla="*/ 120 w 210"/>
                  <a:gd name="T5" fmla="*/ 0 h 240"/>
                  <a:gd name="T6" fmla="*/ 210 w 210"/>
                  <a:gd name="T7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0" h="240">
                    <a:moveTo>
                      <a:pt x="0" y="240"/>
                    </a:moveTo>
                    <a:lnTo>
                      <a:pt x="150" y="210"/>
                    </a:lnTo>
                    <a:lnTo>
                      <a:pt x="120" y="0"/>
                    </a:lnTo>
                    <a:lnTo>
                      <a:pt x="21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7" name="Freeform 2516">
                <a:extLst>
                  <a:ext uri="{FF2B5EF4-FFF2-40B4-BE49-F238E27FC236}">
                    <a16:creationId xmlns:a16="http://schemas.microsoft.com/office/drawing/2014/main" xmlns="" id="{F408D078-7200-44BE-B12B-F70593C6D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2190"/>
                <a:ext cx="510" cy="630"/>
              </a:xfrm>
              <a:custGeom>
                <a:avLst/>
                <a:gdLst>
                  <a:gd name="T0" fmla="*/ 270 w 510"/>
                  <a:gd name="T1" fmla="*/ 450 h 630"/>
                  <a:gd name="T2" fmla="*/ 0 w 510"/>
                  <a:gd name="T3" fmla="*/ 390 h 630"/>
                  <a:gd name="T4" fmla="*/ 30 w 510"/>
                  <a:gd name="T5" fmla="*/ 300 h 630"/>
                  <a:gd name="T6" fmla="*/ 210 w 510"/>
                  <a:gd name="T7" fmla="*/ 330 h 630"/>
                  <a:gd name="T8" fmla="*/ 150 w 510"/>
                  <a:gd name="T9" fmla="*/ 120 h 630"/>
                  <a:gd name="T10" fmla="*/ 90 w 510"/>
                  <a:gd name="T11" fmla="*/ 210 h 630"/>
                  <a:gd name="T12" fmla="*/ 60 w 510"/>
                  <a:gd name="T13" fmla="*/ 120 h 630"/>
                  <a:gd name="T14" fmla="*/ 180 w 510"/>
                  <a:gd name="T15" fmla="*/ 0 h 630"/>
                  <a:gd name="T16" fmla="*/ 300 w 510"/>
                  <a:gd name="T17" fmla="*/ 120 h 630"/>
                  <a:gd name="T18" fmla="*/ 510 w 510"/>
                  <a:gd name="T19" fmla="*/ 150 h 630"/>
                  <a:gd name="T20" fmla="*/ 330 w 510"/>
                  <a:gd name="T21" fmla="*/ 300 h 630"/>
                  <a:gd name="T22" fmla="*/ 270 w 510"/>
                  <a:gd name="T23" fmla="*/ 450 h 630"/>
                  <a:gd name="T24" fmla="*/ 30 w 510"/>
                  <a:gd name="T25" fmla="*/ 510 h 630"/>
                  <a:gd name="T26" fmla="*/ 300 w 510"/>
                  <a:gd name="T27" fmla="*/ 120 h 630"/>
                  <a:gd name="T28" fmla="*/ 30 w 510"/>
                  <a:gd name="T29" fmla="*/ 300 h 630"/>
                  <a:gd name="T30" fmla="*/ 90 w 510"/>
                  <a:gd name="T31" fmla="*/ 210 h 630"/>
                  <a:gd name="T32" fmla="*/ 330 w 510"/>
                  <a:gd name="T33" fmla="*/ 300 h 630"/>
                  <a:gd name="T34" fmla="*/ 210 w 510"/>
                  <a:gd name="T35" fmla="*/ 330 h 630"/>
                  <a:gd name="T36" fmla="*/ 270 w 510"/>
                  <a:gd name="T37" fmla="*/ 450 h 630"/>
                  <a:gd name="T38" fmla="*/ 210 w 510"/>
                  <a:gd name="T39" fmla="*/ 540 h 630"/>
                  <a:gd name="T40" fmla="*/ 90 w 510"/>
                  <a:gd name="T41" fmla="*/ 63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0" h="630">
                    <a:moveTo>
                      <a:pt x="270" y="450"/>
                    </a:moveTo>
                    <a:lnTo>
                      <a:pt x="0" y="390"/>
                    </a:lnTo>
                    <a:lnTo>
                      <a:pt x="30" y="300"/>
                    </a:lnTo>
                    <a:lnTo>
                      <a:pt x="210" y="330"/>
                    </a:lnTo>
                    <a:lnTo>
                      <a:pt x="150" y="120"/>
                    </a:lnTo>
                    <a:lnTo>
                      <a:pt x="90" y="210"/>
                    </a:lnTo>
                    <a:lnTo>
                      <a:pt x="60" y="120"/>
                    </a:lnTo>
                    <a:lnTo>
                      <a:pt x="180" y="0"/>
                    </a:lnTo>
                    <a:lnTo>
                      <a:pt x="300" y="120"/>
                    </a:lnTo>
                    <a:lnTo>
                      <a:pt x="510" y="150"/>
                    </a:lnTo>
                    <a:lnTo>
                      <a:pt x="330" y="300"/>
                    </a:lnTo>
                    <a:lnTo>
                      <a:pt x="270" y="450"/>
                    </a:lnTo>
                    <a:lnTo>
                      <a:pt x="30" y="510"/>
                    </a:lnTo>
                    <a:lnTo>
                      <a:pt x="300" y="120"/>
                    </a:lnTo>
                    <a:lnTo>
                      <a:pt x="30" y="300"/>
                    </a:lnTo>
                    <a:lnTo>
                      <a:pt x="90" y="210"/>
                    </a:lnTo>
                    <a:lnTo>
                      <a:pt x="330" y="300"/>
                    </a:lnTo>
                    <a:lnTo>
                      <a:pt x="210" y="330"/>
                    </a:lnTo>
                    <a:lnTo>
                      <a:pt x="270" y="450"/>
                    </a:lnTo>
                    <a:lnTo>
                      <a:pt x="210" y="540"/>
                    </a:lnTo>
                    <a:lnTo>
                      <a:pt x="90" y="6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8" name="Freeform 2517">
                <a:extLst>
                  <a:ext uri="{FF2B5EF4-FFF2-40B4-BE49-F238E27FC236}">
                    <a16:creationId xmlns:a16="http://schemas.microsoft.com/office/drawing/2014/main" xmlns="" id="{5709CBE7-662C-4D12-AE0B-F37BE4E15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2190"/>
                <a:ext cx="420" cy="480"/>
              </a:xfrm>
              <a:custGeom>
                <a:avLst/>
                <a:gdLst>
                  <a:gd name="T0" fmla="*/ 420 w 420"/>
                  <a:gd name="T1" fmla="*/ 150 h 480"/>
                  <a:gd name="T2" fmla="*/ 120 w 420"/>
                  <a:gd name="T3" fmla="*/ 0 h 480"/>
                  <a:gd name="T4" fmla="*/ 0 w 420"/>
                  <a:gd name="T5" fmla="*/ 120 h 480"/>
                  <a:gd name="T6" fmla="*/ 240 w 420"/>
                  <a:gd name="T7" fmla="*/ 300 h 480"/>
                  <a:gd name="T8" fmla="*/ 120 w 420"/>
                  <a:gd name="T9" fmla="*/ 360 h 480"/>
                  <a:gd name="T10" fmla="*/ 210 w 420"/>
                  <a:gd name="T11" fmla="*/ 48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0" h="480">
                    <a:moveTo>
                      <a:pt x="420" y="150"/>
                    </a:moveTo>
                    <a:lnTo>
                      <a:pt x="120" y="0"/>
                    </a:lnTo>
                    <a:lnTo>
                      <a:pt x="0" y="120"/>
                    </a:lnTo>
                    <a:lnTo>
                      <a:pt x="240" y="300"/>
                    </a:lnTo>
                    <a:lnTo>
                      <a:pt x="120" y="360"/>
                    </a:lnTo>
                    <a:lnTo>
                      <a:pt x="210" y="4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9" name="Freeform 2518">
                <a:extLst>
                  <a:ext uri="{FF2B5EF4-FFF2-40B4-BE49-F238E27FC236}">
                    <a16:creationId xmlns:a16="http://schemas.microsoft.com/office/drawing/2014/main" xmlns="" id="{354420E3-99C4-4AFE-80BA-483FA3699A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1620"/>
                <a:ext cx="420" cy="690"/>
              </a:xfrm>
              <a:custGeom>
                <a:avLst/>
                <a:gdLst>
                  <a:gd name="T0" fmla="*/ 240 w 420"/>
                  <a:gd name="T1" fmla="*/ 690 h 690"/>
                  <a:gd name="T2" fmla="*/ 210 w 420"/>
                  <a:gd name="T3" fmla="*/ 540 h 690"/>
                  <a:gd name="T4" fmla="*/ 150 w 420"/>
                  <a:gd name="T5" fmla="*/ 270 h 690"/>
                  <a:gd name="T6" fmla="*/ 60 w 420"/>
                  <a:gd name="T7" fmla="*/ 0 h 690"/>
                  <a:gd name="T8" fmla="*/ 0 w 420"/>
                  <a:gd name="T9" fmla="*/ 180 h 690"/>
                  <a:gd name="T10" fmla="*/ 150 w 420"/>
                  <a:gd name="T11" fmla="*/ 270 h 690"/>
                  <a:gd name="T12" fmla="*/ 330 w 420"/>
                  <a:gd name="T13" fmla="*/ 390 h 690"/>
                  <a:gd name="T14" fmla="*/ 270 w 420"/>
                  <a:gd name="T15" fmla="*/ 180 h 690"/>
                  <a:gd name="T16" fmla="*/ 420 w 420"/>
                  <a:gd name="T17" fmla="*/ 300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690">
                    <a:moveTo>
                      <a:pt x="240" y="690"/>
                    </a:moveTo>
                    <a:lnTo>
                      <a:pt x="210" y="540"/>
                    </a:lnTo>
                    <a:lnTo>
                      <a:pt x="150" y="270"/>
                    </a:lnTo>
                    <a:lnTo>
                      <a:pt x="60" y="0"/>
                    </a:lnTo>
                    <a:lnTo>
                      <a:pt x="0" y="180"/>
                    </a:lnTo>
                    <a:lnTo>
                      <a:pt x="150" y="270"/>
                    </a:lnTo>
                    <a:lnTo>
                      <a:pt x="330" y="390"/>
                    </a:lnTo>
                    <a:lnTo>
                      <a:pt x="270" y="180"/>
                    </a:lnTo>
                    <a:lnTo>
                      <a:pt x="42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0" name="Freeform 2519">
                <a:extLst>
                  <a:ext uri="{FF2B5EF4-FFF2-40B4-BE49-F238E27FC236}">
                    <a16:creationId xmlns:a16="http://schemas.microsoft.com/office/drawing/2014/main" xmlns="" id="{37A4CDDC-561B-4CD3-8A04-09AA347C13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6" y="2010"/>
                <a:ext cx="420" cy="180"/>
              </a:xfrm>
              <a:custGeom>
                <a:avLst/>
                <a:gdLst>
                  <a:gd name="T0" fmla="*/ 210 w 420"/>
                  <a:gd name="T1" fmla="*/ 150 h 180"/>
                  <a:gd name="T2" fmla="*/ 0 w 420"/>
                  <a:gd name="T3" fmla="*/ 0 h 180"/>
                  <a:gd name="T4" fmla="*/ 30 w 420"/>
                  <a:gd name="T5" fmla="*/ 180 h 180"/>
                  <a:gd name="T6" fmla="*/ 243 w 420"/>
                  <a:gd name="T7" fmla="*/ 3 h 180"/>
                  <a:gd name="T8" fmla="*/ 390 w 420"/>
                  <a:gd name="T9" fmla="*/ 120 h 180"/>
                  <a:gd name="T10" fmla="*/ 420 w 420"/>
                  <a:gd name="T11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0" h="180">
                    <a:moveTo>
                      <a:pt x="210" y="150"/>
                    </a:moveTo>
                    <a:lnTo>
                      <a:pt x="0" y="0"/>
                    </a:lnTo>
                    <a:lnTo>
                      <a:pt x="30" y="180"/>
                    </a:lnTo>
                    <a:lnTo>
                      <a:pt x="243" y="3"/>
                    </a:lnTo>
                    <a:lnTo>
                      <a:pt x="390" y="120"/>
                    </a:lnTo>
                    <a:lnTo>
                      <a:pt x="42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1" name="Line 2520">
                <a:extLst>
                  <a:ext uri="{FF2B5EF4-FFF2-40B4-BE49-F238E27FC236}">
                    <a16:creationId xmlns:a16="http://schemas.microsoft.com/office/drawing/2014/main" xmlns="" id="{55D3A273-7976-4321-ADC2-6CC1D1432F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96" y="2190"/>
                <a:ext cx="0" cy="3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2" name="Line 2521">
                <a:extLst>
                  <a:ext uri="{FF2B5EF4-FFF2-40B4-BE49-F238E27FC236}">
                    <a16:creationId xmlns:a16="http://schemas.microsoft.com/office/drawing/2014/main" xmlns="" id="{9D4F8BA0-7ABB-4CBD-9424-051A138A15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426" y="2310"/>
                <a:ext cx="39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3" name="Freeform 2522">
                <a:extLst>
                  <a:ext uri="{FF2B5EF4-FFF2-40B4-BE49-F238E27FC236}">
                    <a16:creationId xmlns:a16="http://schemas.microsoft.com/office/drawing/2014/main" xmlns="" id="{633F8ACE-7940-42AB-B798-5DC9B87987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950"/>
                <a:ext cx="180" cy="360"/>
              </a:xfrm>
              <a:custGeom>
                <a:avLst/>
                <a:gdLst>
                  <a:gd name="T0" fmla="*/ 180 w 180"/>
                  <a:gd name="T1" fmla="*/ 240 h 360"/>
                  <a:gd name="T2" fmla="*/ 0 w 180"/>
                  <a:gd name="T3" fmla="*/ 210 h 360"/>
                  <a:gd name="T4" fmla="*/ 60 w 180"/>
                  <a:gd name="T5" fmla="*/ 360 h 360"/>
                  <a:gd name="T6" fmla="*/ 180 w 180"/>
                  <a:gd name="T7" fmla="*/ 90 h 360"/>
                  <a:gd name="T8" fmla="*/ 90 w 180"/>
                  <a:gd name="T9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360">
                    <a:moveTo>
                      <a:pt x="180" y="240"/>
                    </a:moveTo>
                    <a:lnTo>
                      <a:pt x="0" y="210"/>
                    </a:lnTo>
                    <a:lnTo>
                      <a:pt x="60" y="360"/>
                    </a:lnTo>
                    <a:lnTo>
                      <a:pt x="180" y="90"/>
                    </a:lnTo>
                    <a:lnTo>
                      <a:pt x="9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4" name="Line 2523">
                <a:extLst>
                  <a:ext uri="{FF2B5EF4-FFF2-40B4-BE49-F238E27FC236}">
                    <a16:creationId xmlns:a16="http://schemas.microsoft.com/office/drawing/2014/main" xmlns="" id="{FAE5ED8C-2B67-4AA2-8187-9F9EFE2125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276" y="2040"/>
                <a:ext cx="18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5" name="Freeform 2524">
                <a:extLst>
                  <a:ext uri="{FF2B5EF4-FFF2-40B4-BE49-F238E27FC236}">
                    <a16:creationId xmlns:a16="http://schemas.microsoft.com/office/drawing/2014/main" xmlns="" id="{7C4482DA-292E-4F59-81E8-299CCFFCD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6" y="1260"/>
                <a:ext cx="180" cy="330"/>
              </a:xfrm>
              <a:custGeom>
                <a:avLst/>
                <a:gdLst>
                  <a:gd name="T0" fmla="*/ 60 w 180"/>
                  <a:gd name="T1" fmla="*/ 0 h 330"/>
                  <a:gd name="T2" fmla="*/ 180 w 180"/>
                  <a:gd name="T3" fmla="*/ 30 h 330"/>
                  <a:gd name="T4" fmla="*/ 0 w 180"/>
                  <a:gd name="T5" fmla="*/ 120 h 330"/>
                  <a:gd name="T6" fmla="*/ 180 w 180"/>
                  <a:gd name="T7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60" y="0"/>
                    </a:moveTo>
                    <a:lnTo>
                      <a:pt x="180" y="30"/>
                    </a:lnTo>
                    <a:lnTo>
                      <a:pt x="0" y="120"/>
                    </a:lnTo>
                    <a:lnTo>
                      <a:pt x="18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6" name="Freeform 2525">
                <a:extLst>
                  <a:ext uri="{FF2B5EF4-FFF2-40B4-BE49-F238E27FC236}">
                    <a16:creationId xmlns:a16="http://schemas.microsoft.com/office/drawing/2014/main" xmlns="" id="{941F5C55-B82E-4F18-87A6-0F7B0F830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1530"/>
                <a:ext cx="180" cy="150"/>
              </a:xfrm>
              <a:custGeom>
                <a:avLst/>
                <a:gdLst>
                  <a:gd name="T0" fmla="*/ 60 w 180"/>
                  <a:gd name="T1" fmla="*/ 0 h 150"/>
                  <a:gd name="T2" fmla="*/ 180 w 180"/>
                  <a:gd name="T3" fmla="*/ 150 h 150"/>
                  <a:gd name="T4" fmla="*/ 0 w 180"/>
                  <a:gd name="T5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60" y="0"/>
                    </a:moveTo>
                    <a:lnTo>
                      <a:pt x="180" y="150"/>
                    </a:lnTo>
                    <a:lnTo>
                      <a:pt x="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7" name="Freeform 2526">
                <a:extLst>
                  <a:ext uri="{FF2B5EF4-FFF2-40B4-BE49-F238E27FC236}">
                    <a16:creationId xmlns:a16="http://schemas.microsoft.com/office/drawing/2014/main" xmlns="" id="{4568AD27-4896-4288-9782-2E93684E6A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110"/>
                <a:ext cx="690" cy="300"/>
              </a:xfrm>
              <a:custGeom>
                <a:avLst/>
                <a:gdLst>
                  <a:gd name="T0" fmla="*/ 330 w 690"/>
                  <a:gd name="T1" fmla="*/ 270 h 300"/>
                  <a:gd name="T2" fmla="*/ 240 w 690"/>
                  <a:gd name="T3" fmla="*/ 150 h 300"/>
                  <a:gd name="T4" fmla="*/ 180 w 690"/>
                  <a:gd name="T5" fmla="*/ 300 h 300"/>
                  <a:gd name="T6" fmla="*/ 0 w 690"/>
                  <a:gd name="T7" fmla="*/ 210 h 300"/>
                  <a:gd name="T8" fmla="*/ 60 w 690"/>
                  <a:gd name="T9" fmla="*/ 90 h 300"/>
                  <a:gd name="T10" fmla="*/ 240 w 690"/>
                  <a:gd name="T11" fmla="*/ 150 h 300"/>
                  <a:gd name="T12" fmla="*/ 360 w 690"/>
                  <a:gd name="T13" fmla="*/ 30 h 300"/>
                  <a:gd name="T14" fmla="*/ 390 w 690"/>
                  <a:gd name="T15" fmla="*/ 150 h 300"/>
                  <a:gd name="T16" fmla="*/ 480 w 690"/>
                  <a:gd name="T17" fmla="*/ 30 h 300"/>
                  <a:gd name="T18" fmla="*/ 690 w 690"/>
                  <a:gd name="T19" fmla="*/ 120 h 300"/>
                  <a:gd name="T20" fmla="*/ 600 w 690"/>
                  <a:gd name="T21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0" h="300">
                    <a:moveTo>
                      <a:pt x="330" y="270"/>
                    </a:moveTo>
                    <a:lnTo>
                      <a:pt x="240" y="150"/>
                    </a:lnTo>
                    <a:lnTo>
                      <a:pt x="180" y="300"/>
                    </a:lnTo>
                    <a:lnTo>
                      <a:pt x="0" y="210"/>
                    </a:lnTo>
                    <a:lnTo>
                      <a:pt x="60" y="90"/>
                    </a:lnTo>
                    <a:lnTo>
                      <a:pt x="240" y="150"/>
                    </a:lnTo>
                    <a:lnTo>
                      <a:pt x="360" y="30"/>
                    </a:lnTo>
                    <a:lnTo>
                      <a:pt x="390" y="150"/>
                    </a:lnTo>
                    <a:lnTo>
                      <a:pt x="480" y="30"/>
                    </a:lnTo>
                    <a:lnTo>
                      <a:pt x="690" y="120"/>
                    </a:lnTo>
                    <a:lnTo>
                      <a:pt x="60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8" name="Freeform 2527">
                <a:extLst>
                  <a:ext uri="{FF2B5EF4-FFF2-40B4-BE49-F238E27FC236}">
                    <a16:creationId xmlns:a16="http://schemas.microsoft.com/office/drawing/2014/main" xmlns="" id="{25847310-7E94-4C50-9437-764091E5C7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600"/>
                <a:ext cx="480" cy="600"/>
              </a:xfrm>
              <a:custGeom>
                <a:avLst/>
                <a:gdLst>
                  <a:gd name="T0" fmla="*/ 60 w 480"/>
                  <a:gd name="T1" fmla="*/ 480 h 600"/>
                  <a:gd name="T2" fmla="*/ 180 w 480"/>
                  <a:gd name="T3" fmla="*/ 540 h 600"/>
                  <a:gd name="T4" fmla="*/ 300 w 480"/>
                  <a:gd name="T5" fmla="*/ 420 h 600"/>
                  <a:gd name="T6" fmla="*/ 330 w 480"/>
                  <a:gd name="T7" fmla="*/ 180 h 600"/>
                  <a:gd name="T8" fmla="*/ 390 w 480"/>
                  <a:gd name="T9" fmla="*/ 300 h 600"/>
                  <a:gd name="T10" fmla="*/ 480 w 480"/>
                  <a:gd name="T11" fmla="*/ 210 h 600"/>
                  <a:gd name="T12" fmla="*/ 420 w 480"/>
                  <a:gd name="T13" fmla="*/ 60 h 600"/>
                  <a:gd name="T14" fmla="*/ 300 w 480"/>
                  <a:gd name="T15" fmla="*/ 60 h 600"/>
                  <a:gd name="T16" fmla="*/ 210 w 480"/>
                  <a:gd name="T17" fmla="*/ 0 h 600"/>
                  <a:gd name="T18" fmla="*/ 150 w 480"/>
                  <a:gd name="T19" fmla="*/ 90 h 600"/>
                  <a:gd name="T20" fmla="*/ 180 w 480"/>
                  <a:gd name="T21" fmla="*/ 270 h 600"/>
                  <a:gd name="T22" fmla="*/ 30 w 480"/>
                  <a:gd name="T23" fmla="*/ 150 h 600"/>
                  <a:gd name="T24" fmla="*/ 0 w 480"/>
                  <a:gd name="T25" fmla="*/ 300 h 600"/>
                  <a:gd name="T26" fmla="*/ 120 w 480"/>
                  <a:gd name="T27" fmla="*/ 390 h 600"/>
                  <a:gd name="T28" fmla="*/ 60 w 480"/>
                  <a:gd name="T29" fmla="*/ 480 h 600"/>
                  <a:gd name="T30" fmla="*/ 60 w 480"/>
                  <a:gd name="T31" fmla="*/ 60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0" h="600">
                    <a:moveTo>
                      <a:pt x="60" y="480"/>
                    </a:moveTo>
                    <a:lnTo>
                      <a:pt x="180" y="540"/>
                    </a:lnTo>
                    <a:lnTo>
                      <a:pt x="300" y="420"/>
                    </a:lnTo>
                    <a:lnTo>
                      <a:pt x="330" y="180"/>
                    </a:lnTo>
                    <a:lnTo>
                      <a:pt x="390" y="300"/>
                    </a:lnTo>
                    <a:lnTo>
                      <a:pt x="480" y="210"/>
                    </a:lnTo>
                    <a:lnTo>
                      <a:pt x="420" y="60"/>
                    </a:lnTo>
                    <a:lnTo>
                      <a:pt x="300" y="60"/>
                    </a:lnTo>
                    <a:lnTo>
                      <a:pt x="210" y="0"/>
                    </a:lnTo>
                    <a:lnTo>
                      <a:pt x="150" y="90"/>
                    </a:lnTo>
                    <a:lnTo>
                      <a:pt x="180" y="270"/>
                    </a:lnTo>
                    <a:lnTo>
                      <a:pt x="30" y="150"/>
                    </a:lnTo>
                    <a:lnTo>
                      <a:pt x="0" y="300"/>
                    </a:lnTo>
                    <a:lnTo>
                      <a:pt x="120" y="390"/>
                    </a:lnTo>
                    <a:lnTo>
                      <a:pt x="60" y="480"/>
                    </a:lnTo>
                    <a:lnTo>
                      <a:pt x="60" y="6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9" name="Freeform 2528">
                <a:extLst>
                  <a:ext uri="{FF2B5EF4-FFF2-40B4-BE49-F238E27FC236}">
                    <a16:creationId xmlns:a16="http://schemas.microsoft.com/office/drawing/2014/main" xmlns="" id="{A7545D2F-E4DF-4F0C-AD9B-28321A7E07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450"/>
                <a:ext cx="90" cy="240"/>
              </a:xfrm>
              <a:custGeom>
                <a:avLst/>
                <a:gdLst>
                  <a:gd name="T0" fmla="*/ 0 w 90"/>
                  <a:gd name="T1" fmla="*/ 120 h 240"/>
                  <a:gd name="T2" fmla="*/ 90 w 90"/>
                  <a:gd name="T3" fmla="*/ 240 h 240"/>
                  <a:gd name="T4" fmla="*/ 60 w 90"/>
                  <a:gd name="T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240">
                    <a:moveTo>
                      <a:pt x="0" y="120"/>
                    </a:moveTo>
                    <a:lnTo>
                      <a:pt x="90" y="240"/>
                    </a:lnTo>
                    <a:lnTo>
                      <a:pt x="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0" name="Freeform 2529">
                <a:extLst>
                  <a:ext uri="{FF2B5EF4-FFF2-40B4-BE49-F238E27FC236}">
                    <a16:creationId xmlns:a16="http://schemas.microsoft.com/office/drawing/2014/main" xmlns="" id="{099591AD-98FA-4887-B4E4-2B9758E6B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6" y="690"/>
                <a:ext cx="180" cy="330"/>
              </a:xfrm>
              <a:custGeom>
                <a:avLst/>
                <a:gdLst>
                  <a:gd name="T0" fmla="*/ 180 w 180"/>
                  <a:gd name="T1" fmla="*/ 90 h 330"/>
                  <a:gd name="T2" fmla="*/ 30 w 180"/>
                  <a:gd name="T3" fmla="*/ 180 h 330"/>
                  <a:gd name="T4" fmla="*/ 150 w 180"/>
                  <a:gd name="T5" fmla="*/ 330 h 330"/>
                  <a:gd name="T6" fmla="*/ 0 w 180"/>
                  <a:gd name="T7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180" y="90"/>
                    </a:moveTo>
                    <a:lnTo>
                      <a:pt x="30" y="180"/>
                    </a:lnTo>
                    <a:lnTo>
                      <a:pt x="150" y="3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1" name="Freeform 2530">
                <a:extLst>
                  <a:ext uri="{FF2B5EF4-FFF2-40B4-BE49-F238E27FC236}">
                    <a16:creationId xmlns:a16="http://schemas.microsoft.com/office/drawing/2014/main" xmlns="" id="{73D51C8C-7161-4667-B936-D9E287074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900"/>
                <a:ext cx="210" cy="240"/>
              </a:xfrm>
              <a:custGeom>
                <a:avLst/>
                <a:gdLst>
                  <a:gd name="T0" fmla="*/ 90 w 210"/>
                  <a:gd name="T1" fmla="*/ 0 h 240"/>
                  <a:gd name="T2" fmla="*/ 60 w 210"/>
                  <a:gd name="T3" fmla="*/ 240 h 240"/>
                  <a:gd name="T4" fmla="*/ 0 w 210"/>
                  <a:gd name="T5" fmla="*/ 120 h 240"/>
                  <a:gd name="T6" fmla="*/ 180 w 210"/>
                  <a:gd name="T7" fmla="*/ 240 h 240"/>
                  <a:gd name="T8" fmla="*/ 210 w 210"/>
                  <a:gd name="T9" fmla="*/ 60 h 240"/>
                  <a:gd name="T10" fmla="*/ 90 w 210"/>
                  <a:gd name="T11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0" h="240">
                    <a:moveTo>
                      <a:pt x="90" y="0"/>
                    </a:moveTo>
                    <a:lnTo>
                      <a:pt x="60" y="240"/>
                    </a:lnTo>
                    <a:lnTo>
                      <a:pt x="0" y="120"/>
                    </a:lnTo>
                    <a:lnTo>
                      <a:pt x="180" y="240"/>
                    </a:lnTo>
                    <a:lnTo>
                      <a:pt x="210" y="60"/>
                    </a:lnTo>
                    <a:lnTo>
                      <a:pt x="9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2" name="Line 2531">
                <a:extLst>
                  <a:ext uri="{FF2B5EF4-FFF2-40B4-BE49-F238E27FC236}">
                    <a16:creationId xmlns:a16="http://schemas.microsoft.com/office/drawing/2014/main" xmlns="" id="{9E32CCDD-2F31-4FB0-B95B-44FC3119C8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576" y="960"/>
                <a:ext cx="21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3" name="Freeform 2532">
                <a:extLst>
                  <a:ext uri="{FF2B5EF4-FFF2-40B4-BE49-F238E27FC236}">
                    <a16:creationId xmlns:a16="http://schemas.microsoft.com/office/drawing/2014/main" xmlns="" id="{0CC01CF7-743A-4172-AC29-D247F576C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990"/>
                <a:ext cx="360" cy="330"/>
              </a:xfrm>
              <a:custGeom>
                <a:avLst/>
                <a:gdLst>
                  <a:gd name="T0" fmla="*/ 120 w 360"/>
                  <a:gd name="T1" fmla="*/ 0 h 330"/>
                  <a:gd name="T2" fmla="*/ 360 w 360"/>
                  <a:gd name="T3" fmla="*/ 150 h 330"/>
                  <a:gd name="T4" fmla="*/ 180 w 360"/>
                  <a:gd name="T5" fmla="*/ 150 h 330"/>
                  <a:gd name="T6" fmla="*/ 240 w 360"/>
                  <a:gd name="T7" fmla="*/ 270 h 330"/>
                  <a:gd name="T8" fmla="*/ 0 w 360"/>
                  <a:gd name="T9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0" h="330">
                    <a:moveTo>
                      <a:pt x="120" y="0"/>
                    </a:moveTo>
                    <a:lnTo>
                      <a:pt x="360" y="150"/>
                    </a:lnTo>
                    <a:lnTo>
                      <a:pt x="180" y="150"/>
                    </a:lnTo>
                    <a:lnTo>
                      <a:pt x="240" y="270"/>
                    </a:lnTo>
                    <a:lnTo>
                      <a:pt x="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4" name="Line 2533">
                <a:extLst>
                  <a:ext uri="{FF2B5EF4-FFF2-40B4-BE49-F238E27FC236}">
                    <a16:creationId xmlns:a16="http://schemas.microsoft.com/office/drawing/2014/main" xmlns="" id="{2831E7E2-6F39-47E2-AAC0-5284361BA2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336" y="1140"/>
                <a:ext cx="120" cy="3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5" name="Freeform 2534">
                <a:extLst>
                  <a:ext uri="{FF2B5EF4-FFF2-40B4-BE49-F238E27FC236}">
                    <a16:creationId xmlns:a16="http://schemas.microsoft.com/office/drawing/2014/main" xmlns="" id="{4501E274-7DE6-4D23-B3BB-9C5AEF520A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1290"/>
                <a:ext cx="450" cy="600"/>
              </a:xfrm>
              <a:custGeom>
                <a:avLst/>
                <a:gdLst>
                  <a:gd name="T0" fmla="*/ 270 w 450"/>
                  <a:gd name="T1" fmla="*/ 510 h 600"/>
                  <a:gd name="T2" fmla="*/ 150 w 450"/>
                  <a:gd name="T3" fmla="*/ 600 h 600"/>
                  <a:gd name="T4" fmla="*/ 270 w 450"/>
                  <a:gd name="T5" fmla="*/ 90 h 600"/>
                  <a:gd name="T6" fmla="*/ 60 w 450"/>
                  <a:gd name="T7" fmla="*/ 330 h 600"/>
                  <a:gd name="T8" fmla="*/ 0 w 450"/>
                  <a:gd name="T9" fmla="*/ 210 h 600"/>
                  <a:gd name="T10" fmla="*/ 120 w 450"/>
                  <a:gd name="T11" fmla="*/ 120 h 600"/>
                  <a:gd name="T12" fmla="*/ 240 w 450"/>
                  <a:gd name="T13" fmla="*/ 390 h 600"/>
                  <a:gd name="T14" fmla="*/ 300 w 450"/>
                  <a:gd name="T15" fmla="*/ 240 h 600"/>
                  <a:gd name="T16" fmla="*/ 450 w 450"/>
                  <a:gd name="T17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0" h="600">
                    <a:moveTo>
                      <a:pt x="270" y="510"/>
                    </a:moveTo>
                    <a:lnTo>
                      <a:pt x="150" y="600"/>
                    </a:lnTo>
                    <a:lnTo>
                      <a:pt x="270" y="90"/>
                    </a:lnTo>
                    <a:lnTo>
                      <a:pt x="60" y="330"/>
                    </a:lnTo>
                    <a:lnTo>
                      <a:pt x="0" y="210"/>
                    </a:lnTo>
                    <a:lnTo>
                      <a:pt x="120" y="120"/>
                    </a:lnTo>
                    <a:lnTo>
                      <a:pt x="240" y="390"/>
                    </a:lnTo>
                    <a:lnTo>
                      <a:pt x="300" y="240"/>
                    </a:lnTo>
                    <a:lnTo>
                      <a:pt x="4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6" name="Freeform 2535">
                <a:extLst>
                  <a:ext uri="{FF2B5EF4-FFF2-40B4-BE49-F238E27FC236}">
                    <a16:creationId xmlns:a16="http://schemas.microsoft.com/office/drawing/2014/main" xmlns="" id="{65855E69-BFAC-4CA9-9B86-ABE93CAA15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60"/>
                <a:ext cx="390" cy="540"/>
              </a:xfrm>
              <a:custGeom>
                <a:avLst/>
                <a:gdLst>
                  <a:gd name="T0" fmla="*/ 90 w 390"/>
                  <a:gd name="T1" fmla="*/ 210 h 540"/>
                  <a:gd name="T2" fmla="*/ 270 w 390"/>
                  <a:gd name="T3" fmla="*/ 0 h 540"/>
                  <a:gd name="T4" fmla="*/ 390 w 390"/>
                  <a:gd name="T5" fmla="*/ 90 h 540"/>
                  <a:gd name="T6" fmla="*/ 360 w 390"/>
                  <a:gd name="T7" fmla="*/ 240 h 540"/>
                  <a:gd name="T8" fmla="*/ 270 w 390"/>
                  <a:gd name="T9" fmla="*/ 210 h 540"/>
                  <a:gd name="T10" fmla="*/ 60 w 390"/>
                  <a:gd name="T11" fmla="*/ 360 h 540"/>
                  <a:gd name="T12" fmla="*/ 90 w 390"/>
                  <a:gd name="T13" fmla="*/ 210 h 540"/>
                  <a:gd name="T14" fmla="*/ 240 w 390"/>
                  <a:gd name="T15" fmla="*/ 300 h 540"/>
                  <a:gd name="T16" fmla="*/ 0 w 390"/>
                  <a:gd name="T17" fmla="*/ 54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0" h="540">
                    <a:moveTo>
                      <a:pt x="90" y="210"/>
                    </a:moveTo>
                    <a:lnTo>
                      <a:pt x="270" y="0"/>
                    </a:lnTo>
                    <a:lnTo>
                      <a:pt x="390" y="90"/>
                    </a:lnTo>
                    <a:lnTo>
                      <a:pt x="360" y="240"/>
                    </a:lnTo>
                    <a:lnTo>
                      <a:pt x="270" y="210"/>
                    </a:lnTo>
                    <a:lnTo>
                      <a:pt x="60" y="360"/>
                    </a:lnTo>
                    <a:lnTo>
                      <a:pt x="90" y="210"/>
                    </a:lnTo>
                    <a:lnTo>
                      <a:pt x="240" y="300"/>
                    </a:lnTo>
                    <a:lnTo>
                      <a:pt x="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7" name="Line 2536">
                <a:extLst>
                  <a:ext uri="{FF2B5EF4-FFF2-40B4-BE49-F238E27FC236}">
                    <a16:creationId xmlns:a16="http://schemas.microsoft.com/office/drawing/2014/main" xmlns="" id="{9070869B-C1E4-4AC6-B5EF-F6CC723729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76" y="120"/>
                <a:ext cx="6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8" name="Freeform 2537">
                <a:extLst>
                  <a:ext uri="{FF2B5EF4-FFF2-40B4-BE49-F238E27FC236}">
                    <a16:creationId xmlns:a16="http://schemas.microsoft.com/office/drawing/2014/main" xmlns="" id="{61CFEBAB-E174-48BF-ABBF-F21C43910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420"/>
                <a:ext cx="300" cy="570"/>
              </a:xfrm>
              <a:custGeom>
                <a:avLst/>
                <a:gdLst>
                  <a:gd name="T0" fmla="*/ 90 w 300"/>
                  <a:gd name="T1" fmla="*/ 30 h 570"/>
                  <a:gd name="T2" fmla="*/ 240 w 300"/>
                  <a:gd name="T3" fmla="*/ 0 h 570"/>
                  <a:gd name="T4" fmla="*/ 180 w 300"/>
                  <a:gd name="T5" fmla="*/ 180 h 570"/>
                  <a:gd name="T6" fmla="*/ 90 w 300"/>
                  <a:gd name="T7" fmla="*/ 30 h 570"/>
                  <a:gd name="T8" fmla="*/ 30 w 300"/>
                  <a:gd name="T9" fmla="*/ 150 h 570"/>
                  <a:gd name="T10" fmla="*/ 0 w 300"/>
                  <a:gd name="T11" fmla="*/ 330 h 570"/>
                  <a:gd name="T12" fmla="*/ 90 w 300"/>
                  <a:gd name="T13" fmla="*/ 570 h 570"/>
                  <a:gd name="T14" fmla="*/ 150 w 300"/>
                  <a:gd name="T15" fmla="*/ 450 h 570"/>
                  <a:gd name="T16" fmla="*/ 270 w 300"/>
                  <a:gd name="T17" fmla="*/ 240 h 570"/>
                  <a:gd name="T18" fmla="*/ 300 w 300"/>
                  <a:gd name="T19" fmla="*/ 120 h 570"/>
                  <a:gd name="T20" fmla="*/ 240 w 300"/>
                  <a:gd name="T21" fmla="*/ 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0" h="570">
                    <a:moveTo>
                      <a:pt x="90" y="30"/>
                    </a:moveTo>
                    <a:lnTo>
                      <a:pt x="240" y="0"/>
                    </a:lnTo>
                    <a:lnTo>
                      <a:pt x="180" y="180"/>
                    </a:lnTo>
                    <a:lnTo>
                      <a:pt x="90" y="30"/>
                    </a:lnTo>
                    <a:lnTo>
                      <a:pt x="30" y="150"/>
                    </a:lnTo>
                    <a:lnTo>
                      <a:pt x="0" y="330"/>
                    </a:lnTo>
                    <a:lnTo>
                      <a:pt x="90" y="570"/>
                    </a:lnTo>
                    <a:lnTo>
                      <a:pt x="150" y="450"/>
                    </a:lnTo>
                    <a:lnTo>
                      <a:pt x="270" y="240"/>
                    </a:lnTo>
                    <a:lnTo>
                      <a:pt x="300" y="120"/>
                    </a:lnTo>
                    <a:lnTo>
                      <a:pt x="24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9" name="Freeform 2538">
                <a:extLst>
                  <a:ext uri="{FF2B5EF4-FFF2-40B4-BE49-F238E27FC236}">
                    <a16:creationId xmlns:a16="http://schemas.microsoft.com/office/drawing/2014/main" xmlns="" id="{B301EB76-9BA0-4DB0-ACEC-8A77286E0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300"/>
                <a:ext cx="150" cy="360"/>
              </a:xfrm>
              <a:custGeom>
                <a:avLst/>
                <a:gdLst>
                  <a:gd name="T0" fmla="*/ 0 w 150"/>
                  <a:gd name="T1" fmla="*/ 360 h 360"/>
                  <a:gd name="T2" fmla="*/ 30 w 150"/>
                  <a:gd name="T3" fmla="*/ 180 h 360"/>
                  <a:gd name="T4" fmla="*/ 150 w 150"/>
                  <a:gd name="T5" fmla="*/ 0 h 360"/>
                  <a:gd name="T6" fmla="*/ 30 w 150"/>
                  <a:gd name="T7" fmla="*/ 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0" h="360">
                    <a:moveTo>
                      <a:pt x="0" y="360"/>
                    </a:moveTo>
                    <a:lnTo>
                      <a:pt x="30" y="180"/>
                    </a:lnTo>
                    <a:lnTo>
                      <a:pt x="150" y="0"/>
                    </a:lnTo>
                    <a:lnTo>
                      <a:pt x="3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0" name="Freeform 2539">
                <a:extLst>
                  <a:ext uri="{FF2B5EF4-FFF2-40B4-BE49-F238E27FC236}">
                    <a16:creationId xmlns:a16="http://schemas.microsoft.com/office/drawing/2014/main" xmlns="" id="{9040ABAE-77D7-43E4-914D-22CB4376F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6" y="60"/>
                <a:ext cx="390" cy="240"/>
              </a:xfrm>
              <a:custGeom>
                <a:avLst/>
                <a:gdLst>
                  <a:gd name="T0" fmla="*/ 390 w 390"/>
                  <a:gd name="T1" fmla="*/ 210 h 240"/>
                  <a:gd name="T2" fmla="*/ 300 w 390"/>
                  <a:gd name="T3" fmla="*/ 0 h 240"/>
                  <a:gd name="T4" fmla="*/ 0 w 390"/>
                  <a:gd name="T5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0" h="240">
                    <a:moveTo>
                      <a:pt x="390" y="210"/>
                    </a:moveTo>
                    <a:lnTo>
                      <a:pt x="300" y="0"/>
                    </a:lnTo>
                    <a:lnTo>
                      <a:pt x="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1" name="Freeform 2540">
                <a:extLst>
                  <a:ext uri="{FF2B5EF4-FFF2-40B4-BE49-F238E27FC236}">
                    <a16:creationId xmlns:a16="http://schemas.microsoft.com/office/drawing/2014/main" xmlns="" id="{E327E3B3-81E0-4A20-918C-55CA9D4A3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2700"/>
                <a:ext cx="480" cy="360"/>
              </a:xfrm>
              <a:custGeom>
                <a:avLst/>
                <a:gdLst>
                  <a:gd name="T0" fmla="*/ 0 w 480"/>
                  <a:gd name="T1" fmla="*/ 300 h 360"/>
                  <a:gd name="T2" fmla="*/ 30 w 480"/>
                  <a:gd name="T3" fmla="*/ 150 h 360"/>
                  <a:gd name="T4" fmla="*/ 180 w 480"/>
                  <a:gd name="T5" fmla="*/ 360 h 360"/>
                  <a:gd name="T6" fmla="*/ 330 w 480"/>
                  <a:gd name="T7" fmla="*/ 300 h 360"/>
                  <a:gd name="T8" fmla="*/ 330 w 480"/>
                  <a:gd name="T9" fmla="*/ 210 h 360"/>
                  <a:gd name="T10" fmla="*/ 150 w 480"/>
                  <a:gd name="T11" fmla="*/ 210 h 360"/>
                  <a:gd name="T12" fmla="*/ 420 w 480"/>
                  <a:gd name="T13" fmla="*/ 120 h 360"/>
                  <a:gd name="T14" fmla="*/ 450 w 480"/>
                  <a:gd name="T15" fmla="*/ 270 h 360"/>
                  <a:gd name="T16" fmla="*/ 480 w 480"/>
                  <a:gd name="T1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0" h="360">
                    <a:moveTo>
                      <a:pt x="0" y="300"/>
                    </a:moveTo>
                    <a:lnTo>
                      <a:pt x="30" y="150"/>
                    </a:lnTo>
                    <a:lnTo>
                      <a:pt x="180" y="360"/>
                    </a:lnTo>
                    <a:lnTo>
                      <a:pt x="330" y="300"/>
                    </a:lnTo>
                    <a:lnTo>
                      <a:pt x="330" y="210"/>
                    </a:lnTo>
                    <a:lnTo>
                      <a:pt x="150" y="210"/>
                    </a:lnTo>
                    <a:lnTo>
                      <a:pt x="420" y="120"/>
                    </a:lnTo>
                    <a:lnTo>
                      <a:pt x="450" y="270"/>
                    </a:lnTo>
                    <a:lnTo>
                      <a:pt x="4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2" name="Freeform 2541">
                <a:extLst>
                  <a:ext uri="{FF2B5EF4-FFF2-40B4-BE49-F238E27FC236}">
                    <a16:creationId xmlns:a16="http://schemas.microsoft.com/office/drawing/2014/main" xmlns="" id="{E7902DDA-BD61-43E0-B090-59FE11167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1950"/>
                <a:ext cx="570" cy="1260"/>
              </a:xfrm>
              <a:custGeom>
                <a:avLst/>
                <a:gdLst>
                  <a:gd name="T0" fmla="*/ 540 w 570"/>
                  <a:gd name="T1" fmla="*/ 1200 h 1260"/>
                  <a:gd name="T2" fmla="*/ 300 w 570"/>
                  <a:gd name="T3" fmla="*/ 1260 h 1260"/>
                  <a:gd name="T4" fmla="*/ 210 w 570"/>
                  <a:gd name="T5" fmla="*/ 1170 h 1260"/>
                  <a:gd name="T6" fmla="*/ 90 w 570"/>
                  <a:gd name="T7" fmla="*/ 1140 h 1260"/>
                  <a:gd name="T8" fmla="*/ 0 w 570"/>
                  <a:gd name="T9" fmla="*/ 990 h 1260"/>
                  <a:gd name="T10" fmla="*/ 180 w 570"/>
                  <a:gd name="T11" fmla="*/ 900 h 1260"/>
                  <a:gd name="T12" fmla="*/ 180 w 570"/>
                  <a:gd name="T13" fmla="*/ 720 h 1260"/>
                  <a:gd name="T14" fmla="*/ 300 w 570"/>
                  <a:gd name="T15" fmla="*/ 960 h 1260"/>
                  <a:gd name="T16" fmla="*/ 300 w 570"/>
                  <a:gd name="T17" fmla="*/ 750 h 1260"/>
                  <a:gd name="T18" fmla="*/ 480 w 570"/>
                  <a:gd name="T19" fmla="*/ 570 h 1260"/>
                  <a:gd name="T20" fmla="*/ 270 w 570"/>
                  <a:gd name="T21" fmla="*/ 630 h 1260"/>
                  <a:gd name="T22" fmla="*/ 150 w 570"/>
                  <a:gd name="T23" fmla="*/ 600 h 1260"/>
                  <a:gd name="T24" fmla="*/ 360 w 570"/>
                  <a:gd name="T25" fmla="*/ 450 h 1260"/>
                  <a:gd name="T26" fmla="*/ 240 w 570"/>
                  <a:gd name="T27" fmla="*/ 300 h 1260"/>
                  <a:gd name="T28" fmla="*/ 120 w 570"/>
                  <a:gd name="T29" fmla="*/ 360 h 1260"/>
                  <a:gd name="T30" fmla="*/ 360 w 570"/>
                  <a:gd name="T31" fmla="*/ 0 h 1260"/>
                  <a:gd name="T32" fmla="*/ 450 w 570"/>
                  <a:gd name="T33" fmla="*/ 210 h 1260"/>
                  <a:gd name="T34" fmla="*/ 570 w 570"/>
                  <a:gd name="T35" fmla="*/ 60 h 1260"/>
                  <a:gd name="T36" fmla="*/ 540 w 570"/>
                  <a:gd name="T37" fmla="*/ 420 h 1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0" h="1260">
                    <a:moveTo>
                      <a:pt x="540" y="1200"/>
                    </a:moveTo>
                    <a:lnTo>
                      <a:pt x="300" y="1260"/>
                    </a:lnTo>
                    <a:lnTo>
                      <a:pt x="210" y="1170"/>
                    </a:lnTo>
                    <a:lnTo>
                      <a:pt x="90" y="1140"/>
                    </a:lnTo>
                    <a:lnTo>
                      <a:pt x="0" y="990"/>
                    </a:lnTo>
                    <a:lnTo>
                      <a:pt x="180" y="900"/>
                    </a:lnTo>
                    <a:lnTo>
                      <a:pt x="180" y="720"/>
                    </a:lnTo>
                    <a:lnTo>
                      <a:pt x="300" y="960"/>
                    </a:lnTo>
                    <a:lnTo>
                      <a:pt x="300" y="750"/>
                    </a:lnTo>
                    <a:lnTo>
                      <a:pt x="480" y="570"/>
                    </a:lnTo>
                    <a:lnTo>
                      <a:pt x="270" y="630"/>
                    </a:lnTo>
                    <a:lnTo>
                      <a:pt x="150" y="600"/>
                    </a:lnTo>
                    <a:lnTo>
                      <a:pt x="360" y="450"/>
                    </a:lnTo>
                    <a:lnTo>
                      <a:pt x="240" y="300"/>
                    </a:lnTo>
                    <a:lnTo>
                      <a:pt x="120" y="360"/>
                    </a:lnTo>
                    <a:lnTo>
                      <a:pt x="360" y="0"/>
                    </a:lnTo>
                    <a:lnTo>
                      <a:pt x="450" y="210"/>
                    </a:lnTo>
                    <a:lnTo>
                      <a:pt x="570" y="60"/>
                    </a:lnTo>
                    <a:lnTo>
                      <a:pt x="540" y="4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3" name="Freeform 2542">
                <a:extLst>
                  <a:ext uri="{FF2B5EF4-FFF2-40B4-BE49-F238E27FC236}">
                    <a16:creationId xmlns:a16="http://schemas.microsoft.com/office/drawing/2014/main" xmlns="" id="{07C9424A-BA75-4A52-AE7C-5C3A0C714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1890"/>
                <a:ext cx="869" cy="1320"/>
              </a:xfrm>
              <a:custGeom>
                <a:avLst/>
                <a:gdLst>
                  <a:gd name="T0" fmla="*/ 869 w 869"/>
                  <a:gd name="T1" fmla="*/ 660 h 1320"/>
                  <a:gd name="T2" fmla="*/ 839 w 869"/>
                  <a:gd name="T3" fmla="*/ 300 h 1320"/>
                  <a:gd name="T4" fmla="*/ 809 w 869"/>
                  <a:gd name="T5" fmla="*/ 120 h 1320"/>
                  <a:gd name="T6" fmla="*/ 719 w 869"/>
                  <a:gd name="T7" fmla="*/ 0 h 1320"/>
                  <a:gd name="T8" fmla="*/ 599 w 869"/>
                  <a:gd name="T9" fmla="*/ 60 h 1320"/>
                  <a:gd name="T10" fmla="*/ 599 w 869"/>
                  <a:gd name="T11" fmla="*/ 150 h 1320"/>
                  <a:gd name="T12" fmla="*/ 509 w 869"/>
                  <a:gd name="T13" fmla="*/ 270 h 1320"/>
                  <a:gd name="T14" fmla="*/ 479 w 869"/>
                  <a:gd name="T15" fmla="*/ 360 h 1320"/>
                  <a:gd name="T16" fmla="*/ 599 w 869"/>
                  <a:gd name="T17" fmla="*/ 300 h 1320"/>
                  <a:gd name="T18" fmla="*/ 689 w 869"/>
                  <a:gd name="T19" fmla="*/ 270 h 1320"/>
                  <a:gd name="T20" fmla="*/ 659 w 869"/>
                  <a:gd name="T21" fmla="*/ 420 h 1320"/>
                  <a:gd name="T22" fmla="*/ 779 w 869"/>
                  <a:gd name="T23" fmla="*/ 480 h 1320"/>
                  <a:gd name="T24" fmla="*/ 869 w 869"/>
                  <a:gd name="T25" fmla="*/ 660 h 1320"/>
                  <a:gd name="T26" fmla="*/ 719 w 869"/>
                  <a:gd name="T27" fmla="*/ 630 h 1320"/>
                  <a:gd name="T28" fmla="*/ 599 w 869"/>
                  <a:gd name="T29" fmla="*/ 510 h 1320"/>
                  <a:gd name="T30" fmla="*/ 539 w 869"/>
                  <a:gd name="T31" fmla="*/ 600 h 1320"/>
                  <a:gd name="T32" fmla="*/ 509 w 869"/>
                  <a:gd name="T33" fmla="*/ 690 h 1320"/>
                  <a:gd name="T34" fmla="*/ 539 w 869"/>
                  <a:gd name="T35" fmla="*/ 810 h 1320"/>
                  <a:gd name="T36" fmla="*/ 269 w 869"/>
                  <a:gd name="T37" fmla="*/ 870 h 1320"/>
                  <a:gd name="T38" fmla="*/ 419 w 869"/>
                  <a:gd name="T39" fmla="*/ 960 h 1320"/>
                  <a:gd name="T40" fmla="*/ 539 w 869"/>
                  <a:gd name="T41" fmla="*/ 1020 h 1320"/>
                  <a:gd name="T42" fmla="*/ 599 w 869"/>
                  <a:gd name="T43" fmla="*/ 930 h 1320"/>
                  <a:gd name="T44" fmla="*/ 719 w 869"/>
                  <a:gd name="T45" fmla="*/ 840 h 1320"/>
                  <a:gd name="T46" fmla="*/ 779 w 869"/>
                  <a:gd name="T47" fmla="*/ 750 h 1320"/>
                  <a:gd name="T48" fmla="*/ 869 w 869"/>
                  <a:gd name="T49" fmla="*/ 810 h 1320"/>
                  <a:gd name="T50" fmla="*/ 809 w 869"/>
                  <a:gd name="T51" fmla="*/ 930 h 1320"/>
                  <a:gd name="T52" fmla="*/ 719 w 869"/>
                  <a:gd name="T53" fmla="*/ 1020 h 1320"/>
                  <a:gd name="T54" fmla="*/ 839 w 869"/>
                  <a:gd name="T55" fmla="*/ 1080 h 1320"/>
                  <a:gd name="T56" fmla="*/ 719 w 869"/>
                  <a:gd name="T57" fmla="*/ 1110 h 1320"/>
                  <a:gd name="T58" fmla="*/ 779 w 869"/>
                  <a:gd name="T59" fmla="*/ 1260 h 1320"/>
                  <a:gd name="T60" fmla="*/ 689 w 869"/>
                  <a:gd name="T61" fmla="*/ 1230 h 1320"/>
                  <a:gd name="T62" fmla="*/ 539 w 869"/>
                  <a:gd name="T63" fmla="*/ 1320 h 1320"/>
                  <a:gd name="T64" fmla="*/ 569 w 869"/>
                  <a:gd name="T65" fmla="*/ 1170 h 1320"/>
                  <a:gd name="T66" fmla="*/ 449 w 869"/>
                  <a:gd name="T67" fmla="*/ 1230 h 1320"/>
                  <a:gd name="T68" fmla="*/ 389 w 869"/>
                  <a:gd name="T69" fmla="*/ 1110 h 1320"/>
                  <a:gd name="T70" fmla="*/ 329 w 869"/>
                  <a:gd name="T71" fmla="*/ 1200 h 1320"/>
                  <a:gd name="T72" fmla="*/ 299 w 869"/>
                  <a:gd name="T73" fmla="*/ 960 h 1320"/>
                  <a:gd name="T74" fmla="*/ 239 w 869"/>
                  <a:gd name="T75" fmla="*/ 1050 h 1320"/>
                  <a:gd name="T76" fmla="*/ 269 w 869"/>
                  <a:gd name="T77" fmla="*/ 870 h 1320"/>
                  <a:gd name="T78" fmla="*/ 419 w 869"/>
                  <a:gd name="T79" fmla="*/ 780 h 1320"/>
                  <a:gd name="T80" fmla="*/ 239 w 869"/>
                  <a:gd name="T81" fmla="*/ 690 h 1320"/>
                  <a:gd name="T82" fmla="*/ 269 w 869"/>
                  <a:gd name="T83" fmla="*/ 870 h 1320"/>
                  <a:gd name="T84" fmla="*/ 389 w 869"/>
                  <a:gd name="T85" fmla="*/ 660 h 1320"/>
                  <a:gd name="T86" fmla="*/ 419 w 869"/>
                  <a:gd name="T87" fmla="*/ 540 h 1320"/>
                  <a:gd name="T88" fmla="*/ 359 w 869"/>
                  <a:gd name="T89" fmla="*/ 420 h 1320"/>
                  <a:gd name="T90" fmla="*/ 389 w 869"/>
                  <a:gd name="T91" fmla="*/ 270 h 1320"/>
                  <a:gd name="T92" fmla="*/ 239 w 869"/>
                  <a:gd name="T93" fmla="*/ 150 h 1320"/>
                  <a:gd name="T94" fmla="*/ 150 w 869"/>
                  <a:gd name="T95" fmla="*/ 270 h 1320"/>
                  <a:gd name="T96" fmla="*/ 0 w 869"/>
                  <a:gd name="T97" fmla="*/ 360 h 1320"/>
                  <a:gd name="T98" fmla="*/ 0 w 869"/>
                  <a:gd name="T99" fmla="*/ 510 h 1320"/>
                  <a:gd name="T100" fmla="*/ 120 w 869"/>
                  <a:gd name="T101" fmla="*/ 420 h 1320"/>
                  <a:gd name="T102" fmla="*/ 269 w 869"/>
                  <a:gd name="T103" fmla="*/ 300 h 1320"/>
                  <a:gd name="T104" fmla="*/ 239 w 869"/>
                  <a:gd name="T105" fmla="*/ 150 h 1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69" h="1320">
                    <a:moveTo>
                      <a:pt x="869" y="660"/>
                    </a:moveTo>
                    <a:lnTo>
                      <a:pt x="839" y="300"/>
                    </a:lnTo>
                    <a:lnTo>
                      <a:pt x="809" y="120"/>
                    </a:lnTo>
                    <a:lnTo>
                      <a:pt x="719" y="0"/>
                    </a:lnTo>
                    <a:lnTo>
                      <a:pt x="599" y="60"/>
                    </a:lnTo>
                    <a:lnTo>
                      <a:pt x="599" y="150"/>
                    </a:lnTo>
                    <a:lnTo>
                      <a:pt x="509" y="270"/>
                    </a:lnTo>
                    <a:lnTo>
                      <a:pt x="479" y="360"/>
                    </a:lnTo>
                    <a:lnTo>
                      <a:pt x="599" y="300"/>
                    </a:lnTo>
                    <a:lnTo>
                      <a:pt x="689" y="270"/>
                    </a:lnTo>
                    <a:lnTo>
                      <a:pt x="659" y="420"/>
                    </a:lnTo>
                    <a:lnTo>
                      <a:pt x="779" y="480"/>
                    </a:lnTo>
                    <a:lnTo>
                      <a:pt x="869" y="660"/>
                    </a:lnTo>
                    <a:lnTo>
                      <a:pt x="719" y="630"/>
                    </a:lnTo>
                    <a:lnTo>
                      <a:pt x="599" y="510"/>
                    </a:lnTo>
                    <a:lnTo>
                      <a:pt x="539" y="600"/>
                    </a:lnTo>
                    <a:lnTo>
                      <a:pt x="509" y="690"/>
                    </a:lnTo>
                    <a:lnTo>
                      <a:pt x="539" y="810"/>
                    </a:lnTo>
                    <a:lnTo>
                      <a:pt x="269" y="870"/>
                    </a:lnTo>
                    <a:lnTo>
                      <a:pt x="419" y="960"/>
                    </a:lnTo>
                    <a:lnTo>
                      <a:pt x="539" y="1020"/>
                    </a:lnTo>
                    <a:lnTo>
                      <a:pt x="599" y="930"/>
                    </a:lnTo>
                    <a:lnTo>
                      <a:pt x="719" y="840"/>
                    </a:lnTo>
                    <a:lnTo>
                      <a:pt x="779" y="750"/>
                    </a:lnTo>
                    <a:lnTo>
                      <a:pt x="869" y="810"/>
                    </a:lnTo>
                    <a:lnTo>
                      <a:pt x="809" y="930"/>
                    </a:lnTo>
                    <a:lnTo>
                      <a:pt x="719" y="1020"/>
                    </a:lnTo>
                    <a:lnTo>
                      <a:pt x="839" y="1080"/>
                    </a:lnTo>
                    <a:lnTo>
                      <a:pt x="719" y="1110"/>
                    </a:lnTo>
                    <a:lnTo>
                      <a:pt x="779" y="1260"/>
                    </a:lnTo>
                    <a:lnTo>
                      <a:pt x="689" y="1230"/>
                    </a:lnTo>
                    <a:lnTo>
                      <a:pt x="539" y="1320"/>
                    </a:lnTo>
                    <a:lnTo>
                      <a:pt x="569" y="1170"/>
                    </a:lnTo>
                    <a:lnTo>
                      <a:pt x="449" y="1230"/>
                    </a:lnTo>
                    <a:lnTo>
                      <a:pt x="389" y="1110"/>
                    </a:lnTo>
                    <a:lnTo>
                      <a:pt x="329" y="1200"/>
                    </a:lnTo>
                    <a:lnTo>
                      <a:pt x="299" y="960"/>
                    </a:lnTo>
                    <a:lnTo>
                      <a:pt x="239" y="1050"/>
                    </a:lnTo>
                    <a:lnTo>
                      <a:pt x="269" y="870"/>
                    </a:lnTo>
                    <a:lnTo>
                      <a:pt x="419" y="780"/>
                    </a:lnTo>
                    <a:lnTo>
                      <a:pt x="239" y="690"/>
                    </a:lnTo>
                    <a:lnTo>
                      <a:pt x="269" y="870"/>
                    </a:lnTo>
                    <a:lnTo>
                      <a:pt x="389" y="660"/>
                    </a:lnTo>
                    <a:lnTo>
                      <a:pt x="419" y="540"/>
                    </a:lnTo>
                    <a:lnTo>
                      <a:pt x="359" y="420"/>
                    </a:lnTo>
                    <a:lnTo>
                      <a:pt x="389" y="270"/>
                    </a:lnTo>
                    <a:lnTo>
                      <a:pt x="239" y="150"/>
                    </a:lnTo>
                    <a:lnTo>
                      <a:pt x="150" y="270"/>
                    </a:lnTo>
                    <a:lnTo>
                      <a:pt x="0" y="360"/>
                    </a:lnTo>
                    <a:lnTo>
                      <a:pt x="0" y="510"/>
                    </a:lnTo>
                    <a:lnTo>
                      <a:pt x="120" y="420"/>
                    </a:lnTo>
                    <a:lnTo>
                      <a:pt x="269" y="300"/>
                    </a:lnTo>
                    <a:lnTo>
                      <a:pt x="239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4" name="Freeform 2543">
                <a:extLst>
                  <a:ext uri="{FF2B5EF4-FFF2-40B4-BE49-F238E27FC236}">
                    <a16:creationId xmlns:a16="http://schemas.microsoft.com/office/drawing/2014/main" xmlns="" id="{9F714CCA-0BAA-4F3E-BC3D-22DAB60A90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2250"/>
                <a:ext cx="390" cy="570"/>
              </a:xfrm>
              <a:custGeom>
                <a:avLst/>
                <a:gdLst>
                  <a:gd name="T0" fmla="*/ 120 w 390"/>
                  <a:gd name="T1" fmla="*/ 450 h 570"/>
                  <a:gd name="T2" fmla="*/ 300 w 390"/>
                  <a:gd name="T3" fmla="*/ 480 h 570"/>
                  <a:gd name="T4" fmla="*/ 390 w 390"/>
                  <a:gd name="T5" fmla="*/ 570 h 570"/>
                  <a:gd name="T6" fmla="*/ 180 w 390"/>
                  <a:gd name="T7" fmla="*/ 570 h 570"/>
                  <a:gd name="T8" fmla="*/ 300 w 390"/>
                  <a:gd name="T9" fmla="*/ 270 h 570"/>
                  <a:gd name="T10" fmla="*/ 300 w 390"/>
                  <a:gd name="T11" fmla="*/ 480 h 570"/>
                  <a:gd name="T12" fmla="*/ 120 w 390"/>
                  <a:gd name="T13" fmla="*/ 240 h 570"/>
                  <a:gd name="T14" fmla="*/ 60 w 390"/>
                  <a:gd name="T15" fmla="*/ 0 h 570"/>
                  <a:gd name="T16" fmla="*/ 0 w 390"/>
                  <a:gd name="T17" fmla="*/ 18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0" h="570">
                    <a:moveTo>
                      <a:pt x="120" y="450"/>
                    </a:moveTo>
                    <a:lnTo>
                      <a:pt x="300" y="480"/>
                    </a:lnTo>
                    <a:lnTo>
                      <a:pt x="390" y="570"/>
                    </a:lnTo>
                    <a:lnTo>
                      <a:pt x="180" y="570"/>
                    </a:lnTo>
                    <a:lnTo>
                      <a:pt x="300" y="270"/>
                    </a:lnTo>
                    <a:lnTo>
                      <a:pt x="300" y="480"/>
                    </a:lnTo>
                    <a:lnTo>
                      <a:pt x="120" y="240"/>
                    </a:lnTo>
                    <a:lnTo>
                      <a:pt x="60" y="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5" name="Freeform 2544">
                <a:extLst>
                  <a:ext uri="{FF2B5EF4-FFF2-40B4-BE49-F238E27FC236}">
                    <a16:creationId xmlns:a16="http://schemas.microsoft.com/office/drawing/2014/main" xmlns="" id="{CF3D1A4B-6A7C-48CA-8070-CD0E5056A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2850"/>
                <a:ext cx="420" cy="210"/>
              </a:xfrm>
              <a:custGeom>
                <a:avLst/>
                <a:gdLst>
                  <a:gd name="T0" fmla="*/ 0 w 420"/>
                  <a:gd name="T1" fmla="*/ 0 h 210"/>
                  <a:gd name="T2" fmla="*/ 90 w 420"/>
                  <a:gd name="T3" fmla="*/ 150 h 210"/>
                  <a:gd name="T4" fmla="*/ 270 w 420"/>
                  <a:gd name="T5" fmla="*/ 210 h 210"/>
                  <a:gd name="T6" fmla="*/ 420 w 420"/>
                  <a:gd name="T7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0" h="210">
                    <a:moveTo>
                      <a:pt x="0" y="0"/>
                    </a:moveTo>
                    <a:lnTo>
                      <a:pt x="90" y="150"/>
                    </a:lnTo>
                    <a:lnTo>
                      <a:pt x="270" y="210"/>
                    </a:lnTo>
                    <a:lnTo>
                      <a:pt x="42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6" name="Freeform 2545">
                <a:extLst>
                  <a:ext uri="{FF2B5EF4-FFF2-40B4-BE49-F238E27FC236}">
                    <a16:creationId xmlns:a16="http://schemas.microsoft.com/office/drawing/2014/main" xmlns="" id="{2AE60525-0B02-44B1-8504-4B75C72BC5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" y="2910"/>
                <a:ext cx="180" cy="210"/>
              </a:xfrm>
              <a:custGeom>
                <a:avLst/>
                <a:gdLst>
                  <a:gd name="T0" fmla="*/ 150 w 180"/>
                  <a:gd name="T1" fmla="*/ 210 h 210"/>
                  <a:gd name="T2" fmla="*/ 30 w 180"/>
                  <a:gd name="T3" fmla="*/ 150 h 210"/>
                  <a:gd name="T4" fmla="*/ 0 w 180"/>
                  <a:gd name="T5" fmla="*/ 0 h 210"/>
                  <a:gd name="T6" fmla="*/ 180 w 180"/>
                  <a:gd name="T7" fmla="*/ 9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210">
                    <a:moveTo>
                      <a:pt x="150" y="210"/>
                    </a:moveTo>
                    <a:lnTo>
                      <a:pt x="30" y="150"/>
                    </a:lnTo>
                    <a:lnTo>
                      <a:pt x="0" y="0"/>
                    </a:lnTo>
                    <a:lnTo>
                      <a:pt x="1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7" name="Line 2546">
                <a:extLst>
                  <a:ext uri="{FF2B5EF4-FFF2-40B4-BE49-F238E27FC236}">
                    <a16:creationId xmlns:a16="http://schemas.microsoft.com/office/drawing/2014/main" xmlns="" id="{AE0763DA-79B2-4B34-B118-81E6169BB6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364" y="297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8" name="Freeform 2547">
                <a:extLst>
                  <a:ext uri="{FF2B5EF4-FFF2-40B4-BE49-F238E27FC236}">
                    <a16:creationId xmlns:a16="http://schemas.microsoft.com/office/drawing/2014/main" xmlns="" id="{E2360472-4FE6-4A39-B433-A4C188A50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4" y="2160"/>
                <a:ext cx="300" cy="150"/>
              </a:xfrm>
              <a:custGeom>
                <a:avLst/>
                <a:gdLst>
                  <a:gd name="T0" fmla="*/ 0 w 300"/>
                  <a:gd name="T1" fmla="*/ 150 h 150"/>
                  <a:gd name="T2" fmla="*/ 300 w 300"/>
                  <a:gd name="T3" fmla="*/ 150 h 150"/>
                  <a:gd name="T4" fmla="*/ 240 w 300"/>
                  <a:gd name="T5" fmla="*/ 30 h 150"/>
                  <a:gd name="T6" fmla="*/ 150 w 300"/>
                  <a:gd name="T7" fmla="*/ 0 h 150"/>
                  <a:gd name="T8" fmla="*/ 30 w 300"/>
                  <a:gd name="T9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0" h="150">
                    <a:moveTo>
                      <a:pt x="0" y="150"/>
                    </a:moveTo>
                    <a:lnTo>
                      <a:pt x="300" y="150"/>
                    </a:lnTo>
                    <a:lnTo>
                      <a:pt x="240" y="30"/>
                    </a:lnTo>
                    <a:lnTo>
                      <a:pt x="150" y="0"/>
                    </a:lnTo>
                    <a:lnTo>
                      <a:pt x="3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9" name="Freeform 2548">
                <a:extLst>
                  <a:ext uri="{FF2B5EF4-FFF2-40B4-BE49-F238E27FC236}">
                    <a16:creationId xmlns:a16="http://schemas.microsoft.com/office/drawing/2014/main" xmlns="" id="{6C228944-98FE-4B07-84A0-DB0AFDC852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4" y="510"/>
                <a:ext cx="180" cy="390"/>
              </a:xfrm>
              <a:custGeom>
                <a:avLst/>
                <a:gdLst>
                  <a:gd name="T0" fmla="*/ 0 w 180"/>
                  <a:gd name="T1" fmla="*/ 270 h 390"/>
                  <a:gd name="T2" fmla="*/ 180 w 180"/>
                  <a:gd name="T3" fmla="*/ 390 h 390"/>
                  <a:gd name="T4" fmla="*/ 30 w 180"/>
                  <a:gd name="T5" fmla="*/ 120 h 390"/>
                  <a:gd name="T6" fmla="*/ 150 w 180"/>
                  <a:gd name="T7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90">
                    <a:moveTo>
                      <a:pt x="0" y="270"/>
                    </a:moveTo>
                    <a:lnTo>
                      <a:pt x="180" y="390"/>
                    </a:lnTo>
                    <a:lnTo>
                      <a:pt x="30" y="12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0" name="Freeform 2549">
                <a:extLst>
                  <a:ext uri="{FF2B5EF4-FFF2-40B4-BE49-F238E27FC236}">
                    <a16:creationId xmlns:a16="http://schemas.microsoft.com/office/drawing/2014/main" xmlns="" id="{C201AA5C-8BE3-455A-BCC1-0AC4154D6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870"/>
                <a:ext cx="300" cy="330"/>
              </a:xfrm>
              <a:custGeom>
                <a:avLst/>
                <a:gdLst>
                  <a:gd name="T0" fmla="*/ 300 w 300"/>
                  <a:gd name="T1" fmla="*/ 0 h 330"/>
                  <a:gd name="T2" fmla="*/ 240 w 300"/>
                  <a:gd name="T3" fmla="*/ 120 h 330"/>
                  <a:gd name="T4" fmla="*/ 180 w 300"/>
                  <a:gd name="T5" fmla="*/ 330 h 330"/>
                  <a:gd name="T6" fmla="*/ 0 w 300"/>
                  <a:gd name="T7" fmla="*/ 27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0" h="330">
                    <a:moveTo>
                      <a:pt x="300" y="0"/>
                    </a:moveTo>
                    <a:lnTo>
                      <a:pt x="240" y="120"/>
                    </a:lnTo>
                    <a:lnTo>
                      <a:pt x="180" y="33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1" name="Freeform 2550">
                <a:extLst>
                  <a:ext uri="{FF2B5EF4-FFF2-40B4-BE49-F238E27FC236}">
                    <a16:creationId xmlns:a16="http://schemas.microsoft.com/office/drawing/2014/main" xmlns="" id="{64B2EC25-3FDE-49CC-A99B-C9F9729E2D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1050"/>
                <a:ext cx="600" cy="750"/>
              </a:xfrm>
              <a:custGeom>
                <a:avLst/>
                <a:gdLst>
                  <a:gd name="T0" fmla="*/ 600 w 600"/>
                  <a:gd name="T1" fmla="*/ 750 h 750"/>
                  <a:gd name="T2" fmla="*/ 570 w 600"/>
                  <a:gd name="T3" fmla="*/ 630 h 750"/>
                  <a:gd name="T4" fmla="*/ 330 w 600"/>
                  <a:gd name="T5" fmla="*/ 750 h 750"/>
                  <a:gd name="T6" fmla="*/ 270 w 600"/>
                  <a:gd name="T7" fmla="*/ 660 h 750"/>
                  <a:gd name="T8" fmla="*/ 180 w 600"/>
                  <a:gd name="T9" fmla="*/ 540 h 750"/>
                  <a:gd name="T10" fmla="*/ 150 w 600"/>
                  <a:gd name="T11" fmla="*/ 90 h 750"/>
                  <a:gd name="T12" fmla="*/ 0 w 600"/>
                  <a:gd name="T13" fmla="*/ 180 h 750"/>
                  <a:gd name="T14" fmla="*/ 210 w 600"/>
                  <a:gd name="T15" fmla="*/ 300 h 750"/>
                  <a:gd name="T16" fmla="*/ 240 w 600"/>
                  <a:gd name="T17" fmla="*/ 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0" h="750">
                    <a:moveTo>
                      <a:pt x="600" y="750"/>
                    </a:moveTo>
                    <a:lnTo>
                      <a:pt x="570" y="630"/>
                    </a:lnTo>
                    <a:lnTo>
                      <a:pt x="330" y="750"/>
                    </a:lnTo>
                    <a:lnTo>
                      <a:pt x="270" y="660"/>
                    </a:lnTo>
                    <a:lnTo>
                      <a:pt x="180" y="540"/>
                    </a:lnTo>
                    <a:lnTo>
                      <a:pt x="150" y="90"/>
                    </a:lnTo>
                    <a:lnTo>
                      <a:pt x="0" y="180"/>
                    </a:lnTo>
                    <a:lnTo>
                      <a:pt x="210" y="300"/>
                    </a:lnTo>
                    <a:lnTo>
                      <a:pt x="24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2" name="Freeform 2551">
                <a:extLst>
                  <a:ext uri="{FF2B5EF4-FFF2-40B4-BE49-F238E27FC236}">
                    <a16:creationId xmlns:a16="http://schemas.microsoft.com/office/drawing/2014/main" xmlns="" id="{91902815-383A-491D-AF05-7C9C7F679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1530"/>
                <a:ext cx="450" cy="420"/>
              </a:xfrm>
              <a:custGeom>
                <a:avLst/>
                <a:gdLst>
                  <a:gd name="T0" fmla="*/ 270 w 450"/>
                  <a:gd name="T1" fmla="*/ 270 h 420"/>
                  <a:gd name="T2" fmla="*/ 60 w 450"/>
                  <a:gd name="T3" fmla="*/ 270 h 420"/>
                  <a:gd name="T4" fmla="*/ 120 w 450"/>
                  <a:gd name="T5" fmla="*/ 60 h 420"/>
                  <a:gd name="T6" fmla="*/ 0 w 450"/>
                  <a:gd name="T7" fmla="*/ 0 h 420"/>
                  <a:gd name="T8" fmla="*/ 300 w 450"/>
                  <a:gd name="T9" fmla="*/ 420 h 420"/>
                  <a:gd name="T10" fmla="*/ 450 w 450"/>
                  <a:gd name="T11" fmla="*/ 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0" h="420">
                    <a:moveTo>
                      <a:pt x="270" y="270"/>
                    </a:moveTo>
                    <a:lnTo>
                      <a:pt x="60" y="270"/>
                    </a:lnTo>
                    <a:lnTo>
                      <a:pt x="120" y="60"/>
                    </a:lnTo>
                    <a:lnTo>
                      <a:pt x="0" y="0"/>
                    </a:lnTo>
                    <a:lnTo>
                      <a:pt x="300" y="420"/>
                    </a:lnTo>
                    <a:lnTo>
                      <a:pt x="4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3" name="Freeform 2552">
                <a:extLst>
                  <a:ext uri="{FF2B5EF4-FFF2-40B4-BE49-F238E27FC236}">
                    <a16:creationId xmlns:a16="http://schemas.microsoft.com/office/drawing/2014/main" xmlns="" id="{339F0E6C-98B3-4BC6-8E1B-116367BB7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1410"/>
                <a:ext cx="210" cy="210"/>
              </a:xfrm>
              <a:custGeom>
                <a:avLst/>
                <a:gdLst>
                  <a:gd name="T0" fmla="*/ 0 w 210"/>
                  <a:gd name="T1" fmla="*/ 180 h 210"/>
                  <a:gd name="T2" fmla="*/ 150 w 210"/>
                  <a:gd name="T3" fmla="*/ 0 h 210"/>
                  <a:gd name="T4" fmla="*/ 210 w 210"/>
                  <a:gd name="T5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210">
                    <a:moveTo>
                      <a:pt x="0" y="180"/>
                    </a:moveTo>
                    <a:lnTo>
                      <a:pt x="150" y="0"/>
                    </a:lnTo>
                    <a:lnTo>
                      <a:pt x="21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4" name="Freeform 2553">
                <a:extLst>
                  <a:ext uri="{FF2B5EF4-FFF2-40B4-BE49-F238E27FC236}">
                    <a16:creationId xmlns:a16="http://schemas.microsoft.com/office/drawing/2014/main" xmlns="" id="{C976AEB4-B06E-45BE-AF57-18F0F03475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1710"/>
                <a:ext cx="90" cy="450"/>
              </a:xfrm>
              <a:custGeom>
                <a:avLst/>
                <a:gdLst>
                  <a:gd name="T0" fmla="*/ 90 w 90"/>
                  <a:gd name="T1" fmla="*/ 0 h 450"/>
                  <a:gd name="T2" fmla="*/ 0 w 90"/>
                  <a:gd name="T3" fmla="*/ 240 h 450"/>
                  <a:gd name="T4" fmla="*/ 90 w 90"/>
                  <a:gd name="T5" fmla="*/ 450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450">
                    <a:moveTo>
                      <a:pt x="90" y="0"/>
                    </a:moveTo>
                    <a:lnTo>
                      <a:pt x="0" y="240"/>
                    </a:lnTo>
                    <a:lnTo>
                      <a:pt x="90" y="4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5" name="Freeform 2554">
                <a:extLst>
                  <a:ext uri="{FF2B5EF4-FFF2-40B4-BE49-F238E27FC236}">
                    <a16:creationId xmlns:a16="http://schemas.microsoft.com/office/drawing/2014/main" xmlns="" id="{E4A5CEBC-8DD2-4552-8714-D73A0145AF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4" y="2190"/>
                <a:ext cx="180" cy="330"/>
              </a:xfrm>
              <a:custGeom>
                <a:avLst/>
                <a:gdLst>
                  <a:gd name="T0" fmla="*/ 120 w 180"/>
                  <a:gd name="T1" fmla="*/ 330 h 330"/>
                  <a:gd name="T2" fmla="*/ 180 w 180"/>
                  <a:gd name="T3" fmla="*/ 180 h 330"/>
                  <a:gd name="T4" fmla="*/ 0 w 180"/>
                  <a:gd name="T5" fmla="*/ 210 h 330"/>
                  <a:gd name="T6" fmla="*/ 0 w 180"/>
                  <a:gd name="T7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120" y="330"/>
                    </a:moveTo>
                    <a:lnTo>
                      <a:pt x="180" y="180"/>
                    </a:lnTo>
                    <a:lnTo>
                      <a:pt x="0" y="21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6" name="Line 2555">
                <a:extLst>
                  <a:ext uri="{FF2B5EF4-FFF2-40B4-BE49-F238E27FC236}">
                    <a16:creationId xmlns:a16="http://schemas.microsoft.com/office/drawing/2014/main" xmlns="" id="{93B0AE6E-F2A4-4FFF-8090-0C9101FDC5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4" y="2670"/>
                <a:ext cx="18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7" name="Freeform 2556">
                <a:extLst>
                  <a:ext uri="{FF2B5EF4-FFF2-40B4-BE49-F238E27FC236}">
                    <a16:creationId xmlns:a16="http://schemas.microsoft.com/office/drawing/2014/main" xmlns="" id="{9E5C24BE-6636-4B2E-AA12-CBE1940FD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2010"/>
                <a:ext cx="180" cy="300"/>
              </a:xfrm>
              <a:custGeom>
                <a:avLst/>
                <a:gdLst>
                  <a:gd name="T0" fmla="*/ 180 w 180"/>
                  <a:gd name="T1" fmla="*/ 180 h 300"/>
                  <a:gd name="T2" fmla="*/ 0 w 180"/>
                  <a:gd name="T3" fmla="*/ 300 h 300"/>
                  <a:gd name="T4" fmla="*/ 150 w 180"/>
                  <a:gd name="T5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300">
                    <a:moveTo>
                      <a:pt x="180" y="180"/>
                    </a:moveTo>
                    <a:lnTo>
                      <a:pt x="0" y="30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8" name="Freeform 2557">
                <a:extLst>
                  <a:ext uri="{FF2B5EF4-FFF2-40B4-BE49-F238E27FC236}">
                    <a16:creationId xmlns:a16="http://schemas.microsoft.com/office/drawing/2014/main" xmlns="" id="{A35673CD-33EF-4139-9F7F-4DDBCD7120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1140"/>
                <a:ext cx="180" cy="270"/>
              </a:xfrm>
              <a:custGeom>
                <a:avLst/>
                <a:gdLst>
                  <a:gd name="T0" fmla="*/ 0 w 180"/>
                  <a:gd name="T1" fmla="*/ 0 h 270"/>
                  <a:gd name="T2" fmla="*/ 180 w 180"/>
                  <a:gd name="T3" fmla="*/ 270 h 270"/>
                  <a:gd name="T4" fmla="*/ 180 w 180"/>
                  <a:gd name="T5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70">
                    <a:moveTo>
                      <a:pt x="0" y="0"/>
                    </a:moveTo>
                    <a:lnTo>
                      <a:pt x="180" y="270"/>
                    </a:lnTo>
                    <a:lnTo>
                      <a:pt x="18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9" name="Freeform 2558">
                <a:extLst>
                  <a:ext uri="{FF2B5EF4-FFF2-40B4-BE49-F238E27FC236}">
                    <a16:creationId xmlns:a16="http://schemas.microsoft.com/office/drawing/2014/main" xmlns="" id="{B6913935-7187-42B0-AE79-3886536E94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60"/>
                <a:ext cx="540" cy="1830"/>
              </a:xfrm>
              <a:custGeom>
                <a:avLst/>
                <a:gdLst>
                  <a:gd name="T0" fmla="*/ 180 w 540"/>
                  <a:gd name="T1" fmla="*/ 990 h 1830"/>
                  <a:gd name="T2" fmla="*/ 330 w 540"/>
                  <a:gd name="T3" fmla="*/ 930 h 1830"/>
                  <a:gd name="T4" fmla="*/ 330 w 540"/>
                  <a:gd name="T5" fmla="*/ 1560 h 1830"/>
                  <a:gd name="T6" fmla="*/ 270 w 540"/>
                  <a:gd name="T7" fmla="*/ 1350 h 1830"/>
                  <a:gd name="T8" fmla="*/ 540 w 540"/>
                  <a:gd name="T9" fmla="*/ 1740 h 1830"/>
                  <a:gd name="T10" fmla="*/ 330 w 540"/>
                  <a:gd name="T11" fmla="*/ 1560 h 1830"/>
                  <a:gd name="T12" fmla="*/ 450 w 540"/>
                  <a:gd name="T13" fmla="*/ 1470 h 1830"/>
                  <a:gd name="T14" fmla="*/ 480 w 540"/>
                  <a:gd name="T15" fmla="*/ 1200 h 1830"/>
                  <a:gd name="T16" fmla="*/ 150 w 540"/>
                  <a:gd name="T17" fmla="*/ 1290 h 1830"/>
                  <a:gd name="T18" fmla="*/ 270 w 540"/>
                  <a:gd name="T19" fmla="*/ 1140 h 1830"/>
                  <a:gd name="T20" fmla="*/ 510 w 540"/>
                  <a:gd name="T21" fmla="*/ 960 h 1830"/>
                  <a:gd name="T22" fmla="*/ 180 w 540"/>
                  <a:gd name="T23" fmla="*/ 990 h 1830"/>
                  <a:gd name="T24" fmla="*/ 390 w 540"/>
                  <a:gd name="T25" fmla="*/ 810 h 1830"/>
                  <a:gd name="T26" fmla="*/ 360 w 540"/>
                  <a:gd name="T27" fmla="*/ 630 h 1830"/>
                  <a:gd name="T28" fmla="*/ 150 w 540"/>
                  <a:gd name="T29" fmla="*/ 630 h 1830"/>
                  <a:gd name="T30" fmla="*/ 270 w 540"/>
                  <a:gd name="T31" fmla="*/ 510 h 1830"/>
                  <a:gd name="T32" fmla="*/ 510 w 540"/>
                  <a:gd name="T33" fmla="*/ 600 h 1830"/>
                  <a:gd name="T34" fmla="*/ 480 w 540"/>
                  <a:gd name="T35" fmla="*/ 360 h 1830"/>
                  <a:gd name="T36" fmla="*/ 240 w 540"/>
                  <a:gd name="T37" fmla="*/ 360 h 1830"/>
                  <a:gd name="T38" fmla="*/ 60 w 540"/>
                  <a:gd name="T39" fmla="*/ 300 h 1830"/>
                  <a:gd name="T40" fmla="*/ 270 w 540"/>
                  <a:gd name="T41" fmla="*/ 210 h 1830"/>
                  <a:gd name="T42" fmla="*/ 90 w 540"/>
                  <a:gd name="T43" fmla="*/ 0 h 1830"/>
                  <a:gd name="T44" fmla="*/ 210 w 540"/>
                  <a:gd name="T45" fmla="*/ 60 h 1830"/>
                  <a:gd name="T46" fmla="*/ 510 w 540"/>
                  <a:gd name="T47" fmla="*/ 210 h 1830"/>
                  <a:gd name="T48" fmla="*/ 390 w 540"/>
                  <a:gd name="T49" fmla="*/ 240 h 1830"/>
                  <a:gd name="T50" fmla="*/ 270 w 540"/>
                  <a:gd name="T51" fmla="*/ 210 h 1830"/>
                  <a:gd name="T52" fmla="*/ 180 w 540"/>
                  <a:gd name="T53" fmla="*/ 240 h 1830"/>
                  <a:gd name="T54" fmla="*/ 60 w 540"/>
                  <a:gd name="T55" fmla="*/ 300 h 1830"/>
                  <a:gd name="T56" fmla="*/ 330 w 540"/>
                  <a:gd name="T57" fmla="*/ 390 h 1830"/>
                  <a:gd name="T58" fmla="*/ 480 w 540"/>
                  <a:gd name="T59" fmla="*/ 360 h 1830"/>
                  <a:gd name="T60" fmla="*/ 360 w 540"/>
                  <a:gd name="T61" fmla="*/ 630 h 1830"/>
                  <a:gd name="T62" fmla="*/ 90 w 540"/>
                  <a:gd name="T63" fmla="*/ 840 h 18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40" h="1830">
                    <a:moveTo>
                      <a:pt x="60" y="960"/>
                    </a:moveTo>
                    <a:lnTo>
                      <a:pt x="180" y="990"/>
                    </a:lnTo>
                    <a:lnTo>
                      <a:pt x="390" y="1080"/>
                    </a:lnTo>
                    <a:lnTo>
                      <a:pt x="330" y="930"/>
                    </a:lnTo>
                    <a:lnTo>
                      <a:pt x="0" y="1320"/>
                    </a:lnTo>
                    <a:lnTo>
                      <a:pt x="330" y="1560"/>
                    </a:lnTo>
                    <a:lnTo>
                      <a:pt x="450" y="1470"/>
                    </a:lnTo>
                    <a:lnTo>
                      <a:pt x="270" y="1350"/>
                    </a:lnTo>
                    <a:lnTo>
                      <a:pt x="210" y="1650"/>
                    </a:lnTo>
                    <a:lnTo>
                      <a:pt x="540" y="1740"/>
                    </a:lnTo>
                    <a:lnTo>
                      <a:pt x="420" y="1830"/>
                    </a:lnTo>
                    <a:lnTo>
                      <a:pt x="330" y="1560"/>
                    </a:lnTo>
                    <a:lnTo>
                      <a:pt x="510" y="1620"/>
                    </a:lnTo>
                    <a:lnTo>
                      <a:pt x="450" y="1470"/>
                    </a:lnTo>
                    <a:lnTo>
                      <a:pt x="420" y="1320"/>
                    </a:lnTo>
                    <a:lnTo>
                      <a:pt x="480" y="1200"/>
                    </a:lnTo>
                    <a:lnTo>
                      <a:pt x="270" y="1350"/>
                    </a:lnTo>
                    <a:lnTo>
                      <a:pt x="150" y="1290"/>
                    </a:lnTo>
                    <a:lnTo>
                      <a:pt x="330" y="1200"/>
                    </a:lnTo>
                    <a:lnTo>
                      <a:pt x="270" y="1140"/>
                    </a:lnTo>
                    <a:lnTo>
                      <a:pt x="390" y="1080"/>
                    </a:lnTo>
                    <a:lnTo>
                      <a:pt x="510" y="960"/>
                    </a:lnTo>
                    <a:lnTo>
                      <a:pt x="330" y="930"/>
                    </a:lnTo>
                    <a:lnTo>
                      <a:pt x="180" y="990"/>
                    </a:lnTo>
                    <a:lnTo>
                      <a:pt x="210" y="840"/>
                    </a:lnTo>
                    <a:lnTo>
                      <a:pt x="390" y="810"/>
                    </a:lnTo>
                    <a:lnTo>
                      <a:pt x="540" y="720"/>
                    </a:lnTo>
                    <a:lnTo>
                      <a:pt x="360" y="630"/>
                    </a:lnTo>
                    <a:lnTo>
                      <a:pt x="240" y="690"/>
                    </a:lnTo>
                    <a:lnTo>
                      <a:pt x="150" y="630"/>
                    </a:lnTo>
                    <a:lnTo>
                      <a:pt x="180" y="450"/>
                    </a:lnTo>
                    <a:lnTo>
                      <a:pt x="270" y="510"/>
                    </a:lnTo>
                    <a:lnTo>
                      <a:pt x="420" y="540"/>
                    </a:lnTo>
                    <a:lnTo>
                      <a:pt x="510" y="600"/>
                    </a:lnTo>
                    <a:lnTo>
                      <a:pt x="540" y="480"/>
                    </a:lnTo>
                    <a:lnTo>
                      <a:pt x="480" y="360"/>
                    </a:lnTo>
                    <a:lnTo>
                      <a:pt x="330" y="390"/>
                    </a:lnTo>
                    <a:lnTo>
                      <a:pt x="240" y="360"/>
                    </a:lnTo>
                    <a:lnTo>
                      <a:pt x="60" y="420"/>
                    </a:lnTo>
                    <a:lnTo>
                      <a:pt x="60" y="300"/>
                    </a:lnTo>
                    <a:lnTo>
                      <a:pt x="180" y="240"/>
                    </a:lnTo>
                    <a:lnTo>
                      <a:pt x="270" y="210"/>
                    </a:lnTo>
                    <a:lnTo>
                      <a:pt x="210" y="60"/>
                    </a:lnTo>
                    <a:lnTo>
                      <a:pt x="90" y="0"/>
                    </a:lnTo>
                    <a:lnTo>
                      <a:pt x="540" y="0"/>
                    </a:lnTo>
                    <a:lnTo>
                      <a:pt x="210" y="60"/>
                    </a:lnTo>
                    <a:lnTo>
                      <a:pt x="360" y="90"/>
                    </a:lnTo>
                    <a:lnTo>
                      <a:pt x="510" y="210"/>
                    </a:lnTo>
                    <a:lnTo>
                      <a:pt x="480" y="360"/>
                    </a:lnTo>
                    <a:lnTo>
                      <a:pt x="390" y="240"/>
                    </a:lnTo>
                    <a:lnTo>
                      <a:pt x="330" y="390"/>
                    </a:lnTo>
                    <a:lnTo>
                      <a:pt x="270" y="210"/>
                    </a:lnTo>
                    <a:lnTo>
                      <a:pt x="240" y="360"/>
                    </a:lnTo>
                    <a:lnTo>
                      <a:pt x="180" y="240"/>
                    </a:lnTo>
                    <a:lnTo>
                      <a:pt x="90" y="210"/>
                    </a:lnTo>
                    <a:lnTo>
                      <a:pt x="60" y="300"/>
                    </a:lnTo>
                    <a:lnTo>
                      <a:pt x="180" y="450"/>
                    </a:lnTo>
                    <a:lnTo>
                      <a:pt x="330" y="390"/>
                    </a:lnTo>
                    <a:lnTo>
                      <a:pt x="420" y="540"/>
                    </a:lnTo>
                    <a:lnTo>
                      <a:pt x="480" y="360"/>
                    </a:lnTo>
                    <a:lnTo>
                      <a:pt x="270" y="510"/>
                    </a:lnTo>
                    <a:lnTo>
                      <a:pt x="360" y="630"/>
                    </a:lnTo>
                    <a:lnTo>
                      <a:pt x="150" y="630"/>
                    </a:lnTo>
                    <a:lnTo>
                      <a:pt x="90" y="840"/>
                    </a:lnTo>
                    <a:lnTo>
                      <a:pt x="330" y="9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0" name="Freeform 2559">
                <a:extLst>
                  <a:ext uri="{FF2B5EF4-FFF2-40B4-BE49-F238E27FC236}">
                    <a16:creationId xmlns:a16="http://schemas.microsoft.com/office/drawing/2014/main" xmlns="" id="{5E52BFFC-5467-43BA-95A9-C2CA6B82EF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600"/>
                <a:ext cx="150" cy="420"/>
              </a:xfrm>
              <a:custGeom>
                <a:avLst/>
                <a:gdLst>
                  <a:gd name="T0" fmla="*/ 30 w 150"/>
                  <a:gd name="T1" fmla="*/ 270 h 420"/>
                  <a:gd name="T2" fmla="*/ 150 w 150"/>
                  <a:gd name="T3" fmla="*/ 420 h 420"/>
                  <a:gd name="T4" fmla="*/ 60 w 150"/>
                  <a:gd name="T5" fmla="*/ 0 h 420"/>
                  <a:gd name="T6" fmla="*/ 0 w 150"/>
                  <a:gd name="T7" fmla="*/ 90 h 420"/>
                  <a:gd name="T8" fmla="*/ 30 w 150"/>
                  <a:gd name="T9" fmla="*/ 27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420">
                    <a:moveTo>
                      <a:pt x="30" y="270"/>
                    </a:moveTo>
                    <a:lnTo>
                      <a:pt x="150" y="420"/>
                    </a:lnTo>
                    <a:lnTo>
                      <a:pt x="60" y="0"/>
                    </a:lnTo>
                    <a:lnTo>
                      <a:pt x="0" y="90"/>
                    </a:lnTo>
                    <a:lnTo>
                      <a:pt x="30" y="27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1" name="Freeform 2560">
                <a:extLst>
                  <a:ext uri="{FF2B5EF4-FFF2-40B4-BE49-F238E27FC236}">
                    <a16:creationId xmlns:a16="http://schemas.microsoft.com/office/drawing/2014/main" xmlns="" id="{6A5145CE-C936-467B-8592-377281CA5B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4" y="570"/>
                <a:ext cx="180" cy="420"/>
              </a:xfrm>
              <a:custGeom>
                <a:avLst/>
                <a:gdLst>
                  <a:gd name="T0" fmla="*/ 180 w 180"/>
                  <a:gd name="T1" fmla="*/ 300 h 420"/>
                  <a:gd name="T2" fmla="*/ 30 w 180"/>
                  <a:gd name="T3" fmla="*/ 180 h 420"/>
                  <a:gd name="T4" fmla="*/ 0 w 180"/>
                  <a:gd name="T5" fmla="*/ 330 h 420"/>
                  <a:gd name="T6" fmla="*/ 120 w 180"/>
                  <a:gd name="T7" fmla="*/ 420 h 420"/>
                  <a:gd name="T8" fmla="*/ 60 w 180"/>
                  <a:gd name="T9" fmla="*/ 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420">
                    <a:moveTo>
                      <a:pt x="180" y="300"/>
                    </a:moveTo>
                    <a:lnTo>
                      <a:pt x="30" y="180"/>
                    </a:lnTo>
                    <a:lnTo>
                      <a:pt x="0" y="330"/>
                    </a:lnTo>
                    <a:lnTo>
                      <a:pt x="120" y="420"/>
                    </a:lnTo>
                    <a:lnTo>
                      <a:pt x="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2" name="Freeform 2561">
                <a:extLst>
                  <a:ext uri="{FF2B5EF4-FFF2-40B4-BE49-F238E27FC236}">
                    <a16:creationId xmlns:a16="http://schemas.microsoft.com/office/drawing/2014/main" xmlns="" id="{EB3D75FA-1D70-4E4F-947F-C210370B2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60"/>
                <a:ext cx="180" cy="240"/>
              </a:xfrm>
              <a:custGeom>
                <a:avLst/>
                <a:gdLst>
                  <a:gd name="T0" fmla="*/ 30 w 180"/>
                  <a:gd name="T1" fmla="*/ 240 h 240"/>
                  <a:gd name="T2" fmla="*/ 0 w 180"/>
                  <a:gd name="T3" fmla="*/ 90 h 240"/>
                  <a:gd name="T4" fmla="*/ 180 w 180"/>
                  <a:gd name="T5" fmla="*/ 0 h 240"/>
                  <a:gd name="T6" fmla="*/ 150 w 180"/>
                  <a:gd name="T7" fmla="*/ 210 h 240"/>
                  <a:gd name="T8" fmla="*/ 30 w 180"/>
                  <a:gd name="T9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240">
                    <a:moveTo>
                      <a:pt x="30" y="240"/>
                    </a:moveTo>
                    <a:lnTo>
                      <a:pt x="0" y="90"/>
                    </a:lnTo>
                    <a:lnTo>
                      <a:pt x="180" y="0"/>
                    </a:lnTo>
                    <a:lnTo>
                      <a:pt x="150" y="210"/>
                    </a:lnTo>
                    <a:lnTo>
                      <a:pt x="3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3" name="Line 2562">
                <a:extLst>
                  <a:ext uri="{FF2B5EF4-FFF2-40B4-BE49-F238E27FC236}">
                    <a16:creationId xmlns:a16="http://schemas.microsoft.com/office/drawing/2014/main" xmlns="" id="{DD6018AD-168D-4C85-BC07-8FB628C1DD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04" y="54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4" name="Freeform 2563">
                <a:extLst>
                  <a:ext uri="{FF2B5EF4-FFF2-40B4-BE49-F238E27FC236}">
                    <a16:creationId xmlns:a16="http://schemas.microsoft.com/office/drawing/2014/main" xmlns="" id="{5B7BE2A3-83D4-4830-824B-960D39008E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5" y="330"/>
                <a:ext cx="120" cy="210"/>
              </a:xfrm>
              <a:custGeom>
                <a:avLst/>
                <a:gdLst>
                  <a:gd name="T0" fmla="*/ 90 w 120"/>
                  <a:gd name="T1" fmla="*/ 0 h 210"/>
                  <a:gd name="T2" fmla="*/ 0 w 120"/>
                  <a:gd name="T3" fmla="*/ 210 h 210"/>
                  <a:gd name="T4" fmla="*/ 120 w 120"/>
                  <a:gd name="T5" fmla="*/ 180 h 210"/>
                  <a:gd name="T6" fmla="*/ 90 w 120"/>
                  <a:gd name="T7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0">
                    <a:moveTo>
                      <a:pt x="90" y="0"/>
                    </a:moveTo>
                    <a:lnTo>
                      <a:pt x="0" y="210"/>
                    </a:lnTo>
                    <a:lnTo>
                      <a:pt x="120" y="180"/>
                    </a:lnTo>
                    <a:lnTo>
                      <a:pt x="9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5" name="Freeform 2564">
                <a:extLst>
                  <a:ext uri="{FF2B5EF4-FFF2-40B4-BE49-F238E27FC236}">
                    <a16:creationId xmlns:a16="http://schemas.microsoft.com/office/drawing/2014/main" xmlns="" id="{BD658872-8E15-41ED-B928-62F507830F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240"/>
                <a:ext cx="480" cy="270"/>
              </a:xfrm>
              <a:custGeom>
                <a:avLst/>
                <a:gdLst>
                  <a:gd name="T0" fmla="*/ 0 w 480"/>
                  <a:gd name="T1" fmla="*/ 0 h 270"/>
                  <a:gd name="T2" fmla="*/ 90 w 480"/>
                  <a:gd name="T3" fmla="*/ 240 h 270"/>
                  <a:gd name="T4" fmla="*/ 300 w 480"/>
                  <a:gd name="T5" fmla="*/ 150 h 270"/>
                  <a:gd name="T6" fmla="*/ 480 w 480"/>
                  <a:gd name="T7" fmla="*/ 210 h 270"/>
                  <a:gd name="T8" fmla="*/ 270 w 480"/>
                  <a:gd name="T9" fmla="*/ 270 h 270"/>
                  <a:gd name="T10" fmla="*/ 120 w 480"/>
                  <a:gd name="T11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0" h="270">
                    <a:moveTo>
                      <a:pt x="0" y="0"/>
                    </a:moveTo>
                    <a:lnTo>
                      <a:pt x="90" y="240"/>
                    </a:lnTo>
                    <a:lnTo>
                      <a:pt x="300" y="150"/>
                    </a:lnTo>
                    <a:lnTo>
                      <a:pt x="480" y="210"/>
                    </a:lnTo>
                    <a:lnTo>
                      <a:pt x="270" y="270"/>
                    </a:lnTo>
                    <a:lnTo>
                      <a:pt x="12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6" name="Freeform 2565">
                <a:extLst>
                  <a:ext uri="{FF2B5EF4-FFF2-40B4-BE49-F238E27FC236}">
                    <a16:creationId xmlns:a16="http://schemas.microsoft.com/office/drawing/2014/main" xmlns="" id="{9A6B4293-4CF4-4B8C-AA07-D4912B8A7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60"/>
                <a:ext cx="1289" cy="300"/>
              </a:xfrm>
              <a:custGeom>
                <a:avLst/>
                <a:gdLst>
                  <a:gd name="T0" fmla="*/ 1169 w 1289"/>
                  <a:gd name="T1" fmla="*/ 210 h 300"/>
                  <a:gd name="T2" fmla="*/ 1169 w 1289"/>
                  <a:gd name="T3" fmla="*/ 0 h 300"/>
                  <a:gd name="T4" fmla="*/ 1049 w 1289"/>
                  <a:gd name="T5" fmla="*/ 90 h 300"/>
                  <a:gd name="T6" fmla="*/ 1169 w 1289"/>
                  <a:gd name="T7" fmla="*/ 210 h 300"/>
                  <a:gd name="T8" fmla="*/ 1289 w 1289"/>
                  <a:gd name="T9" fmla="*/ 60 h 300"/>
                  <a:gd name="T10" fmla="*/ 1259 w 1289"/>
                  <a:gd name="T11" fmla="*/ 240 h 300"/>
                  <a:gd name="T12" fmla="*/ 1169 w 1289"/>
                  <a:gd name="T13" fmla="*/ 0 h 300"/>
                  <a:gd name="T14" fmla="*/ 870 w 1289"/>
                  <a:gd name="T15" fmla="*/ 30 h 300"/>
                  <a:gd name="T16" fmla="*/ 780 w 1289"/>
                  <a:gd name="T17" fmla="*/ 240 h 300"/>
                  <a:gd name="T18" fmla="*/ 660 w 1289"/>
                  <a:gd name="T19" fmla="*/ 90 h 300"/>
                  <a:gd name="T20" fmla="*/ 450 w 1289"/>
                  <a:gd name="T21" fmla="*/ 90 h 300"/>
                  <a:gd name="T22" fmla="*/ 630 w 1289"/>
                  <a:gd name="T23" fmla="*/ 210 h 300"/>
                  <a:gd name="T24" fmla="*/ 390 w 1289"/>
                  <a:gd name="T25" fmla="*/ 180 h 300"/>
                  <a:gd name="T26" fmla="*/ 270 w 1289"/>
                  <a:gd name="T27" fmla="*/ 30 h 300"/>
                  <a:gd name="T28" fmla="*/ 210 w 1289"/>
                  <a:gd name="T29" fmla="*/ 150 h 300"/>
                  <a:gd name="T30" fmla="*/ 90 w 1289"/>
                  <a:gd name="T31" fmla="*/ 210 h 300"/>
                  <a:gd name="T32" fmla="*/ 0 w 1289"/>
                  <a:gd name="T33" fmla="*/ 60 h 300"/>
                  <a:gd name="T34" fmla="*/ 150 w 1289"/>
                  <a:gd name="T35" fmla="*/ 30 h 300"/>
                  <a:gd name="T36" fmla="*/ 150 w 1289"/>
                  <a:gd name="T37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89" h="300">
                    <a:moveTo>
                      <a:pt x="1169" y="210"/>
                    </a:moveTo>
                    <a:lnTo>
                      <a:pt x="1169" y="0"/>
                    </a:lnTo>
                    <a:lnTo>
                      <a:pt x="1049" y="90"/>
                    </a:lnTo>
                    <a:lnTo>
                      <a:pt x="1169" y="210"/>
                    </a:lnTo>
                    <a:lnTo>
                      <a:pt x="1289" y="60"/>
                    </a:lnTo>
                    <a:lnTo>
                      <a:pt x="1259" y="240"/>
                    </a:lnTo>
                    <a:lnTo>
                      <a:pt x="1169" y="0"/>
                    </a:lnTo>
                    <a:lnTo>
                      <a:pt x="870" y="30"/>
                    </a:lnTo>
                    <a:lnTo>
                      <a:pt x="780" y="240"/>
                    </a:lnTo>
                    <a:lnTo>
                      <a:pt x="660" y="90"/>
                    </a:lnTo>
                    <a:lnTo>
                      <a:pt x="450" y="90"/>
                    </a:lnTo>
                    <a:lnTo>
                      <a:pt x="630" y="210"/>
                    </a:lnTo>
                    <a:lnTo>
                      <a:pt x="390" y="180"/>
                    </a:lnTo>
                    <a:lnTo>
                      <a:pt x="270" y="30"/>
                    </a:lnTo>
                    <a:lnTo>
                      <a:pt x="210" y="150"/>
                    </a:lnTo>
                    <a:lnTo>
                      <a:pt x="90" y="210"/>
                    </a:lnTo>
                    <a:lnTo>
                      <a:pt x="0" y="60"/>
                    </a:lnTo>
                    <a:lnTo>
                      <a:pt x="150" y="30"/>
                    </a:lnTo>
                    <a:lnTo>
                      <a:pt x="15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7" name="Freeform 2566">
                <a:extLst>
                  <a:ext uri="{FF2B5EF4-FFF2-40B4-BE49-F238E27FC236}">
                    <a16:creationId xmlns:a16="http://schemas.microsoft.com/office/drawing/2014/main" xmlns="" id="{12EA988E-9BC0-48A9-9EAB-60C7550070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90"/>
                <a:ext cx="269" cy="270"/>
              </a:xfrm>
              <a:custGeom>
                <a:avLst/>
                <a:gdLst>
                  <a:gd name="T0" fmla="*/ 0 w 269"/>
                  <a:gd name="T1" fmla="*/ 0 h 270"/>
                  <a:gd name="T2" fmla="*/ 179 w 269"/>
                  <a:gd name="T3" fmla="*/ 60 h 270"/>
                  <a:gd name="T4" fmla="*/ 269 w 269"/>
                  <a:gd name="T5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69" h="270">
                    <a:moveTo>
                      <a:pt x="0" y="0"/>
                    </a:moveTo>
                    <a:lnTo>
                      <a:pt x="179" y="60"/>
                    </a:lnTo>
                    <a:lnTo>
                      <a:pt x="26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8" name="Freeform 2567">
                <a:extLst>
                  <a:ext uri="{FF2B5EF4-FFF2-40B4-BE49-F238E27FC236}">
                    <a16:creationId xmlns:a16="http://schemas.microsoft.com/office/drawing/2014/main" xmlns="" id="{AB8595E3-056D-4173-A70C-FAC903A16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30"/>
                <a:ext cx="360" cy="60"/>
              </a:xfrm>
              <a:custGeom>
                <a:avLst/>
                <a:gdLst>
                  <a:gd name="T0" fmla="*/ 360 w 360"/>
                  <a:gd name="T1" fmla="*/ 0 h 60"/>
                  <a:gd name="T2" fmla="*/ 150 w 360"/>
                  <a:gd name="T3" fmla="*/ 60 h 60"/>
                  <a:gd name="T4" fmla="*/ 0 w 360"/>
                  <a:gd name="T5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60">
                    <a:moveTo>
                      <a:pt x="360" y="0"/>
                    </a:moveTo>
                    <a:lnTo>
                      <a:pt x="15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9" name="Freeform 2568">
                <a:extLst>
                  <a:ext uri="{FF2B5EF4-FFF2-40B4-BE49-F238E27FC236}">
                    <a16:creationId xmlns:a16="http://schemas.microsoft.com/office/drawing/2014/main" xmlns="" id="{8C75A92E-C945-4E61-9166-3D532CED7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6" y="210"/>
                <a:ext cx="389" cy="300"/>
              </a:xfrm>
              <a:custGeom>
                <a:avLst/>
                <a:gdLst>
                  <a:gd name="T0" fmla="*/ 120 w 389"/>
                  <a:gd name="T1" fmla="*/ 150 h 300"/>
                  <a:gd name="T2" fmla="*/ 0 w 389"/>
                  <a:gd name="T3" fmla="*/ 90 h 300"/>
                  <a:gd name="T4" fmla="*/ 60 w 389"/>
                  <a:gd name="T5" fmla="*/ 300 h 300"/>
                  <a:gd name="T6" fmla="*/ 269 w 389"/>
                  <a:gd name="T7" fmla="*/ 120 h 300"/>
                  <a:gd name="T8" fmla="*/ 389 w 389"/>
                  <a:gd name="T9" fmla="*/ 180 h 300"/>
                  <a:gd name="T10" fmla="*/ 210 w 389"/>
                  <a:gd name="T11" fmla="*/ 0 h 300"/>
                  <a:gd name="T12" fmla="*/ 0 w 389"/>
                  <a:gd name="T13" fmla="*/ 9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9" h="300">
                    <a:moveTo>
                      <a:pt x="120" y="150"/>
                    </a:moveTo>
                    <a:lnTo>
                      <a:pt x="0" y="90"/>
                    </a:lnTo>
                    <a:lnTo>
                      <a:pt x="60" y="300"/>
                    </a:lnTo>
                    <a:lnTo>
                      <a:pt x="269" y="120"/>
                    </a:lnTo>
                    <a:lnTo>
                      <a:pt x="389" y="180"/>
                    </a:lnTo>
                    <a:lnTo>
                      <a:pt x="210" y="0"/>
                    </a:lnTo>
                    <a:lnTo>
                      <a:pt x="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0" name="Freeform 2569">
                <a:extLst>
                  <a:ext uri="{FF2B5EF4-FFF2-40B4-BE49-F238E27FC236}">
                    <a16:creationId xmlns:a16="http://schemas.microsoft.com/office/drawing/2014/main" xmlns="" id="{20E2414F-4B98-49AD-B172-A93047461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6" y="60"/>
                <a:ext cx="149" cy="150"/>
              </a:xfrm>
              <a:custGeom>
                <a:avLst/>
                <a:gdLst>
                  <a:gd name="T0" fmla="*/ 0 w 149"/>
                  <a:gd name="T1" fmla="*/ 0 h 150"/>
                  <a:gd name="T2" fmla="*/ 90 w 149"/>
                  <a:gd name="T3" fmla="*/ 150 h 150"/>
                  <a:gd name="T4" fmla="*/ 149 w 149"/>
                  <a:gd name="T5" fmla="*/ 3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0"/>
                    </a:moveTo>
                    <a:lnTo>
                      <a:pt x="90" y="150"/>
                    </a:lnTo>
                    <a:lnTo>
                      <a:pt x="14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1" name="Freeform 2570">
                <a:extLst>
                  <a:ext uri="{FF2B5EF4-FFF2-40B4-BE49-F238E27FC236}">
                    <a16:creationId xmlns:a16="http://schemas.microsoft.com/office/drawing/2014/main" xmlns="" id="{B760BAE8-C52B-4A17-A6A1-4E02DCEFC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210"/>
                <a:ext cx="1649" cy="1050"/>
              </a:xfrm>
              <a:custGeom>
                <a:avLst/>
                <a:gdLst>
                  <a:gd name="T0" fmla="*/ 0 w 1649"/>
                  <a:gd name="T1" fmla="*/ 0 h 1050"/>
                  <a:gd name="T2" fmla="*/ 179 w 1649"/>
                  <a:gd name="T3" fmla="*/ 30 h 1050"/>
                  <a:gd name="T4" fmla="*/ 299 w 1649"/>
                  <a:gd name="T5" fmla="*/ 120 h 1050"/>
                  <a:gd name="T6" fmla="*/ 269 w 1649"/>
                  <a:gd name="T7" fmla="*/ 240 h 1050"/>
                  <a:gd name="T8" fmla="*/ 479 w 1649"/>
                  <a:gd name="T9" fmla="*/ 180 h 1050"/>
                  <a:gd name="T10" fmla="*/ 449 w 1649"/>
                  <a:gd name="T11" fmla="*/ 300 h 1050"/>
                  <a:gd name="T12" fmla="*/ 269 w 1649"/>
                  <a:gd name="T13" fmla="*/ 240 h 1050"/>
                  <a:gd name="T14" fmla="*/ 359 w 1649"/>
                  <a:gd name="T15" fmla="*/ 360 h 1050"/>
                  <a:gd name="T16" fmla="*/ 449 w 1649"/>
                  <a:gd name="T17" fmla="*/ 300 h 1050"/>
                  <a:gd name="T18" fmla="*/ 839 w 1649"/>
                  <a:gd name="T19" fmla="*/ 240 h 1050"/>
                  <a:gd name="T20" fmla="*/ 749 w 1649"/>
                  <a:gd name="T21" fmla="*/ 330 h 1050"/>
                  <a:gd name="T22" fmla="*/ 689 w 1649"/>
                  <a:gd name="T23" fmla="*/ 420 h 1050"/>
                  <a:gd name="T24" fmla="*/ 539 w 1649"/>
                  <a:gd name="T25" fmla="*/ 510 h 1050"/>
                  <a:gd name="T26" fmla="*/ 539 w 1649"/>
                  <a:gd name="T27" fmla="*/ 660 h 1050"/>
                  <a:gd name="T28" fmla="*/ 659 w 1649"/>
                  <a:gd name="T29" fmla="*/ 570 h 1050"/>
                  <a:gd name="T30" fmla="*/ 809 w 1649"/>
                  <a:gd name="T31" fmla="*/ 450 h 1050"/>
                  <a:gd name="T32" fmla="*/ 1049 w 1649"/>
                  <a:gd name="T33" fmla="*/ 300 h 1050"/>
                  <a:gd name="T34" fmla="*/ 1139 w 1649"/>
                  <a:gd name="T35" fmla="*/ 360 h 1050"/>
                  <a:gd name="T36" fmla="*/ 1229 w 1649"/>
                  <a:gd name="T37" fmla="*/ 480 h 1050"/>
                  <a:gd name="T38" fmla="*/ 1319 w 1649"/>
                  <a:gd name="T39" fmla="*/ 360 h 1050"/>
                  <a:gd name="T40" fmla="*/ 1139 w 1649"/>
                  <a:gd name="T41" fmla="*/ 360 h 1050"/>
                  <a:gd name="T42" fmla="*/ 1139 w 1649"/>
                  <a:gd name="T43" fmla="*/ 511 h 1050"/>
                  <a:gd name="T44" fmla="*/ 1049 w 1649"/>
                  <a:gd name="T45" fmla="*/ 480 h 1050"/>
                  <a:gd name="T46" fmla="*/ 1019 w 1649"/>
                  <a:gd name="T47" fmla="*/ 570 h 1050"/>
                  <a:gd name="T48" fmla="*/ 1019 w 1649"/>
                  <a:gd name="T49" fmla="*/ 810 h 1050"/>
                  <a:gd name="T50" fmla="*/ 1139 w 1649"/>
                  <a:gd name="T51" fmla="*/ 720 h 1050"/>
                  <a:gd name="T52" fmla="*/ 1227 w 1649"/>
                  <a:gd name="T53" fmla="*/ 812 h 1050"/>
                  <a:gd name="T54" fmla="*/ 1199 w 1649"/>
                  <a:gd name="T55" fmla="*/ 630 h 1050"/>
                  <a:gd name="T56" fmla="*/ 1289 w 1649"/>
                  <a:gd name="T57" fmla="*/ 570 h 1050"/>
                  <a:gd name="T58" fmla="*/ 1409 w 1649"/>
                  <a:gd name="T59" fmla="*/ 630 h 1050"/>
                  <a:gd name="T60" fmla="*/ 1289 w 1649"/>
                  <a:gd name="T61" fmla="*/ 690 h 1050"/>
                  <a:gd name="T62" fmla="*/ 1379 w 1649"/>
                  <a:gd name="T63" fmla="*/ 750 h 1050"/>
                  <a:gd name="T64" fmla="*/ 1649 w 1649"/>
                  <a:gd name="T65" fmla="*/ 720 h 1050"/>
                  <a:gd name="T66" fmla="*/ 1529 w 1649"/>
                  <a:gd name="T67" fmla="*/ 780 h 1050"/>
                  <a:gd name="T68" fmla="*/ 1559 w 1649"/>
                  <a:gd name="T69" fmla="*/ 1050 h 1050"/>
                  <a:gd name="T70" fmla="*/ 1349 w 1649"/>
                  <a:gd name="T71" fmla="*/ 870 h 10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649" h="1050">
                    <a:moveTo>
                      <a:pt x="0" y="0"/>
                    </a:moveTo>
                    <a:lnTo>
                      <a:pt x="179" y="30"/>
                    </a:lnTo>
                    <a:lnTo>
                      <a:pt x="299" y="120"/>
                    </a:lnTo>
                    <a:lnTo>
                      <a:pt x="269" y="240"/>
                    </a:lnTo>
                    <a:lnTo>
                      <a:pt x="479" y="180"/>
                    </a:lnTo>
                    <a:lnTo>
                      <a:pt x="449" y="300"/>
                    </a:lnTo>
                    <a:lnTo>
                      <a:pt x="269" y="240"/>
                    </a:lnTo>
                    <a:lnTo>
                      <a:pt x="359" y="360"/>
                    </a:lnTo>
                    <a:lnTo>
                      <a:pt x="449" y="300"/>
                    </a:lnTo>
                    <a:lnTo>
                      <a:pt x="839" y="240"/>
                    </a:lnTo>
                    <a:lnTo>
                      <a:pt x="749" y="330"/>
                    </a:lnTo>
                    <a:lnTo>
                      <a:pt x="689" y="420"/>
                    </a:lnTo>
                    <a:lnTo>
                      <a:pt x="539" y="510"/>
                    </a:lnTo>
                    <a:lnTo>
                      <a:pt x="539" y="660"/>
                    </a:lnTo>
                    <a:lnTo>
                      <a:pt x="659" y="570"/>
                    </a:lnTo>
                    <a:lnTo>
                      <a:pt x="809" y="450"/>
                    </a:lnTo>
                    <a:lnTo>
                      <a:pt x="1049" y="300"/>
                    </a:lnTo>
                    <a:lnTo>
                      <a:pt x="1139" y="360"/>
                    </a:lnTo>
                    <a:lnTo>
                      <a:pt x="1229" y="480"/>
                    </a:lnTo>
                    <a:lnTo>
                      <a:pt x="1319" y="360"/>
                    </a:lnTo>
                    <a:lnTo>
                      <a:pt x="1139" y="360"/>
                    </a:lnTo>
                    <a:lnTo>
                      <a:pt x="1139" y="511"/>
                    </a:lnTo>
                    <a:lnTo>
                      <a:pt x="1049" y="480"/>
                    </a:lnTo>
                    <a:lnTo>
                      <a:pt x="1019" y="570"/>
                    </a:lnTo>
                    <a:lnTo>
                      <a:pt x="1019" y="810"/>
                    </a:lnTo>
                    <a:lnTo>
                      <a:pt x="1139" y="720"/>
                    </a:lnTo>
                    <a:lnTo>
                      <a:pt x="1227" y="812"/>
                    </a:lnTo>
                    <a:lnTo>
                      <a:pt x="1199" y="630"/>
                    </a:lnTo>
                    <a:lnTo>
                      <a:pt x="1289" y="570"/>
                    </a:lnTo>
                    <a:lnTo>
                      <a:pt x="1409" y="630"/>
                    </a:lnTo>
                    <a:lnTo>
                      <a:pt x="1289" y="690"/>
                    </a:lnTo>
                    <a:lnTo>
                      <a:pt x="1379" y="750"/>
                    </a:lnTo>
                    <a:lnTo>
                      <a:pt x="1649" y="720"/>
                    </a:lnTo>
                    <a:lnTo>
                      <a:pt x="1529" y="780"/>
                    </a:lnTo>
                    <a:lnTo>
                      <a:pt x="1559" y="1050"/>
                    </a:lnTo>
                    <a:lnTo>
                      <a:pt x="1349" y="8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2" name="Freeform 2571">
                <a:extLst>
                  <a:ext uri="{FF2B5EF4-FFF2-40B4-BE49-F238E27FC236}">
                    <a16:creationId xmlns:a16="http://schemas.microsoft.com/office/drawing/2014/main" xmlns="" id="{F5ECA01B-A71B-4838-898C-7FA4AAC48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5" y="300"/>
                <a:ext cx="270" cy="210"/>
              </a:xfrm>
              <a:custGeom>
                <a:avLst/>
                <a:gdLst>
                  <a:gd name="T0" fmla="*/ 120 w 270"/>
                  <a:gd name="T1" fmla="*/ 0 h 210"/>
                  <a:gd name="T2" fmla="*/ 270 w 270"/>
                  <a:gd name="T3" fmla="*/ 60 h 210"/>
                  <a:gd name="T4" fmla="*/ 0 w 270"/>
                  <a:gd name="T5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210">
                    <a:moveTo>
                      <a:pt x="120" y="0"/>
                    </a:moveTo>
                    <a:lnTo>
                      <a:pt x="270" y="6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3" name="Freeform 2572">
                <a:extLst>
                  <a:ext uri="{FF2B5EF4-FFF2-40B4-BE49-F238E27FC236}">
                    <a16:creationId xmlns:a16="http://schemas.microsoft.com/office/drawing/2014/main" xmlns="" id="{491EBD2A-E5CE-484B-9965-9138AB4B35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5" y="360"/>
                <a:ext cx="180" cy="90"/>
              </a:xfrm>
              <a:custGeom>
                <a:avLst/>
                <a:gdLst>
                  <a:gd name="T0" fmla="*/ 120 w 180"/>
                  <a:gd name="T1" fmla="*/ 90 h 90"/>
                  <a:gd name="T2" fmla="*/ 0 w 180"/>
                  <a:gd name="T3" fmla="*/ 0 h 90"/>
                  <a:gd name="T4" fmla="*/ 180 w 180"/>
                  <a:gd name="T5" fmla="*/ 0 h 90"/>
                  <a:gd name="T6" fmla="*/ 120 w 180"/>
                  <a:gd name="T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90">
                    <a:moveTo>
                      <a:pt x="120" y="90"/>
                    </a:moveTo>
                    <a:lnTo>
                      <a:pt x="0" y="0"/>
                    </a:lnTo>
                    <a:lnTo>
                      <a:pt x="180" y="0"/>
                    </a:lnTo>
                    <a:lnTo>
                      <a:pt x="120" y="9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4" name="Freeform 2573">
                <a:extLst>
                  <a:ext uri="{FF2B5EF4-FFF2-40B4-BE49-F238E27FC236}">
                    <a16:creationId xmlns:a16="http://schemas.microsoft.com/office/drawing/2014/main" xmlns="" id="{80C0CC92-850E-42D6-ABF4-DC988BC6FE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5" y="30"/>
                <a:ext cx="210" cy="150"/>
              </a:xfrm>
              <a:custGeom>
                <a:avLst/>
                <a:gdLst>
                  <a:gd name="T0" fmla="*/ 120 w 210"/>
                  <a:gd name="T1" fmla="*/ 60 h 150"/>
                  <a:gd name="T2" fmla="*/ 210 w 210"/>
                  <a:gd name="T3" fmla="*/ 90 h 150"/>
                  <a:gd name="T4" fmla="*/ 0 w 210"/>
                  <a:gd name="T5" fmla="*/ 150 h 150"/>
                  <a:gd name="T6" fmla="*/ 0 w 210"/>
                  <a:gd name="T7" fmla="*/ 0 h 150"/>
                  <a:gd name="T8" fmla="*/ 120 w 210"/>
                  <a:gd name="T9" fmla="*/ 6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0" h="150">
                    <a:moveTo>
                      <a:pt x="120" y="60"/>
                    </a:moveTo>
                    <a:lnTo>
                      <a:pt x="210" y="90"/>
                    </a:lnTo>
                    <a:lnTo>
                      <a:pt x="0" y="150"/>
                    </a:lnTo>
                    <a:lnTo>
                      <a:pt x="0" y="0"/>
                    </a:lnTo>
                    <a:lnTo>
                      <a:pt x="120" y="6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5" name="Line 2574">
                <a:extLst>
                  <a:ext uri="{FF2B5EF4-FFF2-40B4-BE49-F238E27FC236}">
                    <a16:creationId xmlns:a16="http://schemas.microsoft.com/office/drawing/2014/main" xmlns="" id="{E7EF79C8-28F4-4FBE-87AB-BADAB398C1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385" y="15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6" name="Freeform 2575">
                <a:extLst>
                  <a:ext uri="{FF2B5EF4-FFF2-40B4-BE49-F238E27FC236}">
                    <a16:creationId xmlns:a16="http://schemas.microsoft.com/office/drawing/2014/main" xmlns="" id="{017E3464-3FE4-4F2E-9EF7-BD8E66D07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30"/>
                <a:ext cx="2398" cy="390"/>
              </a:xfrm>
              <a:custGeom>
                <a:avLst/>
                <a:gdLst>
                  <a:gd name="T0" fmla="*/ 509 w 2398"/>
                  <a:gd name="T1" fmla="*/ 60 h 390"/>
                  <a:gd name="T2" fmla="*/ 419 w 2398"/>
                  <a:gd name="T3" fmla="*/ 120 h 390"/>
                  <a:gd name="T4" fmla="*/ 239 w 2398"/>
                  <a:gd name="T5" fmla="*/ 60 h 390"/>
                  <a:gd name="T6" fmla="*/ 90 w 2398"/>
                  <a:gd name="T7" fmla="*/ 30 h 390"/>
                  <a:gd name="T8" fmla="*/ 0 w 2398"/>
                  <a:gd name="T9" fmla="*/ 120 h 390"/>
                  <a:gd name="T10" fmla="*/ 180 w 2398"/>
                  <a:gd name="T11" fmla="*/ 180 h 390"/>
                  <a:gd name="T12" fmla="*/ 90 w 2398"/>
                  <a:gd name="T13" fmla="*/ 330 h 390"/>
                  <a:gd name="T14" fmla="*/ 239 w 2398"/>
                  <a:gd name="T15" fmla="*/ 300 h 390"/>
                  <a:gd name="T16" fmla="*/ 239 w 2398"/>
                  <a:gd name="T17" fmla="*/ 60 h 390"/>
                  <a:gd name="T18" fmla="*/ 359 w 2398"/>
                  <a:gd name="T19" fmla="*/ 210 h 390"/>
                  <a:gd name="T20" fmla="*/ 359 w 2398"/>
                  <a:gd name="T21" fmla="*/ 360 h 390"/>
                  <a:gd name="T22" fmla="*/ 479 w 2398"/>
                  <a:gd name="T23" fmla="*/ 300 h 390"/>
                  <a:gd name="T24" fmla="*/ 419 w 2398"/>
                  <a:gd name="T25" fmla="*/ 120 h 390"/>
                  <a:gd name="T26" fmla="*/ 509 w 2398"/>
                  <a:gd name="T27" fmla="*/ 180 h 390"/>
                  <a:gd name="T28" fmla="*/ 509 w 2398"/>
                  <a:gd name="T29" fmla="*/ 60 h 390"/>
                  <a:gd name="T30" fmla="*/ 629 w 2398"/>
                  <a:gd name="T31" fmla="*/ 30 h 390"/>
                  <a:gd name="T32" fmla="*/ 719 w 2398"/>
                  <a:gd name="T33" fmla="*/ 0 h 390"/>
                  <a:gd name="T34" fmla="*/ 629 w 2398"/>
                  <a:gd name="T35" fmla="*/ 120 h 390"/>
                  <a:gd name="T36" fmla="*/ 719 w 2398"/>
                  <a:gd name="T37" fmla="*/ 150 h 390"/>
                  <a:gd name="T38" fmla="*/ 599 w 2398"/>
                  <a:gd name="T39" fmla="*/ 240 h 390"/>
                  <a:gd name="T40" fmla="*/ 659 w 2398"/>
                  <a:gd name="T41" fmla="*/ 360 h 390"/>
                  <a:gd name="T42" fmla="*/ 749 w 2398"/>
                  <a:gd name="T43" fmla="*/ 270 h 390"/>
                  <a:gd name="T44" fmla="*/ 839 w 2398"/>
                  <a:gd name="T45" fmla="*/ 60 h 390"/>
                  <a:gd name="T46" fmla="*/ 869 w 2398"/>
                  <a:gd name="T47" fmla="*/ 210 h 390"/>
                  <a:gd name="T48" fmla="*/ 929 w 2398"/>
                  <a:gd name="T49" fmla="*/ 90 h 390"/>
                  <a:gd name="T50" fmla="*/ 899 w 2398"/>
                  <a:gd name="T51" fmla="*/ 330 h 390"/>
                  <a:gd name="T52" fmla="*/ 1019 w 2398"/>
                  <a:gd name="T53" fmla="*/ 240 h 390"/>
                  <a:gd name="T54" fmla="*/ 1079 w 2398"/>
                  <a:gd name="T55" fmla="*/ 330 h 390"/>
                  <a:gd name="T56" fmla="*/ 1139 w 2398"/>
                  <a:gd name="T57" fmla="*/ 180 h 390"/>
                  <a:gd name="T58" fmla="*/ 1079 w 2398"/>
                  <a:gd name="T59" fmla="*/ 60 h 390"/>
                  <a:gd name="T60" fmla="*/ 1199 w 2398"/>
                  <a:gd name="T61" fmla="*/ 60 h 390"/>
                  <a:gd name="T62" fmla="*/ 1319 w 2398"/>
                  <a:gd name="T63" fmla="*/ 0 h 390"/>
                  <a:gd name="T64" fmla="*/ 1319 w 2398"/>
                  <a:gd name="T65" fmla="*/ 210 h 390"/>
                  <a:gd name="T66" fmla="*/ 1199 w 2398"/>
                  <a:gd name="T67" fmla="*/ 300 h 390"/>
                  <a:gd name="T68" fmla="*/ 1319 w 2398"/>
                  <a:gd name="T69" fmla="*/ 360 h 390"/>
                  <a:gd name="T70" fmla="*/ 1439 w 2398"/>
                  <a:gd name="T71" fmla="*/ 270 h 390"/>
                  <a:gd name="T72" fmla="*/ 1379 w 2398"/>
                  <a:gd name="T73" fmla="*/ 120 h 390"/>
                  <a:gd name="T74" fmla="*/ 1469 w 2398"/>
                  <a:gd name="T75" fmla="*/ 60 h 390"/>
                  <a:gd name="T76" fmla="*/ 1589 w 2398"/>
                  <a:gd name="T77" fmla="*/ 120 h 390"/>
                  <a:gd name="T78" fmla="*/ 1559 w 2398"/>
                  <a:gd name="T79" fmla="*/ 240 h 390"/>
                  <a:gd name="T80" fmla="*/ 1619 w 2398"/>
                  <a:gd name="T81" fmla="*/ 360 h 390"/>
                  <a:gd name="T82" fmla="*/ 1709 w 2398"/>
                  <a:gd name="T83" fmla="*/ 270 h 390"/>
                  <a:gd name="T84" fmla="*/ 1679 w 2398"/>
                  <a:gd name="T85" fmla="*/ 150 h 390"/>
                  <a:gd name="T86" fmla="*/ 1679 w 2398"/>
                  <a:gd name="T87" fmla="*/ 0 h 390"/>
                  <a:gd name="T88" fmla="*/ 1799 w 2398"/>
                  <a:gd name="T89" fmla="*/ 60 h 390"/>
                  <a:gd name="T90" fmla="*/ 1829 w 2398"/>
                  <a:gd name="T91" fmla="*/ 210 h 390"/>
                  <a:gd name="T92" fmla="*/ 1978 w 2398"/>
                  <a:gd name="T93" fmla="*/ 120 h 390"/>
                  <a:gd name="T94" fmla="*/ 1948 w 2398"/>
                  <a:gd name="T95" fmla="*/ 240 h 390"/>
                  <a:gd name="T96" fmla="*/ 1888 w 2398"/>
                  <a:gd name="T97" fmla="*/ 360 h 390"/>
                  <a:gd name="T98" fmla="*/ 2068 w 2398"/>
                  <a:gd name="T99" fmla="*/ 330 h 390"/>
                  <a:gd name="T100" fmla="*/ 2248 w 2398"/>
                  <a:gd name="T101" fmla="*/ 390 h 390"/>
                  <a:gd name="T102" fmla="*/ 2398 w 2398"/>
                  <a:gd name="T103" fmla="*/ 270 h 390"/>
                  <a:gd name="T104" fmla="*/ 2278 w 2398"/>
                  <a:gd name="T105" fmla="*/ 240 h 390"/>
                  <a:gd name="T106" fmla="*/ 2368 w 2398"/>
                  <a:gd name="T107" fmla="*/ 12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98" h="390">
                    <a:moveTo>
                      <a:pt x="509" y="60"/>
                    </a:moveTo>
                    <a:lnTo>
                      <a:pt x="419" y="120"/>
                    </a:lnTo>
                    <a:lnTo>
                      <a:pt x="239" y="60"/>
                    </a:lnTo>
                    <a:lnTo>
                      <a:pt x="90" y="30"/>
                    </a:lnTo>
                    <a:lnTo>
                      <a:pt x="0" y="120"/>
                    </a:lnTo>
                    <a:lnTo>
                      <a:pt x="180" y="180"/>
                    </a:lnTo>
                    <a:lnTo>
                      <a:pt x="90" y="330"/>
                    </a:lnTo>
                    <a:lnTo>
                      <a:pt x="239" y="300"/>
                    </a:lnTo>
                    <a:lnTo>
                      <a:pt x="239" y="60"/>
                    </a:lnTo>
                    <a:lnTo>
                      <a:pt x="359" y="210"/>
                    </a:lnTo>
                    <a:lnTo>
                      <a:pt x="359" y="360"/>
                    </a:lnTo>
                    <a:lnTo>
                      <a:pt x="479" y="300"/>
                    </a:lnTo>
                    <a:lnTo>
                      <a:pt x="419" y="120"/>
                    </a:lnTo>
                    <a:lnTo>
                      <a:pt x="509" y="180"/>
                    </a:lnTo>
                    <a:lnTo>
                      <a:pt x="509" y="60"/>
                    </a:lnTo>
                    <a:lnTo>
                      <a:pt x="629" y="30"/>
                    </a:lnTo>
                    <a:lnTo>
                      <a:pt x="719" y="0"/>
                    </a:lnTo>
                    <a:lnTo>
                      <a:pt x="629" y="120"/>
                    </a:lnTo>
                    <a:lnTo>
                      <a:pt x="719" y="150"/>
                    </a:lnTo>
                    <a:lnTo>
                      <a:pt x="599" y="240"/>
                    </a:lnTo>
                    <a:lnTo>
                      <a:pt x="659" y="360"/>
                    </a:lnTo>
                    <a:lnTo>
                      <a:pt x="749" y="270"/>
                    </a:lnTo>
                    <a:lnTo>
                      <a:pt x="839" y="60"/>
                    </a:lnTo>
                    <a:lnTo>
                      <a:pt x="869" y="210"/>
                    </a:lnTo>
                    <a:lnTo>
                      <a:pt x="929" y="90"/>
                    </a:lnTo>
                    <a:lnTo>
                      <a:pt x="899" y="330"/>
                    </a:lnTo>
                    <a:lnTo>
                      <a:pt x="1019" y="240"/>
                    </a:lnTo>
                    <a:lnTo>
                      <a:pt x="1079" y="330"/>
                    </a:lnTo>
                    <a:lnTo>
                      <a:pt x="1139" y="180"/>
                    </a:lnTo>
                    <a:lnTo>
                      <a:pt x="1079" y="60"/>
                    </a:lnTo>
                    <a:lnTo>
                      <a:pt x="1199" y="60"/>
                    </a:lnTo>
                    <a:lnTo>
                      <a:pt x="1319" y="0"/>
                    </a:lnTo>
                    <a:lnTo>
                      <a:pt x="1319" y="210"/>
                    </a:lnTo>
                    <a:lnTo>
                      <a:pt x="1199" y="300"/>
                    </a:lnTo>
                    <a:lnTo>
                      <a:pt x="1319" y="360"/>
                    </a:lnTo>
                    <a:lnTo>
                      <a:pt x="1439" y="270"/>
                    </a:lnTo>
                    <a:lnTo>
                      <a:pt x="1379" y="120"/>
                    </a:lnTo>
                    <a:lnTo>
                      <a:pt x="1469" y="60"/>
                    </a:lnTo>
                    <a:lnTo>
                      <a:pt x="1589" y="120"/>
                    </a:lnTo>
                    <a:lnTo>
                      <a:pt x="1559" y="240"/>
                    </a:lnTo>
                    <a:lnTo>
                      <a:pt x="1619" y="360"/>
                    </a:lnTo>
                    <a:lnTo>
                      <a:pt x="1709" y="270"/>
                    </a:lnTo>
                    <a:lnTo>
                      <a:pt x="1679" y="150"/>
                    </a:lnTo>
                    <a:lnTo>
                      <a:pt x="1679" y="0"/>
                    </a:lnTo>
                    <a:lnTo>
                      <a:pt x="1799" y="60"/>
                    </a:lnTo>
                    <a:lnTo>
                      <a:pt x="1829" y="210"/>
                    </a:lnTo>
                    <a:lnTo>
                      <a:pt x="1978" y="120"/>
                    </a:lnTo>
                    <a:lnTo>
                      <a:pt x="1948" y="240"/>
                    </a:lnTo>
                    <a:lnTo>
                      <a:pt x="1888" y="360"/>
                    </a:lnTo>
                    <a:lnTo>
                      <a:pt x="2068" y="330"/>
                    </a:lnTo>
                    <a:lnTo>
                      <a:pt x="2248" y="390"/>
                    </a:lnTo>
                    <a:lnTo>
                      <a:pt x="2398" y="270"/>
                    </a:lnTo>
                    <a:lnTo>
                      <a:pt x="2278" y="240"/>
                    </a:lnTo>
                    <a:lnTo>
                      <a:pt x="2368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7" name="Line 2576">
                <a:extLst>
                  <a:ext uri="{FF2B5EF4-FFF2-40B4-BE49-F238E27FC236}">
                    <a16:creationId xmlns:a16="http://schemas.microsoft.com/office/drawing/2014/main" xmlns="" id="{8DBF2DF5-1590-440E-A50F-C4126532EE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35" y="150"/>
                <a:ext cx="60" cy="9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8" name="Freeform 2577">
                <a:extLst>
                  <a:ext uri="{FF2B5EF4-FFF2-40B4-BE49-F238E27FC236}">
                    <a16:creationId xmlns:a16="http://schemas.microsoft.com/office/drawing/2014/main" xmlns="" id="{C65A8C78-B657-4918-82D9-4BF9B381C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210"/>
                <a:ext cx="180" cy="360"/>
              </a:xfrm>
              <a:custGeom>
                <a:avLst/>
                <a:gdLst>
                  <a:gd name="T0" fmla="*/ 180 w 180"/>
                  <a:gd name="T1" fmla="*/ 180 h 360"/>
                  <a:gd name="T2" fmla="*/ 0 w 180"/>
                  <a:gd name="T3" fmla="*/ 120 h 360"/>
                  <a:gd name="T4" fmla="*/ 30 w 180"/>
                  <a:gd name="T5" fmla="*/ 0 h 360"/>
                  <a:gd name="T6" fmla="*/ 120 w 180"/>
                  <a:gd name="T7" fmla="*/ 60 h 360"/>
                  <a:gd name="T8" fmla="*/ 60 w 180"/>
                  <a:gd name="T9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360">
                    <a:moveTo>
                      <a:pt x="180" y="180"/>
                    </a:moveTo>
                    <a:lnTo>
                      <a:pt x="0" y="120"/>
                    </a:lnTo>
                    <a:lnTo>
                      <a:pt x="30" y="0"/>
                    </a:lnTo>
                    <a:lnTo>
                      <a:pt x="120" y="60"/>
                    </a:lnTo>
                    <a:lnTo>
                      <a:pt x="60" y="3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9" name="Line 2578">
                <a:extLst>
                  <a:ext uri="{FF2B5EF4-FFF2-40B4-BE49-F238E27FC236}">
                    <a16:creationId xmlns:a16="http://schemas.microsoft.com/office/drawing/2014/main" xmlns="" id="{41AD668A-7D9D-45E3-AE5B-9C587F264E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35" y="390"/>
                <a:ext cx="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0" name="Freeform 2579">
                <a:extLst>
                  <a:ext uri="{FF2B5EF4-FFF2-40B4-BE49-F238E27FC236}">
                    <a16:creationId xmlns:a16="http://schemas.microsoft.com/office/drawing/2014/main" xmlns="" id="{FE0ED69F-107E-45EA-9B41-DB628022BB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300"/>
                <a:ext cx="180" cy="330"/>
              </a:xfrm>
              <a:custGeom>
                <a:avLst/>
                <a:gdLst>
                  <a:gd name="T0" fmla="*/ 180 w 180"/>
                  <a:gd name="T1" fmla="*/ 240 h 330"/>
                  <a:gd name="T2" fmla="*/ 0 w 180"/>
                  <a:gd name="T3" fmla="*/ 0 h 330"/>
                  <a:gd name="T4" fmla="*/ 120 w 180"/>
                  <a:gd name="T5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330">
                    <a:moveTo>
                      <a:pt x="180" y="240"/>
                    </a:moveTo>
                    <a:lnTo>
                      <a:pt x="0" y="0"/>
                    </a:lnTo>
                    <a:lnTo>
                      <a:pt x="12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1" name="Line 2580">
                <a:extLst>
                  <a:ext uri="{FF2B5EF4-FFF2-40B4-BE49-F238E27FC236}">
                    <a16:creationId xmlns:a16="http://schemas.microsoft.com/office/drawing/2014/main" xmlns="" id="{9B4AE8E5-A80D-4ACB-A0D3-298B880940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80"/>
                <a:ext cx="3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605" name="Group 2782">
              <a:extLst>
                <a:ext uri="{FF2B5EF4-FFF2-40B4-BE49-F238E27FC236}">
                  <a16:creationId xmlns:a16="http://schemas.microsoft.com/office/drawing/2014/main" xmlns="" id="{A556337D-0371-43B3-996A-8EDCA23E7E4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46" y="0"/>
              <a:ext cx="3268" cy="3210"/>
              <a:chOff x="1246" y="0"/>
              <a:chExt cx="3268" cy="3210"/>
            </a:xfrm>
          </p:grpSpPr>
          <p:sp>
            <p:nvSpPr>
              <p:cNvPr id="2992" name="Freeform 2582">
                <a:extLst>
                  <a:ext uri="{FF2B5EF4-FFF2-40B4-BE49-F238E27FC236}">
                    <a16:creationId xmlns:a16="http://schemas.microsoft.com/office/drawing/2014/main" xmlns="" id="{11A3552C-3620-4963-A46F-DE2C924C5D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90"/>
                <a:ext cx="180" cy="240"/>
              </a:xfrm>
              <a:custGeom>
                <a:avLst/>
                <a:gdLst>
                  <a:gd name="T0" fmla="*/ 180 w 180"/>
                  <a:gd name="T1" fmla="*/ 0 h 240"/>
                  <a:gd name="T2" fmla="*/ 180 w 180"/>
                  <a:gd name="T3" fmla="*/ 240 h 240"/>
                  <a:gd name="T4" fmla="*/ 0 w 180"/>
                  <a:gd name="T5" fmla="*/ 18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40">
                    <a:moveTo>
                      <a:pt x="180" y="0"/>
                    </a:moveTo>
                    <a:lnTo>
                      <a:pt x="180" y="24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3" name="Freeform 2583">
                <a:extLst>
                  <a:ext uri="{FF2B5EF4-FFF2-40B4-BE49-F238E27FC236}">
                    <a16:creationId xmlns:a16="http://schemas.microsoft.com/office/drawing/2014/main" xmlns="" id="{36185F14-2C67-45D8-88A4-FA649636A9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20"/>
                <a:ext cx="450" cy="90"/>
              </a:xfrm>
              <a:custGeom>
                <a:avLst/>
                <a:gdLst>
                  <a:gd name="T0" fmla="*/ 0 w 450"/>
                  <a:gd name="T1" fmla="*/ 0 h 90"/>
                  <a:gd name="T2" fmla="*/ 210 w 450"/>
                  <a:gd name="T3" fmla="*/ 90 h 90"/>
                  <a:gd name="T4" fmla="*/ 450 w 450"/>
                  <a:gd name="T5" fmla="*/ 3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50" h="90">
                    <a:moveTo>
                      <a:pt x="0" y="0"/>
                    </a:moveTo>
                    <a:lnTo>
                      <a:pt x="210" y="90"/>
                    </a:lnTo>
                    <a:lnTo>
                      <a:pt x="45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4" name="Freeform 2584">
                <a:extLst>
                  <a:ext uri="{FF2B5EF4-FFF2-40B4-BE49-F238E27FC236}">
                    <a16:creationId xmlns:a16="http://schemas.microsoft.com/office/drawing/2014/main" xmlns="" id="{0386EE2F-5186-4568-9CBE-E9FD42A954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270"/>
                <a:ext cx="480" cy="240"/>
              </a:xfrm>
              <a:custGeom>
                <a:avLst/>
                <a:gdLst>
                  <a:gd name="T0" fmla="*/ 480 w 480"/>
                  <a:gd name="T1" fmla="*/ 0 h 240"/>
                  <a:gd name="T2" fmla="*/ 330 w 480"/>
                  <a:gd name="T3" fmla="*/ 210 h 240"/>
                  <a:gd name="T4" fmla="*/ 0 w 480"/>
                  <a:gd name="T5" fmla="*/ 90 h 240"/>
                  <a:gd name="T6" fmla="*/ 150 w 480"/>
                  <a:gd name="T7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0" h="240">
                    <a:moveTo>
                      <a:pt x="480" y="0"/>
                    </a:moveTo>
                    <a:lnTo>
                      <a:pt x="330" y="210"/>
                    </a:lnTo>
                    <a:lnTo>
                      <a:pt x="0" y="90"/>
                    </a:lnTo>
                    <a:lnTo>
                      <a:pt x="15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5" name="Line 2585">
                <a:extLst>
                  <a:ext uri="{FF2B5EF4-FFF2-40B4-BE49-F238E27FC236}">
                    <a16:creationId xmlns:a16="http://schemas.microsoft.com/office/drawing/2014/main" xmlns="" id="{AB9ED66E-AFF3-471F-BCE5-DD2EC76B8E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465" y="390"/>
                <a:ext cx="3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6" name="Freeform 2586">
                <a:extLst>
                  <a:ext uri="{FF2B5EF4-FFF2-40B4-BE49-F238E27FC236}">
                    <a16:creationId xmlns:a16="http://schemas.microsoft.com/office/drawing/2014/main" xmlns="" id="{CA91E15D-D39D-4B3C-894C-6F6E654CB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240"/>
                <a:ext cx="209" cy="270"/>
              </a:xfrm>
              <a:custGeom>
                <a:avLst/>
                <a:gdLst>
                  <a:gd name="T0" fmla="*/ 0 w 209"/>
                  <a:gd name="T1" fmla="*/ 60 h 270"/>
                  <a:gd name="T2" fmla="*/ 90 w 209"/>
                  <a:gd name="T3" fmla="*/ 210 h 270"/>
                  <a:gd name="T4" fmla="*/ 120 w 209"/>
                  <a:gd name="T5" fmla="*/ 0 h 270"/>
                  <a:gd name="T6" fmla="*/ 179 w 209"/>
                  <a:gd name="T7" fmla="*/ 150 h 270"/>
                  <a:gd name="T8" fmla="*/ 209 w 209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270">
                    <a:moveTo>
                      <a:pt x="0" y="60"/>
                    </a:moveTo>
                    <a:lnTo>
                      <a:pt x="90" y="210"/>
                    </a:lnTo>
                    <a:lnTo>
                      <a:pt x="120" y="0"/>
                    </a:lnTo>
                    <a:lnTo>
                      <a:pt x="179" y="150"/>
                    </a:lnTo>
                    <a:lnTo>
                      <a:pt x="20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7" name="Freeform 2587">
                <a:extLst>
                  <a:ext uri="{FF2B5EF4-FFF2-40B4-BE49-F238E27FC236}">
                    <a16:creationId xmlns:a16="http://schemas.microsoft.com/office/drawing/2014/main" xmlns="" id="{14509826-1DA0-4F79-AD17-92ACC9BC17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5" y="90"/>
                <a:ext cx="389" cy="270"/>
              </a:xfrm>
              <a:custGeom>
                <a:avLst/>
                <a:gdLst>
                  <a:gd name="T0" fmla="*/ 150 w 389"/>
                  <a:gd name="T1" fmla="*/ 150 h 270"/>
                  <a:gd name="T2" fmla="*/ 0 w 389"/>
                  <a:gd name="T3" fmla="*/ 90 h 270"/>
                  <a:gd name="T4" fmla="*/ 120 w 389"/>
                  <a:gd name="T5" fmla="*/ 0 h 270"/>
                  <a:gd name="T6" fmla="*/ 269 w 389"/>
                  <a:gd name="T7" fmla="*/ 180 h 270"/>
                  <a:gd name="T8" fmla="*/ 389 w 389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9" h="270">
                    <a:moveTo>
                      <a:pt x="150" y="150"/>
                    </a:moveTo>
                    <a:lnTo>
                      <a:pt x="0" y="90"/>
                    </a:lnTo>
                    <a:lnTo>
                      <a:pt x="120" y="0"/>
                    </a:lnTo>
                    <a:lnTo>
                      <a:pt x="269" y="180"/>
                    </a:lnTo>
                    <a:lnTo>
                      <a:pt x="38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8" name="Freeform 2588">
                <a:extLst>
                  <a:ext uri="{FF2B5EF4-FFF2-40B4-BE49-F238E27FC236}">
                    <a16:creationId xmlns:a16="http://schemas.microsoft.com/office/drawing/2014/main" xmlns="" id="{26BDDB77-C01D-4AE1-9CE0-7A51CDB294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390"/>
                <a:ext cx="360" cy="360"/>
              </a:xfrm>
              <a:custGeom>
                <a:avLst/>
                <a:gdLst>
                  <a:gd name="T0" fmla="*/ 0 w 360"/>
                  <a:gd name="T1" fmla="*/ 0 h 360"/>
                  <a:gd name="T2" fmla="*/ 180 w 360"/>
                  <a:gd name="T3" fmla="*/ 90 h 360"/>
                  <a:gd name="T4" fmla="*/ 360 w 360"/>
                  <a:gd name="T5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360">
                    <a:moveTo>
                      <a:pt x="0" y="0"/>
                    </a:moveTo>
                    <a:lnTo>
                      <a:pt x="180" y="90"/>
                    </a:lnTo>
                    <a:lnTo>
                      <a:pt x="360" y="3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9" name="Freeform 2589">
                <a:extLst>
                  <a:ext uri="{FF2B5EF4-FFF2-40B4-BE49-F238E27FC236}">
                    <a16:creationId xmlns:a16="http://schemas.microsoft.com/office/drawing/2014/main" xmlns="" id="{2661C854-7E6A-4D6A-BEA5-303BE20BE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60"/>
                <a:ext cx="600" cy="240"/>
              </a:xfrm>
              <a:custGeom>
                <a:avLst/>
                <a:gdLst>
                  <a:gd name="T0" fmla="*/ 600 w 600"/>
                  <a:gd name="T1" fmla="*/ 0 h 240"/>
                  <a:gd name="T2" fmla="*/ 450 w 600"/>
                  <a:gd name="T3" fmla="*/ 240 h 240"/>
                  <a:gd name="T4" fmla="*/ 270 w 600"/>
                  <a:gd name="T5" fmla="*/ 60 h 240"/>
                  <a:gd name="T6" fmla="*/ 0 w 600"/>
                  <a:gd name="T7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0" h="240">
                    <a:moveTo>
                      <a:pt x="600" y="0"/>
                    </a:moveTo>
                    <a:lnTo>
                      <a:pt x="450" y="240"/>
                    </a:lnTo>
                    <a:lnTo>
                      <a:pt x="270" y="6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0" name="Freeform 2590">
                <a:extLst>
                  <a:ext uri="{FF2B5EF4-FFF2-40B4-BE49-F238E27FC236}">
                    <a16:creationId xmlns:a16="http://schemas.microsoft.com/office/drawing/2014/main" xmlns="" id="{199825CB-C6C4-48FD-B2B7-BD2B664A67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2550"/>
                <a:ext cx="2338" cy="660"/>
              </a:xfrm>
              <a:custGeom>
                <a:avLst/>
                <a:gdLst>
                  <a:gd name="T0" fmla="*/ 30 w 2338"/>
                  <a:gd name="T1" fmla="*/ 420 h 660"/>
                  <a:gd name="T2" fmla="*/ 0 w 2338"/>
                  <a:gd name="T3" fmla="*/ 270 h 660"/>
                  <a:gd name="T4" fmla="*/ 150 w 2338"/>
                  <a:gd name="T5" fmla="*/ 510 h 660"/>
                  <a:gd name="T6" fmla="*/ 210 w 2338"/>
                  <a:gd name="T7" fmla="*/ 420 h 660"/>
                  <a:gd name="T8" fmla="*/ 210 w 2338"/>
                  <a:gd name="T9" fmla="*/ 120 h 660"/>
                  <a:gd name="T10" fmla="*/ 60 w 2338"/>
                  <a:gd name="T11" fmla="*/ 150 h 660"/>
                  <a:gd name="T12" fmla="*/ 120 w 2338"/>
                  <a:gd name="T13" fmla="*/ 0 h 660"/>
                  <a:gd name="T14" fmla="*/ 330 w 2338"/>
                  <a:gd name="T15" fmla="*/ 90 h 660"/>
                  <a:gd name="T16" fmla="*/ 420 w 2338"/>
                  <a:gd name="T17" fmla="*/ 210 h 660"/>
                  <a:gd name="T18" fmla="*/ 210 w 2338"/>
                  <a:gd name="T19" fmla="*/ 120 h 660"/>
                  <a:gd name="T20" fmla="*/ 270 w 2338"/>
                  <a:gd name="T21" fmla="*/ 240 h 660"/>
                  <a:gd name="T22" fmla="*/ 420 w 2338"/>
                  <a:gd name="T23" fmla="*/ 210 h 660"/>
                  <a:gd name="T24" fmla="*/ 510 w 2338"/>
                  <a:gd name="T25" fmla="*/ 120 h 660"/>
                  <a:gd name="T26" fmla="*/ 599 w 2338"/>
                  <a:gd name="T27" fmla="*/ 210 h 660"/>
                  <a:gd name="T28" fmla="*/ 809 w 2338"/>
                  <a:gd name="T29" fmla="*/ 150 h 660"/>
                  <a:gd name="T30" fmla="*/ 719 w 2338"/>
                  <a:gd name="T31" fmla="*/ 240 h 660"/>
                  <a:gd name="T32" fmla="*/ 510 w 2338"/>
                  <a:gd name="T33" fmla="*/ 480 h 660"/>
                  <a:gd name="T34" fmla="*/ 689 w 2338"/>
                  <a:gd name="T35" fmla="*/ 510 h 660"/>
                  <a:gd name="T36" fmla="*/ 689 w 2338"/>
                  <a:gd name="T37" fmla="*/ 660 h 660"/>
                  <a:gd name="T38" fmla="*/ 569 w 2338"/>
                  <a:gd name="T39" fmla="*/ 600 h 660"/>
                  <a:gd name="T40" fmla="*/ 300 w 2338"/>
                  <a:gd name="T41" fmla="*/ 570 h 660"/>
                  <a:gd name="T42" fmla="*/ 420 w 2338"/>
                  <a:gd name="T43" fmla="*/ 330 h 660"/>
                  <a:gd name="T44" fmla="*/ 569 w 2338"/>
                  <a:gd name="T45" fmla="*/ 360 h 660"/>
                  <a:gd name="T46" fmla="*/ 599 w 2338"/>
                  <a:gd name="T47" fmla="*/ 210 h 660"/>
                  <a:gd name="T48" fmla="*/ 749 w 2338"/>
                  <a:gd name="T49" fmla="*/ 420 h 660"/>
                  <a:gd name="T50" fmla="*/ 689 w 2338"/>
                  <a:gd name="T51" fmla="*/ 510 h 660"/>
                  <a:gd name="T52" fmla="*/ 809 w 2338"/>
                  <a:gd name="T53" fmla="*/ 600 h 660"/>
                  <a:gd name="T54" fmla="*/ 929 w 2338"/>
                  <a:gd name="T55" fmla="*/ 540 h 660"/>
                  <a:gd name="T56" fmla="*/ 1079 w 2338"/>
                  <a:gd name="T57" fmla="*/ 570 h 660"/>
                  <a:gd name="T58" fmla="*/ 1049 w 2338"/>
                  <a:gd name="T59" fmla="*/ 450 h 660"/>
                  <a:gd name="T60" fmla="*/ 959 w 2338"/>
                  <a:gd name="T61" fmla="*/ 420 h 660"/>
                  <a:gd name="T62" fmla="*/ 1049 w 2338"/>
                  <a:gd name="T63" fmla="*/ 300 h 660"/>
                  <a:gd name="T64" fmla="*/ 1169 w 2338"/>
                  <a:gd name="T65" fmla="*/ 360 h 660"/>
                  <a:gd name="T66" fmla="*/ 1259 w 2338"/>
                  <a:gd name="T67" fmla="*/ 390 h 660"/>
                  <a:gd name="T68" fmla="*/ 1199 w 2338"/>
                  <a:gd name="T69" fmla="*/ 510 h 660"/>
                  <a:gd name="T70" fmla="*/ 1349 w 2338"/>
                  <a:gd name="T71" fmla="*/ 540 h 660"/>
                  <a:gd name="T72" fmla="*/ 1409 w 2338"/>
                  <a:gd name="T73" fmla="*/ 360 h 660"/>
                  <a:gd name="T74" fmla="*/ 1469 w 2338"/>
                  <a:gd name="T75" fmla="*/ 480 h 660"/>
                  <a:gd name="T76" fmla="*/ 1529 w 2338"/>
                  <a:gd name="T77" fmla="*/ 360 h 660"/>
                  <a:gd name="T78" fmla="*/ 1529 w 2338"/>
                  <a:gd name="T79" fmla="*/ 600 h 660"/>
                  <a:gd name="T80" fmla="*/ 1409 w 2338"/>
                  <a:gd name="T81" fmla="*/ 630 h 660"/>
                  <a:gd name="T82" fmla="*/ 1649 w 2338"/>
                  <a:gd name="T83" fmla="*/ 300 h 660"/>
                  <a:gd name="T84" fmla="*/ 1649 w 2338"/>
                  <a:gd name="T85" fmla="*/ 510 h 660"/>
                  <a:gd name="T86" fmla="*/ 1709 w 2338"/>
                  <a:gd name="T87" fmla="*/ 420 h 660"/>
                  <a:gd name="T88" fmla="*/ 1799 w 2338"/>
                  <a:gd name="T89" fmla="*/ 360 h 660"/>
                  <a:gd name="T90" fmla="*/ 1799 w 2338"/>
                  <a:gd name="T91" fmla="*/ 480 h 660"/>
                  <a:gd name="T92" fmla="*/ 1739 w 2338"/>
                  <a:gd name="T93" fmla="*/ 600 h 660"/>
                  <a:gd name="T94" fmla="*/ 1889 w 2338"/>
                  <a:gd name="T95" fmla="*/ 540 h 660"/>
                  <a:gd name="T96" fmla="*/ 1949 w 2338"/>
                  <a:gd name="T97" fmla="*/ 660 h 660"/>
                  <a:gd name="T98" fmla="*/ 2039 w 2338"/>
                  <a:gd name="T99" fmla="*/ 570 h 660"/>
                  <a:gd name="T100" fmla="*/ 2009 w 2338"/>
                  <a:gd name="T101" fmla="*/ 450 h 660"/>
                  <a:gd name="T102" fmla="*/ 1919 w 2338"/>
                  <a:gd name="T103" fmla="*/ 420 h 660"/>
                  <a:gd name="T104" fmla="*/ 2009 w 2338"/>
                  <a:gd name="T105" fmla="*/ 300 h 660"/>
                  <a:gd name="T106" fmla="*/ 2129 w 2338"/>
                  <a:gd name="T107" fmla="*/ 360 h 660"/>
                  <a:gd name="T108" fmla="*/ 2159 w 2338"/>
                  <a:gd name="T109" fmla="*/ 510 h 660"/>
                  <a:gd name="T110" fmla="*/ 2338 w 2338"/>
                  <a:gd name="T111" fmla="*/ 540 h 660"/>
                  <a:gd name="T112" fmla="*/ 2218 w 2338"/>
                  <a:gd name="T113" fmla="*/ 660 h 660"/>
                  <a:gd name="T114" fmla="*/ 2248 w 2338"/>
                  <a:gd name="T115" fmla="*/ 390 h 660"/>
                  <a:gd name="T116" fmla="*/ 2069 w 2338"/>
                  <a:gd name="T117" fmla="*/ 24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38" h="660">
                    <a:moveTo>
                      <a:pt x="30" y="420"/>
                    </a:moveTo>
                    <a:lnTo>
                      <a:pt x="0" y="270"/>
                    </a:lnTo>
                    <a:lnTo>
                      <a:pt x="150" y="510"/>
                    </a:lnTo>
                    <a:lnTo>
                      <a:pt x="210" y="420"/>
                    </a:lnTo>
                    <a:lnTo>
                      <a:pt x="210" y="120"/>
                    </a:lnTo>
                    <a:lnTo>
                      <a:pt x="60" y="150"/>
                    </a:lnTo>
                    <a:lnTo>
                      <a:pt x="120" y="0"/>
                    </a:lnTo>
                    <a:lnTo>
                      <a:pt x="330" y="90"/>
                    </a:lnTo>
                    <a:lnTo>
                      <a:pt x="420" y="210"/>
                    </a:lnTo>
                    <a:lnTo>
                      <a:pt x="210" y="120"/>
                    </a:lnTo>
                    <a:lnTo>
                      <a:pt x="270" y="240"/>
                    </a:lnTo>
                    <a:lnTo>
                      <a:pt x="420" y="210"/>
                    </a:lnTo>
                    <a:lnTo>
                      <a:pt x="510" y="120"/>
                    </a:lnTo>
                    <a:lnTo>
                      <a:pt x="599" y="210"/>
                    </a:lnTo>
                    <a:lnTo>
                      <a:pt x="809" y="150"/>
                    </a:lnTo>
                    <a:lnTo>
                      <a:pt x="719" y="240"/>
                    </a:lnTo>
                    <a:lnTo>
                      <a:pt x="510" y="480"/>
                    </a:lnTo>
                    <a:lnTo>
                      <a:pt x="689" y="510"/>
                    </a:lnTo>
                    <a:lnTo>
                      <a:pt x="689" y="660"/>
                    </a:lnTo>
                    <a:lnTo>
                      <a:pt x="569" y="600"/>
                    </a:lnTo>
                    <a:lnTo>
                      <a:pt x="300" y="570"/>
                    </a:lnTo>
                    <a:lnTo>
                      <a:pt x="420" y="330"/>
                    </a:lnTo>
                    <a:lnTo>
                      <a:pt x="569" y="360"/>
                    </a:lnTo>
                    <a:lnTo>
                      <a:pt x="599" y="210"/>
                    </a:lnTo>
                    <a:lnTo>
                      <a:pt x="749" y="420"/>
                    </a:lnTo>
                    <a:lnTo>
                      <a:pt x="689" y="510"/>
                    </a:lnTo>
                    <a:lnTo>
                      <a:pt x="809" y="600"/>
                    </a:lnTo>
                    <a:lnTo>
                      <a:pt x="929" y="540"/>
                    </a:lnTo>
                    <a:lnTo>
                      <a:pt x="1079" y="570"/>
                    </a:lnTo>
                    <a:lnTo>
                      <a:pt x="1049" y="450"/>
                    </a:lnTo>
                    <a:lnTo>
                      <a:pt x="959" y="420"/>
                    </a:lnTo>
                    <a:lnTo>
                      <a:pt x="1049" y="300"/>
                    </a:lnTo>
                    <a:lnTo>
                      <a:pt x="1169" y="360"/>
                    </a:lnTo>
                    <a:lnTo>
                      <a:pt x="1259" y="390"/>
                    </a:lnTo>
                    <a:lnTo>
                      <a:pt x="1199" y="510"/>
                    </a:lnTo>
                    <a:lnTo>
                      <a:pt x="1349" y="540"/>
                    </a:lnTo>
                    <a:lnTo>
                      <a:pt x="1409" y="360"/>
                    </a:lnTo>
                    <a:lnTo>
                      <a:pt x="1469" y="480"/>
                    </a:lnTo>
                    <a:lnTo>
                      <a:pt x="1529" y="360"/>
                    </a:lnTo>
                    <a:lnTo>
                      <a:pt x="1529" y="600"/>
                    </a:lnTo>
                    <a:lnTo>
                      <a:pt x="1409" y="630"/>
                    </a:lnTo>
                    <a:lnTo>
                      <a:pt x="1649" y="300"/>
                    </a:lnTo>
                    <a:lnTo>
                      <a:pt x="1649" y="510"/>
                    </a:lnTo>
                    <a:lnTo>
                      <a:pt x="1709" y="420"/>
                    </a:lnTo>
                    <a:lnTo>
                      <a:pt x="1799" y="360"/>
                    </a:lnTo>
                    <a:lnTo>
                      <a:pt x="1799" y="480"/>
                    </a:lnTo>
                    <a:lnTo>
                      <a:pt x="1739" y="600"/>
                    </a:lnTo>
                    <a:lnTo>
                      <a:pt x="1889" y="540"/>
                    </a:lnTo>
                    <a:lnTo>
                      <a:pt x="1949" y="660"/>
                    </a:lnTo>
                    <a:lnTo>
                      <a:pt x="2039" y="570"/>
                    </a:lnTo>
                    <a:lnTo>
                      <a:pt x="2009" y="450"/>
                    </a:lnTo>
                    <a:lnTo>
                      <a:pt x="1919" y="420"/>
                    </a:lnTo>
                    <a:lnTo>
                      <a:pt x="2009" y="300"/>
                    </a:lnTo>
                    <a:lnTo>
                      <a:pt x="2129" y="360"/>
                    </a:lnTo>
                    <a:lnTo>
                      <a:pt x="2159" y="510"/>
                    </a:lnTo>
                    <a:lnTo>
                      <a:pt x="2338" y="540"/>
                    </a:lnTo>
                    <a:lnTo>
                      <a:pt x="2218" y="660"/>
                    </a:lnTo>
                    <a:lnTo>
                      <a:pt x="2248" y="390"/>
                    </a:lnTo>
                    <a:lnTo>
                      <a:pt x="2069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1" name="Freeform 2591">
                <a:extLst>
                  <a:ext uri="{FF2B5EF4-FFF2-40B4-BE49-F238E27FC236}">
                    <a16:creationId xmlns:a16="http://schemas.microsoft.com/office/drawing/2014/main" xmlns="" id="{6CF449F6-A821-45CC-9658-C228D2577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2760"/>
                <a:ext cx="269" cy="300"/>
              </a:xfrm>
              <a:custGeom>
                <a:avLst/>
                <a:gdLst>
                  <a:gd name="T0" fmla="*/ 269 w 269"/>
                  <a:gd name="T1" fmla="*/ 0 h 300"/>
                  <a:gd name="T2" fmla="*/ 120 w 269"/>
                  <a:gd name="T3" fmla="*/ 150 h 300"/>
                  <a:gd name="T4" fmla="*/ 0 w 269"/>
                  <a:gd name="T5" fmla="*/ 240 h 300"/>
                  <a:gd name="T6" fmla="*/ 150 w 269"/>
                  <a:gd name="T7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9" h="300">
                    <a:moveTo>
                      <a:pt x="269" y="0"/>
                    </a:moveTo>
                    <a:lnTo>
                      <a:pt x="120" y="150"/>
                    </a:lnTo>
                    <a:lnTo>
                      <a:pt x="0" y="240"/>
                    </a:lnTo>
                    <a:lnTo>
                      <a:pt x="15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2" name="Freeform 2592">
                <a:extLst>
                  <a:ext uri="{FF2B5EF4-FFF2-40B4-BE49-F238E27FC236}">
                    <a16:creationId xmlns:a16="http://schemas.microsoft.com/office/drawing/2014/main" xmlns="" id="{6BB7F0A7-0F82-457D-BB07-74F64BF68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2790"/>
                <a:ext cx="1289" cy="420"/>
              </a:xfrm>
              <a:custGeom>
                <a:avLst/>
                <a:gdLst>
                  <a:gd name="T0" fmla="*/ 210 w 1289"/>
                  <a:gd name="T1" fmla="*/ 240 h 420"/>
                  <a:gd name="T2" fmla="*/ 150 w 1289"/>
                  <a:gd name="T3" fmla="*/ 390 h 420"/>
                  <a:gd name="T4" fmla="*/ 90 w 1289"/>
                  <a:gd name="T5" fmla="*/ 300 h 420"/>
                  <a:gd name="T6" fmla="*/ 0 w 1289"/>
                  <a:gd name="T7" fmla="*/ 150 h 420"/>
                  <a:gd name="T8" fmla="*/ 150 w 1289"/>
                  <a:gd name="T9" fmla="*/ 120 h 420"/>
                  <a:gd name="T10" fmla="*/ 300 w 1289"/>
                  <a:gd name="T11" fmla="*/ 30 h 420"/>
                  <a:gd name="T12" fmla="*/ 390 w 1289"/>
                  <a:gd name="T13" fmla="*/ 60 h 420"/>
                  <a:gd name="T14" fmla="*/ 450 w 1289"/>
                  <a:gd name="T15" fmla="*/ 180 h 420"/>
                  <a:gd name="T16" fmla="*/ 480 w 1289"/>
                  <a:gd name="T17" fmla="*/ 30 h 420"/>
                  <a:gd name="T18" fmla="*/ 600 w 1289"/>
                  <a:gd name="T19" fmla="*/ 0 h 420"/>
                  <a:gd name="T20" fmla="*/ 540 w 1289"/>
                  <a:gd name="T21" fmla="*/ 120 h 420"/>
                  <a:gd name="T22" fmla="*/ 660 w 1289"/>
                  <a:gd name="T23" fmla="*/ 180 h 420"/>
                  <a:gd name="T24" fmla="*/ 630 w 1289"/>
                  <a:gd name="T25" fmla="*/ 300 h 420"/>
                  <a:gd name="T26" fmla="*/ 780 w 1289"/>
                  <a:gd name="T27" fmla="*/ 330 h 420"/>
                  <a:gd name="T28" fmla="*/ 959 w 1289"/>
                  <a:gd name="T29" fmla="*/ 420 h 420"/>
                  <a:gd name="T30" fmla="*/ 1289 w 1289"/>
                  <a:gd name="T31" fmla="*/ 42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89" h="420">
                    <a:moveTo>
                      <a:pt x="210" y="240"/>
                    </a:moveTo>
                    <a:lnTo>
                      <a:pt x="150" y="390"/>
                    </a:lnTo>
                    <a:lnTo>
                      <a:pt x="90" y="300"/>
                    </a:lnTo>
                    <a:lnTo>
                      <a:pt x="0" y="150"/>
                    </a:lnTo>
                    <a:lnTo>
                      <a:pt x="150" y="120"/>
                    </a:lnTo>
                    <a:lnTo>
                      <a:pt x="300" y="30"/>
                    </a:lnTo>
                    <a:lnTo>
                      <a:pt x="390" y="60"/>
                    </a:lnTo>
                    <a:lnTo>
                      <a:pt x="450" y="180"/>
                    </a:lnTo>
                    <a:lnTo>
                      <a:pt x="480" y="30"/>
                    </a:lnTo>
                    <a:lnTo>
                      <a:pt x="600" y="0"/>
                    </a:lnTo>
                    <a:lnTo>
                      <a:pt x="540" y="120"/>
                    </a:lnTo>
                    <a:lnTo>
                      <a:pt x="660" y="180"/>
                    </a:lnTo>
                    <a:lnTo>
                      <a:pt x="630" y="300"/>
                    </a:lnTo>
                    <a:lnTo>
                      <a:pt x="780" y="330"/>
                    </a:lnTo>
                    <a:lnTo>
                      <a:pt x="959" y="420"/>
                    </a:lnTo>
                    <a:lnTo>
                      <a:pt x="1289" y="4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3" name="Freeform 2593">
                <a:extLst>
                  <a:ext uri="{FF2B5EF4-FFF2-40B4-BE49-F238E27FC236}">
                    <a16:creationId xmlns:a16="http://schemas.microsoft.com/office/drawing/2014/main" xmlns="" id="{70F71936-7E99-4FCF-B968-21B474C10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6" y="2130"/>
                <a:ext cx="629" cy="720"/>
              </a:xfrm>
              <a:custGeom>
                <a:avLst/>
                <a:gdLst>
                  <a:gd name="T0" fmla="*/ 629 w 629"/>
                  <a:gd name="T1" fmla="*/ 720 h 720"/>
                  <a:gd name="T2" fmla="*/ 479 w 629"/>
                  <a:gd name="T3" fmla="*/ 690 h 720"/>
                  <a:gd name="T4" fmla="*/ 599 w 629"/>
                  <a:gd name="T5" fmla="*/ 510 h 720"/>
                  <a:gd name="T6" fmla="*/ 389 w 629"/>
                  <a:gd name="T7" fmla="*/ 570 h 720"/>
                  <a:gd name="T8" fmla="*/ 269 w 629"/>
                  <a:gd name="T9" fmla="*/ 510 h 720"/>
                  <a:gd name="T10" fmla="*/ 90 w 629"/>
                  <a:gd name="T11" fmla="*/ 540 h 720"/>
                  <a:gd name="T12" fmla="*/ 0 w 629"/>
                  <a:gd name="T13" fmla="*/ 390 h 720"/>
                  <a:gd name="T14" fmla="*/ 0 w 629"/>
                  <a:gd name="T15" fmla="*/ 630 h 720"/>
                  <a:gd name="T16" fmla="*/ 90 w 629"/>
                  <a:gd name="T17" fmla="*/ 300 h 720"/>
                  <a:gd name="T18" fmla="*/ 0 w 629"/>
                  <a:gd name="T19" fmla="*/ 210 h 720"/>
                  <a:gd name="T20" fmla="*/ 0 w 629"/>
                  <a:gd name="T21" fmla="*/ 60 h 720"/>
                  <a:gd name="T22" fmla="*/ 60 w 629"/>
                  <a:gd name="T23" fmla="*/ 0 h 720"/>
                  <a:gd name="T24" fmla="*/ 149 w 629"/>
                  <a:gd name="T25" fmla="*/ 180 h 720"/>
                  <a:gd name="T26" fmla="*/ 329 w 629"/>
                  <a:gd name="T27" fmla="*/ 240 h 720"/>
                  <a:gd name="T28" fmla="*/ 359 w 629"/>
                  <a:gd name="T29" fmla="*/ 9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29" h="720">
                    <a:moveTo>
                      <a:pt x="629" y="720"/>
                    </a:moveTo>
                    <a:lnTo>
                      <a:pt x="479" y="690"/>
                    </a:lnTo>
                    <a:lnTo>
                      <a:pt x="599" y="510"/>
                    </a:lnTo>
                    <a:lnTo>
                      <a:pt x="389" y="570"/>
                    </a:lnTo>
                    <a:lnTo>
                      <a:pt x="269" y="510"/>
                    </a:lnTo>
                    <a:lnTo>
                      <a:pt x="90" y="540"/>
                    </a:lnTo>
                    <a:lnTo>
                      <a:pt x="0" y="390"/>
                    </a:lnTo>
                    <a:lnTo>
                      <a:pt x="0" y="630"/>
                    </a:lnTo>
                    <a:lnTo>
                      <a:pt x="90" y="300"/>
                    </a:lnTo>
                    <a:lnTo>
                      <a:pt x="0" y="210"/>
                    </a:lnTo>
                    <a:lnTo>
                      <a:pt x="0" y="60"/>
                    </a:lnTo>
                    <a:lnTo>
                      <a:pt x="60" y="0"/>
                    </a:lnTo>
                    <a:lnTo>
                      <a:pt x="149" y="180"/>
                    </a:lnTo>
                    <a:lnTo>
                      <a:pt x="329" y="240"/>
                    </a:lnTo>
                    <a:lnTo>
                      <a:pt x="359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4" name="Freeform 2594">
                <a:extLst>
                  <a:ext uri="{FF2B5EF4-FFF2-40B4-BE49-F238E27FC236}">
                    <a16:creationId xmlns:a16="http://schemas.microsoft.com/office/drawing/2014/main" xmlns="" id="{BCABA6C8-6824-4965-9B6A-FC52BD6D0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5" y="2640"/>
                <a:ext cx="780" cy="480"/>
              </a:xfrm>
              <a:custGeom>
                <a:avLst/>
                <a:gdLst>
                  <a:gd name="T0" fmla="*/ 330 w 780"/>
                  <a:gd name="T1" fmla="*/ 360 h 480"/>
                  <a:gd name="T2" fmla="*/ 210 w 780"/>
                  <a:gd name="T3" fmla="*/ 450 h 480"/>
                  <a:gd name="T4" fmla="*/ 120 w 780"/>
                  <a:gd name="T5" fmla="*/ 390 h 480"/>
                  <a:gd name="T6" fmla="*/ 120 w 780"/>
                  <a:gd name="T7" fmla="*/ 270 h 480"/>
                  <a:gd name="T8" fmla="*/ 180 w 780"/>
                  <a:gd name="T9" fmla="*/ 180 h 480"/>
                  <a:gd name="T10" fmla="*/ 0 w 780"/>
                  <a:gd name="T11" fmla="*/ 150 h 480"/>
                  <a:gd name="T12" fmla="*/ 30 w 780"/>
                  <a:gd name="T13" fmla="*/ 330 h 480"/>
                  <a:gd name="T14" fmla="*/ 120 w 780"/>
                  <a:gd name="T15" fmla="*/ 270 h 480"/>
                  <a:gd name="T16" fmla="*/ 240 w 780"/>
                  <a:gd name="T17" fmla="*/ 330 h 480"/>
                  <a:gd name="T18" fmla="*/ 360 w 780"/>
                  <a:gd name="T19" fmla="*/ 480 h 480"/>
                  <a:gd name="T20" fmla="*/ 480 w 780"/>
                  <a:gd name="T21" fmla="*/ 420 h 480"/>
                  <a:gd name="T22" fmla="*/ 330 w 780"/>
                  <a:gd name="T23" fmla="*/ 360 h 480"/>
                  <a:gd name="T24" fmla="*/ 450 w 780"/>
                  <a:gd name="T25" fmla="*/ 270 h 480"/>
                  <a:gd name="T26" fmla="*/ 510 w 780"/>
                  <a:gd name="T27" fmla="*/ 90 h 480"/>
                  <a:gd name="T28" fmla="*/ 690 w 780"/>
                  <a:gd name="T29" fmla="*/ 0 h 480"/>
                  <a:gd name="T30" fmla="*/ 450 w 780"/>
                  <a:gd name="T31" fmla="*/ 0 h 480"/>
                  <a:gd name="T32" fmla="*/ 780 w 780"/>
                  <a:gd name="T33" fmla="*/ 9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80" h="480">
                    <a:moveTo>
                      <a:pt x="330" y="360"/>
                    </a:moveTo>
                    <a:lnTo>
                      <a:pt x="210" y="450"/>
                    </a:lnTo>
                    <a:lnTo>
                      <a:pt x="120" y="390"/>
                    </a:lnTo>
                    <a:lnTo>
                      <a:pt x="120" y="270"/>
                    </a:lnTo>
                    <a:lnTo>
                      <a:pt x="180" y="180"/>
                    </a:lnTo>
                    <a:lnTo>
                      <a:pt x="0" y="150"/>
                    </a:lnTo>
                    <a:lnTo>
                      <a:pt x="30" y="330"/>
                    </a:lnTo>
                    <a:lnTo>
                      <a:pt x="120" y="270"/>
                    </a:lnTo>
                    <a:lnTo>
                      <a:pt x="240" y="330"/>
                    </a:lnTo>
                    <a:lnTo>
                      <a:pt x="360" y="480"/>
                    </a:lnTo>
                    <a:lnTo>
                      <a:pt x="480" y="420"/>
                    </a:lnTo>
                    <a:lnTo>
                      <a:pt x="330" y="360"/>
                    </a:lnTo>
                    <a:lnTo>
                      <a:pt x="450" y="270"/>
                    </a:lnTo>
                    <a:lnTo>
                      <a:pt x="510" y="90"/>
                    </a:lnTo>
                    <a:lnTo>
                      <a:pt x="690" y="0"/>
                    </a:lnTo>
                    <a:lnTo>
                      <a:pt x="450" y="0"/>
                    </a:lnTo>
                    <a:lnTo>
                      <a:pt x="7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5" name="Line 2595">
                <a:extLst>
                  <a:ext uri="{FF2B5EF4-FFF2-40B4-BE49-F238E27FC236}">
                    <a16:creationId xmlns:a16="http://schemas.microsoft.com/office/drawing/2014/main" xmlns="" id="{CEB6E236-D662-41DC-A6E7-02A5C700235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325" y="297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6" name="Freeform 2596">
                <a:extLst>
                  <a:ext uri="{FF2B5EF4-FFF2-40B4-BE49-F238E27FC236}">
                    <a16:creationId xmlns:a16="http://schemas.microsoft.com/office/drawing/2014/main" xmlns="" id="{08236DA8-477E-42FA-8FE9-720CCC4FE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2820"/>
                <a:ext cx="449" cy="390"/>
              </a:xfrm>
              <a:custGeom>
                <a:avLst/>
                <a:gdLst>
                  <a:gd name="T0" fmla="*/ 179 w 449"/>
                  <a:gd name="T1" fmla="*/ 390 h 390"/>
                  <a:gd name="T2" fmla="*/ 329 w 449"/>
                  <a:gd name="T3" fmla="*/ 210 h 390"/>
                  <a:gd name="T4" fmla="*/ 449 w 449"/>
                  <a:gd name="T5" fmla="*/ 150 h 390"/>
                  <a:gd name="T6" fmla="*/ 389 w 449"/>
                  <a:gd name="T7" fmla="*/ 0 h 390"/>
                  <a:gd name="T8" fmla="*/ 0 w 449"/>
                  <a:gd name="T9" fmla="*/ 21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9" h="390">
                    <a:moveTo>
                      <a:pt x="179" y="390"/>
                    </a:moveTo>
                    <a:lnTo>
                      <a:pt x="329" y="210"/>
                    </a:lnTo>
                    <a:lnTo>
                      <a:pt x="449" y="150"/>
                    </a:lnTo>
                    <a:lnTo>
                      <a:pt x="389" y="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7" name="Freeform 2597">
                <a:extLst>
                  <a:ext uri="{FF2B5EF4-FFF2-40B4-BE49-F238E27FC236}">
                    <a16:creationId xmlns:a16="http://schemas.microsoft.com/office/drawing/2014/main" xmlns="" id="{42E0A9FD-A2D7-4CC6-9D1F-06C5FFB66A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5" y="2310"/>
                <a:ext cx="870" cy="600"/>
              </a:xfrm>
              <a:custGeom>
                <a:avLst/>
                <a:gdLst>
                  <a:gd name="T0" fmla="*/ 0 w 870"/>
                  <a:gd name="T1" fmla="*/ 480 h 600"/>
                  <a:gd name="T2" fmla="*/ 60 w 870"/>
                  <a:gd name="T3" fmla="*/ 600 h 600"/>
                  <a:gd name="T4" fmla="*/ 270 w 870"/>
                  <a:gd name="T5" fmla="*/ 480 h 600"/>
                  <a:gd name="T6" fmla="*/ 390 w 870"/>
                  <a:gd name="T7" fmla="*/ 420 h 600"/>
                  <a:gd name="T8" fmla="*/ 540 w 870"/>
                  <a:gd name="T9" fmla="*/ 420 h 600"/>
                  <a:gd name="T10" fmla="*/ 750 w 870"/>
                  <a:gd name="T11" fmla="*/ 480 h 600"/>
                  <a:gd name="T12" fmla="*/ 870 w 870"/>
                  <a:gd name="T13" fmla="*/ 330 h 600"/>
                  <a:gd name="T14" fmla="*/ 660 w 870"/>
                  <a:gd name="T15" fmla="*/ 390 h 600"/>
                  <a:gd name="T16" fmla="*/ 540 w 870"/>
                  <a:gd name="T17" fmla="*/ 330 h 600"/>
                  <a:gd name="T18" fmla="*/ 420 w 870"/>
                  <a:gd name="T19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70" h="600">
                    <a:moveTo>
                      <a:pt x="0" y="480"/>
                    </a:moveTo>
                    <a:lnTo>
                      <a:pt x="60" y="600"/>
                    </a:lnTo>
                    <a:lnTo>
                      <a:pt x="270" y="480"/>
                    </a:lnTo>
                    <a:lnTo>
                      <a:pt x="390" y="420"/>
                    </a:lnTo>
                    <a:lnTo>
                      <a:pt x="540" y="420"/>
                    </a:lnTo>
                    <a:lnTo>
                      <a:pt x="750" y="480"/>
                    </a:lnTo>
                    <a:lnTo>
                      <a:pt x="870" y="330"/>
                    </a:lnTo>
                    <a:lnTo>
                      <a:pt x="660" y="390"/>
                    </a:lnTo>
                    <a:lnTo>
                      <a:pt x="540" y="330"/>
                    </a:lnTo>
                    <a:lnTo>
                      <a:pt x="42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8" name="Line 2598">
                <a:extLst>
                  <a:ext uri="{FF2B5EF4-FFF2-40B4-BE49-F238E27FC236}">
                    <a16:creationId xmlns:a16="http://schemas.microsoft.com/office/drawing/2014/main" xmlns="" id="{9640FB84-59F0-4FB1-A2E8-323290DF3FE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745" y="2910"/>
                <a:ext cx="3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9" name="Freeform 2599">
                <a:extLst>
                  <a:ext uri="{FF2B5EF4-FFF2-40B4-BE49-F238E27FC236}">
                    <a16:creationId xmlns:a16="http://schemas.microsoft.com/office/drawing/2014/main" xmlns="" id="{4CAAD0DC-EBF5-48B6-86C4-02DF29F50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3060"/>
                <a:ext cx="210" cy="90"/>
              </a:xfrm>
              <a:custGeom>
                <a:avLst/>
                <a:gdLst>
                  <a:gd name="T0" fmla="*/ 0 w 210"/>
                  <a:gd name="T1" fmla="*/ 90 h 90"/>
                  <a:gd name="T2" fmla="*/ 120 w 210"/>
                  <a:gd name="T3" fmla="*/ 0 h 90"/>
                  <a:gd name="T4" fmla="*/ 210 w 210"/>
                  <a:gd name="T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90">
                    <a:moveTo>
                      <a:pt x="0" y="90"/>
                    </a:moveTo>
                    <a:lnTo>
                      <a:pt x="120" y="0"/>
                    </a:lnTo>
                    <a:lnTo>
                      <a:pt x="21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0" name="Line 2600">
                <a:extLst>
                  <a:ext uri="{FF2B5EF4-FFF2-40B4-BE49-F238E27FC236}">
                    <a16:creationId xmlns:a16="http://schemas.microsoft.com/office/drawing/2014/main" xmlns="" id="{4DE8794E-B5B8-4E02-BC95-71B303CEB5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805" y="2730"/>
                <a:ext cx="30" cy="21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1" name="Freeform 2601">
                <a:extLst>
                  <a:ext uri="{FF2B5EF4-FFF2-40B4-BE49-F238E27FC236}">
                    <a16:creationId xmlns:a16="http://schemas.microsoft.com/office/drawing/2014/main" xmlns="" id="{EC0282BB-8456-4F25-A34B-3570822D2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5" y="2730"/>
                <a:ext cx="90" cy="120"/>
              </a:xfrm>
              <a:custGeom>
                <a:avLst/>
                <a:gdLst>
                  <a:gd name="T0" fmla="*/ 0 w 90"/>
                  <a:gd name="T1" fmla="*/ 0 h 120"/>
                  <a:gd name="T2" fmla="*/ 90 w 90"/>
                  <a:gd name="T3" fmla="*/ 90 h 120"/>
                  <a:gd name="T4" fmla="*/ 0 w 90"/>
                  <a:gd name="T5" fmla="*/ 120 h 120"/>
                  <a:gd name="T6" fmla="*/ 0 w 90"/>
                  <a:gd name="T7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120">
                    <a:moveTo>
                      <a:pt x="0" y="0"/>
                    </a:moveTo>
                    <a:lnTo>
                      <a:pt x="90" y="90"/>
                    </a:lnTo>
                    <a:lnTo>
                      <a:pt x="0" y="1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2" name="Freeform 2602">
                <a:extLst>
                  <a:ext uri="{FF2B5EF4-FFF2-40B4-BE49-F238E27FC236}">
                    <a16:creationId xmlns:a16="http://schemas.microsoft.com/office/drawing/2014/main" xmlns="" id="{C92778BF-2A79-43BE-A847-AFF9DB4CD6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2820"/>
                <a:ext cx="270" cy="90"/>
              </a:xfrm>
              <a:custGeom>
                <a:avLst/>
                <a:gdLst>
                  <a:gd name="T0" fmla="*/ 60 w 270"/>
                  <a:gd name="T1" fmla="*/ 90 h 90"/>
                  <a:gd name="T2" fmla="*/ 0 w 270"/>
                  <a:gd name="T3" fmla="*/ 0 h 90"/>
                  <a:gd name="T4" fmla="*/ 270 w 270"/>
                  <a:gd name="T5" fmla="*/ 3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90">
                    <a:moveTo>
                      <a:pt x="60" y="90"/>
                    </a:moveTo>
                    <a:lnTo>
                      <a:pt x="0" y="0"/>
                    </a:lnTo>
                    <a:lnTo>
                      <a:pt x="27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3" name="Freeform 2603">
                <a:extLst>
                  <a:ext uri="{FF2B5EF4-FFF2-40B4-BE49-F238E27FC236}">
                    <a16:creationId xmlns:a16="http://schemas.microsoft.com/office/drawing/2014/main" xmlns="" id="{29D76AD4-1C22-4F8C-9386-3A4BCF370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2730"/>
                <a:ext cx="540" cy="330"/>
              </a:xfrm>
              <a:custGeom>
                <a:avLst/>
                <a:gdLst>
                  <a:gd name="T0" fmla="*/ 540 w 540"/>
                  <a:gd name="T1" fmla="*/ 240 h 330"/>
                  <a:gd name="T2" fmla="*/ 420 w 540"/>
                  <a:gd name="T3" fmla="*/ 300 h 330"/>
                  <a:gd name="T4" fmla="*/ 270 w 540"/>
                  <a:gd name="T5" fmla="*/ 330 h 330"/>
                  <a:gd name="T6" fmla="*/ 150 w 540"/>
                  <a:gd name="T7" fmla="*/ 180 h 330"/>
                  <a:gd name="T8" fmla="*/ 180 w 540"/>
                  <a:gd name="T9" fmla="*/ 90 h 330"/>
                  <a:gd name="T10" fmla="*/ 120 w 540"/>
                  <a:gd name="T11" fmla="*/ 0 h 330"/>
                  <a:gd name="T12" fmla="*/ 30 w 540"/>
                  <a:gd name="T13" fmla="*/ 180 h 330"/>
                  <a:gd name="T14" fmla="*/ 0 w 540"/>
                  <a:gd name="T15" fmla="*/ 6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0" h="330">
                    <a:moveTo>
                      <a:pt x="540" y="240"/>
                    </a:moveTo>
                    <a:lnTo>
                      <a:pt x="420" y="300"/>
                    </a:lnTo>
                    <a:lnTo>
                      <a:pt x="270" y="330"/>
                    </a:lnTo>
                    <a:lnTo>
                      <a:pt x="150" y="180"/>
                    </a:lnTo>
                    <a:lnTo>
                      <a:pt x="180" y="90"/>
                    </a:lnTo>
                    <a:lnTo>
                      <a:pt x="120" y="0"/>
                    </a:lnTo>
                    <a:lnTo>
                      <a:pt x="30" y="18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4" name="Line 2604">
                <a:extLst>
                  <a:ext uri="{FF2B5EF4-FFF2-40B4-BE49-F238E27FC236}">
                    <a16:creationId xmlns:a16="http://schemas.microsoft.com/office/drawing/2014/main" xmlns="" id="{9AB400F5-307F-4DEF-989C-79F846EAEC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95" y="153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5" name="Freeform 2605">
                <a:extLst>
                  <a:ext uri="{FF2B5EF4-FFF2-40B4-BE49-F238E27FC236}">
                    <a16:creationId xmlns:a16="http://schemas.microsoft.com/office/drawing/2014/main" xmlns="" id="{B2C89CC1-2810-4E61-9D8E-FFC3385A7A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5" y="1620"/>
                <a:ext cx="180" cy="150"/>
              </a:xfrm>
              <a:custGeom>
                <a:avLst/>
                <a:gdLst>
                  <a:gd name="T0" fmla="*/ 0 w 180"/>
                  <a:gd name="T1" fmla="*/ 0 h 150"/>
                  <a:gd name="T2" fmla="*/ 180 w 180"/>
                  <a:gd name="T3" fmla="*/ 150 h 150"/>
                  <a:gd name="T4" fmla="*/ 120 w 180"/>
                  <a:gd name="T5" fmla="*/ 3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0" y="0"/>
                    </a:moveTo>
                    <a:lnTo>
                      <a:pt x="180" y="150"/>
                    </a:lnTo>
                    <a:lnTo>
                      <a:pt x="12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6" name="Line 2606">
                <a:extLst>
                  <a:ext uri="{FF2B5EF4-FFF2-40B4-BE49-F238E27FC236}">
                    <a16:creationId xmlns:a16="http://schemas.microsoft.com/office/drawing/2014/main" xmlns="" id="{37346514-AA4F-4C60-8FAE-A786B693B0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985" y="165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7" name="Line 2607">
                <a:extLst>
                  <a:ext uri="{FF2B5EF4-FFF2-40B4-BE49-F238E27FC236}">
                    <a16:creationId xmlns:a16="http://schemas.microsoft.com/office/drawing/2014/main" xmlns="" id="{1186D136-84DD-4CAF-9EC7-2A1007C137E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15" y="159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8" name="Line 2608">
                <a:extLst>
                  <a:ext uri="{FF2B5EF4-FFF2-40B4-BE49-F238E27FC236}">
                    <a16:creationId xmlns:a16="http://schemas.microsoft.com/office/drawing/2014/main" xmlns="" id="{8F32698A-EB22-4B97-98B6-3A5FDCF7E1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85" y="150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9" name="Freeform 2609">
                <a:extLst>
                  <a:ext uri="{FF2B5EF4-FFF2-40B4-BE49-F238E27FC236}">
                    <a16:creationId xmlns:a16="http://schemas.microsoft.com/office/drawing/2014/main" xmlns="" id="{2F6A8FDD-5833-4B06-B59D-E0587B533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470"/>
                <a:ext cx="330" cy="210"/>
              </a:xfrm>
              <a:custGeom>
                <a:avLst/>
                <a:gdLst>
                  <a:gd name="T0" fmla="*/ 0 w 330"/>
                  <a:gd name="T1" fmla="*/ 150 h 210"/>
                  <a:gd name="T2" fmla="*/ 60 w 330"/>
                  <a:gd name="T3" fmla="*/ 210 h 210"/>
                  <a:gd name="T4" fmla="*/ 150 w 330"/>
                  <a:gd name="T5" fmla="*/ 150 h 210"/>
                  <a:gd name="T6" fmla="*/ 210 w 330"/>
                  <a:gd name="T7" fmla="*/ 60 h 210"/>
                  <a:gd name="T8" fmla="*/ 330 w 330"/>
                  <a:gd name="T9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0" h="210">
                    <a:moveTo>
                      <a:pt x="0" y="150"/>
                    </a:moveTo>
                    <a:lnTo>
                      <a:pt x="60" y="210"/>
                    </a:lnTo>
                    <a:lnTo>
                      <a:pt x="150" y="150"/>
                    </a:lnTo>
                    <a:lnTo>
                      <a:pt x="210" y="60"/>
                    </a:lnTo>
                    <a:lnTo>
                      <a:pt x="33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0" name="Freeform 2610">
                <a:extLst>
                  <a:ext uri="{FF2B5EF4-FFF2-40B4-BE49-F238E27FC236}">
                    <a16:creationId xmlns:a16="http://schemas.microsoft.com/office/drawing/2014/main" xmlns="" id="{B7831F3E-2ADE-4C7E-892E-036F48A115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1500"/>
                <a:ext cx="270" cy="150"/>
              </a:xfrm>
              <a:custGeom>
                <a:avLst/>
                <a:gdLst>
                  <a:gd name="T0" fmla="*/ 270 w 270"/>
                  <a:gd name="T1" fmla="*/ 90 h 150"/>
                  <a:gd name="T2" fmla="*/ 150 w 270"/>
                  <a:gd name="T3" fmla="*/ 150 h 150"/>
                  <a:gd name="T4" fmla="*/ 30 w 270"/>
                  <a:gd name="T5" fmla="*/ 120 h 150"/>
                  <a:gd name="T6" fmla="*/ 0 w 270"/>
                  <a:gd name="T7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0" h="150">
                    <a:moveTo>
                      <a:pt x="270" y="90"/>
                    </a:moveTo>
                    <a:lnTo>
                      <a:pt x="150" y="150"/>
                    </a:lnTo>
                    <a:lnTo>
                      <a:pt x="30" y="12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1" name="Line 2611">
                <a:extLst>
                  <a:ext uri="{FF2B5EF4-FFF2-40B4-BE49-F238E27FC236}">
                    <a16:creationId xmlns:a16="http://schemas.microsoft.com/office/drawing/2014/main" xmlns="" id="{672F47E1-254D-450A-B333-D663E2916D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47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2" name="Line 2612">
                <a:extLst>
                  <a:ext uri="{FF2B5EF4-FFF2-40B4-BE49-F238E27FC236}">
                    <a16:creationId xmlns:a16="http://schemas.microsoft.com/office/drawing/2014/main" xmlns="" id="{2D57A2CA-D306-4731-ABCE-F4218B5F90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75" y="1410"/>
                <a:ext cx="60" cy="9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3" name="Line 2613">
                <a:extLst>
                  <a:ext uri="{FF2B5EF4-FFF2-40B4-BE49-F238E27FC236}">
                    <a16:creationId xmlns:a16="http://schemas.microsoft.com/office/drawing/2014/main" xmlns="" id="{447AACF8-56F8-48D6-B0B6-BA37037E01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65" y="15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4" name="Freeform 2614">
                <a:extLst>
                  <a:ext uri="{FF2B5EF4-FFF2-40B4-BE49-F238E27FC236}">
                    <a16:creationId xmlns:a16="http://schemas.microsoft.com/office/drawing/2014/main" xmlns="" id="{D5230537-3937-4D5B-A036-5FC4DD5B3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5" y="1500"/>
                <a:ext cx="180" cy="120"/>
              </a:xfrm>
              <a:custGeom>
                <a:avLst/>
                <a:gdLst>
                  <a:gd name="T0" fmla="*/ 150 w 180"/>
                  <a:gd name="T1" fmla="*/ 0 h 120"/>
                  <a:gd name="T2" fmla="*/ 0 w 180"/>
                  <a:gd name="T3" fmla="*/ 0 h 120"/>
                  <a:gd name="T4" fmla="*/ 30 w 180"/>
                  <a:gd name="T5" fmla="*/ 120 h 120"/>
                  <a:gd name="T6" fmla="*/ 180 w 180"/>
                  <a:gd name="T7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120">
                    <a:moveTo>
                      <a:pt x="150" y="0"/>
                    </a:moveTo>
                    <a:lnTo>
                      <a:pt x="0" y="0"/>
                    </a:lnTo>
                    <a:lnTo>
                      <a:pt x="30" y="120"/>
                    </a:lnTo>
                    <a:lnTo>
                      <a:pt x="180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5" name="Freeform 2615">
                <a:extLst>
                  <a:ext uri="{FF2B5EF4-FFF2-40B4-BE49-F238E27FC236}">
                    <a16:creationId xmlns:a16="http://schemas.microsoft.com/office/drawing/2014/main" xmlns="" id="{186E4826-6C5D-4BB3-9336-5F870F7847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4" y="125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6" name="Freeform 2616">
                <a:extLst>
                  <a:ext uri="{FF2B5EF4-FFF2-40B4-BE49-F238E27FC236}">
                    <a16:creationId xmlns:a16="http://schemas.microsoft.com/office/drawing/2014/main" xmlns="" id="{C391CB45-9C8F-4C7B-B441-0F9D361A36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4" y="206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7" name="Freeform 2617">
                <a:extLst>
                  <a:ext uri="{FF2B5EF4-FFF2-40B4-BE49-F238E27FC236}">
                    <a16:creationId xmlns:a16="http://schemas.microsoft.com/office/drawing/2014/main" xmlns="" id="{89D46438-51F6-4F28-B1AE-86F690732B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" y="206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8" name="Freeform 2618">
                <a:extLst>
                  <a:ext uri="{FF2B5EF4-FFF2-40B4-BE49-F238E27FC236}">
                    <a16:creationId xmlns:a16="http://schemas.microsoft.com/office/drawing/2014/main" xmlns="" id="{C65614BE-7849-44CF-ABFF-BD36FA37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4" y="53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9" name="Freeform 2619">
                <a:extLst>
                  <a:ext uri="{FF2B5EF4-FFF2-40B4-BE49-F238E27FC236}">
                    <a16:creationId xmlns:a16="http://schemas.microsoft.com/office/drawing/2014/main" xmlns="" id="{7F66261F-B6AB-4DE7-8D2E-0EB94C1775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3" y="53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0" name="Oval 2620">
                <a:extLst>
                  <a:ext uri="{FF2B5EF4-FFF2-40B4-BE49-F238E27FC236}">
                    <a16:creationId xmlns:a16="http://schemas.microsoft.com/office/drawing/2014/main" xmlns="" id="{7D5AA986-53FA-4BDF-9D06-A34318F8EE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1" name="Oval 2621">
                <a:extLst>
                  <a:ext uri="{FF2B5EF4-FFF2-40B4-BE49-F238E27FC236}">
                    <a16:creationId xmlns:a16="http://schemas.microsoft.com/office/drawing/2014/main" xmlns="" id="{0017B849-E83B-4EEC-AAC3-FCF881455A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2" name="Oval 2622">
                <a:extLst>
                  <a:ext uri="{FF2B5EF4-FFF2-40B4-BE49-F238E27FC236}">
                    <a16:creationId xmlns:a16="http://schemas.microsoft.com/office/drawing/2014/main" xmlns="" id="{3840FCEA-BA07-48A6-8628-E0530CA4C6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3" name="Oval 2623">
                <a:extLst>
                  <a:ext uri="{FF2B5EF4-FFF2-40B4-BE49-F238E27FC236}">
                    <a16:creationId xmlns:a16="http://schemas.microsoft.com/office/drawing/2014/main" xmlns="" id="{8517C6AB-78DA-4EA2-ACC3-DB70EB9D63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4" name="Oval 2624">
                <a:extLst>
                  <a:ext uri="{FF2B5EF4-FFF2-40B4-BE49-F238E27FC236}">
                    <a16:creationId xmlns:a16="http://schemas.microsoft.com/office/drawing/2014/main" xmlns="" id="{151474C7-4BA3-4526-8789-3F588F2756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4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5" name="Oval 2625">
                <a:extLst>
                  <a:ext uri="{FF2B5EF4-FFF2-40B4-BE49-F238E27FC236}">
                    <a16:creationId xmlns:a16="http://schemas.microsoft.com/office/drawing/2014/main" xmlns="" id="{637A3E53-B5F7-4D2B-9D6F-D26428ADEC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4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6" name="Oval 2626">
                <a:extLst>
                  <a:ext uri="{FF2B5EF4-FFF2-40B4-BE49-F238E27FC236}">
                    <a16:creationId xmlns:a16="http://schemas.microsoft.com/office/drawing/2014/main" xmlns="" id="{BE75D479-27A3-4C86-B393-C2C6DBBF63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4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7" name="Oval 2627">
                <a:extLst>
                  <a:ext uri="{FF2B5EF4-FFF2-40B4-BE49-F238E27FC236}">
                    <a16:creationId xmlns:a16="http://schemas.microsoft.com/office/drawing/2014/main" xmlns="" id="{25FF4F16-B447-4F77-A242-12E9C26807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8" name="Oval 2628">
                <a:extLst>
                  <a:ext uri="{FF2B5EF4-FFF2-40B4-BE49-F238E27FC236}">
                    <a16:creationId xmlns:a16="http://schemas.microsoft.com/office/drawing/2014/main" xmlns="" id="{B5D1B9AD-6869-407C-80A8-FD31F9F73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9" name="Oval 2629">
                <a:extLst>
                  <a:ext uri="{FF2B5EF4-FFF2-40B4-BE49-F238E27FC236}">
                    <a16:creationId xmlns:a16="http://schemas.microsoft.com/office/drawing/2014/main" xmlns="" id="{45171956-4028-4070-B968-3152716A16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4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0" name="Oval 2630">
                <a:extLst>
                  <a:ext uri="{FF2B5EF4-FFF2-40B4-BE49-F238E27FC236}">
                    <a16:creationId xmlns:a16="http://schemas.microsoft.com/office/drawing/2014/main" xmlns="" id="{C1141C36-7341-4522-8B29-6748769B44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1" name="Oval 2631">
                <a:extLst>
                  <a:ext uri="{FF2B5EF4-FFF2-40B4-BE49-F238E27FC236}">
                    <a16:creationId xmlns:a16="http://schemas.microsoft.com/office/drawing/2014/main" xmlns="" id="{91584CD1-C5EF-46AE-8C88-49E9CB02FC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4" y="26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2" name="Oval 2632">
                <a:extLst>
                  <a:ext uri="{FF2B5EF4-FFF2-40B4-BE49-F238E27FC236}">
                    <a16:creationId xmlns:a16="http://schemas.microsoft.com/office/drawing/2014/main" xmlns="" id="{E9BDD82E-503D-4EAF-9953-37AF36E075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4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3" name="Oval 2633">
                <a:extLst>
                  <a:ext uri="{FF2B5EF4-FFF2-40B4-BE49-F238E27FC236}">
                    <a16:creationId xmlns:a16="http://schemas.microsoft.com/office/drawing/2014/main" xmlns="" id="{5B6431FE-D37E-4069-BF8D-3D01FB5339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4" name="Oval 2634">
                <a:extLst>
                  <a:ext uri="{FF2B5EF4-FFF2-40B4-BE49-F238E27FC236}">
                    <a16:creationId xmlns:a16="http://schemas.microsoft.com/office/drawing/2014/main" xmlns="" id="{BA825897-6B4B-4030-A1A2-7AA30656BB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5" name="Oval 2635">
                <a:extLst>
                  <a:ext uri="{FF2B5EF4-FFF2-40B4-BE49-F238E27FC236}">
                    <a16:creationId xmlns:a16="http://schemas.microsoft.com/office/drawing/2014/main" xmlns="" id="{B1A1C359-E6F2-4727-8D79-3D12BDD77C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6" name="Oval 2636">
                <a:extLst>
                  <a:ext uri="{FF2B5EF4-FFF2-40B4-BE49-F238E27FC236}">
                    <a16:creationId xmlns:a16="http://schemas.microsoft.com/office/drawing/2014/main" xmlns="" id="{741D9434-FA10-4A3F-92AF-C1B0E7D9A6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7" name="Oval 2637">
                <a:extLst>
                  <a:ext uri="{FF2B5EF4-FFF2-40B4-BE49-F238E27FC236}">
                    <a16:creationId xmlns:a16="http://schemas.microsoft.com/office/drawing/2014/main" xmlns="" id="{3DA66931-F40B-4EED-86FE-7A252A8974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4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8" name="Oval 2638">
                <a:extLst>
                  <a:ext uri="{FF2B5EF4-FFF2-40B4-BE49-F238E27FC236}">
                    <a16:creationId xmlns:a16="http://schemas.microsoft.com/office/drawing/2014/main" xmlns="" id="{3C22C594-1BE9-4FD9-B0E4-6FCDFDB591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9" name="Oval 2639">
                <a:extLst>
                  <a:ext uri="{FF2B5EF4-FFF2-40B4-BE49-F238E27FC236}">
                    <a16:creationId xmlns:a16="http://schemas.microsoft.com/office/drawing/2014/main" xmlns="" id="{F5FE1887-5518-465C-80B3-108151ADCC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0" name="Oval 2640">
                <a:extLst>
                  <a:ext uri="{FF2B5EF4-FFF2-40B4-BE49-F238E27FC236}">
                    <a16:creationId xmlns:a16="http://schemas.microsoft.com/office/drawing/2014/main" xmlns="" id="{2B7C877B-4647-4AB8-83B1-F58FA6863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1" name="Oval 2641">
                <a:extLst>
                  <a:ext uri="{FF2B5EF4-FFF2-40B4-BE49-F238E27FC236}">
                    <a16:creationId xmlns:a16="http://schemas.microsoft.com/office/drawing/2014/main" xmlns="" id="{EBCAA00A-78BC-45EB-B158-3A5DA8224E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4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2" name="Oval 2642">
                <a:extLst>
                  <a:ext uri="{FF2B5EF4-FFF2-40B4-BE49-F238E27FC236}">
                    <a16:creationId xmlns:a16="http://schemas.microsoft.com/office/drawing/2014/main" xmlns="" id="{495F5092-9079-4B2A-A0F7-8182E30DF5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3" name="Oval 2643">
                <a:extLst>
                  <a:ext uri="{FF2B5EF4-FFF2-40B4-BE49-F238E27FC236}">
                    <a16:creationId xmlns:a16="http://schemas.microsoft.com/office/drawing/2014/main" xmlns="" id="{8C20932A-E594-4D00-9F68-B0101A2F04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4" name="Oval 2644">
                <a:extLst>
                  <a:ext uri="{FF2B5EF4-FFF2-40B4-BE49-F238E27FC236}">
                    <a16:creationId xmlns:a16="http://schemas.microsoft.com/office/drawing/2014/main" xmlns="" id="{BB7F1A50-0074-4369-B07E-06F15C5387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04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5" name="Oval 2645">
                <a:extLst>
                  <a:ext uri="{FF2B5EF4-FFF2-40B4-BE49-F238E27FC236}">
                    <a16:creationId xmlns:a16="http://schemas.microsoft.com/office/drawing/2014/main" xmlns="" id="{7F8812FE-24EF-4904-BDA7-BC9DE4C74D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13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6" name="Oval 2646">
                <a:extLst>
                  <a:ext uri="{FF2B5EF4-FFF2-40B4-BE49-F238E27FC236}">
                    <a16:creationId xmlns:a16="http://schemas.microsoft.com/office/drawing/2014/main" xmlns="" id="{B13DEA20-F35F-4359-A1A4-633C9B722B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7" name="Oval 2647">
                <a:extLst>
                  <a:ext uri="{FF2B5EF4-FFF2-40B4-BE49-F238E27FC236}">
                    <a16:creationId xmlns:a16="http://schemas.microsoft.com/office/drawing/2014/main" xmlns="" id="{BDC5020D-B699-44AF-8737-E950DE8BA5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4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8" name="Oval 2648">
                <a:extLst>
                  <a:ext uri="{FF2B5EF4-FFF2-40B4-BE49-F238E27FC236}">
                    <a16:creationId xmlns:a16="http://schemas.microsoft.com/office/drawing/2014/main" xmlns="" id="{5AE417E4-66A6-4247-8C60-C1D60C76B9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9" name="Oval 2649">
                <a:extLst>
                  <a:ext uri="{FF2B5EF4-FFF2-40B4-BE49-F238E27FC236}">
                    <a16:creationId xmlns:a16="http://schemas.microsoft.com/office/drawing/2014/main" xmlns="" id="{AA9D20CC-F7B7-4AAF-805F-23F3A8CCB1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0" name="Oval 2650">
                <a:extLst>
                  <a:ext uri="{FF2B5EF4-FFF2-40B4-BE49-F238E27FC236}">
                    <a16:creationId xmlns:a16="http://schemas.microsoft.com/office/drawing/2014/main" xmlns="" id="{3F04D762-EC50-471C-BF02-B34545D0F4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4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1" name="Oval 2651">
                <a:extLst>
                  <a:ext uri="{FF2B5EF4-FFF2-40B4-BE49-F238E27FC236}">
                    <a16:creationId xmlns:a16="http://schemas.microsoft.com/office/drawing/2014/main" xmlns="" id="{D03537D8-0B86-4936-A6EE-7BF6FDFF63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2" name="Oval 2652">
                <a:extLst>
                  <a:ext uri="{FF2B5EF4-FFF2-40B4-BE49-F238E27FC236}">
                    <a16:creationId xmlns:a16="http://schemas.microsoft.com/office/drawing/2014/main" xmlns="" id="{FD2E68EB-D294-4846-9D99-2759059857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3" name="Oval 2653">
                <a:extLst>
                  <a:ext uri="{FF2B5EF4-FFF2-40B4-BE49-F238E27FC236}">
                    <a16:creationId xmlns:a16="http://schemas.microsoft.com/office/drawing/2014/main" xmlns="" id="{4FDC08F2-B7CF-4762-9E55-51243FA28A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4" name="Oval 2654">
                <a:extLst>
                  <a:ext uri="{FF2B5EF4-FFF2-40B4-BE49-F238E27FC236}">
                    <a16:creationId xmlns:a16="http://schemas.microsoft.com/office/drawing/2014/main" xmlns="" id="{0D504A83-0C88-4FBC-BAB4-19FA5E5AFC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5" name="Oval 2655">
                <a:extLst>
                  <a:ext uri="{FF2B5EF4-FFF2-40B4-BE49-F238E27FC236}">
                    <a16:creationId xmlns:a16="http://schemas.microsoft.com/office/drawing/2014/main" xmlns="" id="{60B827BD-7EAB-47B5-9B94-F2027A863C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6" name="Oval 2656">
                <a:extLst>
                  <a:ext uri="{FF2B5EF4-FFF2-40B4-BE49-F238E27FC236}">
                    <a16:creationId xmlns:a16="http://schemas.microsoft.com/office/drawing/2014/main" xmlns="" id="{209F3275-34A0-409C-B35E-F3F39A16FA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7" name="Oval 2657">
                <a:extLst>
                  <a:ext uri="{FF2B5EF4-FFF2-40B4-BE49-F238E27FC236}">
                    <a16:creationId xmlns:a16="http://schemas.microsoft.com/office/drawing/2014/main" xmlns="" id="{4B220A02-F739-4766-967A-C0D8693F1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8" name="Oval 2658">
                <a:extLst>
                  <a:ext uri="{FF2B5EF4-FFF2-40B4-BE49-F238E27FC236}">
                    <a16:creationId xmlns:a16="http://schemas.microsoft.com/office/drawing/2014/main" xmlns="" id="{8656B4CD-A562-4E52-95AF-9A4A064410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14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9" name="Oval 2659">
                <a:extLst>
                  <a:ext uri="{FF2B5EF4-FFF2-40B4-BE49-F238E27FC236}">
                    <a16:creationId xmlns:a16="http://schemas.microsoft.com/office/drawing/2014/main" xmlns="" id="{F9B50E16-AC90-4702-A2B0-1CF07FCE2A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0" name="Oval 2660">
                <a:extLst>
                  <a:ext uri="{FF2B5EF4-FFF2-40B4-BE49-F238E27FC236}">
                    <a16:creationId xmlns:a16="http://schemas.microsoft.com/office/drawing/2014/main" xmlns="" id="{2A42687A-7FC7-4936-B9A7-BB3F72A714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1" name="Oval 2661">
                <a:extLst>
                  <a:ext uri="{FF2B5EF4-FFF2-40B4-BE49-F238E27FC236}">
                    <a16:creationId xmlns:a16="http://schemas.microsoft.com/office/drawing/2014/main" xmlns="" id="{A1D30381-3ABE-4656-A0A5-14B3342D28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2" name="Oval 2662">
                <a:extLst>
                  <a:ext uri="{FF2B5EF4-FFF2-40B4-BE49-F238E27FC236}">
                    <a16:creationId xmlns:a16="http://schemas.microsoft.com/office/drawing/2014/main" xmlns="" id="{7903DEAB-164A-4F5C-BFD0-DC9291899F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3" name="Oval 2663">
                <a:extLst>
                  <a:ext uri="{FF2B5EF4-FFF2-40B4-BE49-F238E27FC236}">
                    <a16:creationId xmlns:a16="http://schemas.microsoft.com/office/drawing/2014/main" xmlns="" id="{DC511BCB-AF2C-4B34-B87E-A6D4A6B459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34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4" name="Oval 2664">
                <a:extLst>
                  <a:ext uri="{FF2B5EF4-FFF2-40B4-BE49-F238E27FC236}">
                    <a16:creationId xmlns:a16="http://schemas.microsoft.com/office/drawing/2014/main" xmlns="" id="{080E606A-C7A6-476E-85AE-6A8C50CCAC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4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5" name="Oval 2665">
                <a:extLst>
                  <a:ext uri="{FF2B5EF4-FFF2-40B4-BE49-F238E27FC236}">
                    <a16:creationId xmlns:a16="http://schemas.microsoft.com/office/drawing/2014/main" xmlns="" id="{21623BEC-FC00-4378-9263-4322CD2C35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4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6" name="Oval 2666">
                <a:extLst>
                  <a:ext uri="{FF2B5EF4-FFF2-40B4-BE49-F238E27FC236}">
                    <a16:creationId xmlns:a16="http://schemas.microsoft.com/office/drawing/2014/main" xmlns="" id="{D84F49A1-396E-45B9-B4E0-401FF6E9F2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4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7" name="Oval 2667">
                <a:extLst>
                  <a:ext uri="{FF2B5EF4-FFF2-40B4-BE49-F238E27FC236}">
                    <a16:creationId xmlns:a16="http://schemas.microsoft.com/office/drawing/2014/main" xmlns="" id="{60E73FD3-7058-40CE-BB0C-44E1ADEEF2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8" name="Oval 2668">
                <a:extLst>
                  <a:ext uri="{FF2B5EF4-FFF2-40B4-BE49-F238E27FC236}">
                    <a16:creationId xmlns:a16="http://schemas.microsoft.com/office/drawing/2014/main" xmlns="" id="{26A07F9E-3012-4F03-AB25-5ED984DF0A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9" name="Oval 2669">
                <a:extLst>
                  <a:ext uri="{FF2B5EF4-FFF2-40B4-BE49-F238E27FC236}">
                    <a16:creationId xmlns:a16="http://schemas.microsoft.com/office/drawing/2014/main" xmlns="" id="{A3DF7859-55F5-4B18-9FCC-F5DD563253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0" name="Oval 2670">
                <a:extLst>
                  <a:ext uri="{FF2B5EF4-FFF2-40B4-BE49-F238E27FC236}">
                    <a16:creationId xmlns:a16="http://schemas.microsoft.com/office/drawing/2014/main" xmlns="" id="{F5CE45F5-9A75-414D-980F-01C215706D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5" y="36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1" name="Oval 2671">
                <a:extLst>
                  <a:ext uri="{FF2B5EF4-FFF2-40B4-BE49-F238E27FC236}">
                    <a16:creationId xmlns:a16="http://schemas.microsoft.com/office/drawing/2014/main" xmlns="" id="{F46F04BB-5693-467C-BAD9-A6BB54CA54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4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2" name="Oval 2672">
                <a:extLst>
                  <a:ext uri="{FF2B5EF4-FFF2-40B4-BE49-F238E27FC236}">
                    <a16:creationId xmlns:a16="http://schemas.microsoft.com/office/drawing/2014/main" xmlns="" id="{0BB9E677-68C3-48E8-AE28-62CD1B695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3" name="Oval 2673">
                <a:extLst>
                  <a:ext uri="{FF2B5EF4-FFF2-40B4-BE49-F238E27FC236}">
                    <a16:creationId xmlns:a16="http://schemas.microsoft.com/office/drawing/2014/main" xmlns="" id="{E3D7340E-A0CA-4428-8751-562A0D8FF3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5" y="78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4" name="Oval 2674">
                <a:extLst>
                  <a:ext uri="{FF2B5EF4-FFF2-40B4-BE49-F238E27FC236}">
                    <a16:creationId xmlns:a16="http://schemas.microsoft.com/office/drawing/2014/main" xmlns="" id="{D6560FF2-8BF4-4037-94A2-82543D1D2A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5" name="Oval 2675">
                <a:extLst>
                  <a:ext uri="{FF2B5EF4-FFF2-40B4-BE49-F238E27FC236}">
                    <a16:creationId xmlns:a16="http://schemas.microsoft.com/office/drawing/2014/main" xmlns="" id="{D05B4ADF-A837-415C-8AD8-CE0D147BB3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6" name="Oval 2676">
                <a:extLst>
                  <a:ext uri="{FF2B5EF4-FFF2-40B4-BE49-F238E27FC236}">
                    <a16:creationId xmlns:a16="http://schemas.microsoft.com/office/drawing/2014/main" xmlns="" id="{7778E4F6-96FE-44BA-9B42-04D03C9D37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7" name="Oval 2677">
                <a:extLst>
                  <a:ext uri="{FF2B5EF4-FFF2-40B4-BE49-F238E27FC236}">
                    <a16:creationId xmlns:a16="http://schemas.microsoft.com/office/drawing/2014/main" xmlns="" id="{60316479-79A0-44A8-B232-BDA9D5D192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1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8" name="Oval 2678">
                <a:extLst>
                  <a:ext uri="{FF2B5EF4-FFF2-40B4-BE49-F238E27FC236}">
                    <a16:creationId xmlns:a16="http://schemas.microsoft.com/office/drawing/2014/main" xmlns="" id="{CD05EBF5-D554-4EA3-98D5-E26C301145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5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9" name="Oval 2679">
                <a:extLst>
                  <a:ext uri="{FF2B5EF4-FFF2-40B4-BE49-F238E27FC236}">
                    <a16:creationId xmlns:a16="http://schemas.microsoft.com/office/drawing/2014/main" xmlns="" id="{77ACF15D-A01F-4843-BBC9-B366E91347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0" name="Oval 2680">
                <a:extLst>
                  <a:ext uri="{FF2B5EF4-FFF2-40B4-BE49-F238E27FC236}">
                    <a16:creationId xmlns:a16="http://schemas.microsoft.com/office/drawing/2014/main" xmlns="" id="{06AC55C3-5040-426E-ABF9-325D81F8F1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5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1" name="Oval 2681">
                <a:extLst>
                  <a:ext uri="{FF2B5EF4-FFF2-40B4-BE49-F238E27FC236}">
                    <a16:creationId xmlns:a16="http://schemas.microsoft.com/office/drawing/2014/main" xmlns="" id="{68A2CC6C-1E64-4601-A15D-FBCD531279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5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2" name="Oval 2682">
                <a:extLst>
                  <a:ext uri="{FF2B5EF4-FFF2-40B4-BE49-F238E27FC236}">
                    <a16:creationId xmlns:a16="http://schemas.microsoft.com/office/drawing/2014/main" xmlns="" id="{F683C56B-3054-4C7E-853C-E5DC694ECD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3" name="Oval 2683">
                <a:extLst>
                  <a:ext uri="{FF2B5EF4-FFF2-40B4-BE49-F238E27FC236}">
                    <a16:creationId xmlns:a16="http://schemas.microsoft.com/office/drawing/2014/main" xmlns="" id="{2C5584A2-A521-4B91-B6DA-857A3FC49A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4" name="Oval 2684">
                <a:extLst>
                  <a:ext uri="{FF2B5EF4-FFF2-40B4-BE49-F238E27FC236}">
                    <a16:creationId xmlns:a16="http://schemas.microsoft.com/office/drawing/2014/main" xmlns="" id="{CB8ABF81-4790-4849-81AF-6A4C3766A4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5" name="Oval 2685">
                <a:extLst>
                  <a:ext uri="{FF2B5EF4-FFF2-40B4-BE49-F238E27FC236}">
                    <a16:creationId xmlns:a16="http://schemas.microsoft.com/office/drawing/2014/main" xmlns="" id="{446DE32C-08E9-4CCC-A723-A7A37B12D8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5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6" name="Oval 2686">
                <a:extLst>
                  <a:ext uri="{FF2B5EF4-FFF2-40B4-BE49-F238E27FC236}">
                    <a16:creationId xmlns:a16="http://schemas.microsoft.com/office/drawing/2014/main" xmlns="" id="{910FCAC9-DB9F-4660-B7E4-8CA59C4B2B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7" name="Oval 2687">
                <a:extLst>
                  <a:ext uri="{FF2B5EF4-FFF2-40B4-BE49-F238E27FC236}">
                    <a16:creationId xmlns:a16="http://schemas.microsoft.com/office/drawing/2014/main" xmlns="" id="{943D6649-3DFB-4883-8D4F-878EAC4CAC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8" name="Oval 2688">
                <a:extLst>
                  <a:ext uri="{FF2B5EF4-FFF2-40B4-BE49-F238E27FC236}">
                    <a16:creationId xmlns:a16="http://schemas.microsoft.com/office/drawing/2014/main" xmlns="" id="{21657494-DDB5-415B-BB35-2E0774436A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3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9" name="Oval 2689">
                <a:extLst>
                  <a:ext uri="{FF2B5EF4-FFF2-40B4-BE49-F238E27FC236}">
                    <a16:creationId xmlns:a16="http://schemas.microsoft.com/office/drawing/2014/main" xmlns="" id="{0112293C-561F-49E7-93EE-CFCE0B8A4D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0" name="Oval 2690">
                <a:extLst>
                  <a:ext uri="{FF2B5EF4-FFF2-40B4-BE49-F238E27FC236}">
                    <a16:creationId xmlns:a16="http://schemas.microsoft.com/office/drawing/2014/main" xmlns="" id="{8E5A77F9-1ACD-49B2-A12A-492ACFC523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1" name="Oval 2691">
                <a:extLst>
                  <a:ext uri="{FF2B5EF4-FFF2-40B4-BE49-F238E27FC236}">
                    <a16:creationId xmlns:a16="http://schemas.microsoft.com/office/drawing/2014/main" xmlns="" id="{FF17AD6B-9F6D-4F1E-AA03-ADE70A3575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2" name="Oval 2692">
                <a:extLst>
                  <a:ext uri="{FF2B5EF4-FFF2-40B4-BE49-F238E27FC236}">
                    <a16:creationId xmlns:a16="http://schemas.microsoft.com/office/drawing/2014/main" xmlns="" id="{49DE2702-D92F-4EE9-9F8A-23B564032D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4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3" name="Oval 2693">
                <a:extLst>
                  <a:ext uri="{FF2B5EF4-FFF2-40B4-BE49-F238E27FC236}">
                    <a16:creationId xmlns:a16="http://schemas.microsoft.com/office/drawing/2014/main" xmlns="" id="{1D7256C6-5486-4072-887D-A6532826DA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4" name="Oval 2694">
                <a:extLst>
                  <a:ext uri="{FF2B5EF4-FFF2-40B4-BE49-F238E27FC236}">
                    <a16:creationId xmlns:a16="http://schemas.microsoft.com/office/drawing/2014/main" xmlns="" id="{451C7BF0-BA39-4F01-A0B4-0D128BBF73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5" name="Oval 2695">
                <a:extLst>
                  <a:ext uri="{FF2B5EF4-FFF2-40B4-BE49-F238E27FC236}">
                    <a16:creationId xmlns:a16="http://schemas.microsoft.com/office/drawing/2014/main" xmlns="" id="{86ECAB5E-51BD-4FBC-B0D7-0098773882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6" name="Oval 2696">
                <a:extLst>
                  <a:ext uri="{FF2B5EF4-FFF2-40B4-BE49-F238E27FC236}">
                    <a16:creationId xmlns:a16="http://schemas.microsoft.com/office/drawing/2014/main" xmlns="" id="{6D986BE1-C7A1-4D07-958C-B4C1055B2C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7" name="Oval 2697">
                <a:extLst>
                  <a:ext uri="{FF2B5EF4-FFF2-40B4-BE49-F238E27FC236}">
                    <a16:creationId xmlns:a16="http://schemas.microsoft.com/office/drawing/2014/main" xmlns="" id="{1B20F3AC-1660-475F-A4EF-B4923B45C9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8" name="Oval 2698">
                <a:extLst>
                  <a:ext uri="{FF2B5EF4-FFF2-40B4-BE49-F238E27FC236}">
                    <a16:creationId xmlns:a16="http://schemas.microsoft.com/office/drawing/2014/main" xmlns="" id="{DD26C94B-36CF-4FBD-9C1D-B2456BF3A9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9" name="Oval 2699">
                <a:extLst>
                  <a:ext uri="{FF2B5EF4-FFF2-40B4-BE49-F238E27FC236}">
                    <a16:creationId xmlns:a16="http://schemas.microsoft.com/office/drawing/2014/main" xmlns="" id="{5A84D512-EFA8-4F97-873E-07070CFEEB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0" name="Oval 2700">
                <a:extLst>
                  <a:ext uri="{FF2B5EF4-FFF2-40B4-BE49-F238E27FC236}">
                    <a16:creationId xmlns:a16="http://schemas.microsoft.com/office/drawing/2014/main" xmlns="" id="{8D32CF99-1D10-419D-AB15-BADA616E17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1" name="Oval 2701">
                <a:extLst>
                  <a:ext uri="{FF2B5EF4-FFF2-40B4-BE49-F238E27FC236}">
                    <a16:creationId xmlns:a16="http://schemas.microsoft.com/office/drawing/2014/main" xmlns="" id="{A109D0F7-4B75-4F8B-96DA-59CAD206A8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2" name="Oval 2702">
                <a:extLst>
                  <a:ext uri="{FF2B5EF4-FFF2-40B4-BE49-F238E27FC236}">
                    <a16:creationId xmlns:a16="http://schemas.microsoft.com/office/drawing/2014/main" xmlns="" id="{EDF558AF-25C5-47BB-A7D0-3F3DA26282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15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3" name="Oval 2703">
                <a:extLst>
                  <a:ext uri="{FF2B5EF4-FFF2-40B4-BE49-F238E27FC236}">
                    <a16:creationId xmlns:a16="http://schemas.microsoft.com/office/drawing/2014/main" xmlns="" id="{1132C05F-2222-4348-ABA0-C33BB62987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4" name="Oval 2704">
                <a:extLst>
                  <a:ext uri="{FF2B5EF4-FFF2-40B4-BE49-F238E27FC236}">
                    <a16:creationId xmlns:a16="http://schemas.microsoft.com/office/drawing/2014/main" xmlns="" id="{9C96B3DA-6976-465A-83B1-2D43FA9760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5" name="Oval 2705">
                <a:extLst>
                  <a:ext uri="{FF2B5EF4-FFF2-40B4-BE49-F238E27FC236}">
                    <a16:creationId xmlns:a16="http://schemas.microsoft.com/office/drawing/2014/main" xmlns="" id="{E8637EC7-FC83-449E-B35E-A48F4E94BB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6" name="Oval 2706">
                <a:extLst>
                  <a:ext uri="{FF2B5EF4-FFF2-40B4-BE49-F238E27FC236}">
                    <a16:creationId xmlns:a16="http://schemas.microsoft.com/office/drawing/2014/main" xmlns="" id="{AF18984A-5140-4DF7-8B08-ABDE10473B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7" name="Oval 2707">
                <a:extLst>
                  <a:ext uri="{FF2B5EF4-FFF2-40B4-BE49-F238E27FC236}">
                    <a16:creationId xmlns:a16="http://schemas.microsoft.com/office/drawing/2014/main" xmlns="" id="{B8AC8FCF-4456-462B-B0C0-14A9244CC5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10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8" name="Oval 2708">
                <a:extLst>
                  <a:ext uri="{FF2B5EF4-FFF2-40B4-BE49-F238E27FC236}">
                    <a16:creationId xmlns:a16="http://schemas.microsoft.com/office/drawing/2014/main" xmlns="" id="{736FB248-8A0C-4017-A971-A060567253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9" name="Oval 2709">
                <a:extLst>
                  <a:ext uri="{FF2B5EF4-FFF2-40B4-BE49-F238E27FC236}">
                    <a16:creationId xmlns:a16="http://schemas.microsoft.com/office/drawing/2014/main" xmlns="" id="{F389423D-2FE8-4DB2-9284-BD04D78F6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0" name="Oval 2710">
                <a:extLst>
                  <a:ext uri="{FF2B5EF4-FFF2-40B4-BE49-F238E27FC236}">
                    <a16:creationId xmlns:a16="http://schemas.microsoft.com/office/drawing/2014/main" xmlns="" id="{63F7FADE-7E3F-427F-A206-EBAC1E2CBE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1" name="Oval 2711">
                <a:extLst>
                  <a:ext uri="{FF2B5EF4-FFF2-40B4-BE49-F238E27FC236}">
                    <a16:creationId xmlns:a16="http://schemas.microsoft.com/office/drawing/2014/main" xmlns="" id="{FD345648-B9DC-489A-8614-982BED7689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2" name="Oval 2712">
                <a:extLst>
                  <a:ext uri="{FF2B5EF4-FFF2-40B4-BE49-F238E27FC236}">
                    <a16:creationId xmlns:a16="http://schemas.microsoft.com/office/drawing/2014/main" xmlns="" id="{A5BE3984-DE21-4625-B11A-15D495CC38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3" name="Oval 2713">
                <a:extLst>
                  <a:ext uri="{FF2B5EF4-FFF2-40B4-BE49-F238E27FC236}">
                    <a16:creationId xmlns:a16="http://schemas.microsoft.com/office/drawing/2014/main" xmlns="" id="{357E5CC3-A010-4400-BC1C-0CA954A136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4" name="Oval 2714">
                <a:extLst>
                  <a:ext uri="{FF2B5EF4-FFF2-40B4-BE49-F238E27FC236}">
                    <a16:creationId xmlns:a16="http://schemas.microsoft.com/office/drawing/2014/main" xmlns="" id="{F02EE3A0-43DB-4000-8335-C0568CB097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1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5" name="Oval 2715">
                <a:extLst>
                  <a:ext uri="{FF2B5EF4-FFF2-40B4-BE49-F238E27FC236}">
                    <a16:creationId xmlns:a16="http://schemas.microsoft.com/office/drawing/2014/main" xmlns="" id="{D022DCDE-7ACF-4CC7-9A53-B1632919EA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6" name="Oval 2716">
                <a:extLst>
                  <a:ext uri="{FF2B5EF4-FFF2-40B4-BE49-F238E27FC236}">
                    <a16:creationId xmlns:a16="http://schemas.microsoft.com/office/drawing/2014/main" xmlns="" id="{FD5212BA-CB10-46E2-AE10-378896581A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7" name="Oval 2717">
                <a:extLst>
                  <a:ext uri="{FF2B5EF4-FFF2-40B4-BE49-F238E27FC236}">
                    <a16:creationId xmlns:a16="http://schemas.microsoft.com/office/drawing/2014/main" xmlns="" id="{6122A88E-D886-4B51-9F85-89967668EE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8" name="Oval 2718">
                <a:extLst>
                  <a:ext uri="{FF2B5EF4-FFF2-40B4-BE49-F238E27FC236}">
                    <a16:creationId xmlns:a16="http://schemas.microsoft.com/office/drawing/2014/main" xmlns="" id="{A43094B7-2E51-4596-99BD-7F567D4AD8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9" name="Oval 2719">
                <a:extLst>
                  <a:ext uri="{FF2B5EF4-FFF2-40B4-BE49-F238E27FC236}">
                    <a16:creationId xmlns:a16="http://schemas.microsoft.com/office/drawing/2014/main" xmlns="" id="{1CA2DECB-8761-4F56-950A-2D73E5231C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0" name="Oval 2720">
                <a:extLst>
                  <a:ext uri="{FF2B5EF4-FFF2-40B4-BE49-F238E27FC236}">
                    <a16:creationId xmlns:a16="http://schemas.microsoft.com/office/drawing/2014/main" xmlns="" id="{80C12790-C7A5-4DF0-AB85-A0DBC7F3B0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1" name="Oval 2721">
                <a:extLst>
                  <a:ext uri="{FF2B5EF4-FFF2-40B4-BE49-F238E27FC236}">
                    <a16:creationId xmlns:a16="http://schemas.microsoft.com/office/drawing/2014/main" xmlns="" id="{1A58D89D-1A19-4BA9-BFEF-830A0D569F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2" name="Oval 2722">
                <a:extLst>
                  <a:ext uri="{FF2B5EF4-FFF2-40B4-BE49-F238E27FC236}">
                    <a16:creationId xmlns:a16="http://schemas.microsoft.com/office/drawing/2014/main" xmlns="" id="{4F3BEDFD-89C6-4C30-91D0-BD31B3C90F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3" name="Oval 2723">
                <a:extLst>
                  <a:ext uri="{FF2B5EF4-FFF2-40B4-BE49-F238E27FC236}">
                    <a16:creationId xmlns:a16="http://schemas.microsoft.com/office/drawing/2014/main" xmlns="" id="{FC59098B-80F6-4858-984D-90AA991622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4" name="Oval 2724">
                <a:extLst>
                  <a:ext uri="{FF2B5EF4-FFF2-40B4-BE49-F238E27FC236}">
                    <a16:creationId xmlns:a16="http://schemas.microsoft.com/office/drawing/2014/main" xmlns="" id="{1F861820-FD06-42AB-BE24-1E4485E1E8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5" name="Oval 2725">
                <a:extLst>
                  <a:ext uri="{FF2B5EF4-FFF2-40B4-BE49-F238E27FC236}">
                    <a16:creationId xmlns:a16="http://schemas.microsoft.com/office/drawing/2014/main" xmlns="" id="{2A081706-3ED1-412C-B142-C8C2D67EA2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6" name="Oval 2726">
                <a:extLst>
                  <a:ext uri="{FF2B5EF4-FFF2-40B4-BE49-F238E27FC236}">
                    <a16:creationId xmlns:a16="http://schemas.microsoft.com/office/drawing/2014/main" xmlns="" id="{BDA03BDF-4CD8-4D07-BC62-0938C6F1D3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7" name="Oval 2727">
                <a:extLst>
                  <a:ext uri="{FF2B5EF4-FFF2-40B4-BE49-F238E27FC236}">
                    <a16:creationId xmlns:a16="http://schemas.microsoft.com/office/drawing/2014/main" xmlns="" id="{CA602E85-B624-4A06-AC46-AEC6BEDA23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8" name="Oval 2728">
                <a:extLst>
                  <a:ext uri="{FF2B5EF4-FFF2-40B4-BE49-F238E27FC236}">
                    <a16:creationId xmlns:a16="http://schemas.microsoft.com/office/drawing/2014/main" xmlns="" id="{4F1250A6-3752-4183-B4D9-5300A4536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9" name="Oval 2729">
                <a:extLst>
                  <a:ext uri="{FF2B5EF4-FFF2-40B4-BE49-F238E27FC236}">
                    <a16:creationId xmlns:a16="http://schemas.microsoft.com/office/drawing/2014/main" xmlns="" id="{DED79C39-0757-4EF4-82BD-D87B7BBB2C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0" name="Oval 2730">
                <a:extLst>
                  <a:ext uri="{FF2B5EF4-FFF2-40B4-BE49-F238E27FC236}">
                    <a16:creationId xmlns:a16="http://schemas.microsoft.com/office/drawing/2014/main" xmlns="" id="{D9DF39CB-E626-43AF-AA6E-5F457DC3D3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1" name="Oval 2731">
                <a:extLst>
                  <a:ext uri="{FF2B5EF4-FFF2-40B4-BE49-F238E27FC236}">
                    <a16:creationId xmlns:a16="http://schemas.microsoft.com/office/drawing/2014/main" xmlns="" id="{CE8E430F-0566-44E0-A831-A618E87492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2" name="Oval 2732">
                <a:extLst>
                  <a:ext uri="{FF2B5EF4-FFF2-40B4-BE49-F238E27FC236}">
                    <a16:creationId xmlns:a16="http://schemas.microsoft.com/office/drawing/2014/main" xmlns="" id="{04D3182D-3F11-4CB6-8C21-B1E15336D6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3" name="Oval 2733">
                <a:extLst>
                  <a:ext uri="{FF2B5EF4-FFF2-40B4-BE49-F238E27FC236}">
                    <a16:creationId xmlns:a16="http://schemas.microsoft.com/office/drawing/2014/main" xmlns="" id="{D93C89EE-F466-4458-B25E-D0FD17E887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4" name="Oval 2734">
                <a:extLst>
                  <a:ext uri="{FF2B5EF4-FFF2-40B4-BE49-F238E27FC236}">
                    <a16:creationId xmlns:a16="http://schemas.microsoft.com/office/drawing/2014/main" xmlns="" id="{88701911-5AF5-4905-8C8F-A68D937CEC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5" name="Oval 2735">
                <a:extLst>
                  <a:ext uri="{FF2B5EF4-FFF2-40B4-BE49-F238E27FC236}">
                    <a16:creationId xmlns:a16="http://schemas.microsoft.com/office/drawing/2014/main" xmlns="" id="{13AFC4E8-9765-44FA-9075-D1ACE32BF3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6" name="Oval 2736">
                <a:extLst>
                  <a:ext uri="{FF2B5EF4-FFF2-40B4-BE49-F238E27FC236}">
                    <a16:creationId xmlns:a16="http://schemas.microsoft.com/office/drawing/2014/main" xmlns="" id="{FE9C3BE2-C0BB-4E84-A617-6D78892021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7" name="Oval 2737">
                <a:extLst>
                  <a:ext uri="{FF2B5EF4-FFF2-40B4-BE49-F238E27FC236}">
                    <a16:creationId xmlns:a16="http://schemas.microsoft.com/office/drawing/2014/main" xmlns="" id="{0E21BB0F-784F-4BCF-88A9-801E0F2F13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8" name="Oval 2738">
                <a:extLst>
                  <a:ext uri="{FF2B5EF4-FFF2-40B4-BE49-F238E27FC236}">
                    <a16:creationId xmlns:a16="http://schemas.microsoft.com/office/drawing/2014/main" xmlns="" id="{89565C82-67C4-43E1-9A08-EE552666B0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9" name="Oval 2739">
                <a:extLst>
                  <a:ext uri="{FF2B5EF4-FFF2-40B4-BE49-F238E27FC236}">
                    <a16:creationId xmlns:a16="http://schemas.microsoft.com/office/drawing/2014/main" xmlns="" id="{B39F0999-C685-47F6-BEC8-F5D03355FC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0" name="Oval 2740">
                <a:extLst>
                  <a:ext uri="{FF2B5EF4-FFF2-40B4-BE49-F238E27FC236}">
                    <a16:creationId xmlns:a16="http://schemas.microsoft.com/office/drawing/2014/main" xmlns="" id="{6B49215F-0DBA-4E4B-A0E4-6E8F412E6B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1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1" name="Oval 2741">
                <a:extLst>
                  <a:ext uri="{FF2B5EF4-FFF2-40B4-BE49-F238E27FC236}">
                    <a16:creationId xmlns:a16="http://schemas.microsoft.com/office/drawing/2014/main" xmlns="" id="{36CA39AB-8BF4-4DB7-AA4F-45DA2F5C76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2" name="Oval 2742">
                <a:extLst>
                  <a:ext uri="{FF2B5EF4-FFF2-40B4-BE49-F238E27FC236}">
                    <a16:creationId xmlns:a16="http://schemas.microsoft.com/office/drawing/2014/main" xmlns="" id="{C54D577F-BB37-4669-8B81-9ACA2D4104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3" name="Oval 2743">
                <a:extLst>
                  <a:ext uri="{FF2B5EF4-FFF2-40B4-BE49-F238E27FC236}">
                    <a16:creationId xmlns:a16="http://schemas.microsoft.com/office/drawing/2014/main" xmlns="" id="{5C8A0734-252E-4ABC-B5DF-FCCA0C4F44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4" name="Oval 2744">
                <a:extLst>
                  <a:ext uri="{FF2B5EF4-FFF2-40B4-BE49-F238E27FC236}">
                    <a16:creationId xmlns:a16="http://schemas.microsoft.com/office/drawing/2014/main" xmlns="" id="{B62FDB66-6213-493A-BF7E-9FB5B504EF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5" name="Oval 2745">
                <a:extLst>
                  <a:ext uri="{FF2B5EF4-FFF2-40B4-BE49-F238E27FC236}">
                    <a16:creationId xmlns:a16="http://schemas.microsoft.com/office/drawing/2014/main" xmlns="" id="{0410AA02-A4E7-4569-AC79-C60FDB3D59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99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6" name="Oval 2746">
                <a:extLst>
                  <a:ext uri="{FF2B5EF4-FFF2-40B4-BE49-F238E27FC236}">
                    <a16:creationId xmlns:a16="http://schemas.microsoft.com/office/drawing/2014/main" xmlns="" id="{6D69BCB2-A536-445B-BE8D-000C9548B7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7" name="Oval 2747">
                <a:extLst>
                  <a:ext uri="{FF2B5EF4-FFF2-40B4-BE49-F238E27FC236}">
                    <a16:creationId xmlns:a16="http://schemas.microsoft.com/office/drawing/2014/main" xmlns="" id="{78C68E1F-29E7-43A9-95F5-491ED00E82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8" name="Oval 2748">
                <a:extLst>
                  <a:ext uri="{FF2B5EF4-FFF2-40B4-BE49-F238E27FC236}">
                    <a16:creationId xmlns:a16="http://schemas.microsoft.com/office/drawing/2014/main" xmlns="" id="{0D703754-AC39-467E-A8BE-DCE818EBFF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9" name="Oval 2749">
                <a:extLst>
                  <a:ext uri="{FF2B5EF4-FFF2-40B4-BE49-F238E27FC236}">
                    <a16:creationId xmlns:a16="http://schemas.microsoft.com/office/drawing/2014/main" xmlns="" id="{75C696DB-E599-49A6-8FE4-6B24C4BDE5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0" name="Oval 2750">
                <a:extLst>
                  <a:ext uri="{FF2B5EF4-FFF2-40B4-BE49-F238E27FC236}">
                    <a16:creationId xmlns:a16="http://schemas.microsoft.com/office/drawing/2014/main" xmlns="" id="{B69F038A-97A9-429C-BBEA-60CB85DD17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45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1" name="Oval 2751">
                <a:extLst>
                  <a:ext uri="{FF2B5EF4-FFF2-40B4-BE49-F238E27FC236}">
                    <a16:creationId xmlns:a16="http://schemas.microsoft.com/office/drawing/2014/main" xmlns="" id="{72528DD1-FA07-4C69-87E0-D739B00818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3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2" name="Oval 2752">
                <a:extLst>
                  <a:ext uri="{FF2B5EF4-FFF2-40B4-BE49-F238E27FC236}">
                    <a16:creationId xmlns:a16="http://schemas.microsoft.com/office/drawing/2014/main" xmlns="" id="{8DD67A1F-CB3E-4886-A558-F8FF7CD2F5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3" name="Oval 2753">
                <a:extLst>
                  <a:ext uri="{FF2B5EF4-FFF2-40B4-BE49-F238E27FC236}">
                    <a16:creationId xmlns:a16="http://schemas.microsoft.com/office/drawing/2014/main" xmlns="" id="{ED81BB88-3C40-4372-97D2-2ABEA677C3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4" name="Oval 2754">
                <a:extLst>
                  <a:ext uri="{FF2B5EF4-FFF2-40B4-BE49-F238E27FC236}">
                    <a16:creationId xmlns:a16="http://schemas.microsoft.com/office/drawing/2014/main" xmlns="" id="{77CACFD9-90F3-422C-9BF3-6667FA3568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6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5" name="Oval 2755">
                <a:extLst>
                  <a:ext uri="{FF2B5EF4-FFF2-40B4-BE49-F238E27FC236}">
                    <a16:creationId xmlns:a16="http://schemas.microsoft.com/office/drawing/2014/main" xmlns="" id="{336062DC-B4A7-41ED-8041-DF3A261E3E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6" name="Oval 2756">
                <a:extLst>
                  <a:ext uri="{FF2B5EF4-FFF2-40B4-BE49-F238E27FC236}">
                    <a16:creationId xmlns:a16="http://schemas.microsoft.com/office/drawing/2014/main" xmlns="" id="{65F1C575-0C77-4054-8F46-2E38B071FD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7" name="Oval 2757">
                <a:extLst>
                  <a:ext uri="{FF2B5EF4-FFF2-40B4-BE49-F238E27FC236}">
                    <a16:creationId xmlns:a16="http://schemas.microsoft.com/office/drawing/2014/main" xmlns="" id="{B0BCDA78-2793-4A81-8574-B90E706B2B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8" name="Oval 2758">
                <a:extLst>
                  <a:ext uri="{FF2B5EF4-FFF2-40B4-BE49-F238E27FC236}">
                    <a16:creationId xmlns:a16="http://schemas.microsoft.com/office/drawing/2014/main" xmlns="" id="{1786878B-CCF3-4B87-8DA0-21440914F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9" name="Oval 2759">
                <a:extLst>
                  <a:ext uri="{FF2B5EF4-FFF2-40B4-BE49-F238E27FC236}">
                    <a16:creationId xmlns:a16="http://schemas.microsoft.com/office/drawing/2014/main" xmlns="" id="{9CA1D9B3-E7C7-4C64-A880-7228DDEC2E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0" name="Oval 2760">
                <a:extLst>
                  <a:ext uri="{FF2B5EF4-FFF2-40B4-BE49-F238E27FC236}">
                    <a16:creationId xmlns:a16="http://schemas.microsoft.com/office/drawing/2014/main" xmlns="" id="{62B8C270-3B81-4563-A6F5-64268454E2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1" name="Oval 2761">
                <a:extLst>
                  <a:ext uri="{FF2B5EF4-FFF2-40B4-BE49-F238E27FC236}">
                    <a16:creationId xmlns:a16="http://schemas.microsoft.com/office/drawing/2014/main" xmlns="" id="{6EF8C317-1700-44E8-96E0-0EDBB16F78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2" name="Oval 2762">
                <a:extLst>
                  <a:ext uri="{FF2B5EF4-FFF2-40B4-BE49-F238E27FC236}">
                    <a16:creationId xmlns:a16="http://schemas.microsoft.com/office/drawing/2014/main" xmlns="" id="{1F2C46FC-4275-4454-A274-6C659A2A5B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3" name="Oval 2763">
                <a:extLst>
                  <a:ext uri="{FF2B5EF4-FFF2-40B4-BE49-F238E27FC236}">
                    <a16:creationId xmlns:a16="http://schemas.microsoft.com/office/drawing/2014/main" xmlns="" id="{9D8C38EC-92D3-4FA3-A4DE-2496C3C236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4" name="Oval 2764">
                <a:extLst>
                  <a:ext uri="{FF2B5EF4-FFF2-40B4-BE49-F238E27FC236}">
                    <a16:creationId xmlns:a16="http://schemas.microsoft.com/office/drawing/2014/main" xmlns="" id="{424BC905-3B9C-44C2-9ACA-7487D15E95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5" name="Oval 2765">
                <a:extLst>
                  <a:ext uri="{FF2B5EF4-FFF2-40B4-BE49-F238E27FC236}">
                    <a16:creationId xmlns:a16="http://schemas.microsoft.com/office/drawing/2014/main" xmlns="" id="{DA8A04D8-CEF9-4FFA-9FC7-4D9D89D341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4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6" name="Oval 2766">
                <a:extLst>
                  <a:ext uri="{FF2B5EF4-FFF2-40B4-BE49-F238E27FC236}">
                    <a16:creationId xmlns:a16="http://schemas.microsoft.com/office/drawing/2014/main" xmlns="" id="{2DB2FD82-82AD-4376-971F-8FDBD44D5E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7" name="Oval 2767">
                <a:extLst>
                  <a:ext uri="{FF2B5EF4-FFF2-40B4-BE49-F238E27FC236}">
                    <a16:creationId xmlns:a16="http://schemas.microsoft.com/office/drawing/2014/main" xmlns="" id="{C2B9C4DC-AD22-492B-8212-FF8DD98A1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8" name="Oval 2768">
                <a:extLst>
                  <a:ext uri="{FF2B5EF4-FFF2-40B4-BE49-F238E27FC236}">
                    <a16:creationId xmlns:a16="http://schemas.microsoft.com/office/drawing/2014/main" xmlns="" id="{29B415E0-CC5D-4160-BF54-4C5AAE6CC2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9" name="Oval 2769">
                <a:extLst>
                  <a:ext uri="{FF2B5EF4-FFF2-40B4-BE49-F238E27FC236}">
                    <a16:creationId xmlns:a16="http://schemas.microsoft.com/office/drawing/2014/main" xmlns="" id="{889F0758-F4D2-48E6-9CB7-17BBA3439F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0" name="Oval 2770">
                <a:extLst>
                  <a:ext uri="{FF2B5EF4-FFF2-40B4-BE49-F238E27FC236}">
                    <a16:creationId xmlns:a16="http://schemas.microsoft.com/office/drawing/2014/main" xmlns="" id="{D661B9DA-28D8-4CAE-8396-EAE1CFE585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1" name="Oval 2771">
                <a:extLst>
                  <a:ext uri="{FF2B5EF4-FFF2-40B4-BE49-F238E27FC236}">
                    <a16:creationId xmlns:a16="http://schemas.microsoft.com/office/drawing/2014/main" xmlns="" id="{ED260909-BAD8-400F-AA13-5E7F669008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2" name="Oval 2772">
                <a:extLst>
                  <a:ext uri="{FF2B5EF4-FFF2-40B4-BE49-F238E27FC236}">
                    <a16:creationId xmlns:a16="http://schemas.microsoft.com/office/drawing/2014/main" xmlns="" id="{8660C176-9321-4B70-85C2-5986117710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3" name="Oval 2773">
                <a:extLst>
                  <a:ext uri="{FF2B5EF4-FFF2-40B4-BE49-F238E27FC236}">
                    <a16:creationId xmlns:a16="http://schemas.microsoft.com/office/drawing/2014/main" xmlns="" id="{405BCF63-53AF-4FFC-A73F-2D0776247D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4" name="Oval 2774">
                <a:extLst>
                  <a:ext uri="{FF2B5EF4-FFF2-40B4-BE49-F238E27FC236}">
                    <a16:creationId xmlns:a16="http://schemas.microsoft.com/office/drawing/2014/main" xmlns="" id="{6F5AA934-4F34-49C6-BE79-D335C041E4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5" name="Oval 2775">
                <a:extLst>
                  <a:ext uri="{FF2B5EF4-FFF2-40B4-BE49-F238E27FC236}">
                    <a16:creationId xmlns:a16="http://schemas.microsoft.com/office/drawing/2014/main" xmlns="" id="{E362C7F4-9373-4BE6-AD8A-930E45AD85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6" name="Oval 2776">
                <a:extLst>
                  <a:ext uri="{FF2B5EF4-FFF2-40B4-BE49-F238E27FC236}">
                    <a16:creationId xmlns:a16="http://schemas.microsoft.com/office/drawing/2014/main" xmlns="" id="{435B7E98-9856-444E-B541-162CB16797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7" name="Oval 2777">
                <a:extLst>
                  <a:ext uri="{FF2B5EF4-FFF2-40B4-BE49-F238E27FC236}">
                    <a16:creationId xmlns:a16="http://schemas.microsoft.com/office/drawing/2014/main" xmlns="" id="{4186FA8C-CF2E-4D32-A4A4-3603C39B0B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8" name="Oval 2778">
                <a:extLst>
                  <a:ext uri="{FF2B5EF4-FFF2-40B4-BE49-F238E27FC236}">
                    <a16:creationId xmlns:a16="http://schemas.microsoft.com/office/drawing/2014/main" xmlns="" id="{034127AE-3E9A-472B-93F6-103E1325CD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6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9" name="Oval 2779">
                <a:extLst>
                  <a:ext uri="{FF2B5EF4-FFF2-40B4-BE49-F238E27FC236}">
                    <a16:creationId xmlns:a16="http://schemas.microsoft.com/office/drawing/2014/main" xmlns="" id="{8B4862D2-2A20-49E1-A3E9-E81F980A27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12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0" name="Oval 2780">
                <a:extLst>
                  <a:ext uri="{FF2B5EF4-FFF2-40B4-BE49-F238E27FC236}">
                    <a16:creationId xmlns:a16="http://schemas.microsoft.com/office/drawing/2014/main" xmlns="" id="{ABF13899-165B-4373-8753-8F42F6857B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0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1" name="Oval 2781">
                <a:extLst>
                  <a:ext uri="{FF2B5EF4-FFF2-40B4-BE49-F238E27FC236}">
                    <a16:creationId xmlns:a16="http://schemas.microsoft.com/office/drawing/2014/main" xmlns="" id="{198F927F-9885-4D2C-AA3F-5666115234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606" name="Group 2983">
              <a:extLst>
                <a:ext uri="{FF2B5EF4-FFF2-40B4-BE49-F238E27FC236}">
                  <a16:creationId xmlns:a16="http://schemas.microsoft.com/office/drawing/2014/main" xmlns="" id="{61AA66A9-2F9C-41CA-9900-9A1767E4DA1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46" y="120"/>
              <a:ext cx="1979" cy="3120"/>
              <a:chOff x="1246" y="120"/>
              <a:chExt cx="1979" cy="3120"/>
            </a:xfrm>
          </p:grpSpPr>
          <p:sp>
            <p:nvSpPr>
              <p:cNvPr id="2792" name="Oval 2783">
                <a:extLst>
                  <a:ext uri="{FF2B5EF4-FFF2-40B4-BE49-F238E27FC236}">
                    <a16:creationId xmlns:a16="http://schemas.microsoft.com/office/drawing/2014/main" xmlns="" id="{0D772049-A969-4853-A807-C5221EC6E4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3" name="Oval 2784">
                <a:extLst>
                  <a:ext uri="{FF2B5EF4-FFF2-40B4-BE49-F238E27FC236}">
                    <a16:creationId xmlns:a16="http://schemas.microsoft.com/office/drawing/2014/main" xmlns="" id="{1FE068D8-3803-4AB8-AD39-4A9CE09267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4" name="Oval 2785">
                <a:extLst>
                  <a:ext uri="{FF2B5EF4-FFF2-40B4-BE49-F238E27FC236}">
                    <a16:creationId xmlns:a16="http://schemas.microsoft.com/office/drawing/2014/main" xmlns="" id="{57B0ACF4-FD32-4FDE-8841-09DB22C412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5" name="Oval 2786">
                <a:extLst>
                  <a:ext uri="{FF2B5EF4-FFF2-40B4-BE49-F238E27FC236}">
                    <a16:creationId xmlns:a16="http://schemas.microsoft.com/office/drawing/2014/main" xmlns="" id="{DD132A6D-0D8E-4CFC-AF98-AC4E5C12D0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6" name="Oval 2787">
                <a:extLst>
                  <a:ext uri="{FF2B5EF4-FFF2-40B4-BE49-F238E27FC236}">
                    <a16:creationId xmlns:a16="http://schemas.microsoft.com/office/drawing/2014/main" xmlns="" id="{A2A33441-277D-4349-B43A-ECFF67CB14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7" name="Oval 2788">
                <a:extLst>
                  <a:ext uri="{FF2B5EF4-FFF2-40B4-BE49-F238E27FC236}">
                    <a16:creationId xmlns:a16="http://schemas.microsoft.com/office/drawing/2014/main" xmlns="" id="{5B671F36-904D-40B2-8D86-C45FDCEE24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8" name="Oval 2789">
                <a:extLst>
                  <a:ext uri="{FF2B5EF4-FFF2-40B4-BE49-F238E27FC236}">
                    <a16:creationId xmlns:a16="http://schemas.microsoft.com/office/drawing/2014/main" xmlns="" id="{0A2B99D6-F833-4E06-BB34-D585896EA8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7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9" name="Oval 2790">
                <a:extLst>
                  <a:ext uri="{FF2B5EF4-FFF2-40B4-BE49-F238E27FC236}">
                    <a16:creationId xmlns:a16="http://schemas.microsoft.com/office/drawing/2014/main" xmlns="" id="{85EB187E-E9FF-470D-85B0-870D18B55D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0" name="Oval 2791">
                <a:extLst>
                  <a:ext uri="{FF2B5EF4-FFF2-40B4-BE49-F238E27FC236}">
                    <a16:creationId xmlns:a16="http://schemas.microsoft.com/office/drawing/2014/main" xmlns="" id="{4D9AF970-C3CA-4AFD-AC14-1348D9C6C2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1" name="Oval 2792">
                <a:extLst>
                  <a:ext uri="{FF2B5EF4-FFF2-40B4-BE49-F238E27FC236}">
                    <a16:creationId xmlns:a16="http://schemas.microsoft.com/office/drawing/2014/main" xmlns="" id="{A364CE03-A0E6-4CB1-85D4-7E85F50DF9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13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2" name="Oval 2793">
                <a:extLst>
                  <a:ext uri="{FF2B5EF4-FFF2-40B4-BE49-F238E27FC236}">
                    <a16:creationId xmlns:a16="http://schemas.microsoft.com/office/drawing/2014/main" xmlns="" id="{8F676246-2784-4A65-9966-E756CCF896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3" name="Oval 2794">
                <a:extLst>
                  <a:ext uri="{FF2B5EF4-FFF2-40B4-BE49-F238E27FC236}">
                    <a16:creationId xmlns:a16="http://schemas.microsoft.com/office/drawing/2014/main" xmlns="" id="{1331C03A-277A-445E-BC67-A1BC3E2726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15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4" name="Oval 2795">
                <a:extLst>
                  <a:ext uri="{FF2B5EF4-FFF2-40B4-BE49-F238E27FC236}">
                    <a16:creationId xmlns:a16="http://schemas.microsoft.com/office/drawing/2014/main" xmlns="" id="{76657A6B-3E94-4F03-A696-D12049C026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5" name="Oval 2796">
                <a:extLst>
                  <a:ext uri="{FF2B5EF4-FFF2-40B4-BE49-F238E27FC236}">
                    <a16:creationId xmlns:a16="http://schemas.microsoft.com/office/drawing/2014/main" xmlns="" id="{516E9942-EC58-42C6-AD5A-3F00135498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6" name="Oval 2797">
                <a:extLst>
                  <a:ext uri="{FF2B5EF4-FFF2-40B4-BE49-F238E27FC236}">
                    <a16:creationId xmlns:a16="http://schemas.microsoft.com/office/drawing/2014/main" xmlns="" id="{EC52A1F4-DC9E-4F04-AA05-FFDB7F2FEB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7" name="Oval 2798">
                <a:extLst>
                  <a:ext uri="{FF2B5EF4-FFF2-40B4-BE49-F238E27FC236}">
                    <a16:creationId xmlns:a16="http://schemas.microsoft.com/office/drawing/2014/main" xmlns="" id="{9EC7A489-408D-4A5F-94D5-2A55CEC2B7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8" name="Oval 2799">
                <a:extLst>
                  <a:ext uri="{FF2B5EF4-FFF2-40B4-BE49-F238E27FC236}">
                    <a16:creationId xmlns:a16="http://schemas.microsoft.com/office/drawing/2014/main" xmlns="" id="{95659B63-CB82-426F-9176-16E13149F0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9" name="Oval 2800">
                <a:extLst>
                  <a:ext uri="{FF2B5EF4-FFF2-40B4-BE49-F238E27FC236}">
                    <a16:creationId xmlns:a16="http://schemas.microsoft.com/office/drawing/2014/main" xmlns="" id="{03BB9CC8-D3BB-4F9B-BCB6-DCF93FFF43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0" name="Oval 2801">
                <a:extLst>
                  <a:ext uri="{FF2B5EF4-FFF2-40B4-BE49-F238E27FC236}">
                    <a16:creationId xmlns:a16="http://schemas.microsoft.com/office/drawing/2014/main" xmlns="" id="{9F1EEA1D-01C6-4834-98D7-E70590F34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1" name="Oval 2802">
                <a:extLst>
                  <a:ext uri="{FF2B5EF4-FFF2-40B4-BE49-F238E27FC236}">
                    <a16:creationId xmlns:a16="http://schemas.microsoft.com/office/drawing/2014/main" xmlns="" id="{CDD88DF9-910C-4929-A29A-3D526EF048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2" name="Oval 2803">
                <a:extLst>
                  <a:ext uri="{FF2B5EF4-FFF2-40B4-BE49-F238E27FC236}">
                    <a16:creationId xmlns:a16="http://schemas.microsoft.com/office/drawing/2014/main" xmlns="" id="{0695A538-8399-48BB-BE53-2E68B7F3C0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8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3" name="Oval 2804">
                <a:extLst>
                  <a:ext uri="{FF2B5EF4-FFF2-40B4-BE49-F238E27FC236}">
                    <a16:creationId xmlns:a16="http://schemas.microsoft.com/office/drawing/2014/main" xmlns="" id="{96849FD4-DE1F-4D37-A9F8-5D24B1A266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4" name="Oval 2805">
                <a:extLst>
                  <a:ext uri="{FF2B5EF4-FFF2-40B4-BE49-F238E27FC236}">
                    <a16:creationId xmlns:a16="http://schemas.microsoft.com/office/drawing/2014/main" xmlns="" id="{2061F435-8C91-4936-8470-0949F73622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5" name="Oval 2806">
                <a:extLst>
                  <a:ext uri="{FF2B5EF4-FFF2-40B4-BE49-F238E27FC236}">
                    <a16:creationId xmlns:a16="http://schemas.microsoft.com/office/drawing/2014/main" xmlns="" id="{7067F547-A8DB-46AA-B5C1-9DEAF3F95C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6" name="Oval 2807">
                <a:extLst>
                  <a:ext uri="{FF2B5EF4-FFF2-40B4-BE49-F238E27FC236}">
                    <a16:creationId xmlns:a16="http://schemas.microsoft.com/office/drawing/2014/main" xmlns="" id="{88D60458-D445-4712-9E24-292E8731D6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7" name="Oval 2808">
                <a:extLst>
                  <a:ext uri="{FF2B5EF4-FFF2-40B4-BE49-F238E27FC236}">
                    <a16:creationId xmlns:a16="http://schemas.microsoft.com/office/drawing/2014/main" xmlns="" id="{1310FDAD-2CCA-43B1-BBA3-204CBD8A9C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8" name="Oval 2809">
                <a:extLst>
                  <a:ext uri="{FF2B5EF4-FFF2-40B4-BE49-F238E27FC236}">
                    <a16:creationId xmlns:a16="http://schemas.microsoft.com/office/drawing/2014/main" xmlns="" id="{0E5D87A0-1C1C-4195-839B-CCF1E5B11C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9" name="Oval 2810">
                <a:extLst>
                  <a:ext uri="{FF2B5EF4-FFF2-40B4-BE49-F238E27FC236}">
                    <a16:creationId xmlns:a16="http://schemas.microsoft.com/office/drawing/2014/main" xmlns="" id="{2E066F40-3C7F-42C0-A109-5ABA40E389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0" name="Oval 2811">
                <a:extLst>
                  <a:ext uri="{FF2B5EF4-FFF2-40B4-BE49-F238E27FC236}">
                    <a16:creationId xmlns:a16="http://schemas.microsoft.com/office/drawing/2014/main" xmlns="" id="{478CF495-B5CD-4A0E-B1B1-43BBD7D1FE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1" name="Oval 2812">
                <a:extLst>
                  <a:ext uri="{FF2B5EF4-FFF2-40B4-BE49-F238E27FC236}">
                    <a16:creationId xmlns:a16="http://schemas.microsoft.com/office/drawing/2014/main" xmlns="" id="{BE01D9F8-749F-4BCB-A9A1-2AAD769580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2" name="Oval 2813">
                <a:extLst>
                  <a:ext uri="{FF2B5EF4-FFF2-40B4-BE49-F238E27FC236}">
                    <a16:creationId xmlns:a16="http://schemas.microsoft.com/office/drawing/2014/main" xmlns="" id="{E728FD31-8C2D-4667-82BB-D94B7B41B3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3" name="Oval 2814">
                <a:extLst>
                  <a:ext uri="{FF2B5EF4-FFF2-40B4-BE49-F238E27FC236}">
                    <a16:creationId xmlns:a16="http://schemas.microsoft.com/office/drawing/2014/main" xmlns="" id="{4853CF3C-758C-476F-88E9-1EA572A9FE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4" name="Oval 2815">
                <a:extLst>
                  <a:ext uri="{FF2B5EF4-FFF2-40B4-BE49-F238E27FC236}">
                    <a16:creationId xmlns:a16="http://schemas.microsoft.com/office/drawing/2014/main" xmlns="" id="{51FDDDDB-99AC-4F6C-B15D-388060854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5" name="Oval 2816">
                <a:extLst>
                  <a:ext uri="{FF2B5EF4-FFF2-40B4-BE49-F238E27FC236}">
                    <a16:creationId xmlns:a16="http://schemas.microsoft.com/office/drawing/2014/main" xmlns="" id="{903B6DBA-2BA0-4670-BB0E-44DC95ADFE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6" name="Oval 2817">
                <a:extLst>
                  <a:ext uri="{FF2B5EF4-FFF2-40B4-BE49-F238E27FC236}">
                    <a16:creationId xmlns:a16="http://schemas.microsoft.com/office/drawing/2014/main" xmlns="" id="{D23B8104-9D8A-40AF-806E-6F1B0468E0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7" name="Oval 2818">
                <a:extLst>
                  <a:ext uri="{FF2B5EF4-FFF2-40B4-BE49-F238E27FC236}">
                    <a16:creationId xmlns:a16="http://schemas.microsoft.com/office/drawing/2014/main" xmlns="" id="{9E588A3B-6E2F-4233-B5CC-20E16AFB1F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8" name="Oval 2819">
                <a:extLst>
                  <a:ext uri="{FF2B5EF4-FFF2-40B4-BE49-F238E27FC236}">
                    <a16:creationId xmlns:a16="http://schemas.microsoft.com/office/drawing/2014/main" xmlns="" id="{4F94432C-1D3B-4A36-9753-7446CD37E8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6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9" name="Oval 2820">
                <a:extLst>
                  <a:ext uri="{FF2B5EF4-FFF2-40B4-BE49-F238E27FC236}">
                    <a16:creationId xmlns:a16="http://schemas.microsoft.com/office/drawing/2014/main" xmlns="" id="{26F439E5-D21A-434A-A4EC-C3B499415A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0" name="Oval 2821">
                <a:extLst>
                  <a:ext uri="{FF2B5EF4-FFF2-40B4-BE49-F238E27FC236}">
                    <a16:creationId xmlns:a16="http://schemas.microsoft.com/office/drawing/2014/main" xmlns="" id="{868176EB-7958-4ED6-874C-1771E515E6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1" name="Oval 2822">
                <a:extLst>
                  <a:ext uri="{FF2B5EF4-FFF2-40B4-BE49-F238E27FC236}">
                    <a16:creationId xmlns:a16="http://schemas.microsoft.com/office/drawing/2014/main" xmlns="" id="{0CCEA681-107D-4125-B4C3-9FB74A2C44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2" name="Oval 2823">
                <a:extLst>
                  <a:ext uri="{FF2B5EF4-FFF2-40B4-BE49-F238E27FC236}">
                    <a16:creationId xmlns:a16="http://schemas.microsoft.com/office/drawing/2014/main" xmlns="" id="{32A05AA8-4FF1-4EDC-8D1F-F1359639B8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3" name="Oval 2824">
                <a:extLst>
                  <a:ext uri="{FF2B5EF4-FFF2-40B4-BE49-F238E27FC236}">
                    <a16:creationId xmlns:a16="http://schemas.microsoft.com/office/drawing/2014/main" xmlns="" id="{27433B23-A21E-42B8-9064-1FD9FEAC78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4" name="Oval 2825">
                <a:extLst>
                  <a:ext uri="{FF2B5EF4-FFF2-40B4-BE49-F238E27FC236}">
                    <a16:creationId xmlns:a16="http://schemas.microsoft.com/office/drawing/2014/main" xmlns="" id="{44426377-7A96-4582-9FE1-2B8DFC18E4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5" name="Oval 2826">
                <a:extLst>
                  <a:ext uri="{FF2B5EF4-FFF2-40B4-BE49-F238E27FC236}">
                    <a16:creationId xmlns:a16="http://schemas.microsoft.com/office/drawing/2014/main" xmlns="" id="{00AE6228-EFE2-4F48-9047-DC8FE170CB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6" name="Oval 2827">
                <a:extLst>
                  <a:ext uri="{FF2B5EF4-FFF2-40B4-BE49-F238E27FC236}">
                    <a16:creationId xmlns:a16="http://schemas.microsoft.com/office/drawing/2014/main" xmlns="" id="{3FF9B01F-7EFF-4DE6-B215-353182D599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7" name="Oval 2828">
                <a:extLst>
                  <a:ext uri="{FF2B5EF4-FFF2-40B4-BE49-F238E27FC236}">
                    <a16:creationId xmlns:a16="http://schemas.microsoft.com/office/drawing/2014/main" xmlns="" id="{CFDC902C-7C0E-4B37-9183-816542FD7B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8" name="Oval 2829">
                <a:extLst>
                  <a:ext uri="{FF2B5EF4-FFF2-40B4-BE49-F238E27FC236}">
                    <a16:creationId xmlns:a16="http://schemas.microsoft.com/office/drawing/2014/main" xmlns="" id="{B2A5CCE5-AC50-4AAC-BD6E-214644643C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0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9" name="Oval 2830">
                <a:extLst>
                  <a:ext uri="{FF2B5EF4-FFF2-40B4-BE49-F238E27FC236}">
                    <a16:creationId xmlns:a16="http://schemas.microsoft.com/office/drawing/2014/main" xmlns="" id="{8D2EBB3B-0AC1-48FB-840A-A0E95D1EF6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0" name="Oval 2831">
                <a:extLst>
                  <a:ext uri="{FF2B5EF4-FFF2-40B4-BE49-F238E27FC236}">
                    <a16:creationId xmlns:a16="http://schemas.microsoft.com/office/drawing/2014/main" xmlns="" id="{FCEB5FE0-CB81-4D46-8AF7-1E89D43F31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1" name="Oval 2832">
                <a:extLst>
                  <a:ext uri="{FF2B5EF4-FFF2-40B4-BE49-F238E27FC236}">
                    <a16:creationId xmlns:a16="http://schemas.microsoft.com/office/drawing/2014/main" xmlns="" id="{D8265628-6521-42F6-875E-7ACE23B41A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2" name="Oval 2833">
                <a:extLst>
                  <a:ext uri="{FF2B5EF4-FFF2-40B4-BE49-F238E27FC236}">
                    <a16:creationId xmlns:a16="http://schemas.microsoft.com/office/drawing/2014/main" xmlns="" id="{E23769AB-85BA-4573-8D27-9C9992791E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3" name="Oval 2834">
                <a:extLst>
                  <a:ext uri="{FF2B5EF4-FFF2-40B4-BE49-F238E27FC236}">
                    <a16:creationId xmlns:a16="http://schemas.microsoft.com/office/drawing/2014/main" xmlns="" id="{9827C4B2-38A1-4DFF-93F1-87658EF11F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4" name="Oval 2835">
                <a:extLst>
                  <a:ext uri="{FF2B5EF4-FFF2-40B4-BE49-F238E27FC236}">
                    <a16:creationId xmlns:a16="http://schemas.microsoft.com/office/drawing/2014/main" xmlns="" id="{81B71D78-0F15-406C-BC60-6FDE98E18B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5" name="Oval 2836">
                <a:extLst>
                  <a:ext uri="{FF2B5EF4-FFF2-40B4-BE49-F238E27FC236}">
                    <a16:creationId xmlns:a16="http://schemas.microsoft.com/office/drawing/2014/main" xmlns="" id="{581F50A6-68EA-442B-A814-79BDC1B78D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6" name="Oval 2837">
                <a:extLst>
                  <a:ext uri="{FF2B5EF4-FFF2-40B4-BE49-F238E27FC236}">
                    <a16:creationId xmlns:a16="http://schemas.microsoft.com/office/drawing/2014/main" xmlns="" id="{7D4E501C-D9A9-4909-918F-F098ADFB8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7" name="Oval 2838">
                <a:extLst>
                  <a:ext uri="{FF2B5EF4-FFF2-40B4-BE49-F238E27FC236}">
                    <a16:creationId xmlns:a16="http://schemas.microsoft.com/office/drawing/2014/main" xmlns="" id="{92DE0C6A-5EC2-4E98-A1F2-7995010FFF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8" name="Oval 2839">
                <a:extLst>
                  <a:ext uri="{FF2B5EF4-FFF2-40B4-BE49-F238E27FC236}">
                    <a16:creationId xmlns:a16="http://schemas.microsoft.com/office/drawing/2014/main" xmlns="" id="{0A3AFEFC-1E87-461E-BCBB-6D0BABF56C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9" name="Oval 2840">
                <a:extLst>
                  <a:ext uri="{FF2B5EF4-FFF2-40B4-BE49-F238E27FC236}">
                    <a16:creationId xmlns:a16="http://schemas.microsoft.com/office/drawing/2014/main" xmlns="" id="{F7BB7845-B6C3-495B-84DB-6868353856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0" name="Oval 2841">
                <a:extLst>
                  <a:ext uri="{FF2B5EF4-FFF2-40B4-BE49-F238E27FC236}">
                    <a16:creationId xmlns:a16="http://schemas.microsoft.com/office/drawing/2014/main" xmlns="" id="{F0CCACB5-A3F0-48B4-A2EC-7D715AD496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1" name="Oval 2842">
                <a:extLst>
                  <a:ext uri="{FF2B5EF4-FFF2-40B4-BE49-F238E27FC236}">
                    <a16:creationId xmlns:a16="http://schemas.microsoft.com/office/drawing/2014/main" xmlns="" id="{7C32428E-47B1-4189-A299-75B8DBCD2F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2" name="Oval 2843">
                <a:extLst>
                  <a:ext uri="{FF2B5EF4-FFF2-40B4-BE49-F238E27FC236}">
                    <a16:creationId xmlns:a16="http://schemas.microsoft.com/office/drawing/2014/main" xmlns="" id="{228DAD51-D8FF-4B6F-B61B-21F193F455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3" name="Oval 2844">
                <a:extLst>
                  <a:ext uri="{FF2B5EF4-FFF2-40B4-BE49-F238E27FC236}">
                    <a16:creationId xmlns:a16="http://schemas.microsoft.com/office/drawing/2014/main" xmlns="" id="{D29FE72A-37A4-49D6-B65A-16DA28ADD7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4" name="Oval 2845">
                <a:extLst>
                  <a:ext uri="{FF2B5EF4-FFF2-40B4-BE49-F238E27FC236}">
                    <a16:creationId xmlns:a16="http://schemas.microsoft.com/office/drawing/2014/main" xmlns="" id="{1EB23FB0-45BE-4129-8BAC-898AFF2594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75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5" name="Oval 2846">
                <a:extLst>
                  <a:ext uri="{FF2B5EF4-FFF2-40B4-BE49-F238E27FC236}">
                    <a16:creationId xmlns:a16="http://schemas.microsoft.com/office/drawing/2014/main" xmlns="" id="{2BF66118-7851-4988-BF7C-B33CD5B7DF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6" name="Oval 2847">
                <a:extLst>
                  <a:ext uri="{FF2B5EF4-FFF2-40B4-BE49-F238E27FC236}">
                    <a16:creationId xmlns:a16="http://schemas.microsoft.com/office/drawing/2014/main" xmlns="" id="{64D79C42-65F9-4B26-992D-E179ABDB5F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6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7" name="Oval 2848">
                <a:extLst>
                  <a:ext uri="{FF2B5EF4-FFF2-40B4-BE49-F238E27FC236}">
                    <a16:creationId xmlns:a16="http://schemas.microsoft.com/office/drawing/2014/main" xmlns="" id="{C3517A56-BAF8-40B6-8B3C-28980746EE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8" name="Oval 2849">
                <a:extLst>
                  <a:ext uri="{FF2B5EF4-FFF2-40B4-BE49-F238E27FC236}">
                    <a16:creationId xmlns:a16="http://schemas.microsoft.com/office/drawing/2014/main" xmlns="" id="{F6D235F7-CE4E-4B56-8662-42117E9466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9" name="Oval 2850">
                <a:extLst>
                  <a:ext uri="{FF2B5EF4-FFF2-40B4-BE49-F238E27FC236}">
                    <a16:creationId xmlns:a16="http://schemas.microsoft.com/office/drawing/2014/main" xmlns="" id="{4F21C202-78A8-48EA-8DDB-45CE186FF7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0" name="Oval 2851">
                <a:extLst>
                  <a:ext uri="{FF2B5EF4-FFF2-40B4-BE49-F238E27FC236}">
                    <a16:creationId xmlns:a16="http://schemas.microsoft.com/office/drawing/2014/main" xmlns="" id="{61FDF714-3093-4CF8-8976-5CA615EFEE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10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1" name="Oval 2852">
                <a:extLst>
                  <a:ext uri="{FF2B5EF4-FFF2-40B4-BE49-F238E27FC236}">
                    <a16:creationId xmlns:a16="http://schemas.microsoft.com/office/drawing/2014/main" xmlns="" id="{BC0E7A67-7122-44E0-BA9A-85C3A5CD5E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2" name="Oval 2853">
                <a:extLst>
                  <a:ext uri="{FF2B5EF4-FFF2-40B4-BE49-F238E27FC236}">
                    <a16:creationId xmlns:a16="http://schemas.microsoft.com/office/drawing/2014/main" xmlns="" id="{59199D29-4D75-4A8A-A983-22C1EBC217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3" name="Oval 2854">
                <a:extLst>
                  <a:ext uri="{FF2B5EF4-FFF2-40B4-BE49-F238E27FC236}">
                    <a16:creationId xmlns:a16="http://schemas.microsoft.com/office/drawing/2014/main" xmlns="" id="{C8A70D15-F98C-4B57-AE92-4B06D1E347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5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4" name="Oval 2855">
                <a:extLst>
                  <a:ext uri="{FF2B5EF4-FFF2-40B4-BE49-F238E27FC236}">
                    <a16:creationId xmlns:a16="http://schemas.microsoft.com/office/drawing/2014/main" xmlns="" id="{AC013C42-2619-4E47-BAF8-DE17C5AE8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5" name="Oval 2856">
                <a:extLst>
                  <a:ext uri="{FF2B5EF4-FFF2-40B4-BE49-F238E27FC236}">
                    <a16:creationId xmlns:a16="http://schemas.microsoft.com/office/drawing/2014/main" xmlns="" id="{9A174792-39AA-47BA-9E53-96A4E7D93D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6" name="Oval 2857">
                <a:extLst>
                  <a:ext uri="{FF2B5EF4-FFF2-40B4-BE49-F238E27FC236}">
                    <a16:creationId xmlns:a16="http://schemas.microsoft.com/office/drawing/2014/main" xmlns="" id="{21C0AAC1-1F6F-4017-90C9-8C050E0FC7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3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7" name="Oval 2858">
                <a:extLst>
                  <a:ext uri="{FF2B5EF4-FFF2-40B4-BE49-F238E27FC236}">
                    <a16:creationId xmlns:a16="http://schemas.microsoft.com/office/drawing/2014/main" xmlns="" id="{04E22DEC-658D-4261-B376-9E0C071E10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8" name="Oval 2859">
                <a:extLst>
                  <a:ext uri="{FF2B5EF4-FFF2-40B4-BE49-F238E27FC236}">
                    <a16:creationId xmlns:a16="http://schemas.microsoft.com/office/drawing/2014/main" xmlns="" id="{383CB2AB-1EAF-434C-B475-E65F999380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9" name="Oval 2860">
                <a:extLst>
                  <a:ext uri="{FF2B5EF4-FFF2-40B4-BE49-F238E27FC236}">
                    <a16:creationId xmlns:a16="http://schemas.microsoft.com/office/drawing/2014/main" xmlns="" id="{D0FF22DC-471D-41F8-AAF7-544F875203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0" name="Oval 2861">
                <a:extLst>
                  <a:ext uri="{FF2B5EF4-FFF2-40B4-BE49-F238E27FC236}">
                    <a16:creationId xmlns:a16="http://schemas.microsoft.com/office/drawing/2014/main" xmlns="" id="{7B2A3491-1A5D-4926-9F98-85BADFEFCF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1" name="Oval 2862">
                <a:extLst>
                  <a:ext uri="{FF2B5EF4-FFF2-40B4-BE49-F238E27FC236}">
                    <a16:creationId xmlns:a16="http://schemas.microsoft.com/office/drawing/2014/main" xmlns="" id="{9D23DCA7-F34F-4BA5-9BDE-DDA13547A4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2" name="Oval 2863">
                <a:extLst>
                  <a:ext uri="{FF2B5EF4-FFF2-40B4-BE49-F238E27FC236}">
                    <a16:creationId xmlns:a16="http://schemas.microsoft.com/office/drawing/2014/main" xmlns="" id="{D1E3DD51-76B1-4264-8DA4-0606F8AE58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3" name="Oval 2864">
                <a:extLst>
                  <a:ext uri="{FF2B5EF4-FFF2-40B4-BE49-F238E27FC236}">
                    <a16:creationId xmlns:a16="http://schemas.microsoft.com/office/drawing/2014/main" xmlns="" id="{226A55B7-1547-4A7B-8BF4-F95C2B4592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4" name="Oval 2865">
                <a:extLst>
                  <a:ext uri="{FF2B5EF4-FFF2-40B4-BE49-F238E27FC236}">
                    <a16:creationId xmlns:a16="http://schemas.microsoft.com/office/drawing/2014/main" xmlns="" id="{E5E59396-68BB-46FA-AEAB-31259CCAC7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5" name="Oval 2866">
                <a:extLst>
                  <a:ext uri="{FF2B5EF4-FFF2-40B4-BE49-F238E27FC236}">
                    <a16:creationId xmlns:a16="http://schemas.microsoft.com/office/drawing/2014/main" xmlns="" id="{F73EFD56-980F-46DE-A442-29174D22C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6" name="Oval 2867">
                <a:extLst>
                  <a:ext uri="{FF2B5EF4-FFF2-40B4-BE49-F238E27FC236}">
                    <a16:creationId xmlns:a16="http://schemas.microsoft.com/office/drawing/2014/main" xmlns="" id="{A7857A68-E134-497C-8B11-BC88DD293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7" name="Oval 2868">
                <a:extLst>
                  <a:ext uri="{FF2B5EF4-FFF2-40B4-BE49-F238E27FC236}">
                    <a16:creationId xmlns:a16="http://schemas.microsoft.com/office/drawing/2014/main" xmlns="" id="{680771A5-FA66-4D93-AD62-CD47FE3BEF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8" name="Oval 2869">
                <a:extLst>
                  <a:ext uri="{FF2B5EF4-FFF2-40B4-BE49-F238E27FC236}">
                    <a16:creationId xmlns:a16="http://schemas.microsoft.com/office/drawing/2014/main" xmlns="" id="{3ABE1EEA-EF8F-44A2-A119-AF7B87897D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9" name="Oval 2870">
                <a:extLst>
                  <a:ext uri="{FF2B5EF4-FFF2-40B4-BE49-F238E27FC236}">
                    <a16:creationId xmlns:a16="http://schemas.microsoft.com/office/drawing/2014/main" xmlns="" id="{BCD03EC3-CB26-4235-91EF-71AE86D2DA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0" name="Oval 2871">
                <a:extLst>
                  <a:ext uri="{FF2B5EF4-FFF2-40B4-BE49-F238E27FC236}">
                    <a16:creationId xmlns:a16="http://schemas.microsoft.com/office/drawing/2014/main" xmlns="" id="{AFEC504F-09CD-4DFD-A286-88E385037D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1" name="Oval 2872">
                <a:extLst>
                  <a:ext uri="{FF2B5EF4-FFF2-40B4-BE49-F238E27FC236}">
                    <a16:creationId xmlns:a16="http://schemas.microsoft.com/office/drawing/2014/main" xmlns="" id="{E843F484-CEFF-423A-A045-2E6A6930B4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2" name="Oval 2873">
                <a:extLst>
                  <a:ext uri="{FF2B5EF4-FFF2-40B4-BE49-F238E27FC236}">
                    <a16:creationId xmlns:a16="http://schemas.microsoft.com/office/drawing/2014/main" xmlns="" id="{8404F9E6-BF00-491D-BBDC-AB1ABD8FD2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4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3" name="Oval 2874">
                <a:extLst>
                  <a:ext uri="{FF2B5EF4-FFF2-40B4-BE49-F238E27FC236}">
                    <a16:creationId xmlns:a16="http://schemas.microsoft.com/office/drawing/2014/main" xmlns="" id="{270D8579-5715-4ABA-A31E-5AD480584F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4" name="Oval 2875">
                <a:extLst>
                  <a:ext uri="{FF2B5EF4-FFF2-40B4-BE49-F238E27FC236}">
                    <a16:creationId xmlns:a16="http://schemas.microsoft.com/office/drawing/2014/main" xmlns="" id="{15E423C9-B041-4FAA-8CC5-E1A4D16A14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5" name="Oval 2876">
                <a:extLst>
                  <a:ext uri="{FF2B5EF4-FFF2-40B4-BE49-F238E27FC236}">
                    <a16:creationId xmlns:a16="http://schemas.microsoft.com/office/drawing/2014/main" xmlns="" id="{81C7870D-2DAB-4006-BAB7-A8C820EDD8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6" name="Oval 2877">
                <a:extLst>
                  <a:ext uri="{FF2B5EF4-FFF2-40B4-BE49-F238E27FC236}">
                    <a16:creationId xmlns:a16="http://schemas.microsoft.com/office/drawing/2014/main" xmlns="" id="{38AEB002-0EDD-4FB8-A42A-9B4142578E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7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7" name="Oval 2878">
                <a:extLst>
                  <a:ext uri="{FF2B5EF4-FFF2-40B4-BE49-F238E27FC236}">
                    <a16:creationId xmlns:a16="http://schemas.microsoft.com/office/drawing/2014/main" xmlns="" id="{881DA672-3D14-41E2-B489-B18C4CF6A8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8" name="Oval 2879">
                <a:extLst>
                  <a:ext uri="{FF2B5EF4-FFF2-40B4-BE49-F238E27FC236}">
                    <a16:creationId xmlns:a16="http://schemas.microsoft.com/office/drawing/2014/main" xmlns="" id="{40DBC6A2-7C9E-444F-A020-185BBC115C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9" name="Oval 2880">
                <a:extLst>
                  <a:ext uri="{FF2B5EF4-FFF2-40B4-BE49-F238E27FC236}">
                    <a16:creationId xmlns:a16="http://schemas.microsoft.com/office/drawing/2014/main" xmlns="" id="{BC049EA0-AF2D-4044-96BB-F731C3A87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0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0" name="Oval 2881">
                <a:extLst>
                  <a:ext uri="{FF2B5EF4-FFF2-40B4-BE49-F238E27FC236}">
                    <a16:creationId xmlns:a16="http://schemas.microsoft.com/office/drawing/2014/main" xmlns="" id="{58CBE8B0-4BB5-4B81-91A6-987A2AB5B9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1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1" name="Oval 2882">
                <a:extLst>
                  <a:ext uri="{FF2B5EF4-FFF2-40B4-BE49-F238E27FC236}">
                    <a16:creationId xmlns:a16="http://schemas.microsoft.com/office/drawing/2014/main" xmlns="" id="{08F51A0B-4274-492C-BF5E-3D77E021D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2" name="Oval 2883">
                <a:extLst>
                  <a:ext uri="{FF2B5EF4-FFF2-40B4-BE49-F238E27FC236}">
                    <a16:creationId xmlns:a16="http://schemas.microsoft.com/office/drawing/2014/main" xmlns="" id="{723EAAB5-7D55-4C34-8DD1-545F93C33B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3" name="Oval 2884">
                <a:extLst>
                  <a:ext uri="{FF2B5EF4-FFF2-40B4-BE49-F238E27FC236}">
                    <a16:creationId xmlns:a16="http://schemas.microsoft.com/office/drawing/2014/main" xmlns="" id="{45DA67B8-9F7E-4022-AB7B-F6A63CD9F9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4" name="Oval 2885">
                <a:extLst>
                  <a:ext uri="{FF2B5EF4-FFF2-40B4-BE49-F238E27FC236}">
                    <a16:creationId xmlns:a16="http://schemas.microsoft.com/office/drawing/2014/main" xmlns="" id="{636C8AF7-1177-4A5C-8758-09B571BD0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5" name="Oval 2886">
                <a:extLst>
                  <a:ext uri="{FF2B5EF4-FFF2-40B4-BE49-F238E27FC236}">
                    <a16:creationId xmlns:a16="http://schemas.microsoft.com/office/drawing/2014/main" xmlns="" id="{5AC4A67F-7B55-437F-BC57-FF785E9707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6" name="Oval 2887">
                <a:extLst>
                  <a:ext uri="{FF2B5EF4-FFF2-40B4-BE49-F238E27FC236}">
                    <a16:creationId xmlns:a16="http://schemas.microsoft.com/office/drawing/2014/main" xmlns="" id="{7BCB48F4-5A1D-4263-A0A1-60F4A68688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7" name="Oval 2888">
                <a:extLst>
                  <a:ext uri="{FF2B5EF4-FFF2-40B4-BE49-F238E27FC236}">
                    <a16:creationId xmlns:a16="http://schemas.microsoft.com/office/drawing/2014/main" xmlns="" id="{88F4D7CB-A70E-4036-9358-8BF55F4D23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8" name="Oval 2889">
                <a:extLst>
                  <a:ext uri="{FF2B5EF4-FFF2-40B4-BE49-F238E27FC236}">
                    <a16:creationId xmlns:a16="http://schemas.microsoft.com/office/drawing/2014/main" xmlns="" id="{411FF6B9-008B-41AF-88B2-AB19178505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9" name="Oval 2890">
                <a:extLst>
                  <a:ext uri="{FF2B5EF4-FFF2-40B4-BE49-F238E27FC236}">
                    <a16:creationId xmlns:a16="http://schemas.microsoft.com/office/drawing/2014/main" xmlns="" id="{F731392F-6559-4288-B4EB-F5869C3179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0" name="Oval 2891">
                <a:extLst>
                  <a:ext uri="{FF2B5EF4-FFF2-40B4-BE49-F238E27FC236}">
                    <a16:creationId xmlns:a16="http://schemas.microsoft.com/office/drawing/2014/main" xmlns="" id="{45003271-6ADB-46CE-8D43-BD3532519B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24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1" name="Oval 2892">
                <a:extLst>
                  <a:ext uri="{FF2B5EF4-FFF2-40B4-BE49-F238E27FC236}">
                    <a16:creationId xmlns:a16="http://schemas.microsoft.com/office/drawing/2014/main" xmlns="" id="{F3CDD557-6677-4BE0-BE45-D17B0B7373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2" name="Oval 2893">
                <a:extLst>
                  <a:ext uri="{FF2B5EF4-FFF2-40B4-BE49-F238E27FC236}">
                    <a16:creationId xmlns:a16="http://schemas.microsoft.com/office/drawing/2014/main" xmlns="" id="{D322BF32-0FEE-411F-A9F6-E36C7A89E0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3" name="Oval 2894">
                <a:extLst>
                  <a:ext uri="{FF2B5EF4-FFF2-40B4-BE49-F238E27FC236}">
                    <a16:creationId xmlns:a16="http://schemas.microsoft.com/office/drawing/2014/main" xmlns="" id="{B95E5DC4-5246-4D8A-B364-EC50865F08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4" name="Oval 2895">
                <a:extLst>
                  <a:ext uri="{FF2B5EF4-FFF2-40B4-BE49-F238E27FC236}">
                    <a16:creationId xmlns:a16="http://schemas.microsoft.com/office/drawing/2014/main" xmlns="" id="{E1F12BC7-0953-43F7-A49C-43C956C7F7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5" name="Oval 2896">
                <a:extLst>
                  <a:ext uri="{FF2B5EF4-FFF2-40B4-BE49-F238E27FC236}">
                    <a16:creationId xmlns:a16="http://schemas.microsoft.com/office/drawing/2014/main" xmlns="" id="{E48B5825-A428-4528-8CCA-DED2D471BB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6" name="Oval 2897">
                <a:extLst>
                  <a:ext uri="{FF2B5EF4-FFF2-40B4-BE49-F238E27FC236}">
                    <a16:creationId xmlns:a16="http://schemas.microsoft.com/office/drawing/2014/main" xmlns="" id="{36C588A5-375A-4BD9-B273-011DBA7AC8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7" name="Oval 2898">
                <a:extLst>
                  <a:ext uri="{FF2B5EF4-FFF2-40B4-BE49-F238E27FC236}">
                    <a16:creationId xmlns:a16="http://schemas.microsoft.com/office/drawing/2014/main" xmlns="" id="{BBE64F6D-54AA-4AFB-B7DE-8BA153CCC9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8" name="Oval 2899">
                <a:extLst>
                  <a:ext uri="{FF2B5EF4-FFF2-40B4-BE49-F238E27FC236}">
                    <a16:creationId xmlns:a16="http://schemas.microsoft.com/office/drawing/2014/main" xmlns="" id="{D504BCAD-831B-479A-80F1-7ADBE056C1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9" name="Oval 2900">
                <a:extLst>
                  <a:ext uri="{FF2B5EF4-FFF2-40B4-BE49-F238E27FC236}">
                    <a16:creationId xmlns:a16="http://schemas.microsoft.com/office/drawing/2014/main" xmlns="" id="{2421940F-5B94-49C4-91ED-48F21D10BF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0" name="Oval 2901">
                <a:extLst>
                  <a:ext uri="{FF2B5EF4-FFF2-40B4-BE49-F238E27FC236}">
                    <a16:creationId xmlns:a16="http://schemas.microsoft.com/office/drawing/2014/main" xmlns="" id="{C8EDA3E6-0112-4EB9-88D1-A10BA6F142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24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1" name="Oval 2902">
                <a:extLst>
                  <a:ext uri="{FF2B5EF4-FFF2-40B4-BE49-F238E27FC236}">
                    <a16:creationId xmlns:a16="http://schemas.microsoft.com/office/drawing/2014/main" xmlns="" id="{86D33BFE-B9CB-4E1A-ADB0-D13B7D8A51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2" name="Oval 2903">
                <a:extLst>
                  <a:ext uri="{FF2B5EF4-FFF2-40B4-BE49-F238E27FC236}">
                    <a16:creationId xmlns:a16="http://schemas.microsoft.com/office/drawing/2014/main" xmlns="" id="{ED9FC8E5-D626-4802-971F-EDD24E6661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3" name="Oval 2904">
                <a:extLst>
                  <a:ext uri="{FF2B5EF4-FFF2-40B4-BE49-F238E27FC236}">
                    <a16:creationId xmlns:a16="http://schemas.microsoft.com/office/drawing/2014/main" xmlns="" id="{F359FB28-3542-4CB2-A167-57FF1B4586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4" name="Oval 2905">
                <a:extLst>
                  <a:ext uri="{FF2B5EF4-FFF2-40B4-BE49-F238E27FC236}">
                    <a16:creationId xmlns:a16="http://schemas.microsoft.com/office/drawing/2014/main" xmlns="" id="{908A61E3-3F4D-4A92-9966-85BB24342E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2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5" name="Oval 2906">
                <a:extLst>
                  <a:ext uri="{FF2B5EF4-FFF2-40B4-BE49-F238E27FC236}">
                    <a16:creationId xmlns:a16="http://schemas.microsoft.com/office/drawing/2014/main" xmlns="" id="{FB69BFB2-F81E-4A46-BC06-E8D832B4C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6" name="Oval 2907">
                <a:extLst>
                  <a:ext uri="{FF2B5EF4-FFF2-40B4-BE49-F238E27FC236}">
                    <a16:creationId xmlns:a16="http://schemas.microsoft.com/office/drawing/2014/main" xmlns="" id="{E10DCC3B-FA60-4916-9780-EA59DCA3E7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7" name="Oval 2908">
                <a:extLst>
                  <a:ext uri="{FF2B5EF4-FFF2-40B4-BE49-F238E27FC236}">
                    <a16:creationId xmlns:a16="http://schemas.microsoft.com/office/drawing/2014/main" xmlns="" id="{FD9AC08C-D289-45AD-BD2F-46962A0C36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5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8" name="Oval 2909">
                <a:extLst>
                  <a:ext uri="{FF2B5EF4-FFF2-40B4-BE49-F238E27FC236}">
                    <a16:creationId xmlns:a16="http://schemas.microsoft.com/office/drawing/2014/main" xmlns="" id="{C78302BA-115A-4ECE-975F-6B1049C69C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9" name="Oval 2910">
                <a:extLst>
                  <a:ext uri="{FF2B5EF4-FFF2-40B4-BE49-F238E27FC236}">
                    <a16:creationId xmlns:a16="http://schemas.microsoft.com/office/drawing/2014/main" xmlns="" id="{93EADD7A-E1AE-41CB-A954-8076593254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0" name="Oval 2911">
                <a:extLst>
                  <a:ext uri="{FF2B5EF4-FFF2-40B4-BE49-F238E27FC236}">
                    <a16:creationId xmlns:a16="http://schemas.microsoft.com/office/drawing/2014/main" xmlns="" id="{C631353E-68CD-4924-93FF-30CCC30EF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1" name="Oval 2912">
                <a:extLst>
                  <a:ext uri="{FF2B5EF4-FFF2-40B4-BE49-F238E27FC236}">
                    <a16:creationId xmlns:a16="http://schemas.microsoft.com/office/drawing/2014/main" xmlns="" id="{7BE88486-A027-4C1A-ADC2-18B0640B15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2" name="Oval 2913">
                <a:extLst>
                  <a:ext uri="{FF2B5EF4-FFF2-40B4-BE49-F238E27FC236}">
                    <a16:creationId xmlns:a16="http://schemas.microsoft.com/office/drawing/2014/main" xmlns="" id="{E87554F1-66E3-4332-A97E-076FE957A3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3" name="Oval 2914">
                <a:extLst>
                  <a:ext uri="{FF2B5EF4-FFF2-40B4-BE49-F238E27FC236}">
                    <a16:creationId xmlns:a16="http://schemas.microsoft.com/office/drawing/2014/main" xmlns="" id="{10818E67-D711-4C6C-8AEF-099DC7C4CA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8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4" name="Oval 2915">
                <a:extLst>
                  <a:ext uri="{FF2B5EF4-FFF2-40B4-BE49-F238E27FC236}">
                    <a16:creationId xmlns:a16="http://schemas.microsoft.com/office/drawing/2014/main" xmlns="" id="{AF4522B3-9628-4091-B2F8-70C96087FB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9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5" name="Oval 2916">
                <a:extLst>
                  <a:ext uri="{FF2B5EF4-FFF2-40B4-BE49-F238E27FC236}">
                    <a16:creationId xmlns:a16="http://schemas.microsoft.com/office/drawing/2014/main" xmlns="" id="{0D7519BC-0E92-4520-8241-D8F8DCE653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6" name="Oval 2917">
                <a:extLst>
                  <a:ext uri="{FF2B5EF4-FFF2-40B4-BE49-F238E27FC236}">
                    <a16:creationId xmlns:a16="http://schemas.microsoft.com/office/drawing/2014/main" xmlns="" id="{3490953F-E176-404B-B0BB-A199FB53B2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30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7" name="Oval 2918">
                <a:extLst>
                  <a:ext uri="{FF2B5EF4-FFF2-40B4-BE49-F238E27FC236}">
                    <a16:creationId xmlns:a16="http://schemas.microsoft.com/office/drawing/2014/main" xmlns="" id="{F0FB05B2-2EE8-46F4-A528-38BF6EB50B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30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8" name="Oval 2919">
                <a:extLst>
                  <a:ext uri="{FF2B5EF4-FFF2-40B4-BE49-F238E27FC236}">
                    <a16:creationId xmlns:a16="http://schemas.microsoft.com/office/drawing/2014/main" xmlns="" id="{EA2D072E-D6C6-45F3-AEEB-8406A38637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9" name="Oval 2920">
                <a:extLst>
                  <a:ext uri="{FF2B5EF4-FFF2-40B4-BE49-F238E27FC236}">
                    <a16:creationId xmlns:a16="http://schemas.microsoft.com/office/drawing/2014/main" xmlns="" id="{AA18448D-5795-4562-B98B-E5F51927A2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0" name="Oval 2921">
                <a:extLst>
                  <a:ext uri="{FF2B5EF4-FFF2-40B4-BE49-F238E27FC236}">
                    <a16:creationId xmlns:a16="http://schemas.microsoft.com/office/drawing/2014/main" xmlns="" id="{23C259ED-3D44-4063-8810-316E13C2A5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1" name="Oval 2922">
                <a:extLst>
                  <a:ext uri="{FF2B5EF4-FFF2-40B4-BE49-F238E27FC236}">
                    <a16:creationId xmlns:a16="http://schemas.microsoft.com/office/drawing/2014/main" xmlns="" id="{139CDA34-664B-44A2-A4DB-06FB08E08C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31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2" name="Oval 2923">
                <a:extLst>
                  <a:ext uri="{FF2B5EF4-FFF2-40B4-BE49-F238E27FC236}">
                    <a16:creationId xmlns:a16="http://schemas.microsoft.com/office/drawing/2014/main" xmlns="" id="{DD27D70B-7C4F-45C7-B245-C398F413D4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3" name="Oval 2924">
                <a:extLst>
                  <a:ext uri="{FF2B5EF4-FFF2-40B4-BE49-F238E27FC236}">
                    <a16:creationId xmlns:a16="http://schemas.microsoft.com/office/drawing/2014/main" xmlns="" id="{45626ADB-1F1F-40B1-B4F6-79EEEAC663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4" name="Oval 2925">
                <a:extLst>
                  <a:ext uri="{FF2B5EF4-FFF2-40B4-BE49-F238E27FC236}">
                    <a16:creationId xmlns:a16="http://schemas.microsoft.com/office/drawing/2014/main" xmlns="" id="{298B77E5-9331-4F91-9A01-95DA4D59D4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5" name="Oval 2926">
                <a:extLst>
                  <a:ext uri="{FF2B5EF4-FFF2-40B4-BE49-F238E27FC236}">
                    <a16:creationId xmlns:a16="http://schemas.microsoft.com/office/drawing/2014/main" xmlns="" id="{6F591789-3901-482E-A2B1-EC84F1477A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6" name="Oval 2927">
                <a:extLst>
                  <a:ext uri="{FF2B5EF4-FFF2-40B4-BE49-F238E27FC236}">
                    <a16:creationId xmlns:a16="http://schemas.microsoft.com/office/drawing/2014/main" xmlns="" id="{92783266-F533-43A5-8C3C-4190F0EED9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7" name="Oval 2928">
                <a:extLst>
                  <a:ext uri="{FF2B5EF4-FFF2-40B4-BE49-F238E27FC236}">
                    <a16:creationId xmlns:a16="http://schemas.microsoft.com/office/drawing/2014/main" xmlns="" id="{4DBD4FAD-4274-4084-BF1B-ACE320F8CE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8" name="Oval 2929">
                <a:extLst>
                  <a:ext uri="{FF2B5EF4-FFF2-40B4-BE49-F238E27FC236}">
                    <a16:creationId xmlns:a16="http://schemas.microsoft.com/office/drawing/2014/main" xmlns="" id="{C0A9DE48-427F-41AB-8962-EF0866E14C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3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9" name="Oval 2930">
                <a:extLst>
                  <a:ext uri="{FF2B5EF4-FFF2-40B4-BE49-F238E27FC236}">
                    <a16:creationId xmlns:a16="http://schemas.microsoft.com/office/drawing/2014/main" xmlns="" id="{F5FBC60B-B5A6-4A63-B235-C32469EB55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2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0" name="Oval 2931">
                <a:extLst>
                  <a:ext uri="{FF2B5EF4-FFF2-40B4-BE49-F238E27FC236}">
                    <a16:creationId xmlns:a16="http://schemas.microsoft.com/office/drawing/2014/main" xmlns="" id="{8580DABD-3E38-4F35-9FF5-DDB4400D48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1" name="Oval 2932">
                <a:extLst>
                  <a:ext uri="{FF2B5EF4-FFF2-40B4-BE49-F238E27FC236}">
                    <a16:creationId xmlns:a16="http://schemas.microsoft.com/office/drawing/2014/main" xmlns="" id="{3AD543BF-F288-4D35-B46A-12E60477D0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2" name="Oval 2933">
                <a:extLst>
                  <a:ext uri="{FF2B5EF4-FFF2-40B4-BE49-F238E27FC236}">
                    <a16:creationId xmlns:a16="http://schemas.microsoft.com/office/drawing/2014/main" xmlns="" id="{02A676AE-377F-42EE-BAED-23F39393CB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3" name="Oval 2934">
                <a:extLst>
                  <a:ext uri="{FF2B5EF4-FFF2-40B4-BE49-F238E27FC236}">
                    <a16:creationId xmlns:a16="http://schemas.microsoft.com/office/drawing/2014/main" xmlns="" id="{D1F1B4EE-C4C5-4A5B-86E7-BEC1CC6D51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4" name="Oval 2935">
                <a:extLst>
                  <a:ext uri="{FF2B5EF4-FFF2-40B4-BE49-F238E27FC236}">
                    <a16:creationId xmlns:a16="http://schemas.microsoft.com/office/drawing/2014/main" xmlns="" id="{6F87A672-022D-4F4F-A75A-D60F2E4895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15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5" name="Oval 2936">
                <a:extLst>
                  <a:ext uri="{FF2B5EF4-FFF2-40B4-BE49-F238E27FC236}">
                    <a16:creationId xmlns:a16="http://schemas.microsoft.com/office/drawing/2014/main" xmlns="" id="{D8984A34-68F0-41A5-B46C-D1F41D2503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6" name="Oval 2937">
                <a:extLst>
                  <a:ext uri="{FF2B5EF4-FFF2-40B4-BE49-F238E27FC236}">
                    <a16:creationId xmlns:a16="http://schemas.microsoft.com/office/drawing/2014/main" xmlns="" id="{BB40DEC9-0B76-4183-A606-711EDDEF9F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7" name="Oval 2938">
                <a:extLst>
                  <a:ext uri="{FF2B5EF4-FFF2-40B4-BE49-F238E27FC236}">
                    <a16:creationId xmlns:a16="http://schemas.microsoft.com/office/drawing/2014/main" xmlns="" id="{AC589DD6-2B2B-4565-B342-49EC62FED8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17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8" name="Oval 2939">
                <a:extLst>
                  <a:ext uri="{FF2B5EF4-FFF2-40B4-BE49-F238E27FC236}">
                    <a16:creationId xmlns:a16="http://schemas.microsoft.com/office/drawing/2014/main" xmlns="" id="{F829549F-F2BE-4BB9-8B0C-828C49D31A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18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9" name="Oval 2940">
                <a:extLst>
                  <a:ext uri="{FF2B5EF4-FFF2-40B4-BE49-F238E27FC236}">
                    <a16:creationId xmlns:a16="http://schemas.microsoft.com/office/drawing/2014/main" xmlns="" id="{4B3B6947-F4AB-4D53-BC65-92DCA034AC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9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0" name="Oval 2941">
                <a:extLst>
                  <a:ext uri="{FF2B5EF4-FFF2-40B4-BE49-F238E27FC236}">
                    <a16:creationId xmlns:a16="http://schemas.microsoft.com/office/drawing/2014/main" xmlns="" id="{75AE08F0-B66F-4659-8E4B-33663CF7ED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21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1" name="Oval 2942">
                <a:extLst>
                  <a:ext uri="{FF2B5EF4-FFF2-40B4-BE49-F238E27FC236}">
                    <a16:creationId xmlns:a16="http://schemas.microsoft.com/office/drawing/2014/main" xmlns="" id="{9BBEFD94-C246-4E4B-AFF0-CD04FB9FB7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2" name="Oval 2943">
                <a:extLst>
                  <a:ext uri="{FF2B5EF4-FFF2-40B4-BE49-F238E27FC236}">
                    <a16:creationId xmlns:a16="http://schemas.microsoft.com/office/drawing/2014/main" xmlns="" id="{5BF4AB5A-EEAD-4A78-8914-423590E777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3" name="Oval 2944">
                <a:extLst>
                  <a:ext uri="{FF2B5EF4-FFF2-40B4-BE49-F238E27FC236}">
                    <a16:creationId xmlns:a16="http://schemas.microsoft.com/office/drawing/2014/main" xmlns="" id="{E7B7B262-3A8C-43E4-BBD8-E84D7CABE4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4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4" name="Oval 2945">
                <a:extLst>
                  <a:ext uri="{FF2B5EF4-FFF2-40B4-BE49-F238E27FC236}">
                    <a16:creationId xmlns:a16="http://schemas.microsoft.com/office/drawing/2014/main" xmlns="" id="{EDB5F04B-AFDC-4419-A65D-1B5554F5E6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5" name="Oval 2946">
                <a:extLst>
                  <a:ext uri="{FF2B5EF4-FFF2-40B4-BE49-F238E27FC236}">
                    <a16:creationId xmlns:a16="http://schemas.microsoft.com/office/drawing/2014/main" xmlns="" id="{4248DD78-B065-44F8-A74C-CAB50F4124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6" name="Oval 2947">
                <a:extLst>
                  <a:ext uri="{FF2B5EF4-FFF2-40B4-BE49-F238E27FC236}">
                    <a16:creationId xmlns:a16="http://schemas.microsoft.com/office/drawing/2014/main" xmlns="" id="{2EEF27A6-421F-4D2A-A086-3CD0618C34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7" name="Oval 2948">
                <a:extLst>
                  <a:ext uri="{FF2B5EF4-FFF2-40B4-BE49-F238E27FC236}">
                    <a16:creationId xmlns:a16="http://schemas.microsoft.com/office/drawing/2014/main" xmlns="" id="{96194F9C-591C-4A2A-B9D8-3F9F61EB36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5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8" name="Oval 2949">
                <a:extLst>
                  <a:ext uri="{FF2B5EF4-FFF2-40B4-BE49-F238E27FC236}">
                    <a16:creationId xmlns:a16="http://schemas.microsoft.com/office/drawing/2014/main" xmlns="" id="{5023FF7E-BE81-4DCD-8A38-2B056F65B2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24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9" name="Oval 2950">
                <a:extLst>
                  <a:ext uri="{FF2B5EF4-FFF2-40B4-BE49-F238E27FC236}">
                    <a16:creationId xmlns:a16="http://schemas.microsoft.com/office/drawing/2014/main" xmlns="" id="{4B1E874A-AB47-48E2-B979-8133E40C1F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0" name="Oval 2951">
                <a:extLst>
                  <a:ext uri="{FF2B5EF4-FFF2-40B4-BE49-F238E27FC236}">
                    <a16:creationId xmlns:a16="http://schemas.microsoft.com/office/drawing/2014/main" xmlns="" id="{B0D0BBD4-18B2-4378-8041-C40D75EC37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1" name="Oval 2952">
                <a:extLst>
                  <a:ext uri="{FF2B5EF4-FFF2-40B4-BE49-F238E27FC236}">
                    <a16:creationId xmlns:a16="http://schemas.microsoft.com/office/drawing/2014/main" xmlns="" id="{AFAE9ABC-0507-406C-9330-B9EB354A44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2" name="Oval 2953">
                <a:extLst>
                  <a:ext uri="{FF2B5EF4-FFF2-40B4-BE49-F238E27FC236}">
                    <a16:creationId xmlns:a16="http://schemas.microsoft.com/office/drawing/2014/main" xmlns="" id="{560FDE4A-E135-4306-BAF1-278B18B6C0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3" name="Oval 2954">
                <a:extLst>
                  <a:ext uri="{FF2B5EF4-FFF2-40B4-BE49-F238E27FC236}">
                    <a16:creationId xmlns:a16="http://schemas.microsoft.com/office/drawing/2014/main" xmlns="" id="{9291E4A4-ABBC-4346-8083-E51324B02E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30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4" name="Oval 2955">
                <a:extLst>
                  <a:ext uri="{FF2B5EF4-FFF2-40B4-BE49-F238E27FC236}">
                    <a16:creationId xmlns:a16="http://schemas.microsoft.com/office/drawing/2014/main" xmlns="" id="{8C3D7A7F-921A-4743-91B6-84A97359C3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5" name="Oval 2956">
                <a:extLst>
                  <a:ext uri="{FF2B5EF4-FFF2-40B4-BE49-F238E27FC236}">
                    <a16:creationId xmlns:a16="http://schemas.microsoft.com/office/drawing/2014/main" xmlns="" id="{4248B621-6F0B-4EE2-A867-CC7F12AB66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6" name="Oval 2957">
                <a:extLst>
                  <a:ext uri="{FF2B5EF4-FFF2-40B4-BE49-F238E27FC236}">
                    <a16:creationId xmlns:a16="http://schemas.microsoft.com/office/drawing/2014/main" xmlns="" id="{EF1519CC-DA48-49C3-BDA1-B261CF84C1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7" name="Oval 2958">
                <a:extLst>
                  <a:ext uri="{FF2B5EF4-FFF2-40B4-BE49-F238E27FC236}">
                    <a16:creationId xmlns:a16="http://schemas.microsoft.com/office/drawing/2014/main" xmlns="" id="{3A65BF1B-D4A3-4695-B20F-070046F9C1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8" name="Oval 2959">
                <a:extLst>
                  <a:ext uri="{FF2B5EF4-FFF2-40B4-BE49-F238E27FC236}">
                    <a16:creationId xmlns:a16="http://schemas.microsoft.com/office/drawing/2014/main" xmlns="" id="{FAF6D771-4DA4-46DA-B8BA-B37182DFF6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9" name="Oval 2960">
                <a:extLst>
                  <a:ext uri="{FF2B5EF4-FFF2-40B4-BE49-F238E27FC236}">
                    <a16:creationId xmlns:a16="http://schemas.microsoft.com/office/drawing/2014/main" xmlns="" id="{57C175A7-63FC-423C-A3B5-A911C6954E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0" name="Oval 2961">
                <a:extLst>
                  <a:ext uri="{FF2B5EF4-FFF2-40B4-BE49-F238E27FC236}">
                    <a16:creationId xmlns:a16="http://schemas.microsoft.com/office/drawing/2014/main" xmlns="" id="{2AAD92E5-CAE6-4360-9382-FE0D004455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1" name="Oval 2962">
                <a:extLst>
                  <a:ext uri="{FF2B5EF4-FFF2-40B4-BE49-F238E27FC236}">
                    <a16:creationId xmlns:a16="http://schemas.microsoft.com/office/drawing/2014/main" xmlns="" id="{2E77C209-7EE6-468E-8785-175B3E0F7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30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2" name="Oval 2963">
                <a:extLst>
                  <a:ext uri="{FF2B5EF4-FFF2-40B4-BE49-F238E27FC236}">
                    <a16:creationId xmlns:a16="http://schemas.microsoft.com/office/drawing/2014/main" xmlns="" id="{F7402052-359B-4268-A8C2-A8FFC477B9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3" name="Oval 2964">
                <a:extLst>
                  <a:ext uri="{FF2B5EF4-FFF2-40B4-BE49-F238E27FC236}">
                    <a16:creationId xmlns:a16="http://schemas.microsoft.com/office/drawing/2014/main" xmlns="" id="{2DB17923-39CA-40B6-9A4A-4306222740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45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4" name="Oval 2965">
                <a:extLst>
                  <a:ext uri="{FF2B5EF4-FFF2-40B4-BE49-F238E27FC236}">
                    <a16:creationId xmlns:a16="http://schemas.microsoft.com/office/drawing/2014/main" xmlns="" id="{928009B1-DDE3-4AD5-A924-04DD98FD09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30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5" name="Oval 2966">
                <a:extLst>
                  <a:ext uri="{FF2B5EF4-FFF2-40B4-BE49-F238E27FC236}">
                    <a16:creationId xmlns:a16="http://schemas.microsoft.com/office/drawing/2014/main" xmlns="" id="{417302F4-2475-4E4A-B3C2-F31DB0C848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8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6" name="Oval 2967">
                <a:extLst>
                  <a:ext uri="{FF2B5EF4-FFF2-40B4-BE49-F238E27FC236}">
                    <a16:creationId xmlns:a16="http://schemas.microsoft.com/office/drawing/2014/main" xmlns="" id="{439E8F78-75DF-4D30-BE54-AC9B98F9E0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7" name="Oval 2968">
                <a:extLst>
                  <a:ext uri="{FF2B5EF4-FFF2-40B4-BE49-F238E27FC236}">
                    <a16:creationId xmlns:a16="http://schemas.microsoft.com/office/drawing/2014/main" xmlns="" id="{6CA48E93-94EF-4D7A-BCAB-C5F15F2195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264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8" name="Oval 2969">
                <a:extLst>
                  <a:ext uri="{FF2B5EF4-FFF2-40B4-BE49-F238E27FC236}">
                    <a16:creationId xmlns:a16="http://schemas.microsoft.com/office/drawing/2014/main" xmlns="" id="{34C1C4D3-D295-4BD2-84AC-C961EDE5F5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9" name="Oval 2970">
                <a:extLst>
                  <a:ext uri="{FF2B5EF4-FFF2-40B4-BE49-F238E27FC236}">
                    <a16:creationId xmlns:a16="http://schemas.microsoft.com/office/drawing/2014/main" xmlns="" id="{662EA6A7-4375-458E-87AA-4F15F87700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0" name="Oval 2971">
                <a:extLst>
                  <a:ext uri="{FF2B5EF4-FFF2-40B4-BE49-F238E27FC236}">
                    <a16:creationId xmlns:a16="http://schemas.microsoft.com/office/drawing/2014/main" xmlns="" id="{78471533-4705-47CE-A66B-A2306AC01A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24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1" name="Oval 2972">
                <a:extLst>
                  <a:ext uri="{FF2B5EF4-FFF2-40B4-BE49-F238E27FC236}">
                    <a16:creationId xmlns:a16="http://schemas.microsoft.com/office/drawing/2014/main" xmlns="" id="{9CFEDEAF-BF3D-4F52-9F00-1B75663FC3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2" name="Oval 2973">
                <a:extLst>
                  <a:ext uri="{FF2B5EF4-FFF2-40B4-BE49-F238E27FC236}">
                    <a16:creationId xmlns:a16="http://schemas.microsoft.com/office/drawing/2014/main" xmlns="" id="{A2DB9682-BBA0-4832-9C63-9FA40A04D8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3" name="Oval 2974">
                <a:extLst>
                  <a:ext uri="{FF2B5EF4-FFF2-40B4-BE49-F238E27FC236}">
                    <a16:creationId xmlns:a16="http://schemas.microsoft.com/office/drawing/2014/main" xmlns="" id="{AB09A07A-BC86-4BC4-A6A0-E14343CB7C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4" name="Oval 2975">
                <a:extLst>
                  <a:ext uri="{FF2B5EF4-FFF2-40B4-BE49-F238E27FC236}">
                    <a16:creationId xmlns:a16="http://schemas.microsoft.com/office/drawing/2014/main" xmlns="" id="{75C44ACB-D1C8-4FFB-AAC5-59796680C4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5" name="Oval 2976">
                <a:extLst>
                  <a:ext uri="{FF2B5EF4-FFF2-40B4-BE49-F238E27FC236}">
                    <a16:creationId xmlns:a16="http://schemas.microsoft.com/office/drawing/2014/main" xmlns="" id="{EF97FC4C-7F4A-498F-8EE4-E11CA9F83F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6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6" name="Oval 2977">
                <a:extLst>
                  <a:ext uri="{FF2B5EF4-FFF2-40B4-BE49-F238E27FC236}">
                    <a16:creationId xmlns:a16="http://schemas.microsoft.com/office/drawing/2014/main" xmlns="" id="{7004B5A2-4474-467F-B46A-7E4BBEDAD2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7" name="Oval 2978">
                <a:extLst>
                  <a:ext uri="{FF2B5EF4-FFF2-40B4-BE49-F238E27FC236}">
                    <a16:creationId xmlns:a16="http://schemas.microsoft.com/office/drawing/2014/main" xmlns="" id="{B3C38E0E-1651-4782-99D5-DA5A430E74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8" name="Oval 2979">
                <a:extLst>
                  <a:ext uri="{FF2B5EF4-FFF2-40B4-BE49-F238E27FC236}">
                    <a16:creationId xmlns:a16="http://schemas.microsoft.com/office/drawing/2014/main" xmlns="" id="{3982CDCF-659C-4248-BFBA-530C286176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9" name="Oval 2980">
                <a:extLst>
                  <a:ext uri="{FF2B5EF4-FFF2-40B4-BE49-F238E27FC236}">
                    <a16:creationId xmlns:a16="http://schemas.microsoft.com/office/drawing/2014/main" xmlns="" id="{066C74C9-9569-4AD9-9A84-038123AC7C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0" name="Oval 2981">
                <a:extLst>
                  <a:ext uri="{FF2B5EF4-FFF2-40B4-BE49-F238E27FC236}">
                    <a16:creationId xmlns:a16="http://schemas.microsoft.com/office/drawing/2014/main" xmlns="" id="{43F17E57-EFB2-4055-918B-0201A2CFC4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1" name="Oval 2982">
                <a:extLst>
                  <a:ext uri="{FF2B5EF4-FFF2-40B4-BE49-F238E27FC236}">
                    <a16:creationId xmlns:a16="http://schemas.microsoft.com/office/drawing/2014/main" xmlns="" id="{AE933B88-BE52-4EEB-893C-1F61DF22EE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607" name="Oval 2984">
              <a:extLst>
                <a:ext uri="{FF2B5EF4-FFF2-40B4-BE49-F238E27FC236}">
                  <a16:creationId xmlns:a16="http://schemas.microsoft.com/office/drawing/2014/main" xmlns="" id="{B310FD13-8104-414F-B319-F7EA9DB1B3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8" name="Oval 2985">
              <a:extLst>
                <a:ext uri="{FF2B5EF4-FFF2-40B4-BE49-F238E27FC236}">
                  <a16:creationId xmlns:a16="http://schemas.microsoft.com/office/drawing/2014/main" xmlns="" id="{7B09CB79-B807-4760-AF3D-EA8344139B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9" name="Oval 2986">
              <a:extLst>
                <a:ext uri="{FF2B5EF4-FFF2-40B4-BE49-F238E27FC236}">
                  <a16:creationId xmlns:a16="http://schemas.microsoft.com/office/drawing/2014/main" xmlns="" id="{06F24C27-6489-4388-B79B-702E2ECF2E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21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0" name="Oval 2987">
              <a:extLst>
                <a:ext uri="{FF2B5EF4-FFF2-40B4-BE49-F238E27FC236}">
                  <a16:creationId xmlns:a16="http://schemas.microsoft.com/office/drawing/2014/main" xmlns="" id="{E5F1D6B3-EF02-48EB-AE70-03B98F580B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6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1" name="Oval 2988">
              <a:extLst>
                <a:ext uri="{FF2B5EF4-FFF2-40B4-BE49-F238E27FC236}">
                  <a16:creationId xmlns:a16="http://schemas.microsoft.com/office/drawing/2014/main" xmlns="" id="{D3FD35A0-2ECB-4B5F-BD3D-9FE35E6FD2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6" y="198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2" name="Oval 2989">
              <a:extLst>
                <a:ext uri="{FF2B5EF4-FFF2-40B4-BE49-F238E27FC236}">
                  <a16:creationId xmlns:a16="http://schemas.microsoft.com/office/drawing/2014/main" xmlns="" id="{FE4B1BFF-475D-442A-A04D-DF933772D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6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3" name="Oval 2990">
              <a:extLst>
                <a:ext uri="{FF2B5EF4-FFF2-40B4-BE49-F238E27FC236}">
                  <a16:creationId xmlns:a16="http://schemas.microsoft.com/office/drawing/2014/main" xmlns="" id="{2B8C1CA5-7DA5-4AEE-BED3-17701AE6B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4" name="Oval 2991">
              <a:extLst>
                <a:ext uri="{FF2B5EF4-FFF2-40B4-BE49-F238E27FC236}">
                  <a16:creationId xmlns:a16="http://schemas.microsoft.com/office/drawing/2014/main" xmlns="" id="{CB01D10D-BF65-461B-85B6-DEC830AED2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17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5" name="Oval 2992">
              <a:extLst>
                <a:ext uri="{FF2B5EF4-FFF2-40B4-BE49-F238E27FC236}">
                  <a16:creationId xmlns:a16="http://schemas.microsoft.com/office/drawing/2014/main" xmlns="" id="{62E0AC6D-3937-4D80-B2D1-1AD035DFB4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5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6" name="Oval 2993">
              <a:extLst>
                <a:ext uri="{FF2B5EF4-FFF2-40B4-BE49-F238E27FC236}">
                  <a16:creationId xmlns:a16="http://schemas.microsoft.com/office/drawing/2014/main" xmlns="" id="{CA81E157-52E6-49A3-9E44-DC773CAA52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86" y="159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7" name="Oval 2994">
              <a:extLst>
                <a:ext uri="{FF2B5EF4-FFF2-40B4-BE49-F238E27FC236}">
                  <a16:creationId xmlns:a16="http://schemas.microsoft.com/office/drawing/2014/main" xmlns="" id="{C7752D20-A552-4BC0-AE66-A3173AAC2A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5" y="13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8" name="Oval 2995">
              <a:extLst>
                <a:ext uri="{FF2B5EF4-FFF2-40B4-BE49-F238E27FC236}">
                  <a16:creationId xmlns:a16="http://schemas.microsoft.com/office/drawing/2014/main" xmlns="" id="{D17B062A-C983-4CD1-9CC6-AF0A901C8E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9" name="Oval 2996">
              <a:extLst>
                <a:ext uri="{FF2B5EF4-FFF2-40B4-BE49-F238E27FC236}">
                  <a16:creationId xmlns:a16="http://schemas.microsoft.com/office/drawing/2014/main" xmlns="" id="{963DCA3B-884B-4FF4-8B17-9A7C270C2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14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0" name="Oval 2997">
              <a:extLst>
                <a:ext uri="{FF2B5EF4-FFF2-40B4-BE49-F238E27FC236}">
                  <a16:creationId xmlns:a16="http://schemas.microsoft.com/office/drawing/2014/main" xmlns="" id="{4D9F04F8-8241-4035-B3D1-FC9DD683D3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6" y="12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1" name="Oval 2998">
              <a:extLst>
                <a:ext uri="{FF2B5EF4-FFF2-40B4-BE49-F238E27FC236}">
                  <a16:creationId xmlns:a16="http://schemas.microsoft.com/office/drawing/2014/main" xmlns="" id="{FD0E6989-FEC9-4459-ADC6-021DCFEEC1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6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2" name="Oval 2999">
              <a:extLst>
                <a:ext uri="{FF2B5EF4-FFF2-40B4-BE49-F238E27FC236}">
                  <a16:creationId xmlns:a16="http://schemas.microsoft.com/office/drawing/2014/main" xmlns="" id="{5B17C7C8-E6E7-40C5-B6E9-6D0D2741FB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6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3" name="Oval 3000">
              <a:extLst>
                <a:ext uri="{FF2B5EF4-FFF2-40B4-BE49-F238E27FC236}">
                  <a16:creationId xmlns:a16="http://schemas.microsoft.com/office/drawing/2014/main" xmlns="" id="{7B16AB51-982A-4961-B8E1-6A9165C2D9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4" name="Oval 3001">
              <a:extLst>
                <a:ext uri="{FF2B5EF4-FFF2-40B4-BE49-F238E27FC236}">
                  <a16:creationId xmlns:a16="http://schemas.microsoft.com/office/drawing/2014/main" xmlns="" id="{775F59A4-EC3F-4C72-8810-7ED5EF4C2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6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5" name="Oval 3002">
              <a:extLst>
                <a:ext uri="{FF2B5EF4-FFF2-40B4-BE49-F238E27FC236}">
                  <a16:creationId xmlns:a16="http://schemas.microsoft.com/office/drawing/2014/main" xmlns="" id="{9582C577-A83F-4C5E-A2B1-E687F23B4C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6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6" name="Oval 3003">
              <a:extLst>
                <a:ext uri="{FF2B5EF4-FFF2-40B4-BE49-F238E27FC236}">
                  <a16:creationId xmlns:a16="http://schemas.microsoft.com/office/drawing/2014/main" xmlns="" id="{1C7C4A05-34BF-4021-AF89-E03B5FB9BF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6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7" name="Oval 3004">
              <a:extLst>
                <a:ext uri="{FF2B5EF4-FFF2-40B4-BE49-F238E27FC236}">
                  <a16:creationId xmlns:a16="http://schemas.microsoft.com/office/drawing/2014/main" xmlns="" id="{214190C0-5DDA-4336-86CF-FA2054AC5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19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8" name="Oval 3005">
              <a:extLst>
                <a:ext uri="{FF2B5EF4-FFF2-40B4-BE49-F238E27FC236}">
                  <a16:creationId xmlns:a16="http://schemas.microsoft.com/office/drawing/2014/main" xmlns="" id="{9E04DE5C-D63C-4433-95A9-47B0248E90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9" name="Oval 3006">
              <a:extLst>
                <a:ext uri="{FF2B5EF4-FFF2-40B4-BE49-F238E27FC236}">
                  <a16:creationId xmlns:a16="http://schemas.microsoft.com/office/drawing/2014/main" xmlns="" id="{81A3C943-78D7-4ED5-8815-130890FA2F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5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0" name="Oval 3007">
              <a:extLst>
                <a:ext uri="{FF2B5EF4-FFF2-40B4-BE49-F238E27FC236}">
                  <a16:creationId xmlns:a16="http://schemas.microsoft.com/office/drawing/2014/main" xmlns="" id="{241E86BD-4442-410A-AECB-EE0F12A1D1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1" name="Oval 3008">
              <a:extLst>
                <a:ext uri="{FF2B5EF4-FFF2-40B4-BE49-F238E27FC236}">
                  <a16:creationId xmlns:a16="http://schemas.microsoft.com/office/drawing/2014/main" xmlns="" id="{8CE4DC89-104A-47BD-8903-35CF05DCF9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2" name="Oval 3009">
              <a:extLst>
                <a:ext uri="{FF2B5EF4-FFF2-40B4-BE49-F238E27FC236}">
                  <a16:creationId xmlns:a16="http://schemas.microsoft.com/office/drawing/2014/main" xmlns="" id="{BB97E780-D427-4346-AD3D-E30564FA2C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3" name="Oval 3010">
              <a:extLst>
                <a:ext uri="{FF2B5EF4-FFF2-40B4-BE49-F238E27FC236}">
                  <a16:creationId xmlns:a16="http://schemas.microsoft.com/office/drawing/2014/main" xmlns="" id="{A7C60487-A107-4136-83E6-3568C9BB97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5" y="15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4" name="Oval 3011">
              <a:extLst>
                <a:ext uri="{FF2B5EF4-FFF2-40B4-BE49-F238E27FC236}">
                  <a16:creationId xmlns:a16="http://schemas.microsoft.com/office/drawing/2014/main" xmlns="" id="{0DC53904-9447-4CE7-BCD4-9ECCA48CF9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5" y="14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5" name="Oval 3012">
              <a:extLst>
                <a:ext uri="{FF2B5EF4-FFF2-40B4-BE49-F238E27FC236}">
                  <a16:creationId xmlns:a16="http://schemas.microsoft.com/office/drawing/2014/main" xmlns="" id="{11279C95-9CE3-48E7-8E49-A97AB42A95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5" y="15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6" name="Oval 3013">
              <a:extLst>
                <a:ext uri="{FF2B5EF4-FFF2-40B4-BE49-F238E27FC236}">
                  <a16:creationId xmlns:a16="http://schemas.microsoft.com/office/drawing/2014/main" xmlns="" id="{0C1A72B8-5CC7-4915-B504-E8397B983E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7" name="Oval 3014">
              <a:extLst>
                <a:ext uri="{FF2B5EF4-FFF2-40B4-BE49-F238E27FC236}">
                  <a16:creationId xmlns:a16="http://schemas.microsoft.com/office/drawing/2014/main" xmlns="" id="{461D233F-CB47-4762-8B8F-EDA320CB22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8" name="Oval 3015">
              <a:extLst>
                <a:ext uri="{FF2B5EF4-FFF2-40B4-BE49-F238E27FC236}">
                  <a16:creationId xmlns:a16="http://schemas.microsoft.com/office/drawing/2014/main" xmlns="" id="{816540C4-086E-4A36-8496-2241D7B4B7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5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9" name="Oval 3016">
              <a:extLst>
                <a:ext uri="{FF2B5EF4-FFF2-40B4-BE49-F238E27FC236}">
                  <a16:creationId xmlns:a16="http://schemas.microsoft.com/office/drawing/2014/main" xmlns="" id="{9F68BDEC-8383-44EF-9D0F-55091A101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0" name="Oval 3017">
              <a:extLst>
                <a:ext uri="{FF2B5EF4-FFF2-40B4-BE49-F238E27FC236}">
                  <a16:creationId xmlns:a16="http://schemas.microsoft.com/office/drawing/2014/main" xmlns="" id="{142F5190-7A67-4279-BB00-ECC0774409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1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1" name="Oval 3018">
              <a:extLst>
                <a:ext uri="{FF2B5EF4-FFF2-40B4-BE49-F238E27FC236}">
                  <a16:creationId xmlns:a16="http://schemas.microsoft.com/office/drawing/2014/main" xmlns="" id="{86761E9B-2345-4654-AA6A-392A9592B1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2" name="Oval 3019">
              <a:extLst>
                <a:ext uri="{FF2B5EF4-FFF2-40B4-BE49-F238E27FC236}">
                  <a16:creationId xmlns:a16="http://schemas.microsoft.com/office/drawing/2014/main" xmlns="" id="{5CF505DD-767B-4EE7-A1C7-345A097388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3" name="Oval 3020">
              <a:extLst>
                <a:ext uri="{FF2B5EF4-FFF2-40B4-BE49-F238E27FC236}">
                  <a16:creationId xmlns:a16="http://schemas.microsoft.com/office/drawing/2014/main" xmlns="" id="{7A7C6960-11BA-49C5-83F4-5544D3FE0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4" name="Oval 3021">
              <a:extLst>
                <a:ext uri="{FF2B5EF4-FFF2-40B4-BE49-F238E27FC236}">
                  <a16:creationId xmlns:a16="http://schemas.microsoft.com/office/drawing/2014/main" xmlns="" id="{A299362F-C77E-4FFB-A8B0-FDC3F28605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5" name="Oval 3022">
              <a:extLst>
                <a:ext uri="{FF2B5EF4-FFF2-40B4-BE49-F238E27FC236}">
                  <a16:creationId xmlns:a16="http://schemas.microsoft.com/office/drawing/2014/main" xmlns="" id="{4BEDAAB5-5C09-4E1D-8729-835628027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5" y="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6" name="Oval 3023">
              <a:extLst>
                <a:ext uri="{FF2B5EF4-FFF2-40B4-BE49-F238E27FC236}">
                  <a16:creationId xmlns:a16="http://schemas.microsoft.com/office/drawing/2014/main" xmlns="" id="{6666CEA9-89D6-40AD-93F4-CE0FC35CC2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" y="3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7" name="Oval 3024">
              <a:extLst>
                <a:ext uri="{FF2B5EF4-FFF2-40B4-BE49-F238E27FC236}">
                  <a16:creationId xmlns:a16="http://schemas.microsoft.com/office/drawing/2014/main" xmlns="" id="{C3961067-103E-4E0D-B62E-0C2687DDC3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8" name="Oval 3025">
              <a:extLst>
                <a:ext uri="{FF2B5EF4-FFF2-40B4-BE49-F238E27FC236}">
                  <a16:creationId xmlns:a16="http://schemas.microsoft.com/office/drawing/2014/main" xmlns="" id="{FF98C343-8784-40FA-9ABE-B7FFD3388F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4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9" name="Oval 3026">
              <a:extLst>
                <a:ext uri="{FF2B5EF4-FFF2-40B4-BE49-F238E27FC236}">
                  <a16:creationId xmlns:a16="http://schemas.microsoft.com/office/drawing/2014/main" xmlns="" id="{104C7E08-5D88-4B56-BECF-4ED5F6233A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0" name="Oval 3027">
              <a:extLst>
                <a:ext uri="{FF2B5EF4-FFF2-40B4-BE49-F238E27FC236}">
                  <a16:creationId xmlns:a16="http://schemas.microsoft.com/office/drawing/2014/main" xmlns="" id="{84015CAC-FBF9-495E-A11D-8C75D0783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5" y="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1" name="Oval 3028">
              <a:extLst>
                <a:ext uri="{FF2B5EF4-FFF2-40B4-BE49-F238E27FC236}">
                  <a16:creationId xmlns:a16="http://schemas.microsoft.com/office/drawing/2014/main" xmlns="" id="{3D465E52-FFB8-4111-89BC-FCABEEE84B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2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2" name="Oval 3029">
              <a:extLst>
                <a:ext uri="{FF2B5EF4-FFF2-40B4-BE49-F238E27FC236}">
                  <a16:creationId xmlns:a16="http://schemas.microsoft.com/office/drawing/2014/main" xmlns="" id="{80220D5E-E3C9-4FF0-8C4F-0F40F3B817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3" name="Oval 3030">
              <a:extLst>
                <a:ext uri="{FF2B5EF4-FFF2-40B4-BE49-F238E27FC236}">
                  <a16:creationId xmlns:a16="http://schemas.microsoft.com/office/drawing/2014/main" xmlns="" id="{8BAB14B7-2A0B-4868-A36B-DC4C7D9138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4" name="Oval 3031">
              <a:extLst>
                <a:ext uri="{FF2B5EF4-FFF2-40B4-BE49-F238E27FC236}">
                  <a16:creationId xmlns:a16="http://schemas.microsoft.com/office/drawing/2014/main" xmlns="" id="{ACAB0E9A-24DD-42E5-91A3-695962550F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3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5" name="Oval 3032">
              <a:extLst>
                <a:ext uri="{FF2B5EF4-FFF2-40B4-BE49-F238E27FC236}">
                  <a16:creationId xmlns:a16="http://schemas.microsoft.com/office/drawing/2014/main" xmlns="" id="{0B81CDA6-BE68-46F6-BE97-82E3963038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2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6" name="Oval 3033">
              <a:extLst>
                <a:ext uri="{FF2B5EF4-FFF2-40B4-BE49-F238E27FC236}">
                  <a16:creationId xmlns:a16="http://schemas.microsoft.com/office/drawing/2014/main" xmlns="" id="{6A5375A0-DF24-40B6-A850-2D3F3539F5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4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7" name="Oval 3034">
              <a:extLst>
                <a:ext uri="{FF2B5EF4-FFF2-40B4-BE49-F238E27FC236}">
                  <a16:creationId xmlns:a16="http://schemas.microsoft.com/office/drawing/2014/main" xmlns="" id="{61B510F5-2264-46A8-8173-B1BB5D1A72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6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8" name="Oval 3035">
              <a:extLst>
                <a:ext uri="{FF2B5EF4-FFF2-40B4-BE49-F238E27FC236}">
                  <a16:creationId xmlns:a16="http://schemas.microsoft.com/office/drawing/2014/main" xmlns="" id="{DC826A6B-CF7A-4EFF-B872-C2241C03B7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4" y="7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9" name="Oval 3036">
              <a:extLst>
                <a:ext uri="{FF2B5EF4-FFF2-40B4-BE49-F238E27FC236}">
                  <a16:creationId xmlns:a16="http://schemas.microsoft.com/office/drawing/2014/main" xmlns="" id="{D776AC49-7687-4DCA-9322-F2413F2A5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9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0" name="Oval 3037">
              <a:extLst>
                <a:ext uri="{FF2B5EF4-FFF2-40B4-BE49-F238E27FC236}">
                  <a16:creationId xmlns:a16="http://schemas.microsoft.com/office/drawing/2014/main" xmlns="" id="{CC039493-FE8D-4AA8-8FAC-9A7BA3C21D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0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1" name="Oval 3038">
              <a:extLst>
                <a:ext uri="{FF2B5EF4-FFF2-40B4-BE49-F238E27FC236}">
                  <a16:creationId xmlns:a16="http://schemas.microsoft.com/office/drawing/2014/main" xmlns="" id="{D4340834-F1B1-4821-9964-DEAD910C77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2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2" name="Oval 3039">
              <a:extLst>
                <a:ext uri="{FF2B5EF4-FFF2-40B4-BE49-F238E27FC236}">
                  <a16:creationId xmlns:a16="http://schemas.microsoft.com/office/drawing/2014/main" xmlns="" id="{CCBC0F96-1B57-4A6B-A142-19A3275808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3" name="Oval 3040">
              <a:extLst>
                <a:ext uri="{FF2B5EF4-FFF2-40B4-BE49-F238E27FC236}">
                  <a16:creationId xmlns:a16="http://schemas.microsoft.com/office/drawing/2014/main" xmlns="" id="{7B3F753C-B01D-4660-B855-928AE3C00C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4" y="9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4" name="Oval 3041">
              <a:extLst>
                <a:ext uri="{FF2B5EF4-FFF2-40B4-BE49-F238E27FC236}">
                  <a16:creationId xmlns:a16="http://schemas.microsoft.com/office/drawing/2014/main" xmlns="" id="{5BBDF909-44F5-4F08-8712-F94071DEA1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5" name="Oval 3042">
              <a:extLst>
                <a:ext uri="{FF2B5EF4-FFF2-40B4-BE49-F238E27FC236}">
                  <a16:creationId xmlns:a16="http://schemas.microsoft.com/office/drawing/2014/main" xmlns="" id="{43146686-50AB-49C4-9121-25FE65B281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10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6" name="Oval 3043">
              <a:extLst>
                <a:ext uri="{FF2B5EF4-FFF2-40B4-BE49-F238E27FC236}">
                  <a16:creationId xmlns:a16="http://schemas.microsoft.com/office/drawing/2014/main" xmlns="" id="{A596A95B-0678-4B0C-AD88-83E21D7185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10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7" name="Oval 3044">
              <a:extLst>
                <a:ext uri="{FF2B5EF4-FFF2-40B4-BE49-F238E27FC236}">
                  <a16:creationId xmlns:a16="http://schemas.microsoft.com/office/drawing/2014/main" xmlns="" id="{96E4D5DA-5305-4409-83A3-7D4F266971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11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8" name="Oval 3045">
              <a:extLst>
                <a:ext uri="{FF2B5EF4-FFF2-40B4-BE49-F238E27FC236}">
                  <a16:creationId xmlns:a16="http://schemas.microsoft.com/office/drawing/2014/main" xmlns="" id="{87151FD1-900E-44FB-A98B-7732C7C0AB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2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9" name="Oval 3046">
              <a:extLst>
                <a:ext uri="{FF2B5EF4-FFF2-40B4-BE49-F238E27FC236}">
                  <a16:creationId xmlns:a16="http://schemas.microsoft.com/office/drawing/2014/main" xmlns="" id="{C58E9B85-0297-4A30-8978-B09B6FAAAA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0" name="Oval 3047">
              <a:extLst>
                <a:ext uri="{FF2B5EF4-FFF2-40B4-BE49-F238E27FC236}">
                  <a16:creationId xmlns:a16="http://schemas.microsoft.com/office/drawing/2014/main" xmlns="" id="{4F7F30BD-8F75-4D7D-8EF2-B215F56BD8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4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1" name="Oval 3048">
              <a:extLst>
                <a:ext uri="{FF2B5EF4-FFF2-40B4-BE49-F238E27FC236}">
                  <a16:creationId xmlns:a16="http://schemas.microsoft.com/office/drawing/2014/main" xmlns="" id="{EB7D61B2-CFAA-4354-BA8D-BB42BEF2CA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2" name="Oval 3049">
              <a:extLst>
                <a:ext uri="{FF2B5EF4-FFF2-40B4-BE49-F238E27FC236}">
                  <a16:creationId xmlns:a16="http://schemas.microsoft.com/office/drawing/2014/main" xmlns="" id="{E86DD210-FE77-49D6-9A8B-0B9C554710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3" name="Oval 3050">
              <a:extLst>
                <a:ext uri="{FF2B5EF4-FFF2-40B4-BE49-F238E27FC236}">
                  <a16:creationId xmlns:a16="http://schemas.microsoft.com/office/drawing/2014/main" xmlns="" id="{AE391646-EFC3-40F1-B1F2-1EFC496AB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4" name="Oval 3051">
              <a:extLst>
                <a:ext uri="{FF2B5EF4-FFF2-40B4-BE49-F238E27FC236}">
                  <a16:creationId xmlns:a16="http://schemas.microsoft.com/office/drawing/2014/main" xmlns="" id="{8C2DD63E-26A0-48CC-9460-C97AFB20D9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8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5" name="Oval 3052">
              <a:extLst>
                <a:ext uri="{FF2B5EF4-FFF2-40B4-BE49-F238E27FC236}">
                  <a16:creationId xmlns:a16="http://schemas.microsoft.com/office/drawing/2014/main" xmlns="" id="{FB21D351-1D70-4375-867D-7B490F843D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6" name="Oval 3053">
              <a:extLst>
                <a:ext uri="{FF2B5EF4-FFF2-40B4-BE49-F238E27FC236}">
                  <a16:creationId xmlns:a16="http://schemas.microsoft.com/office/drawing/2014/main" xmlns="" id="{219FE068-3072-4226-8167-336263DC97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5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7" name="Oval 3054">
              <a:extLst>
                <a:ext uri="{FF2B5EF4-FFF2-40B4-BE49-F238E27FC236}">
                  <a16:creationId xmlns:a16="http://schemas.microsoft.com/office/drawing/2014/main" xmlns="" id="{D447D7F8-77A4-4361-A673-F25662C19E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14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8" name="Oval 3055">
              <a:extLst>
                <a:ext uri="{FF2B5EF4-FFF2-40B4-BE49-F238E27FC236}">
                  <a16:creationId xmlns:a16="http://schemas.microsoft.com/office/drawing/2014/main" xmlns="" id="{5161D2A6-E5EB-4093-B915-BBEC4FDD14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9" name="Oval 3056">
              <a:extLst>
                <a:ext uri="{FF2B5EF4-FFF2-40B4-BE49-F238E27FC236}">
                  <a16:creationId xmlns:a16="http://schemas.microsoft.com/office/drawing/2014/main" xmlns="" id="{461A7FD2-4B63-44B0-AE56-A379D9B958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0" name="Oval 3057">
              <a:extLst>
                <a:ext uri="{FF2B5EF4-FFF2-40B4-BE49-F238E27FC236}">
                  <a16:creationId xmlns:a16="http://schemas.microsoft.com/office/drawing/2014/main" xmlns="" id="{A1CC5DA8-E610-4C7E-B25B-4620F8EAA3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4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1" name="Oval 3058">
              <a:extLst>
                <a:ext uri="{FF2B5EF4-FFF2-40B4-BE49-F238E27FC236}">
                  <a16:creationId xmlns:a16="http://schemas.microsoft.com/office/drawing/2014/main" xmlns="" id="{B5E4578F-D687-42A9-8DA3-0EA0F7DCD9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12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2" name="Oval 3059">
              <a:extLst>
                <a:ext uri="{FF2B5EF4-FFF2-40B4-BE49-F238E27FC236}">
                  <a16:creationId xmlns:a16="http://schemas.microsoft.com/office/drawing/2014/main" xmlns="" id="{B640CD62-3349-425D-A54E-2D026B98B6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5" y="12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3" name="Oval 3060">
              <a:extLst>
                <a:ext uri="{FF2B5EF4-FFF2-40B4-BE49-F238E27FC236}">
                  <a16:creationId xmlns:a16="http://schemas.microsoft.com/office/drawing/2014/main" xmlns="" id="{6ACFA51A-B1DB-4C78-841F-061585FDE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4" name="Oval 3061">
              <a:extLst>
                <a:ext uri="{FF2B5EF4-FFF2-40B4-BE49-F238E27FC236}">
                  <a16:creationId xmlns:a16="http://schemas.microsoft.com/office/drawing/2014/main" xmlns="" id="{33307EF6-8529-44B5-B304-D59D5260E6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5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5" name="Oval 3062">
              <a:extLst>
                <a:ext uri="{FF2B5EF4-FFF2-40B4-BE49-F238E27FC236}">
                  <a16:creationId xmlns:a16="http://schemas.microsoft.com/office/drawing/2014/main" xmlns="" id="{E3E45E8C-B6C8-4044-AC67-1784FB063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1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6" name="Oval 3063">
              <a:extLst>
                <a:ext uri="{FF2B5EF4-FFF2-40B4-BE49-F238E27FC236}">
                  <a16:creationId xmlns:a16="http://schemas.microsoft.com/office/drawing/2014/main" xmlns="" id="{FC7AFD9E-5FA0-4B2A-9E45-90984FA0B9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8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7" name="Oval 3064">
              <a:extLst>
                <a:ext uri="{FF2B5EF4-FFF2-40B4-BE49-F238E27FC236}">
                  <a16:creationId xmlns:a16="http://schemas.microsoft.com/office/drawing/2014/main" xmlns="" id="{60F9ADC8-6FAA-470B-B05E-4347418362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5" y="159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8" name="Oval 3065">
              <a:extLst>
                <a:ext uri="{FF2B5EF4-FFF2-40B4-BE49-F238E27FC236}">
                  <a16:creationId xmlns:a16="http://schemas.microsoft.com/office/drawing/2014/main" xmlns="" id="{8EBA26E3-73C9-4531-BB7E-FA8EAD4ACB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12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9" name="Oval 3066">
              <a:extLst>
                <a:ext uri="{FF2B5EF4-FFF2-40B4-BE49-F238E27FC236}">
                  <a16:creationId xmlns:a16="http://schemas.microsoft.com/office/drawing/2014/main" xmlns="" id="{31E82EA7-443C-4A2B-8F37-498AD82100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9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0" name="Oval 3067">
              <a:extLst>
                <a:ext uri="{FF2B5EF4-FFF2-40B4-BE49-F238E27FC236}">
                  <a16:creationId xmlns:a16="http://schemas.microsoft.com/office/drawing/2014/main" xmlns="" id="{5EEF1AB7-8A72-4852-86E9-099B1D2B9A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0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1" name="Oval 3068">
              <a:extLst>
                <a:ext uri="{FF2B5EF4-FFF2-40B4-BE49-F238E27FC236}">
                  <a16:creationId xmlns:a16="http://schemas.microsoft.com/office/drawing/2014/main" xmlns="" id="{F8CE69D3-8147-4B43-BBD7-40B787216D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0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2" name="Oval 3069">
              <a:extLst>
                <a:ext uri="{FF2B5EF4-FFF2-40B4-BE49-F238E27FC236}">
                  <a16:creationId xmlns:a16="http://schemas.microsoft.com/office/drawing/2014/main" xmlns="" id="{A606068B-AD19-478D-B7AD-6B7C73CD1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9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3" name="Oval 3070">
              <a:extLst>
                <a:ext uri="{FF2B5EF4-FFF2-40B4-BE49-F238E27FC236}">
                  <a16:creationId xmlns:a16="http://schemas.microsoft.com/office/drawing/2014/main" xmlns="" id="{321B20D4-A361-45BA-ACA3-C4D41D4A18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4" name="Oval 3071">
              <a:extLst>
                <a:ext uri="{FF2B5EF4-FFF2-40B4-BE49-F238E27FC236}">
                  <a16:creationId xmlns:a16="http://schemas.microsoft.com/office/drawing/2014/main" xmlns="" id="{3B1BA6E6-5347-4F13-A1A1-A487ED57F7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5" y="8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5" name="Oval 3072">
              <a:extLst>
                <a:ext uri="{FF2B5EF4-FFF2-40B4-BE49-F238E27FC236}">
                  <a16:creationId xmlns:a16="http://schemas.microsoft.com/office/drawing/2014/main" xmlns="" id="{62137C6A-F579-4CB2-A834-BD3C2E40FE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6" name="Oval 3073">
              <a:extLst>
                <a:ext uri="{FF2B5EF4-FFF2-40B4-BE49-F238E27FC236}">
                  <a16:creationId xmlns:a16="http://schemas.microsoft.com/office/drawing/2014/main" xmlns="" id="{EE76FAE0-EE8D-48CE-80D5-4F28CED128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8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7" name="Oval 3074">
              <a:extLst>
                <a:ext uri="{FF2B5EF4-FFF2-40B4-BE49-F238E27FC236}">
                  <a16:creationId xmlns:a16="http://schemas.microsoft.com/office/drawing/2014/main" xmlns="" id="{5804C624-E8AF-4796-A2D1-5FCD387BDF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6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8" name="Oval 3075">
              <a:extLst>
                <a:ext uri="{FF2B5EF4-FFF2-40B4-BE49-F238E27FC236}">
                  <a16:creationId xmlns:a16="http://schemas.microsoft.com/office/drawing/2014/main" xmlns="" id="{46364144-C139-46E2-BF8B-1E95ABE729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5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9" name="Oval 3076">
              <a:extLst>
                <a:ext uri="{FF2B5EF4-FFF2-40B4-BE49-F238E27FC236}">
                  <a16:creationId xmlns:a16="http://schemas.microsoft.com/office/drawing/2014/main" xmlns="" id="{492A8816-23B4-4612-9589-47443CE4B5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4" y="4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0" name="Oval 3077">
              <a:extLst>
                <a:ext uri="{FF2B5EF4-FFF2-40B4-BE49-F238E27FC236}">
                  <a16:creationId xmlns:a16="http://schemas.microsoft.com/office/drawing/2014/main" xmlns="" id="{BDDDF3C2-81C9-48FE-B5BA-419ED8C9F2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4" y="6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1" name="Oval 3078">
              <a:extLst>
                <a:ext uri="{FF2B5EF4-FFF2-40B4-BE49-F238E27FC236}">
                  <a16:creationId xmlns:a16="http://schemas.microsoft.com/office/drawing/2014/main" xmlns="" id="{7C5B4B53-FAE3-473F-9AA0-E5A3C55FE5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4" y="8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2" name="Oval 3079">
              <a:extLst>
                <a:ext uri="{FF2B5EF4-FFF2-40B4-BE49-F238E27FC236}">
                  <a16:creationId xmlns:a16="http://schemas.microsoft.com/office/drawing/2014/main" xmlns="" id="{E5F49272-435D-4D7D-B853-A096FDD8DE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7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3" name="Oval 3080">
              <a:extLst>
                <a:ext uri="{FF2B5EF4-FFF2-40B4-BE49-F238E27FC236}">
                  <a16:creationId xmlns:a16="http://schemas.microsoft.com/office/drawing/2014/main" xmlns="" id="{810A574F-D2D2-4813-B8F2-1819C43290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4" name="Oval 3081">
              <a:extLst>
                <a:ext uri="{FF2B5EF4-FFF2-40B4-BE49-F238E27FC236}">
                  <a16:creationId xmlns:a16="http://schemas.microsoft.com/office/drawing/2014/main" xmlns="" id="{17DCBE32-5B94-45FE-BF86-88DAE6E280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13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5" name="Oval 3082">
              <a:extLst>
                <a:ext uri="{FF2B5EF4-FFF2-40B4-BE49-F238E27FC236}">
                  <a16:creationId xmlns:a16="http://schemas.microsoft.com/office/drawing/2014/main" xmlns="" id="{67A16FF7-8088-45AB-AF27-640C51C498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13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6" name="Oval 3083">
              <a:extLst>
                <a:ext uri="{FF2B5EF4-FFF2-40B4-BE49-F238E27FC236}">
                  <a16:creationId xmlns:a16="http://schemas.microsoft.com/office/drawing/2014/main" xmlns="" id="{6D6A2322-CF8D-468D-A53F-4443487571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4" y="15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7" name="Oval 3084">
              <a:extLst>
                <a:ext uri="{FF2B5EF4-FFF2-40B4-BE49-F238E27FC236}">
                  <a16:creationId xmlns:a16="http://schemas.microsoft.com/office/drawing/2014/main" xmlns="" id="{E7909EA4-8AE0-4865-A736-83AD218E1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4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8" name="Oval 3085">
              <a:extLst>
                <a:ext uri="{FF2B5EF4-FFF2-40B4-BE49-F238E27FC236}">
                  <a16:creationId xmlns:a16="http://schemas.microsoft.com/office/drawing/2014/main" xmlns="" id="{17C8FCC0-348C-4B4F-94BE-280DE55B2C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9" name="Oval 3086">
              <a:extLst>
                <a:ext uri="{FF2B5EF4-FFF2-40B4-BE49-F238E27FC236}">
                  <a16:creationId xmlns:a16="http://schemas.microsoft.com/office/drawing/2014/main" xmlns="" id="{13559A23-D408-4E7B-A1EA-255D6F8AB9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0" name="Oval 3087">
              <a:extLst>
                <a:ext uri="{FF2B5EF4-FFF2-40B4-BE49-F238E27FC236}">
                  <a16:creationId xmlns:a16="http://schemas.microsoft.com/office/drawing/2014/main" xmlns="" id="{D0BD3322-8672-4FD5-8454-EBA23C648D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1" name="Oval 3088">
              <a:extLst>
                <a:ext uri="{FF2B5EF4-FFF2-40B4-BE49-F238E27FC236}">
                  <a16:creationId xmlns:a16="http://schemas.microsoft.com/office/drawing/2014/main" xmlns="" id="{DB4AE540-74CC-4A2E-BE76-BC061D102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2" name="Oval 3089">
              <a:extLst>
                <a:ext uri="{FF2B5EF4-FFF2-40B4-BE49-F238E27FC236}">
                  <a16:creationId xmlns:a16="http://schemas.microsoft.com/office/drawing/2014/main" xmlns="" id="{4E0EB6B6-5FA7-4730-88B1-80255CB051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9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3" name="Oval 3090">
              <a:extLst>
                <a:ext uri="{FF2B5EF4-FFF2-40B4-BE49-F238E27FC236}">
                  <a16:creationId xmlns:a16="http://schemas.microsoft.com/office/drawing/2014/main" xmlns="" id="{A9BA1F96-500B-4E36-8AA8-147380D4B5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20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4" name="Oval 3091">
              <a:extLst>
                <a:ext uri="{FF2B5EF4-FFF2-40B4-BE49-F238E27FC236}">
                  <a16:creationId xmlns:a16="http://schemas.microsoft.com/office/drawing/2014/main" xmlns="" id="{4810616B-D730-4CF5-B545-5E161D77CE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5" name="Oval 3092">
              <a:extLst>
                <a:ext uri="{FF2B5EF4-FFF2-40B4-BE49-F238E27FC236}">
                  <a16:creationId xmlns:a16="http://schemas.microsoft.com/office/drawing/2014/main" xmlns="" id="{0760CD4D-8D73-4F27-A9E6-FDAAE8CA26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3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6" name="Oval 3093">
              <a:extLst>
                <a:ext uri="{FF2B5EF4-FFF2-40B4-BE49-F238E27FC236}">
                  <a16:creationId xmlns:a16="http://schemas.microsoft.com/office/drawing/2014/main" xmlns="" id="{6126C524-B836-4044-965D-F6736E6D95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24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7" name="Oval 3094">
              <a:extLst>
                <a:ext uri="{FF2B5EF4-FFF2-40B4-BE49-F238E27FC236}">
                  <a16:creationId xmlns:a16="http://schemas.microsoft.com/office/drawing/2014/main" xmlns="" id="{9ED4A760-075D-4BCF-92DC-8DFE91BC7C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24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8" name="Oval 3095">
              <a:extLst>
                <a:ext uri="{FF2B5EF4-FFF2-40B4-BE49-F238E27FC236}">
                  <a16:creationId xmlns:a16="http://schemas.microsoft.com/office/drawing/2014/main" xmlns="" id="{B14114AE-51AC-4A86-A759-ED51CA5F00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5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9" name="Oval 3096">
              <a:extLst>
                <a:ext uri="{FF2B5EF4-FFF2-40B4-BE49-F238E27FC236}">
                  <a16:creationId xmlns:a16="http://schemas.microsoft.com/office/drawing/2014/main" xmlns="" id="{FC64DDE5-BC18-4B59-910A-692F9ED2E5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26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0" name="Oval 3097">
              <a:extLst>
                <a:ext uri="{FF2B5EF4-FFF2-40B4-BE49-F238E27FC236}">
                  <a16:creationId xmlns:a16="http://schemas.microsoft.com/office/drawing/2014/main" xmlns="" id="{7E9F26B3-E632-40D2-A790-633F14986F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7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1" name="Oval 3098">
              <a:extLst>
                <a:ext uri="{FF2B5EF4-FFF2-40B4-BE49-F238E27FC236}">
                  <a16:creationId xmlns:a16="http://schemas.microsoft.com/office/drawing/2014/main" xmlns="" id="{92DF911C-245A-43C7-9D5F-2F1990CB0B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7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2" name="Oval 3099">
              <a:extLst>
                <a:ext uri="{FF2B5EF4-FFF2-40B4-BE49-F238E27FC236}">
                  <a16:creationId xmlns:a16="http://schemas.microsoft.com/office/drawing/2014/main" xmlns="" id="{52EACC82-023A-45E1-9288-5126924F5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3" name="Oval 3100">
              <a:extLst>
                <a:ext uri="{FF2B5EF4-FFF2-40B4-BE49-F238E27FC236}">
                  <a16:creationId xmlns:a16="http://schemas.microsoft.com/office/drawing/2014/main" xmlns="" id="{9BAFA051-63F0-4A00-BD37-C149858AC4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30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4" name="Oval 3101">
              <a:extLst>
                <a:ext uri="{FF2B5EF4-FFF2-40B4-BE49-F238E27FC236}">
                  <a16:creationId xmlns:a16="http://schemas.microsoft.com/office/drawing/2014/main" xmlns="" id="{5CAAA34A-62F4-4CED-B8B5-39BA8B4AF6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29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5" name="Oval 3102">
              <a:extLst>
                <a:ext uri="{FF2B5EF4-FFF2-40B4-BE49-F238E27FC236}">
                  <a16:creationId xmlns:a16="http://schemas.microsoft.com/office/drawing/2014/main" xmlns="" id="{C6C64E70-75A4-4F45-8D97-5F1D0FA87B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30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6" name="Oval 3103">
              <a:extLst>
                <a:ext uri="{FF2B5EF4-FFF2-40B4-BE49-F238E27FC236}">
                  <a16:creationId xmlns:a16="http://schemas.microsoft.com/office/drawing/2014/main" xmlns="" id="{F1AD139B-ECE0-4D54-92EA-352615593F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7" name="Oval 3104">
              <a:extLst>
                <a:ext uri="{FF2B5EF4-FFF2-40B4-BE49-F238E27FC236}">
                  <a16:creationId xmlns:a16="http://schemas.microsoft.com/office/drawing/2014/main" xmlns="" id="{FECDB099-9C83-4254-A18D-81110A5F63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7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8" name="Oval 3105">
              <a:extLst>
                <a:ext uri="{FF2B5EF4-FFF2-40B4-BE49-F238E27FC236}">
                  <a16:creationId xmlns:a16="http://schemas.microsoft.com/office/drawing/2014/main" xmlns="" id="{48491760-D022-4151-88A7-685571CB9D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9" name="Oval 3106">
              <a:extLst>
                <a:ext uri="{FF2B5EF4-FFF2-40B4-BE49-F238E27FC236}">
                  <a16:creationId xmlns:a16="http://schemas.microsoft.com/office/drawing/2014/main" xmlns="" id="{E177A318-59F9-4DE0-86DA-8AD8703459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4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0" name="Oval 3107">
              <a:extLst>
                <a:ext uri="{FF2B5EF4-FFF2-40B4-BE49-F238E27FC236}">
                  <a16:creationId xmlns:a16="http://schemas.microsoft.com/office/drawing/2014/main" xmlns="" id="{97554C76-4725-4176-A5E0-FA59E5D7A0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1" name="Oval 3108">
              <a:extLst>
                <a:ext uri="{FF2B5EF4-FFF2-40B4-BE49-F238E27FC236}">
                  <a16:creationId xmlns:a16="http://schemas.microsoft.com/office/drawing/2014/main" xmlns="" id="{AB3C0DC0-F573-4608-BA38-E424E78E64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2" name="Oval 3109">
              <a:extLst>
                <a:ext uri="{FF2B5EF4-FFF2-40B4-BE49-F238E27FC236}">
                  <a16:creationId xmlns:a16="http://schemas.microsoft.com/office/drawing/2014/main" xmlns="" id="{D1F9DF7E-ADEB-4039-8F6E-2242827FEB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3" name="Oval 3110">
              <a:extLst>
                <a:ext uri="{FF2B5EF4-FFF2-40B4-BE49-F238E27FC236}">
                  <a16:creationId xmlns:a16="http://schemas.microsoft.com/office/drawing/2014/main" xmlns="" id="{45DD3D4F-1BD7-4A8D-A23E-F27A13F331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4" name="Oval 3111">
              <a:extLst>
                <a:ext uri="{FF2B5EF4-FFF2-40B4-BE49-F238E27FC236}">
                  <a16:creationId xmlns:a16="http://schemas.microsoft.com/office/drawing/2014/main" xmlns="" id="{2A12949F-61C9-437A-815F-F780017A89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5" name="Oval 3112">
              <a:extLst>
                <a:ext uri="{FF2B5EF4-FFF2-40B4-BE49-F238E27FC236}">
                  <a16:creationId xmlns:a16="http://schemas.microsoft.com/office/drawing/2014/main" xmlns="" id="{9C232A9A-0109-4CFA-832C-C603AD7755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23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6" name="Oval 3113">
              <a:extLst>
                <a:ext uri="{FF2B5EF4-FFF2-40B4-BE49-F238E27FC236}">
                  <a16:creationId xmlns:a16="http://schemas.microsoft.com/office/drawing/2014/main" xmlns="" id="{04B835F3-19FA-4160-8657-19370E29E3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3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7" name="Oval 3114">
              <a:extLst>
                <a:ext uri="{FF2B5EF4-FFF2-40B4-BE49-F238E27FC236}">
                  <a16:creationId xmlns:a16="http://schemas.microsoft.com/office/drawing/2014/main" xmlns="" id="{A28BC890-5EA3-47BE-AC7B-611FFDF1D7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8" name="Oval 3115">
              <a:extLst>
                <a:ext uri="{FF2B5EF4-FFF2-40B4-BE49-F238E27FC236}">
                  <a16:creationId xmlns:a16="http://schemas.microsoft.com/office/drawing/2014/main" xmlns="" id="{530C9BAE-6C06-4AA6-A1C5-3A122447C6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21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9" name="Oval 3116">
              <a:extLst>
                <a:ext uri="{FF2B5EF4-FFF2-40B4-BE49-F238E27FC236}">
                  <a16:creationId xmlns:a16="http://schemas.microsoft.com/office/drawing/2014/main" xmlns="" id="{1CE74192-2956-487B-88EC-6235E48EAA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0" name="Oval 3117">
              <a:extLst>
                <a:ext uri="{FF2B5EF4-FFF2-40B4-BE49-F238E27FC236}">
                  <a16:creationId xmlns:a16="http://schemas.microsoft.com/office/drawing/2014/main" xmlns="" id="{447E941A-8901-41DC-B73E-00C970963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3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1" name="Oval 3118">
              <a:extLst>
                <a:ext uri="{FF2B5EF4-FFF2-40B4-BE49-F238E27FC236}">
                  <a16:creationId xmlns:a16="http://schemas.microsoft.com/office/drawing/2014/main" xmlns="" id="{8686BA11-AC69-4C48-A888-78B1E6EBE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2" name="Oval 3119">
              <a:extLst>
                <a:ext uri="{FF2B5EF4-FFF2-40B4-BE49-F238E27FC236}">
                  <a16:creationId xmlns:a16="http://schemas.microsoft.com/office/drawing/2014/main" xmlns="" id="{41262B00-B166-4BED-B75E-7042B15E22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4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3" name="Oval 3120">
              <a:extLst>
                <a:ext uri="{FF2B5EF4-FFF2-40B4-BE49-F238E27FC236}">
                  <a16:creationId xmlns:a16="http://schemas.microsoft.com/office/drawing/2014/main" xmlns="" id="{42EA8083-31D2-4B7E-8008-2AD2359F1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5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4" name="Oval 3121">
              <a:extLst>
                <a:ext uri="{FF2B5EF4-FFF2-40B4-BE49-F238E27FC236}">
                  <a16:creationId xmlns:a16="http://schemas.microsoft.com/office/drawing/2014/main" xmlns="" id="{A9C3F8BD-25D6-46FE-AE7B-ED1CE53534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5" name="Oval 3122">
              <a:extLst>
                <a:ext uri="{FF2B5EF4-FFF2-40B4-BE49-F238E27FC236}">
                  <a16:creationId xmlns:a16="http://schemas.microsoft.com/office/drawing/2014/main" xmlns="" id="{E7FCFC41-E526-4005-93AD-B345A3651A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6" name="Oval 3123">
              <a:extLst>
                <a:ext uri="{FF2B5EF4-FFF2-40B4-BE49-F238E27FC236}">
                  <a16:creationId xmlns:a16="http://schemas.microsoft.com/office/drawing/2014/main" xmlns="" id="{C5764111-6871-4885-9013-0F546A51EA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7" name="Oval 3124">
              <a:extLst>
                <a:ext uri="{FF2B5EF4-FFF2-40B4-BE49-F238E27FC236}">
                  <a16:creationId xmlns:a16="http://schemas.microsoft.com/office/drawing/2014/main" xmlns="" id="{37FF6907-A4DF-4EBE-A0D1-6C5260F024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8" name="Oval 3125">
              <a:extLst>
                <a:ext uri="{FF2B5EF4-FFF2-40B4-BE49-F238E27FC236}">
                  <a16:creationId xmlns:a16="http://schemas.microsoft.com/office/drawing/2014/main" xmlns="" id="{290ABC34-3954-48A3-9637-65A0D5942C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19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9" name="Oval 3126">
              <a:extLst>
                <a:ext uri="{FF2B5EF4-FFF2-40B4-BE49-F238E27FC236}">
                  <a16:creationId xmlns:a16="http://schemas.microsoft.com/office/drawing/2014/main" xmlns="" id="{175ADE90-DAD2-4A1C-BEB5-A9E426054B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0" name="Oval 3127">
              <a:extLst>
                <a:ext uri="{FF2B5EF4-FFF2-40B4-BE49-F238E27FC236}">
                  <a16:creationId xmlns:a16="http://schemas.microsoft.com/office/drawing/2014/main" xmlns="" id="{346F84E2-C28B-4AC2-A5D1-B05AF1E5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1" name="Oval 3128">
              <a:extLst>
                <a:ext uri="{FF2B5EF4-FFF2-40B4-BE49-F238E27FC236}">
                  <a16:creationId xmlns:a16="http://schemas.microsoft.com/office/drawing/2014/main" xmlns="" id="{F7C7065E-A557-446A-8CAA-D93DF24F50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2" name="Oval 3129">
              <a:extLst>
                <a:ext uri="{FF2B5EF4-FFF2-40B4-BE49-F238E27FC236}">
                  <a16:creationId xmlns:a16="http://schemas.microsoft.com/office/drawing/2014/main" xmlns="" id="{AA657277-906E-4FB7-8CAC-40CB9043FB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3" name="Oval 3130">
              <a:extLst>
                <a:ext uri="{FF2B5EF4-FFF2-40B4-BE49-F238E27FC236}">
                  <a16:creationId xmlns:a16="http://schemas.microsoft.com/office/drawing/2014/main" xmlns="" id="{BA796E87-F32A-457B-A09D-A82C965747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7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4" name="Oval 3131">
              <a:extLst>
                <a:ext uri="{FF2B5EF4-FFF2-40B4-BE49-F238E27FC236}">
                  <a16:creationId xmlns:a16="http://schemas.microsoft.com/office/drawing/2014/main" xmlns="" id="{1076C74B-AB82-4214-9611-6C65392F95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5" name="Oval 3132">
              <a:extLst>
                <a:ext uri="{FF2B5EF4-FFF2-40B4-BE49-F238E27FC236}">
                  <a16:creationId xmlns:a16="http://schemas.microsoft.com/office/drawing/2014/main" xmlns="" id="{2CECC33E-78A5-4DFD-84C2-5251E4E011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6" name="Oval 3133">
              <a:extLst>
                <a:ext uri="{FF2B5EF4-FFF2-40B4-BE49-F238E27FC236}">
                  <a16:creationId xmlns:a16="http://schemas.microsoft.com/office/drawing/2014/main" xmlns="" id="{E9E93BC7-74A5-4F50-BCB0-B4858E9187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7" name="Oval 3134">
              <a:extLst>
                <a:ext uri="{FF2B5EF4-FFF2-40B4-BE49-F238E27FC236}">
                  <a16:creationId xmlns:a16="http://schemas.microsoft.com/office/drawing/2014/main" xmlns="" id="{F4478692-25C7-46EB-BAA7-A4F462F073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24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8" name="Oval 3135">
              <a:extLst>
                <a:ext uri="{FF2B5EF4-FFF2-40B4-BE49-F238E27FC236}">
                  <a16:creationId xmlns:a16="http://schemas.microsoft.com/office/drawing/2014/main" xmlns="" id="{065020F9-D81F-487A-9728-44C850C52B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5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9" name="Oval 3136">
              <a:extLst>
                <a:ext uri="{FF2B5EF4-FFF2-40B4-BE49-F238E27FC236}">
                  <a16:creationId xmlns:a16="http://schemas.microsoft.com/office/drawing/2014/main" xmlns="" id="{292E6F45-4503-4B2F-8145-1E3DD5A7A7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5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0" name="Oval 3137">
              <a:extLst>
                <a:ext uri="{FF2B5EF4-FFF2-40B4-BE49-F238E27FC236}">
                  <a16:creationId xmlns:a16="http://schemas.microsoft.com/office/drawing/2014/main" xmlns="" id="{7F8C174F-1F82-4F47-AE4D-C38F37CA34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24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1" name="Oval 3138">
              <a:extLst>
                <a:ext uri="{FF2B5EF4-FFF2-40B4-BE49-F238E27FC236}">
                  <a16:creationId xmlns:a16="http://schemas.microsoft.com/office/drawing/2014/main" xmlns="" id="{D40A6F7C-872C-4D61-AC52-98E3B7C65F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23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2" name="Oval 3139">
              <a:extLst>
                <a:ext uri="{FF2B5EF4-FFF2-40B4-BE49-F238E27FC236}">
                  <a16:creationId xmlns:a16="http://schemas.microsoft.com/office/drawing/2014/main" xmlns="" id="{ECAFF863-340A-44B0-8701-322082B1D7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24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3" name="Oval 3140">
              <a:extLst>
                <a:ext uri="{FF2B5EF4-FFF2-40B4-BE49-F238E27FC236}">
                  <a16:creationId xmlns:a16="http://schemas.microsoft.com/office/drawing/2014/main" xmlns="" id="{0C688072-C3E7-4EA3-9BB7-0C28B90249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4" name="Oval 3141">
              <a:extLst>
                <a:ext uri="{FF2B5EF4-FFF2-40B4-BE49-F238E27FC236}">
                  <a16:creationId xmlns:a16="http://schemas.microsoft.com/office/drawing/2014/main" xmlns="" id="{976FFA0E-66E3-41E9-81C2-79F69F299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5" y="27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5" name="Oval 3142">
              <a:extLst>
                <a:ext uri="{FF2B5EF4-FFF2-40B4-BE49-F238E27FC236}">
                  <a16:creationId xmlns:a16="http://schemas.microsoft.com/office/drawing/2014/main" xmlns="" id="{577C6548-3332-449A-9EA5-1CDD5665D6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6" name="Oval 3143">
              <a:extLst>
                <a:ext uri="{FF2B5EF4-FFF2-40B4-BE49-F238E27FC236}">
                  <a16:creationId xmlns:a16="http://schemas.microsoft.com/office/drawing/2014/main" xmlns="" id="{3B5DBB04-FCED-4B9B-B2CA-1756586960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9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7" name="Oval 3144">
              <a:extLst>
                <a:ext uri="{FF2B5EF4-FFF2-40B4-BE49-F238E27FC236}">
                  <a16:creationId xmlns:a16="http://schemas.microsoft.com/office/drawing/2014/main" xmlns="" id="{F2922A1B-383A-4D88-B0CF-558B342FF6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30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8" name="Oval 3145">
              <a:extLst>
                <a:ext uri="{FF2B5EF4-FFF2-40B4-BE49-F238E27FC236}">
                  <a16:creationId xmlns:a16="http://schemas.microsoft.com/office/drawing/2014/main" xmlns="" id="{24435BC1-3BF6-440E-AC69-4A6D02A87B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9" name="Oval 3146">
              <a:extLst>
                <a:ext uri="{FF2B5EF4-FFF2-40B4-BE49-F238E27FC236}">
                  <a16:creationId xmlns:a16="http://schemas.microsoft.com/office/drawing/2014/main" xmlns="" id="{CE191E43-65A7-4A77-A456-E369E0C3D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4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0" name="Oval 3147">
              <a:extLst>
                <a:ext uri="{FF2B5EF4-FFF2-40B4-BE49-F238E27FC236}">
                  <a16:creationId xmlns:a16="http://schemas.microsoft.com/office/drawing/2014/main" xmlns="" id="{9A64915B-D54C-491B-A6F5-CACCAB0E85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21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1" name="Oval 3148">
              <a:extLst>
                <a:ext uri="{FF2B5EF4-FFF2-40B4-BE49-F238E27FC236}">
                  <a16:creationId xmlns:a16="http://schemas.microsoft.com/office/drawing/2014/main" xmlns="" id="{FF0FCBC0-2A67-4A4D-ACA7-7A562FB74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2" name="Oval 3149">
              <a:extLst>
                <a:ext uri="{FF2B5EF4-FFF2-40B4-BE49-F238E27FC236}">
                  <a16:creationId xmlns:a16="http://schemas.microsoft.com/office/drawing/2014/main" xmlns="" id="{4EC0E989-87EE-4A9B-8825-B67F755F35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3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3" name="Oval 3150">
              <a:extLst>
                <a:ext uri="{FF2B5EF4-FFF2-40B4-BE49-F238E27FC236}">
                  <a16:creationId xmlns:a16="http://schemas.microsoft.com/office/drawing/2014/main" xmlns="" id="{FA0FA3F2-70B8-4310-929F-9C636626EE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27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4" name="Oval 3151">
              <a:extLst>
                <a:ext uri="{FF2B5EF4-FFF2-40B4-BE49-F238E27FC236}">
                  <a16:creationId xmlns:a16="http://schemas.microsoft.com/office/drawing/2014/main" xmlns="" id="{1C65EFEB-56AD-495E-8F6C-CD201429ED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5" name="Oval 3152">
              <a:extLst>
                <a:ext uri="{FF2B5EF4-FFF2-40B4-BE49-F238E27FC236}">
                  <a16:creationId xmlns:a16="http://schemas.microsoft.com/office/drawing/2014/main" xmlns="" id="{8B70D84F-A4C2-4E43-BB62-605B4FA9DB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6" name="Oval 3153">
              <a:extLst>
                <a:ext uri="{FF2B5EF4-FFF2-40B4-BE49-F238E27FC236}">
                  <a16:creationId xmlns:a16="http://schemas.microsoft.com/office/drawing/2014/main" xmlns="" id="{96B25FF9-8E3E-4E4B-9AAB-1A2971B464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7" name="Oval 3154">
              <a:extLst>
                <a:ext uri="{FF2B5EF4-FFF2-40B4-BE49-F238E27FC236}">
                  <a16:creationId xmlns:a16="http://schemas.microsoft.com/office/drawing/2014/main" xmlns="" id="{DA0F317E-0D0D-4643-B07D-3C1186D374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9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8" name="Oval 3155">
              <a:extLst>
                <a:ext uri="{FF2B5EF4-FFF2-40B4-BE49-F238E27FC236}">
                  <a16:creationId xmlns:a16="http://schemas.microsoft.com/office/drawing/2014/main" xmlns="" id="{FB5FA394-51E8-46F8-8B56-9CF097FEB2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9" name="Oval 3156">
              <a:extLst>
                <a:ext uri="{FF2B5EF4-FFF2-40B4-BE49-F238E27FC236}">
                  <a16:creationId xmlns:a16="http://schemas.microsoft.com/office/drawing/2014/main" xmlns="" id="{6554689C-2D94-42E8-8EFA-71D7D241FF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0" name="Oval 3157">
              <a:extLst>
                <a:ext uri="{FF2B5EF4-FFF2-40B4-BE49-F238E27FC236}">
                  <a16:creationId xmlns:a16="http://schemas.microsoft.com/office/drawing/2014/main" xmlns="" id="{D049C377-0B8E-4A8E-9986-12A43462A1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1" name="Oval 3158">
              <a:extLst>
                <a:ext uri="{FF2B5EF4-FFF2-40B4-BE49-F238E27FC236}">
                  <a16:creationId xmlns:a16="http://schemas.microsoft.com/office/drawing/2014/main" xmlns="" id="{C168DA0A-041A-4C08-8E8C-9060AF621E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7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2" name="Oval 3159">
              <a:extLst>
                <a:ext uri="{FF2B5EF4-FFF2-40B4-BE49-F238E27FC236}">
                  <a16:creationId xmlns:a16="http://schemas.microsoft.com/office/drawing/2014/main" xmlns="" id="{50F0F6E1-9890-46F3-A49A-0DB1318ED2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4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3" name="Oval 3160">
              <a:extLst>
                <a:ext uri="{FF2B5EF4-FFF2-40B4-BE49-F238E27FC236}">
                  <a16:creationId xmlns:a16="http://schemas.microsoft.com/office/drawing/2014/main" xmlns="" id="{B2D418C4-7178-4F71-A534-71307B03E4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4" name="Oval 3161">
              <a:extLst>
                <a:ext uri="{FF2B5EF4-FFF2-40B4-BE49-F238E27FC236}">
                  <a16:creationId xmlns:a16="http://schemas.microsoft.com/office/drawing/2014/main" xmlns="" id="{CD3C8309-6234-4670-8166-827C04F3C8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4" y="30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5" name="Oval 3162">
              <a:extLst>
                <a:ext uri="{FF2B5EF4-FFF2-40B4-BE49-F238E27FC236}">
                  <a16:creationId xmlns:a16="http://schemas.microsoft.com/office/drawing/2014/main" xmlns="" id="{99DDC8D4-6858-49E3-B649-83C20BA9D1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9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6" name="Oval 3163">
              <a:extLst>
                <a:ext uri="{FF2B5EF4-FFF2-40B4-BE49-F238E27FC236}">
                  <a16:creationId xmlns:a16="http://schemas.microsoft.com/office/drawing/2014/main" xmlns="" id="{37248B00-7250-4124-99BE-A3417FEAE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4" y="30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7" name="Oval 3164">
              <a:extLst>
                <a:ext uri="{FF2B5EF4-FFF2-40B4-BE49-F238E27FC236}">
                  <a16:creationId xmlns:a16="http://schemas.microsoft.com/office/drawing/2014/main" xmlns="" id="{074D325B-95E3-4E79-95B3-7D42A699E8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8" name="Oval 3165">
              <a:extLst>
                <a:ext uri="{FF2B5EF4-FFF2-40B4-BE49-F238E27FC236}">
                  <a16:creationId xmlns:a16="http://schemas.microsoft.com/office/drawing/2014/main" xmlns="" id="{27D88805-3713-4A15-8E29-714B5CDB9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30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9" name="Oval 3166">
              <a:extLst>
                <a:ext uri="{FF2B5EF4-FFF2-40B4-BE49-F238E27FC236}">
                  <a16:creationId xmlns:a16="http://schemas.microsoft.com/office/drawing/2014/main" xmlns="" id="{24275F87-1D72-4D67-9646-3659F416BB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0" name="Oval 3167">
              <a:extLst>
                <a:ext uri="{FF2B5EF4-FFF2-40B4-BE49-F238E27FC236}">
                  <a16:creationId xmlns:a16="http://schemas.microsoft.com/office/drawing/2014/main" xmlns="" id="{76E70DEE-D77F-4885-AA70-6DB52C1739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1" name="Oval 3168">
              <a:extLst>
                <a:ext uri="{FF2B5EF4-FFF2-40B4-BE49-F238E27FC236}">
                  <a16:creationId xmlns:a16="http://schemas.microsoft.com/office/drawing/2014/main" xmlns="" id="{A7695C32-10A6-431C-A791-0FE6F7E1E7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9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8BF80C3F-6F81-41C7-A979-1FF004E8E7D3}"/>
              </a:ext>
            </a:extLst>
          </p:cNvPr>
          <p:cNvGrpSpPr/>
          <p:nvPr/>
        </p:nvGrpSpPr>
        <p:grpSpPr>
          <a:xfrm>
            <a:off x="2874415" y="1090998"/>
            <a:ext cx="6490235" cy="3005777"/>
            <a:chOff x="2874415" y="1090998"/>
            <a:chExt cx="6490235" cy="3005777"/>
          </a:xfrm>
        </p:grpSpPr>
        <p:sp>
          <p:nvSpPr>
            <p:cNvPr id="3446" name="Oval 3445">
              <a:extLst>
                <a:ext uri="{FF2B5EF4-FFF2-40B4-BE49-F238E27FC236}">
                  <a16:creationId xmlns:a16="http://schemas.microsoft.com/office/drawing/2014/main" xmlns="" id="{57679F6E-893D-495C-9405-255A5CBBF40E}"/>
                </a:ext>
              </a:extLst>
            </p:cNvPr>
            <p:cNvSpPr/>
            <p:nvPr/>
          </p:nvSpPr>
          <p:spPr>
            <a:xfrm>
              <a:off x="6566463" y="1472547"/>
              <a:ext cx="2358881" cy="2358881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45" name="Oval 3444">
              <a:extLst>
                <a:ext uri="{FF2B5EF4-FFF2-40B4-BE49-F238E27FC236}">
                  <a16:creationId xmlns:a16="http://schemas.microsoft.com/office/drawing/2014/main" xmlns="" id="{9F415423-D7FE-493B-89E0-91B64079247B}"/>
                </a:ext>
              </a:extLst>
            </p:cNvPr>
            <p:cNvSpPr/>
            <p:nvPr/>
          </p:nvSpPr>
          <p:spPr>
            <a:xfrm>
              <a:off x="3306000" y="1472547"/>
              <a:ext cx="2358881" cy="2358881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xmlns="" id="{8D57C345-643D-4C43-AE5F-4DE9335D64ED}"/>
                </a:ext>
              </a:extLst>
            </p:cNvPr>
            <p:cNvGrpSpPr/>
            <p:nvPr>
              <p:custDataLst>
                <p:tags r:id="rId21"/>
              </p:custDataLst>
            </p:nvPr>
          </p:nvGrpSpPr>
          <p:grpSpPr>
            <a:xfrm>
              <a:off x="2874415" y="1090998"/>
              <a:ext cx="6490235" cy="3005777"/>
              <a:chOff x="2874415" y="1090998"/>
              <a:chExt cx="6490235" cy="3005777"/>
            </a:xfrm>
          </p:grpSpPr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xmlns="" id="{6DDAE028-1711-439E-A86A-C87BF9147CDD}"/>
                  </a:ext>
                </a:extLst>
              </p:cNvPr>
              <p:cNvGrpSpPr/>
              <p:nvPr/>
            </p:nvGrpSpPr>
            <p:grpSpPr>
              <a:xfrm>
                <a:off x="3128937" y="1630273"/>
                <a:ext cx="5460006" cy="2138287"/>
                <a:chOff x="3128937" y="1630273"/>
                <a:chExt cx="5460006" cy="2138287"/>
              </a:xfrm>
            </p:grpSpPr>
            <p:cxnSp>
              <p:nvCxnSpPr>
                <p:cNvPr id="3504" name="Straight Connector 3503">
                  <a:extLst>
                    <a:ext uri="{FF2B5EF4-FFF2-40B4-BE49-F238E27FC236}">
                      <a16:creationId xmlns:a16="http://schemas.microsoft.com/office/drawing/2014/main" xmlns="" id="{73B0551B-8239-4081-A93B-75479F0F1AA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369412" y="3285907"/>
                  <a:ext cx="184145" cy="482653"/>
                </a:xfrm>
                <a:prstGeom prst="line">
                  <a:avLst/>
                </a:prstGeom>
                <a:ln w="63500">
                  <a:solidFill>
                    <a:srgbClr val="EBEBE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08" name="Straight Connector 3507">
                  <a:extLst>
                    <a:ext uri="{FF2B5EF4-FFF2-40B4-BE49-F238E27FC236}">
                      <a16:creationId xmlns:a16="http://schemas.microsoft.com/office/drawing/2014/main" xmlns="" id="{6DB3E471-700D-4BA6-A50D-48491A5AEFC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8111156" y="1653749"/>
                  <a:ext cx="236084" cy="327790"/>
                </a:xfrm>
                <a:prstGeom prst="line">
                  <a:avLst/>
                </a:prstGeom>
                <a:ln w="63500">
                  <a:solidFill>
                    <a:srgbClr val="EBEBE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01" name="Straight Connector 3500">
                  <a:extLst>
                    <a:ext uri="{FF2B5EF4-FFF2-40B4-BE49-F238E27FC236}">
                      <a16:creationId xmlns:a16="http://schemas.microsoft.com/office/drawing/2014/main" xmlns="" id="{6AEEE599-41D4-41C7-BFD1-FAC7CB20DC5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01106" y="1863496"/>
                  <a:ext cx="294917" cy="308294"/>
                </a:xfrm>
                <a:prstGeom prst="line">
                  <a:avLst/>
                </a:prstGeom>
                <a:ln w="63500">
                  <a:solidFill>
                    <a:srgbClr val="EBEBE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48" name="Straight Connector 3447">
                  <a:extLst>
                    <a:ext uri="{FF2B5EF4-FFF2-40B4-BE49-F238E27FC236}">
                      <a16:creationId xmlns:a16="http://schemas.microsoft.com/office/drawing/2014/main" xmlns="" id="{D3F47701-B710-462A-B9D3-8F44610E9F8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28937" y="2669454"/>
                  <a:ext cx="3916223" cy="0"/>
                </a:xfrm>
                <a:prstGeom prst="line">
                  <a:avLst/>
                </a:prstGeom>
                <a:ln w="63500">
                  <a:solidFill>
                    <a:srgbClr val="EBEBE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43" name="Straight Connector 3442">
                  <a:extLst>
                    <a:ext uri="{FF2B5EF4-FFF2-40B4-BE49-F238E27FC236}">
                      <a16:creationId xmlns:a16="http://schemas.microsoft.com/office/drawing/2014/main" xmlns="" id="{A23DDF24-2EF0-45E4-8CEE-DBC0C61400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117710" y="3252958"/>
                  <a:ext cx="234229" cy="157829"/>
                </a:xfrm>
                <a:prstGeom prst="line">
                  <a:avLst/>
                </a:prstGeom>
                <a:ln w="63500">
                  <a:solidFill>
                    <a:srgbClr val="EBEBE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573" name="Oval 2572">
                  <a:extLst>
                    <a:ext uri="{FF2B5EF4-FFF2-40B4-BE49-F238E27FC236}">
                      <a16:creationId xmlns:a16="http://schemas.microsoft.com/office/drawing/2014/main" xmlns="" id="{74C91EB0-6669-485F-B16A-13F7364467DF}"/>
                    </a:ext>
                  </a:extLst>
                </p:cNvPr>
                <p:cNvSpPr/>
                <p:nvPr/>
              </p:nvSpPr>
              <p:spPr>
                <a:xfrm>
                  <a:off x="3640021" y="1803844"/>
                  <a:ext cx="1731220" cy="1731220"/>
                </a:xfrm>
                <a:prstGeom prst="ellipse">
                  <a:avLst/>
                </a:prstGeom>
                <a:solidFill>
                  <a:srgbClr val="F2F2F3"/>
                </a:solidFill>
                <a:ln cap="rnd">
                  <a:solidFill>
                    <a:schemeClr val="accent1">
                      <a:lumMod val="40000"/>
                      <a:lumOff val="60000"/>
                    </a:schemeClr>
                  </a:solidFill>
                  <a:prstDash val="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574" name="Oval 2573">
                  <a:extLst>
                    <a:ext uri="{FF2B5EF4-FFF2-40B4-BE49-F238E27FC236}">
                      <a16:creationId xmlns:a16="http://schemas.microsoft.com/office/drawing/2014/main" xmlns="" id="{03D8EBB7-FBB9-4CCA-958D-56ADDBFCB95A}"/>
                    </a:ext>
                  </a:extLst>
                </p:cNvPr>
                <p:cNvSpPr/>
                <p:nvPr/>
              </p:nvSpPr>
              <p:spPr>
                <a:xfrm>
                  <a:off x="6857723" y="1803844"/>
                  <a:ext cx="1731220" cy="1731220"/>
                </a:xfrm>
                <a:prstGeom prst="ellipse">
                  <a:avLst/>
                </a:prstGeom>
                <a:solidFill>
                  <a:srgbClr val="F2F2F3"/>
                </a:solidFill>
                <a:ln cap="rnd">
                  <a:solidFill>
                    <a:schemeClr val="accent1">
                      <a:lumMod val="40000"/>
                      <a:lumOff val="60000"/>
                    </a:schemeClr>
                  </a:solidFill>
                  <a:prstDash val="dash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/>
                </a:p>
              </p:txBody>
            </p:sp>
            <p:pic>
              <p:nvPicPr>
                <p:cNvPr id="2576" name="Picture 2575">
                  <a:extLst>
                    <a:ext uri="{FF2B5EF4-FFF2-40B4-BE49-F238E27FC236}">
                      <a16:creationId xmlns:a16="http://schemas.microsoft.com/office/drawing/2014/main" xmlns="" id="{79D0F817-A6C1-49D2-8F77-A10BD9A6358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530993" y="1633449"/>
                  <a:ext cx="429820" cy="429820"/>
                </a:xfrm>
                <a:prstGeom prst="rect">
                  <a:avLst/>
                </a:prstGeom>
              </p:spPr>
            </p:pic>
            <p:pic>
              <p:nvPicPr>
                <p:cNvPr id="1314" name="Picture 1313">
                  <a:extLst>
                    <a:ext uri="{FF2B5EF4-FFF2-40B4-BE49-F238E27FC236}">
                      <a16:creationId xmlns:a16="http://schemas.microsoft.com/office/drawing/2014/main" xmlns="" id="{11B100FB-3B15-4655-9F85-3046995E823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530879" y="3291285"/>
                  <a:ext cx="430049" cy="430049"/>
                </a:xfrm>
                <a:prstGeom prst="rect">
                  <a:avLst/>
                </a:prstGeom>
              </p:spPr>
            </p:pic>
            <p:pic>
              <p:nvPicPr>
                <p:cNvPr id="1051" name="Graphic 1050">
                  <a:extLst>
                    <a:ext uri="{FF2B5EF4-FFF2-40B4-BE49-F238E27FC236}">
                      <a16:creationId xmlns:a16="http://schemas.microsoft.com/office/drawing/2014/main" xmlns="" id="{CB061DD2-CB0C-4D6C-8ECD-68B4ECA759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6">
                  <a:extLst>
                    <a:ext uri="{96DAC541-7B7A-43D3-8B79-37D633B846F1}">
                      <asvg:svgBlip xmlns:asvg="http://schemas.microsoft.com/office/drawing/2016/SVG/main" xmlns="" r:embed="rId2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74353" y="1630273"/>
                  <a:ext cx="422385" cy="422385"/>
                </a:xfrm>
                <a:prstGeom prst="rect">
                  <a:avLst/>
                </a:prstGeom>
              </p:spPr>
            </p:pic>
          </p:grp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xmlns="" id="{3EB16A59-717A-4003-80F2-41E0FD61C497}"/>
                  </a:ext>
                </a:extLst>
              </p:cNvPr>
              <p:cNvSpPr/>
              <p:nvPr/>
            </p:nvSpPr>
            <p:spPr>
              <a:xfrm>
                <a:off x="2874415" y="1090998"/>
                <a:ext cx="6490235" cy="3005777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cxnSp>
        <p:nvCxnSpPr>
          <p:cNvPr id="3582" name="Straight Connector 3581">
            <a:extLst>
              <a:ext uri="{FF2B5EF4-FFF2-40B4-BE49-F238E27FC236}">
                <a16:creationId xmlns:a16="http://schemas.microsoft.com/office/drawing/2014/main" xmlns="" id="{317420A0-5DD8-4BFF-8170-EB4856FE5AF1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4885101" y="2668784"/>
            <a:ext cx="2461064" cy="0"/>
          </a:xfrm>
          <a:prstGeom prst="line">
            <a:avLst/>
          </a:prstGeom>
          <a:ln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1" name="Straight Connector 3660">
            <a:extLst>
              <a:ext uri="{FF2B5EF4-FFF2-40B4-BE49-F238E27FC236}">
                <a16:creationId xmlns:a16="http://schemas.microsoft.com/office/drawing/2014/main" xmlns="" id="{E9528C8C-7185-4E88-A004-C0F46061C1A6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3187957" y="2668784"/>
            <a:ext cx="929320" cy="0"/>
          </a:xfrm>
          <a:prstGeom prst="line">
            <a:avLst/>
          </a:prstGeom>
          <a:ln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44" name="Freeform: Shape 3443">
            <a:extLst>
              <a:ext uri="{FF2B5EF4-FFF2-40B4-BE49-F238E27FC236}">
                <a16:creationId xmlns:a16="http://schemas.microsoft.com/office/drawing/2014/main" xmlns="" id="{469A5848-6187-4192-A46B-755A9A8A9D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31135" y="1260459"/>
            <a:ext cx="6374240" cy="2674054"/>
          </a:xfrm>
          <a:custGeom>
            <a:avLst/>
            <a:gdLst>
              <a:gd name="connsiteX0" fmla="*/ 4794585 w 6374240"/>
              <a:gd name="connsiteY0" fmla="*/ 259675 h 2674054"/>
              <a:gd name="connsiteX1" fmla="*/ 3655701 w 6374240"/>
              <a:gd name="connsiteY1" fmla="*/ 1395157 h 2674054"/>
              <a:gd name="connsiteX2" fmla="*/ 4794585 w 6374240"/>
              <a:gd name="connsiteY2" fmla="*/ 2530639 h 2674054"/>
              <a:gd name="connsiteX3" fmla="*/ 5933469 w 6374240"/>
              <a:gd name="connsiteY3" fmla="*/ 1395157 h 2674054"/>
              <a:gd name="connsiteX4" fmla="*/ 4794585 w 6374240"/>
              <a:gd name="connsiteY4" fmla="*/ 259675 h 2674054"/>
              <a:gd name="connsiteX5" fmla="*/ 1574605 w 6374240"/>
              <a:gd name="connsiteY5" fmla="*/ 259673 h 2674054"/>
              <a:gd name="connsiteX6" fmla="*/ 428923 w 6374240"/>
              <a:gd name="connsiteY6" fmla="*/ 1395156 h 2674054"/>
              <a:gd name="connsiteX7" fmla="*/ 1574605 w 6374240"/>
              <a:gd name="connsiteY7" fmla="*/ 2530639 h 2674054"/>
              <a:gd name="connsiteX8" fmla="*/ 2720287 w 6374240"/>
              <a:gd name="connsiteY8" fmla="*/ 1395156 h 2674054"/>
              <a:gd name="connsiteX9" fmla="*/ 1574605 w 6374240"/>
              <a:gd name="connsiteY9" fmla="*/ 259673 h 2674054"/>
              <a:gd name="connsiteX10" fmla="*/ 3181118 w 6374240"/>
              <a:gd name="connsiteY10" fmla="*/ 0 h 2674054"/>
              <a:gd name="connsiteX11" fmla="*/ 3925380 w 6374240"/>
              <a:gd name="connsiteY11" fmla="*/ 455668 h 2674054"/>
              <a:gd name="connsiteX12" fmla="*/ 4789683 w 6374240"/>
              <a:gd name="connsiteY12" fmla="*/ 119913 h 2674054"/>
              <a:gd name="connsiteX13" fmla="*/ 5822046 w 6374240"/>
              <a:gd name="connsiteY13" fmla="*/ 635538 h 2674054"/>
              <a:gd name="connsiteX14" fmla="*/ 6374240 w 6374240"/>
              <a:gd name="connsiteY14" fmla="*/ 1390988 h 2674054"/>
              <a:gd name="connsiteX15" fmla="*/ 5822046 w 6374240"/>
              <a:gd name="connsiteY15" fmla="*/ 2158429 h 2674054"/>
              <a:gd name="connsiteX16" fmla="*/ 4789683 w 6374240"/>
              <a:gd name="connsiteY16" fmla="*/ 2674054 h 2674054"/>
              <a:gd name="connsiteX17" fmla="*/ 3529240 w 6374240"/>
              <a:gd name="connsiteY17" fmla="*/ 1606831 h 2674054"/>
              <a:gd name="connsiteX18" fmla="*/ 3181118 w 6374240"/>
              <a:gd name="connsiteY18" fmla="*/ 1678778 h 2674054"/>
              <a:gd name="connsiteX19" fmla="*/ 2832996 w 6374240"/>
              <a:gd name="connsiteY19" fmla="*/ 1606831 h 2674054"/>
              <a:gd name="connsiteX20" fmla="*/ 1572553 w 6374240"/>
              <a:gd name="connsiteY20" fmla="*/ 2674054 h 2674054"/>
              <a:gd name="connsiteX21" fmla="*/ 540190 w 6374240"/>
              <a:gd name="connsiteY21" fmla="*/ 2158429 h 2674054"/>
              <a:gd name="connsiteX22" fmla="*/ 0 w 6374240"/>
              <a:gd name="connsiteY22" fmla="*/ 1390988 h 2674054"/>
              <a:gd name="connsiteX23" fmla="*/ 540190 w 6374240"/>
              <a:gd name="connsiteY23" fmla="*/ 635538 h 2674054"/>
              <a:gd name="connsiteX24" fmla="*/ 1572553 w 6374240"/>
              <a:gd name="connsiteY24" fmla="*/ 119913 h 2674054"/>
              <a:gd name="connsiteX25" fmla="*/ 2436856 w 6374240"/>
              <a:gd name="connsiteY25" fmla="*/ 455668 h 2674054"/>
              <a:gd name="connsiteX26" fmla="*/ 3181118 w 6374240"/>
              <a:gd name="connsiteY26" fmla="*/ 0 h 2674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74240" h="2674054">
                <a:moveTo>
                  <a:pt x="4794585" y="259675"/>
                </a:moveTo>
                <a:cubicBezTo>
                  <a:pt x="4165597" y="259675"/>
                  <a:pt x="3655701" y="768048"/>
                  <a:pt x="3655701" y="1395157"/>
                </a:cubicBezTo>
                <a:cubicBezTo>
                  <a:pt x="3655701" y="2022266"/>
                  <a:pt x="4165597" y="2530639"/>
                  <a:pt x="4794585" y="2530639"/>
                </a:cubicBezTo>
                <a:cubicBezTo>
                  <a:pt x="5423573" y="2530639"/>
                  <a:pt x="5933469" y="2022266"/>
                  <a:pt x="5933469" y="1395157"/>
                </a:cubicBezTo>
                <a:cubicBezTo>
                  <a:pt x="5933469" y="768048"/>
                  <a:pt x="5423573" y="259675"/>
                  <a:pt x="4794585" y="259675"/>
                </a:cubicBezTo>
                <a:close/>
                <a:moveTo>
                  <a:pt x="1574605" y="259673"/>
                </a:moveTo>
                <a:cubicBezTo>
                  <a:pt x="941862" y="259673"/>
                  <a:pt x="428923" y="768046"/>
                  <a:pt x="428923" y="1395156"/>
                </a:cubicBezTo>
                <a:cubicBezTo>
                  <a:pt x="428923" y="2022266"/>
                  <a:pt x="941862" y="2530639"/>
                  <a:pt x="1574605" y="2530639"/>
                </a:cubicBezTo>
                <a:cubicBezTo>
                  <a:pt x="2207348" y="2530639"/>
                  <a:pt x="2720287" y="2022266"/>
                  <a:pt x="2720287" y="1395156"/>
                </a:cubicBezTo>
                <a:cubicBezTo>
                  <a:pt x="2720287" y="768046"/>
                  <a:pt x="2207348" y="259673"/>
                  <a:pt x="1574605" y="259673"/>
                </a:cubicBezTo>
                <a:close/>
                <a:moveTo>
                  <a:pt x="3181118" y="0"/>
                </a:moveTo>
                <a:cubicBezTo>
                  <a:pt x="3505232" y="0"/>
                  <a:pt x="3793333" y="179869"/>
                  <a:pt x="3925380" y="455668"/>
                </a:cubicBezTo>
                <a:cubicBezTo>
                  <a:pt x="4153460" y="239825"/>
                  <a:pt x="4465570" y="119913"/>
                  <a:pt x="4789683" y="119913"/>
                </a:cubicBezTo>
                <a:cubicBezTo>
                  <a:pt x="5209831" y="119913"/>
                  <a:pt x="5593966" y="323764"/>
                  <a:pt x="5822046" y="635538"/>
                </a:cubicBezTo>
                <a:cubicBezTo>
                  <a:pt x="6146160" y="743459"/>
                  <a:pt x="6374240" y="1043241"/>
                  <a:pt x="6374240" y="1390988"/>
                </a:cubicBezTo>
                <a:cubicBezTo>
                  <a:pt x="6374240" y="1750726"/>
                  <a:pt x="6146160" y="2050508"/>
                  <a:pt x="5822046" y="2158429"/>
                </a:cubicBezTo>
                <a:cubicBezTo>
                  <a:pt x="5593966" y="2470202"/>
                  <a:pt x="5209831" y="2674054"/>
                  <a:pt x="4789683" y="2674054"/>
                </a:cubicBezTo>
                <a:cubicBezTo>
                  <a:pt x="4153460" y="2674054"/>
                  <a:pt x="3625274" y="2206394"/>
                  <a:pt x="3529240" y="1606831"/>
                </a:cubicBezTo>
                <a:cubicBezTo>
                  <a:pt x="3421202" y="1654796"/>
                  <a:pt x="3313164" y="1678778"/>
                  <a:pt x="3181118" y="1678778"/>
                </a:cubicBezTo>
                <a:cubicBezTo>
                  <a:pt x="3061076" y="1678778"/>
                  <a:pt x="2941034" y="1654796"/>
                  <a:pt x="2832996" y="1606831"/>
                </a:cubicBezTo>
                <a:cubicBezTo>
                  <a:pt x="2736962" y="2206394"/>
                  <a:pt x="2208776" y="2674054"/>
                  <a:pt x="1572553" y="2674054"/>
                </a:cubicBezTo>
                <a:cubicBezTo>
                  <a:pt x="1152405" y="2674054"/>
                  <a:pt x="780274" y="2470202"/>
                  <a:pt x="540190" y="2158429"/>
                </a:cubicBezTo>
                <a:cubicBezTo>
                  <a:pt x="228080" y="2050508"/>
                  <a:pt x="0" y="1750726"/>
                  <a:pt x="0" y="1390988"/>
                </a:cubicBezTo>
                <a:cubicBezTo>
                  <a:pt x="0" y="1043241"/>
                  <a:pt x="228080" y="743459"/>
                  <a:pt x="540190" y="635538"/>
                </a:cubicBezTo>
                <a:cubicBezTo>
                  <a:pt x="780274" y="323764"/>
                  <a:pt x="1152405" y="119913"/>
                  <a:pt x="1572553" y="119913"/>
                </a:cubicBezTo>
                <a:cubicBezTo>
                  <a:pt x="1908671" y="119913"/>
                  <a:pt x="2208776" y="239825"/>
                  <a:pt x="2436856" y="455668"/>
                </a:cubicBezTo>
                <a:cubicBezTo>
                  <a:pt x="2580907" y="179869"/>
                  <a:pt x="2857004" y="0"/>
                  <a:pt x="3181118" y="0"/>
                </a:cubicBezTo>
                <a:close/>
              </a:path>
            </a:pathLst>
          </a:custGeom>
          <a:solidFill>
            <a:schemeClr val="tx2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cxnSp>
        <p:nvCxnSpPr>
          <p:cNvPr id="3607" name="Connector: Elbow 3606">
            <a:extLst>
              <a:ext uri="{FF2B5EF4-FFF2-40B4-BE49-F238E27FC236}">
                <a16:creationId xmlns:a16="http://schemas.microsoft.com/office/drawing/2014/main" xmlns="" id="{AB612B98-4CDD-4D2A-A6A9-01C06C2FD49A}"/>
              </a:ext>
            </a:extLst>
          </p:cNvPr>
          <p:cNvCxnSpPr>
            <a:cxnSpLocks/>
          </p:cNvCxnSpPr>
          <p:nvPr/>
        </p:nvCxnSpPr>
        <p:spPr>
          <a:xfrm rot="5400000">
            <a:off x="7277507" y="2457485"/>
            <a:ext cx="279960" cy="142643"/>
          </a:xfrm>
          <a:prstGeom prst="bentConnector3">
            <a:avLst>
              <a:gd name="adj1" fmla="val -184"/>
            </a:avLst>
          </a:prstGeom>
          <a:ln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1" name="Connector: Elbow 3610">
            <a:extLst>
              <a:ext uri="{FF2B5EF4-FFF2-40B4-BE49-F238E27FC236}">
                <a16:creationId xmlns:a16="http://schemas.microsoft.com/office/drawing/2014/main" xmlns="" id="{5CD3A2E4-7E63-4D8F-AD70-3C000BAA2F14}"/>
              </a:ext>
            </a:extLst>
          </p:cNvPr>
          <p:cNvCxnSpPr>
            <a:cxnSpLocks/>
          </p:cNvCxnSpPr>
          <p:nvPr/>
        </p:nvCxnSpPr>
        <p:spPr>
          <a:xfrm rot="16200000" flipV="1">
            <a:off x="7277507" y="2743415"/>
            <a:ext cx="279960" cy="142643"/>
          </a:xfrm>
          <a:prstGeom prst="bentConnector3">
            <a:avLst>
              <a:gd name="adj1" fmla="val -184"/>
            </a:avLst>
          </a:prstGeom>
          <a:ln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941A42D-75B0-47CC-BB9B-14DCA7FBC5D0}"/>
              </a:ext>
            </a:extLst>
          </p:cNvPr>
          <p:cNvSpPr/>
          <p:nvPr/>
        </p:nvSpPr>
        <p:spPr>
          <a:xfrm>
            <a:off x="-8530" y="-2810"/>
            <a:ext cx="3048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FCC2024E-4C1C-491C-89B0-E218DD07924A}"/>
              </a:ext>
            </a:extLst>
          </p:cNvPr>
          <p:cNvSpPr txBox="1"/>
          <p:nvPr/>
        </p:nvSpPr>
        <p:spPr>
          <a:xfrm>
            <a:off x="470129" y="437529"/>
            <a:ext cx="485546" cy="2631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0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66B1CDC2-09F5-46B2-8C85-49C88B6107BE}"/>
              </a:ext>
            </a:extLst>
          </p:cNvPr>
          <p:cNvSpPr txBox="1"/>
          <p:nvPr/>
        </p:nvSpPr>
        <p:spPr>
          <a:xfrm>
            <a:off x="1624281" y="437529"/>
            <a:ext cx="485546" cy="2631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03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973EDB0B-5B05-4D71-ABD7-10D5C483FEC6}"/>
              </a:ext>
            </a:extLst>
          </p:cNvPr>
          <p:cNvSpPr txBox="1"/>
          <p:nvPr/>
        </p:nvSpPr>
        <p:spPr>
          <a:xfrm>
            <a:off x="1047205" y="437529"/>
            <a:ext cx="485546" cy="2631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02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87E70065-45E0-4FA6-AA09-27E3B9D1C080}"/>
              </a:ext>
            </a:extLst>
          </p:cNvPr>
          <p:cNvGrpSpPr/>
          <p:nvPr/>
        </p:nvGrpSpPr>
        <p:grpSpPr>
          <a:xfrm>
            <a:off x="1064458" y="710972"/>
            <a:ext cx="457390" cy="457390"/>
            <a:chOff x="1176043" y="485585"/>
            <a:chExt cx="457390" cy="457390"/>
          </a:xfrm>
        </p:grpSpPr>
        <p:sp>
          <p:nvSpPr>
            <p:cNvPr id="145" name="Oval 144">
              <a:extLst>
                <a:ext uri="{FF2B5EF4-FFF2-40B4-BE49-F238E27FC236}">
                  <a16:creationId xmlns:a16="http://schemas.microsoft.com/office/drawing/2014/main" xmlns="" id="{0E7507E6-D844-4F56-92A0-3B2CEB3CBC0D}"/>
                </a:ext>
              </a:extLst>
            </p:cNvPr>
            <p:cNvSpPr/>
            <p:nvPr/>
          </p:nvSpPr>
          <p:spPr>
            <a:xfrm>
              <a:off x="1176043" y="485585"/>
              <a:ext cx="457390" cy="45739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1230721" y="544915"/>
              <a:ext cx="349271" cy="349271"/>
              <a:chOff x="2581275" y="2152858"/>
              <a:chExt cx="933450" cy="933450"/>
            </a:xfrm>
          </p:grpSpPr>
          <p:sp>
            <p:nvSpPr>
              <p:cNvPr id="7" name="Freeform 5"/>
              <p:cNvSpPr>
                <a:spLocks/>
              </p:cNvSpPr>
              <p:nvPr/>
            </p:nvSpPr>
            <p:spPr bwMode="auto">
              <a:xfrm>
                <a:off x="2581275" y="2152858"/>
                <a:ext cx="933450" cy="933450"/>
              </a:xfrm>
              <a:custGeom>
                <a:avLst/>
                <a:gdLst>
                  <a:gd name="T0" fmla="*/ 1039 w 1264"/>
                  <a:gd name="T1" fmla="*/ 1039 h 1264"/>
                  <a:gd name="T2" fmla="*/ 225 w 1264"/>
                  <a:gd name="T3" fmla="*/ 1039 h 1264"/>
                  <a:gd name="T4" fmla="*/ 225 w 1264"/>
                  <a:gd name="T5" fmla="*/ 225 h 1264"/>
                  <a:gd name="T6" fmla="*/ 1039 w 1264"/>
                  <a:gd name="T7" fmla="*/ 225 h 1264"/>
                  <a:gd name="T8" fmla="*/ 1039 w 1264"/>
                  <a:gd name="T9" fmla="*/ 1039 h 1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4" h="1264">
                    <a:moveTo>
                      <a:pt x="1039" y="1039"/>
                    </a:moveTo>
                    <a:cubicBezTo>
                      <a:pt x="814" y="1264"/>
                      <a:pt x="450" y="1264"/>
                      <a:pt x="225" y="1039"/>
                    </a:cubicBezTo>
                    <a:cubicBezTo>
                      <a:pt x="0" y="814"/>
                      <a:pt x="0" y="450"/>
                      <a:pt x="225" y="225"/>
                    </a:cubicBezTo>
                    <a:cubicBezTo>
                      <a:pt x="450" y="0"/>
                      <a:pt x="814" y="0"/>
                      <a:pt x="1039" y="225"/>
                    </a:cubicBezTo>
                    <a:cubicBezTo>
                      <a:pt x="1264" y="450"/>
                      <a:pt x="1264" y="814"/>
                      <a:pt x="1039" y="1039"/>
                    </a:cubicBezTo>
                    <a:close/>
                  </a:path>
                </a:pathLst>
              </a:cu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26" name="Group 25"/>
              <p:cNvGrpSpPr/>
              <p:nvPr/>
            </p:nvGrpSpPr>
            <p:grpSpPr>
              <a:xfrm>
                <a:off x="2728913" y="2324308"/>
                <a:ext cx="638175" cy="590551"/>
                <a:chOff x="2728913" y="2324100"/>
                <a:chExt cx="638175" cy="590551"/>
              </a:xfrm>
              <a:solidFill>
                <a:schemeClr val="accent1">
                  <a:lumMod val="75000"/>
                  <a:alpha val="40000"/>
                </a:schemeClr>
              </a:solidFill>
            </p:grpSpPr>
            <p:sp>
              <p:nvSpPr>
                <p:cNvPr id="8" name="Freeform 6"/>
                <p:cNvSpPr>
                  <a:spLocks noEditPoints="1"/>
                </p:cNvSpPr>
                <p:nvPr/>
              </p:nvSpPr>
              <p:spPr bwMode="auto">
                <a:xfrm>
                  <a:off x="2728913" y="2324100"/>
                  <a:ext cx="638175" cy="333375"/>
                </a:xfrm>
                <a:custGeom>
                  <a:avLst/>
                  <a:gdLst>
                    <a:gd name="T0" fmla="*/ 237 w 864"/>
                    <a:gd name="T1" fmla="*/ 452 h 452"/>
                    <a:gd name="T2" fmla="*/ 628 w 864"/>
                    <a:gd name="T3" fmla="*/ 452 h 452"/>
                    <a:gd name="T4" fmla="*/ 835 w 864"/>
                    <a:gd name="T5" fmla="*/ 452 h 452"/>
                    <a:gd name="T6" fmla="*/ 864 w 864"/>
                    <a:gd name="T7" fmla="*/ 412 h 452"/>
                    <a:gd name="T8" fmla="*/ 788 w 864"/>
                    <a:gd name="T9" fmla="*/ 188 h 452"/>
                    <a:gd name="T10" fmla="*/ 749 w 864"/>
                    <a:gd name="T11" fmla="*/ 139 h 452"/>
                    <a:gd name="T12" fmla="*/ 721 w 864"/>
                    <a:gd name="T13" fmla="*/ 111 h 452"/>
                    <a:gd name="T14" fmla="*/ 701 w 864"/>
                    <a:gd name="T15" fmla="*/ 94 h 452"/>
                    <a:gd name="T16" fmla="*/ 680 w 864"/>
                    <a:gd name="T17" fmla="*/ 79 h 452"/>
                    <a:gd name="T18" fmla="*/ 660 w 864"/>
                    <a:gd name="T19" fmla="*/ 65 h 452"/>
                    <a:gd name="T20" fmla="*/ 636 w 864"/>
                    <a:gd name="T21" fmla="*/ 51 h 452"/>
                    <a:gd name="T22" fmla="*/ 615 w 864"/>
                    <a:gd name="T23" fmla="*/ 41 h 452"/>
                    <a:gd name="T24" fmla="*/ 601 w 864"/>
                    <a:gd name="T25" fmla="*/ 35 h 452"/>
                    <a:gd name="T26" fmla="*/ 578 w 864"/>
                    <a:gd name="T27" fmla="*/ 26 h 452"/>
                    <a:gd name="T28" fmla="*/ 563 w 864"/>
                    <a:gd name="T29" fmla="*/ 21 h 452"/>
                    <a:gd name="T30" fmla="*/ 540 w 864"/>
                    <a:gd name="T31" fmla="*/ 14 h 452"/>
                    <a:gd name="T32" fmla="*/ 524 w 864"/>
                    <a:gd name="T33" fmla="*/ 10 h 452"/>
                    <a:gd name="T34" fmla="*/ 503 w 864"/>
                    <a:gd name="T35" fmla="*/ 6 h 452"/>
                    <a:gd name="T36" fmla="*/ 486 w 864"/>
                    <a:gd name="T37" fmla="*/ 4 h 452"/>
                    <a:gd name="T38" fmla="*/ 462 w 864"/>
                    <a:gd name="T39" fmla="*/ 1 h 452"/>
                    <a:gd name="T40" fmla="*/ 452 w 864"/>
                    <a:gd name="T41" fmla="*/ 0 h 452"/>
                    <a:gd name="T42" fmla="*/ 407 w 864"/>
                    <a:gd name="T43" fmla="*/ 1 h 452"/>
                    <a:gd name="T44" fmla="*/ 390 w 864"/>
                    <a:gd name="T45" fmla="*/ 2 h 452"/>
                    <a:gd name="T46" fmla="*/ 365 w 864"/>
                    <a:gd name="T47" fmla="*/ 5 h 452"/>
                    <a:gd name="T48" fmla="*/ 349 w 864"/>
                    <a:gd name="T49" fmla="*/ 8 h 452"/>
                    <a:gd name="T50" fmla="*/ 327 w 864"/>
                    <a:gd name="T51" fmla="*/ 13 h 452"/>
                    <a:gd name="T52" fmla="*/ 311 w 864"/>
                    <a:gd name="T53" fmla="*/ 18 h 452"/>
                    <a:gd name="T54" fmla="*/ 289 w 864"/>
                    <a:gd name="T55" fmla="*/ 25 h 452"/>
                    <a:gd name="T56" fmla="*/ 275 w 864"/>
                    <a:gd name="T57" fmla="*/ 30 h 452"/>
                    <a:gd name="T58" fmla="*/ 252 w 864"/>
                    <a:gd name="T59" fmla="*/ 40 h 452"/>
                    <a:gd name="T60" fmla="*/ 238 w 864"/>
                    <a:gd name="T61" fmla="*/ 46 h 452"/>
                    <a:gd name="T62" fmla="*/ 206 w 864"/>
                    <a:gd name="T63" fmla="*/ 64 h 452"/>
                    <a:gd name="T64" fmla="*/ 194 w 864"/>
                    <a:gd name="T65" fmla="*/ 72 h 452"/>
                    <a:gd name="T66" fmla="*/ 164 w 864"/>
                    <a:gd name="T67" fmla="*/ 94 h 452"/>
                    <a:gd name="T68" fmla="*/ 153 w 864"/>
                    <a:gd name="T69" fmla="*/ 103 h 452"/>
                    <a:gd name="T70" fmla="*/ 117 w 864"/>
                    <a:gd name="T71" fmla="*/ 138 h 452"/>
                    <a:gd name="T72" fmla="*/ 83 w 864"/>
                    <a:gd name="T73" fmla="*/ 178 h 452"/>
                    <a:gd name="T74" fmla="*/ 76 w 864"/>
                    <a:gd name="T75" fmla="*/ 188 h 452"/>
                    <a:gd name="T76" fmla="*/ 0 w 864"/>
                    <a:gd name="T77" fmla="*/ 423 h 452"/>
                    <a:gd name="T78" fmla="*/ 757 w 864"/>
                    <a:gd name="T79" fmla="*/ 214 h 452"/>
                    <a:gd name="T80" fmla="*/ 648 w 864"/>
                    <a:gd name="T81" fmla="*/ 258 h 452"/>
                    <a:gd name="T82" fmla="*/ 580 w 864"/>
                    <a:gd name="T83" fmla="*/ 69 h 452"/>
                    <a:gd name="T84" fmla="*/ 597 w 864"/>
                    <a:gd name="T85" fmla="*/ 77 h 452"/>
                    <a:gd name="T86" fmla="*/ 610 w 864"/>
                    <a:gd name="T87" fmla="*/ 83 h 452"/>
                    <a:gd name="T88" fmla="*/ 638 w 864"/>
                    <a:gd name="T89" fmla="*/ 220 h 452"/>
                    <a:gd name="T90" fmla="*/ 452 w 864"/>
                    <a:gd name="T91" fmla="*/ 43 h 452"/>
                    <a:gd name="T92" fmla="*/ 452 w 864"/>
                    <a:gd name="T93" fmla="*/ 244 h 452"/>
                    <a:gd name="T94" fmla="*/ 609 w 864"/>
                    <a:gd name="T95" fmla="*/ 267 h 452"/>
                    <a:gd name="T96" fmla="*/ 452 w 864"/>
                    <a:gd name="T97" fmla="*/ 284 h 452"/>
                    <a:gd name="T98" fmla="*/ 255 w 864"/>
                    <a:gd name="T99" fmla="*/ 267 h 452"/>
                    <a:gd name="T100" fmla="*/ 412 w 864"/>
                    <a:gd name="T101" fmla="*/ 43 h 452"/>
                    <a:gd name="T102" fmla="*/ 300 w 864"/>
                    <a:gd name="T103" fmla="*/ 146 h 452"/>
                    <a:gd name="T104" fmla="*/ 254 w 864"/>
                    <a:gd name="T105" fmla="*/ 83 h 452"/>
                    <a:gd name="T106" fmla="*/ 268 w 864"/>
                    <a:gd name="T107" fmla="*/ 77 h 452"/>
                    <a:gd name="T108" fmla="*/ 285 w 864"/>
                    <a:gd name="T109" fmla="*/ 69 h 452"/>
                    <a:gd name="T110" fmla="*/ 227 w 864"/>
                    <a:gd name="T111" fmla="*/ 220 h 452"/>
                    <a:gd name="T112" fmla="*/ 107 w 864"/>
                    <a:gd name="T113" fmla="*/ 214 h 452"/>
                    <a:gd name="T114" fmla="*/ 41 w 864"/>
                    <a:gd name="T115" fmla="*/ 412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64" h="452">
                      <a:moveTo>
                        <a:pt x="41" y="452"/>
                      </a:moveTo>
                      <a:cubicBezTo>
                        <a:pt x="197" y="452"/>
                        <a:pt x="197" y="452"/>
                        <a:pt x="197" y="452"/>
                      </a:cubicBezTo>
                      <a:cubicBezTo>
                        <a:pt x="237" y="452"/>
                        <a:pt x="237" y="452"/>
                        <a:pt x="237" y="452"/>
                      </a:cubicBezTo>
                      <a:cubicBezTo>
                        <a:pt x="412" y="452"/>
                        <a:pt x="412" y="452"/>
                        <a:pt x="412" y="452"/>
                      </a:cubicBezTo>
                      <a:cubicBezTo>
                        <a:pt x="452" y="452"/>
                        <a:pt x="452" y="452"/>
                        <a:pt x="452" y="452"/>
                      </a:cubicBezTo>
                      <a:cubicBezTo>
                        <a:pt x="628" y="452"/>
                        <a:pt x="628" y="452"/>
                        <a:pt x="628" y="452"/>
                      </a:cubicBezTo>
                      <a:cubicBezTo>
                        <a:pt x="668" y="452"/>
                        <a:pt x="668" y="452"/>
                        <a:pt x="668" y="452"/>
                      </a:cubicBezTo>
                      <a:cubicBezTo>
                        <a:pt x="823" y="452"/>
                        <a:pt x="823" y="452"/>
                        <a:pt x="823" y="452"/>
                      </a:cubicBezTo>
                      <a:cubicBezTo>
                        <a:pt x="835" y="452"/>
                        <a:pt x="835" y="452"/>
                        <a:pt x="835" y="452"/>
                      </a:cubicBezTo>
                      <a:cubicBezTo>
                        <a:pt x="851" y="452"/>
                        <a:pt x="864" y="439"/>
                        <a:pt x="864" y="423"/>
                      </a:cubicBezTo>
                      <a:cubicBezTo>
                        <a:pt x="864" y="412"/>
                        <a:pt x="864" y="412"/>
                        <a:pt x="864" y="412"/>
                      </a:cubicBezTo>
                      <a:cubicBezTo>
                        <a:pt x="864" y="412"/>
                        <a:pt x="864" y="412"/>
                        <a:pt x="864" y="412"/>
                      </a:cubicBezTo>
                      <a:cubicBezTo>
                        <a:pt x="860" y="329"/>
                        <a:pt x="833" y="252"/>
                        <a:pt x="788" y="188"/>
                      </a:cubicBezTo>
                      <a:cubicBezTo>
                        <a:pt x="788" y="188"/>
                        <a:pt x="788" y="188"/>
                        <a:pt x="788" y="188"/>
                      </a:cubicBezTo>
                      <a:cubicBezTo>
                        <a:pt x="788" y="188"/>
                        <a:pt x="788" y="188"/>
                        <a:pt x="788" y="188"/>
                      </a:cubicBezTo>
                      <a:cubicBezTo>
                        <a:pt x="786" y="184"/>
                        <a:pt x="783" y="181"/>
                        <a:pt x="781" y="178"/>
                      </a:cubicBezTo>
                      <a:cubicBezTo>
                        <a:pt x="778" y="173"/>
                        <a:pt x="778" y="173"/>
                        <a:pt x="778" y="173"/>
                      </a:cubicBezTo>
                      <a:cubicBezTo>
                        <a:pt x="769" y="161"/>
                        <a:pt x="759" y="150"/>
                        <a:pt x="749" y="139"/>
                      </a:cubicBezTo>
                      <a:cubicBezTo>
                        <a:pt x="749" y="138"/>
                        <a:pt x="748" y="138"/>
                        <a:pt x="748" y="138"/>
                      </a:cubicBezTo>
                      <a:cubicBezTo>
                        <a:pt x="739" y="128"/>
                        <a:pt x="730" y="119"/>
                        <a:pt x="721" y="111"/>
                      </a:cubicBezTo>
                      <a:cubicBezTo>
                        <a:pt x="721" y="111"/>
                        <a:pt x="721" y="111"/>
                        <a:pt x="721" y="111"/>
                      </a:cubicBezTo>
                      <a:cubicBezTo>
                        <a:pt x="718" y="108"/>
                        <a:pt x="715" y="105"/>
                        <a:pt x="711" y="103"/>
                      </a:cubicBezTo>
                      <a:cubicBezTo>
                        <a:pt x="711" y="102"/>
                        <a:pt x="711" y="102"/>
                        <a:pt x="710" y="102"/>
                      </a:cubicBezTo>
                      <a:cubicBezTo>
                        <a:pt x="707" y="99"/>
                        <a:pt x="704" y="97"/>
                        <a:pt x="701" y="94"/>
                      </a:cubicBezTo>
                      <a:cubicBezTo>
                        <a:pt x="701" y="94"/>
                        <a:pt x="701" y="94"/>
                        <a:pt x="701" y="94"/>
                      </a:cubicBezTo>
                      <a:cubicBezTo>
                        <a:pt x="694" y="89"/>
                        <a:pt x="687" y="84"/>
                        <a:pt x="681" y="79"/>
                      </a:cubicBezTo>
                      <a:cubicBezTo>
                        <a:pt x="680" y="79"/>
                        <a:pt x="680" y="79"/>
                        <a:pt x="680" y="79"/>
                      </a:cubicBezTo>
                      <a:cubicBezTo>
                        <a:pt x="677" y="76"/>
                        <a:pt x="674" y="74"/>
                        <a:pt x="671" y="72"/>
                      </a:cubicBezTo>
                      <a:cubicBezTo>
                        <a:pt x="669" y="71"/>
                        <a:pt x="668" y="71"/>
                        <a:pt x="667" y="70"/>
                      </a:cubicBezTo>
                      <a:cubicBezTo>
                        <a:pt x="665" y="68"/>
                        <a:pt x="663" y="67"/>
                        <a:pt x="660" y="65"/>
                      </a:cubicBezTo>
                      <a:cubicBezTo>
                        <a:pt x="659" y="65"/>
                        <a:pt x="659" y="65"/>
                        <a:pt x="658" y="64"/>
                      </a:cubicBezTo>
                      <a:cubicBezTo>
                        <a:pt x="651" y="60"/>
                        <a:pt x="644" y="56"/>
                        <a:pt x="637" y="52"/>
                      </a:cubicBezTo>
                      <a:cubicBezTo>
                        <a:pt x="636" y="52"/>
                        <a:pt x="636" y="51"/>
                        <a:pt x="636" y="51"/>
                      </a:cubicBezTo>
                      <a:cubicBezTo>
                        <a:pt x="633" y="50"/>
                        <a:pt x="629" y="48"/>
                        <a:pt x="626" y="46"/>
                      </a:cubicBezTo>
                      <a:cubicBezTo>
                        <a:pt x="625" y="46"/>
                        <a:pt x="624" y="45"/>
                        <a:pt x="624" y="45"/>
                      </a:cubicBezTo>
                      <a:cubicBezTo>
                        <a:pt x="621" y="44"/>
                        <a:pt x="618" y="42"/>
                        <a:pt x="615" y="41"/>
                      </a:cubicBezTo>
                      <a:cubicBezTo>
                        <a:pt x="614" y="40"/>
                        <a:pt x="613" y="40"/>
                        <a:pt x="612" y="40"/>
                      </a:cubicBezTo>
                      <a:cubicBezTo>
                        <a:pt x="609" y="38"/>
                        <a:pt x="606" y="36"/>
                        <a:pt x="602" y="35"/>
                      </a:cubicBezTo>
                      <a:cubicBezTo>
                        <a:pt x="602" y="35"/>
                        <a:pt x="602" y="35"/>
                        <a:pt x="601" y="35"/>
                      </a:cubicBezTo>
                      <a:cubicBezTo>
                        <a:pt x="597" y="33"/>
                        <a:pt x="594" y="31"/>
                        <a:pt x="590" y="30"/>
                      </a:cubicBezTo>
                      <a:cubicBezTo>
                        <a:pt x="589" y="30"/>
                        <a:pt x="589" y="30"/>
                        <a:pt x="588" y="29"/>
                      </a:cubicBezTo>
                      <a:cubicBezTo>
                        <a:pt x="585" y="28"/>
                        <a:pt x="582" y="27"/>
                        <a:pt x="578" y="26"/>
                      </a:cubicBezTo>
                      <a:cubicBezTo>
                        <a:pt x="577" y="25"/>
                        <a:pt x="576" y="25"/>
                        <a:pt x="575" y="25"/>
                      </a:cubicBezTo>
                      <a:cubicBezTo>
                        <a:pt x="572" y="24"/>
                        <a:pt x="569" y="23"/>
                        <a:pt x="567" y="22"/>
                      </a:cubicBezTo>
                      <a:cubicBezTo>
                        <a:pt x="565" y="21"/>
                        <a:pt x="564" y="21"/>
                        <a:pt x="563" y="21"/>
                      </a:cubicBezTo>
                      <a:cubicBezTo>
                        <a:pt x="560" y="20"/>
                        <a:pt x="557" y="19"/>
                        <a:pt x="554" y="18"/>
                      </a:cubicBezTo>
                      <a:cubicBezTo>
                        <a:pt x="553" y="17"/>
                        <a:pt x="552" y="17"/>
                        <a:pt x="552" y="17"/>
                      </a:cubicBezTo>
                      <a:cubicBezTo>
                        <a:pt x="548" y="16"/>
                        <a:pt x="544" y="15"/>
                        <a:pt x="540" y="14"/>
                      </a:cubicBezTo>
                      <a:cubicBezTo>
                        <a:pt x="539" y="14"/>
                        <a:pt x="538" y="13"/>
                        <a:pt x="538" y="13"/>
                      </a:cubicBezTo>
                      <a:cubicBezTo>
                        <a:pt x="535" y="12"/>
                        <a:pt x="531" y="12"/>
                        <a:pt x="528" y="11"/>
                      </a:cubicBezTo>
                      <a:cubicBezTo>
                        <a:pt x="526" y="11"/>
                        <a:pt x="525" y="10"/>
                        <a:pt x="524" y="10"/>
                      </a:cubicBezTo>
                      <a:cubicBezTo>
                        <a:pt x="521" y="9"/>
                        <a:pt x="518" y="9"/>
                        <a:pt x="516" y="8"/>
                      </a:cubicBezTo>
                      <a:cubicBezTo>
                        <a:pt x="514" y="8"/>
                        <a:pt x="513" y="8"/>
                        <a:pt x="511" y="8"/>
                      </a:cubicBezTo>
                      <a:cubicBezTo>
                        <a:pt x="509" y="7"/>
                        <a:pt x="506" y="7"/>
                        <a:pt x="503" y="6"/>
                      </a:cubicBezTo>
                      <a:cubicBezTo>
                        <a:pt x="502" y="6"/>
                        <a:pt x="500" y="6"/>
                        <a:pt x="499" y="5"/>
                      </a:cubicBezTo>
                      <a:cubicBezTo>
                        <a:pt x="495" y="5"/>
                        <a:pt x="491" y="4"/>
                        <a:pt x="487" y="4"/>
                      </a:cubicBezTo>
                      <a:cubicBezTo>
                        <a:pt x="487" y="4"/>
                        <a:pt x="486" y="4"/>
                        <a:pt x="486" y="4"/>
                      </a:cubicBezTo>
                      <a:cubicBezTo>
                        <a:pt x="482" y="3"/>
                        <a:pt x="478" y="3"/>
                        <a:pt x="475" y="2"/>
                      </a:cubicBezTo>
                      <a:cubicBezTo>
                        <a:pt x="473" y="2"/>
                        <a:pt x="472" y="2"/>
                        <a:pt x="471" y="2"/>
                      </a:cubicBezTo>
                      <a:cubicBezTo>
                        <a:pt x="468" y="2"/>
                        <a:pt x="465" y="2"/>
                        <a:pt x="462" y="1"/>
                      </a:cubicBezTo>
                      <a:cubicBezTo>
                        <a:pt x="461" y="1"/>
                        <a:pt x="459" y="1"/>
                        <a:pt x="458" y="1"/>
                      </a:cubicBezTo>
                      <a:cubicBezTo>
                        <a:pt x="456" y="1"/>
                        <a:pt x="454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  <a:cubicBezTo>
                        <a:pt x="412" y="0"/>
                        <a:pt x="412" y="0"/>
                        <a:pt x="412" y="0"/>
                      </a:cubicBezTo>
                      <a:cubicBezTo>
                        <a:pt x="412" y="1"/>
                        <a:pt x="412" y="1"/>
                        <a:pt x="412" y="1"/>
                      </a:cubicBezTo>
                      <a:cubicBezTo>
                        <a:pt x="410" y="1"/>
                        <a:pt x="409" y="1"/>
                        <a:pt x="407" y="1"/>
                      </a:cubicBezTo>
                      <a:cubicBezTo>
                        <a:pt x="405" y="1"/>
                        <a:pt x="404" y="1"/>
                        <a:pt x="402" y="1"/>
                      </a:cubicBezTo>
                      <a:cubicBezTo>
                        <a:pt x="400" y="2"/>
                        <a:pt x="397" y="2"/>
                        <a:pt x="394" y="2"/>
                      </a:cubicBezTo>
                      <a:cubicBezTo>
                        <a:pt x="393" y="2"/>
                        <a:pt x="391" y="2"/>
                        <a:pt x="390" y="2"/>
                      </a:cubicBezTo>
                      <a:cubicBezTo>
                        <a:pt x="386" y="3"/>
                        <a:pt x="383" y="3"/>
                        <a:pt x="379" y="4"/>
                      </a:cubicBezTo>
                      <a:cubicBezTo>
                        <a:pt x="378" y="4"/>
                        <a:pt x="378" y="4"/>
                        <a:pt x="378" y="4"/>
                      </a:cubicBezTo>
                      <a:cubicBezTo>
                        <a:pt x="373" y="4"/>
                        <a:pt x="369" y="5"/>
                        <a:pt x="365" y="5"/>
                      </a:cubicBezTo>
                      <a:cubicBezTo>
                        <a:pt x="364" y="6"/>
                        <a:pt x="363" y="6"/>
                        <a:pt x="362" y="6"/>
                      </a:cubicBezTo>
                      <a:cubicBezTo>
                        <a:pt x="359" y="7"/>
                        <a:pt x="356" y="7"/>
                        <a:pt x="353" y="8"/>
                      </a:cubicBezTo>
                      <a:cubicBezTo>
                        <a:pt x="352" y="8"/>
                        <a:pt x="350" y="8"/>
                        <a:pt x="349" y="8"/>
                      </a:cubicBezTo>
                      <a:cubicBezTo>
                        <a:pt x="346" y="9"/>
                        <a:pt x="343" y="9"/>
                        <a:pt x="340" y="10"/>
                      </a:cubicBezTo>
                      <a:cubicBezTo>
                        <a:pt x="339" y="10"/>
                        <a:pt x="338" y="11"/>
                        <a:pt x="337" y="11"/>
                      </a:cubicBezTo>
                      <a:cubicBezTo>
                        <a:pt x="333" y="12"/>
                        <a:pt x="330" y="12"/>
                        <a:pt x="327" y="13"/>
                      </a:cubicBezTo>
                      <a:cubicBezTo>
                        <a:pt x="326" y="13"/>
                        <a:pt x="325" y="14"/>
                        <a:pt x="325" y="14"/>
                      </a:cubicBezTo>
                      <a:cubicBezTo>
                        <a:pt x="321" y="15"/>
                        <a:pt x="317" y="16"/>
                        <a:pt x="313" y="17"/>
                      </a:cubicBezTo>
                      <a:cubicBezTo>
                        <a:pt x="312" y="17"/>
                        <a:pt x="311" y="17"/>
                        <a:pt x="311" y="18"/>
                      </a:cubicBezTo>
                      <a:cubicBezTo>
                        <a:pt x="307" y="19"/>
                        <a:pt x="304" y="20"/>
                        <a:pt x="301" y="21"/>
                      </a:cubicBezTo>
                      <a:cubicBezTo>
                        <a:pt x="300" y="21"/>
                        <a:pt x="299" y="21"/>
                        <a:pt x="298" y="22"/>
                      </a:cubicBezTo>
                      <a:cubicBezTo>
                        <a:pt x="295" y="23"/>
                        <a:pt x="292" y="24"/>
                        <a:pt x="289" y="25"/>
                      </a:cubicBezTo>
                      <a:cubicBezTo>
                        <a:pt x="288" y="25"/>
                        <a:pt x="287" y="25"/>
                        <a:pt x="286" y="26"/>
                      </a:cubicBezTo>
                      <a:cubicBezTo>
                        <a:pt x="283" y="27"/>
                        <a:pt x="280" y="28"/>
                        <a:pt x="276" y="29"/>
                      </a:cubicBezTo>
                      <a:cubicBezTo>
                        <a:pt x="276" y="30"/>
                        <a:pt x="275" y="30"/>
                        <a:pt x="275" y="30"/>
                      </a:cubicBezTo>
                      <a:cubicBezTo>
                        <a:pt x="271" y="31"/>
                        <a:pt x="267" y="33"/>
                        <a:pt x="263" y="35"/>
                      </a:cubicBezTo>
                      <a:cubicBezTo>
                        <a:pt x="263" y="35"/>
                        <a:pt x="263" y="35"/>
                        <a:pt x="262" y="35"/>
                      </a:cubicBezTo>
                      <a:cubicBezTo>
                        <a:pt x="259" y="36"/>
                        <a:pt x="256" y="38"/>
                        <a:pt x="252" y="40"/>
                      </a:cubicBezTo>
                      <a:cubicBezTo>
                        <a:pt x="251" y="40"/>
                        <a:pt x="251" y="40"/>
                        <a:pt x="250" y="41"/>
                      </a:cubicBezTo>
                      <a:cubicBezTo>
                        <a:pt x="247" y="42"/>
                        <a:pt x="243" y="44"/>
                        <a:pt x="240" y="45"/>
                      </a:cubicBezTo>
                      <a:cubicBezTo>
                        <a:pt x="240" y="46"/>
                        <a:pt x="239" y="46"/>
                        <a:pt x="238" y="46"/>
                      </a:cubicBezTo>
                      <a:cubicBezTo>
                        <a:pt x="235" y="48"/>
                        <a:pt x="232" y="50"/>
                        <a:pt x="229" y="51"/>
                      </a:cubicBezTo>
                      <a:cubicBezTo>
                        <a:pt x="228" y="51"/>
                        <a:pt x="228" y="52"/>
                        <a:pt x="228" y="52"/>
                      </a:cubicBezTo>
                      <a:cubicBezTo>
                        <a:pt x="220" y="56"/>
                        <a:pt x="213" y="60"/>
                        <a:pt x="206" y="64"/>
                      </a:cubicBezTo>
                      <a:cubicBezTo>
                        <a:pt x="206" y="65"/>
                        <a:pt x="205" y="65"/>
                        <a:pt x="205" y="65"/>
                      </a:cubicBezTo>
                      <a:cubicBezTo>
                        <a:pt x="202" y="67"/>
                        <a:pt x="200" y="68"/>
                        <a:pt x="197" y="70"/>
                      </a:cubicBezTo>
                      <a:cubicBezTo>
                        <a:pt x="196" y="70"/>
                        <a:pt x="195" y="71"/>
                        <a:pt x="194" y="72"/>
                      </a:cubicBezTo>
                      <a:cubicBezTo>
                        <a:pt x="191" y="74"/>
                        <a:pt x="188" y="76"/>
                        <a:pt x="184" y="79"/>
                      </a:cubicBezTo>
                      <a:cubicBezTo>
                        <a:pt x="184" y="79"/>
                        <a:pt x="184" y="79"/>
                        <a:pt x="184" y="79"/>
                      </a:cubicBezTo>
                      <a:cubicBezTo>
                        <a:pt x="177" y="84"/>
                        <a:pt x="170" y="89"/>
                        <a:pt x="164" y="94"/>
                      </a:cubicBezTo>
                      <a:cubicBezTo>
                        <a:pt x="163" y="94"/>
                        <a:pt x="163" y="94"/>
                        <a:pt x="163" y="94"/>
                      </a:cubicBezTo>
                      <a:cubicBezTo>
                        <a:pt x="160" y="97"/>
                        <a:pt x="157" y="99"/>
                        <a:pt x="154" y="102"/>
                      </a:cubicBezTo>
                      <a:cubicBezTo>
                        <a:pt x="154" y="102"/>
                        <a:pt x="153" y="102"/>
                        <a:pt x="153" y="103"/>
                      </a:cubicBezTo>
                      <a:cubicBezTo>
                        <a:pt x="150" y="105"/>
                        <a:pt x="147" y="108"/>
                        <a:pt x="144" y="111"/>
                      </a:cubicBezTo>
                      <a:cubicBezTo>
                        <a:pt x="144" y="111"/>
                        <a:pt x="144" y="111"/>
                        <a:pt x="144" y="111"/>
                      </a:cubicBezTo>
                      <a:cubicBezTo>
                        <a:pt x="134" y="119"/>
                        <a:pt x="125" y="128"/>
                        <a:pt x="117" y="138"/>
                      </a:cubicBezTo>
                      <a:cubicBezTo>
                        <a:pt x="116" y="138"/>
                        <a:pt x="116" y="138"/>
                        <a:pt x="116" y="139"/>
                      </a:cubicBezTo>
                      <a:cubicBezTo>
                        <a:pt x="104" y="151"/>
                        <a:pt x="94" y="164"/>
                        <a:pt x="84" y="177"/>
                      </a:cubicBezTo>
                      <a:cubicBezTo>
                        <a:pt x="83" y="178"/>
                        <a:pt x="83" y="178"/>
                        <a:pt x="83" y="178"/>
                      </a:cubicBezTo>
                      <a:cubicBezTo>
                        <a:pt x="81" y="181"/>
                        <a:pt x="79" y="184"/>
                        <a:pt x="76" y="188"/>
                      </a:cubicBezTo>
                      <a:cubicBezTo>
                        <a:pt x="76" y="188"/>
                        <a:pt x="76" y="188"/>
                        <a:pt x="76" y="188"/>
                      </a:cubicBezTo>
                      <a:cubicBezTo>
                        <a:pt x="76" y="188"/>
                        <a:pt x="76" y="188"/>
                        <a:pt x="76" y="188"/>
                      </a:cubicBezTo>
                      <a:cubicBezTo>
                        <a:pt x="32" y="252"/>
                        <a:pt x="5" y="329"/>
                        <a:pt x="1" y="412"/>
                      </a:cubicBezTo>
                      <a:cubicBezTo>
                        <a:pt x="0" y="412"/>
                        <a:pt x="0" y="412"/>
                        <a:pt x="0" y="412"/>
                      </a:cubicBezTo>
                      <a:cubicBezTo>
                        <a:pt x="0" y="423"/>
                        <a:pt x="0" y="423"/>
                        <a:pt x="0" y="423"/>
                      </a:cubicBezTo>
                      <a:cubicBezTo>
                        <a:pt x="0" y="439"/>
                        <a:pt x="13" y="452"/>
                        <a:pt x="29" y="452"/>
                      </a:cubicBezTo>
                      <a:lnTo>
                        <a:pt x="41" y="452"/>
                      </a:lnTo>
                      <a:close/>
                      <a:moveTo>
                        <a:pt x="757" y="214"/>
                      </a:moveTo>
                      <a:cubicBezTo>
                        <a:pt x="796" y="271"/>
                        <a:pt x="820" y="339"/>
                        <a:pt x="823" y="412"/>
                      </a:cubicBezTo>
                      <a:cubicBezTo>
                        <a:pt x="668" y="412"/>
                        <a:pt x="668" y="412"/>
                        <a:pt x="668" y="412"/>
                      </a:cubicBezTo>
                      <a:cubicBezTo>
                        <a:pt x="667" y="358"/>
                        <a:pt x="660" y="306"/>
                        <a:pt x="648" y="258"/>
                      </a:cubicBezTo>
                      <a:cubicBezTo>
                        <a:pt x="693" y="247"/>
                        <a:pt x="730" y="231"/>
                        <a:pt x="757" y="214"/>
                      </a:cubicBezTo>
                      <a:close/>
                      <a:moveTo>
                        <a:pt x="579" y="69"/>
                      </a:moveTo>
                      <a:cubicBezTo>
                        <a:pt x="579" y="69"/>
                        <a:pt x="579" y="69"/>
                        <a:pt x="580" y="69"/>
                      </a:cubicBezTo>
                      <a:cubicBezTo>
                        <a:pt x="582" y="70"/>
                        <a:pt x="585" y="71"/>
                        <a:pt x="588" y="73"/>
                      </a:cubicBezTo>
                      <a:cubicBezTo>
                        <a:pt x="589" y="73"/>
                        <a:pt x="589" y="73"/>
                        <a:pt x="590" y="74"/>
                      </a:cubicBezTo>
                      <a:cubicBezTo>
                        <a:pt x="592" y="75"/>
                        <a:pt x="595" y="76"/>
                        <a:pt x="597" y="77"/>
                      </a:cubicBezTo>
                      <a:cubicBezTo>
                        <a:pt x="598" y="77"/>
                        <a:pt x="599" y="78"/>
                        <a:pt x="600" y="78"/>
                      </a:cubicBezTo>
                      <a:cubicBezTo>
                        <a:pt x="602" y="79"/>
                        <a:pt x="603" y="80"/>
                        <a:pt x="605" y="80"/>
                      </a:cubicBezTo>
                      <a:cubicBezTo>
                        <a:pt x="607" y="81"/>
                        <a:pt x="608" y="82"/>
                        <a:pt x="610" y="83"/>
                      </a:cubicBezTo>
                      <a:cubicBezTo>
                        <a:pt x="611" y="83"/>
                        <a:pt x="611" y="84"/>
                        <a:pt x="612" y="84"/>
                      </a:cubicBezTo>
                      <a:cubicBezTo>
                        <a:pt x="658" y="108"/>
                        <a:pt x="700" y="141"/>
                        <a:pt x="733" y="181"/>
                      </a:cubicBezTo>
                      <a:cubicBezTo>
                        <a:pt x="710" y="196"/>
                        <a:pt x="678" y="209"/>
                        <a:pt x="638" y="220"/>
                      </a:cubicBezTo>
                      <a:cubicBezTo>
                        <a:pt x="617" y="153"/>
                        <a:pt x="587" y="97"/>
                        <a:pt x="551" y="59"/>
                      </a:cubicBezTo>
                      <a:cubicBezTo>
                        <a:pt x="560" y="62"/>
                        <a:pt x="570" y="65"/>
                        <a:pt x="579" y="69"/>
                      </a:cubicBezTo>
                      <a:close/>
                      <a:moveTo>
                        <a:pt x="452" y="43"/>
                      </a:moveTo>
                      <a:cubicBezTo>
                        <a:pt x="493" y="52"/>
                        <a:pt x="533" y="88"/>
                        <a:pt x="564" y="146"/>
                      </a:cubicBezTo>
                      <a:cubicBezTo>
                        <a:pt x="578" y="171"/>
                        <a:pt x="589" y="199"/>
                        <a:pt x="599" y="229"/>
                      </a:cubicBezTo>
                      <a:cubicBezTo>
                        <a:pt x="556" y="237"/>
                        <a:pt x="506" y="243"/>
                        <a:pt x="452" y="244"/>
                      </a:cubicBezTo>
                      <a:lnTo>
                        <a:pt x="452" y="43"/>
                      </a:lnTo>
                      <a:close/>
                      <a:moveTo>
                        <a:pt x="452" y="284"/>
                      </a:moveTo>
                      <a:cubicBezTo>
                        <a:pt x="509" y="283"/>
                        <a:pt x="562" y="277"/>
                        <a:pt x="609" y="267"/>
                      </a:cubicBezTo>
                      <a:cubicBezTo>
                        <a:pt x="620" y="312"/>
                        <a:pt x="627" y="361"/>
                        <a:pt x="628" y="412"/>
                      </a:cubicBezTo>
                      <a:cubicBezTo>
                        <a:pt x="452" y="412"/>
                        <a:pt x="452" y="412"/>
                        <a:pt x="452" y="412"/>
                      </a:cubicBezTo>
                      <a:lnTo>
                        <a:pt x="452" y="284"/>
                      </a:lnTo>
                      <a:close/>
                      <a:moveTo>
                        <a:pt x="412" y="412"/>
                      </a:moveTo>
                      <a:cubicBezTo>
                        <a:pt x="237" y="412"/>
                        <a:pt x="237" y="412"/>
                        <a:pt x="237" y="412"/>
                      </a:cubicBezTo>
                      <a:cubicBezTo>
                        <a:pt x="238" y="361"/>
                        <a:pt x="244" y="312"/>
                        <a:pt x="255" y="267"/>
                      </a:cubicBezTo>
                      <a:cubicBezTo>
                        <a:pt x="302" y="277"/>
                        <a:pt x="356" y="283"/>
                        <a:pt x="412" y="284"/>
                      </a:cubicBezTo>
                      <a:lnTo>
                        <a:pt x="412" y="412"/>
                      </a:lnTo>
                      <a:close/>
                      <a:moveTo>
                        <a:pt x="412" y="43"/>
                      </a:moveTo>
                      <a:cubicBezTo>
                        <a:pt x="412" y="244"/>
                        <a:pt x="412" y="244"/>
                        <a:pt x="412" y="244"/>
                      </a:cubicBezTo>
                      <a:cubicBezTo>
                        <a:pt x="358" y="243"/>
                        <a:pt x="309" y="237"/>
                        <a:pt x="266" y="229"/>
                      </a:cubicBezTo>
                      <a:cubicBezTo>
                        <a:pt x="275" y="199"/>
                        <a:pt x="287" y="171"/>
                        <a:pt x="300" y="146"/>
                      </a:cubicBezTo>
                      <a:cubicBezTo>
                        <a:pt x="332" y="88"/>
                        <a:pt x="372" y="52"/>
                        <a:pt x="412" y="43"/>
                      </a:cubicBezTo>
                      <a:close/>
                      <a:moveTo>
                        <a:pt x="253" y="84"/>
                      </a:moveTo>
                      <a:cubicBezTo>
                        <a:pt x="253" y="84"/>
                        <a:pt x="254" y="83"/>
                        <a:pt x="254" y="83"/>
                      </a:cubicBezTo>
                      <a:cubicBezTo>
                        <a:pt x="256" y="82"/>
                        <a:pt x="258" y="81"/>
                        <a:pt x="260" y="80"/>
                      </a:cubicBezTo>
                      <a:cubicBezTo>
                        <a:pt x="261" y="80"/>
                        <a:pt x="263" y="79"/>
                        <a:pt x="264" y="78"/>
                      </a:cubicBezTo>
                      <a:cubicBezTo>
                        <a:pt x="265" y="78"/>
                        <a:pt x="267" y="77"/>
                        <a:pt x="268" y="77"/>
                      </a:cubicBezTo>
                      <a:cubicBezTo>
                        <a:pt x="270" y="76"/>
                        <a:pt x="272" y="75"/>
                        <a:pt x="274" y="74"/>
                      </a:cubicBezTo>
                      <a:cubicBezTo>
                        <a:pt x="275" y="73"/>
                        <a:pt x="276" y="73"/>
                        <a:pt x="276" y="73"/>
                      </a:cubicBezTo>
                      <a:cubicBezTo>
                        <a:pt x="279" y="71"/>
                        <a:pt x="282" y="70"/>
                        <a:pt x="285" y="69"/>
                      </a:cubicBezTo>
                      <a:cubicBezTo>
                        <a:pt x="285" y="69"/>
                        <a:pt x="285" y="69"/>
                        <a:pt x="285" y="69"/>
                      </a:cubicBezTo>
                      <a:cubicBezTo>
                        <a:pt x="295" y="65"/>
                        <a:pt x="304" y="62"/>
                        <a:pt x="314" y="59"/>
                      </a:cubicBezTo>
                      <a:cubicBezTo>
                        <a:pt x="277" y="97"/>
                        <a:pt x="247" y="153"/>
                        <a:pt x="227" y="220"/>
                      </a:cubicBezTo>
                      <a:cubicBezTo>
                        <a:pt x="187" y="209"/>
                        <a:pt x="154" y="196"/>
                        <a:pt x="131" y="181"/>
                      </a:cubicBezTo>
                      <a:cubicBezTo>
                        <a:pt x="165" y="141"/>
                        <a:pt x="206" y="108"/>
                        <a:pt x="253" y="84"/>
                      </a:cubicBezTo>
                      <a:close/>
                      <a:moveTo>
                        <a:pt x="107" y="214"/>
                      </a:moveTo>
                      <a:cubicBezTo>
                        <a:pt x="135" y="231"/>
                        <a:pt x="172" y="247"/>
                        <a:pt x="216" y="258"/>
                      </a:cubicBezTo>
                      <a:cubicBezTo>
                        <a:pt x="205" y="306"/>
                        <a:pt x="198" y="358"/>
                        <a:pt x="197" y="412"/>
                      </a:cubicBezTo>
                      <a:cubicBezTo>
                        <a:pt x="41" y="412"/>
                        <a:pt x="41" y="412"/>
                        <a:pt x="41" y="412"/>
                      </a:cubicBezTo>
                      <a:cubicBezTo>
                        <a:pt x="45" y="339"/>
                        <a:pt x="69" y="271"/>
                        <a:pt x="107" y="2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" name="Freeform 7"/>
                <p:cNvSpPr>
                  <a:spLocks/>
                </p:cNvSpPr>
                <p:nvPr/>
              </p:nvSpPr>
              <p:spPr bwMode="auto">
                <a:xfrm>
                  <a:off x="2738438" y="2674938"/>
                  <a:ext cx="77788" cy="77788"/>
                </a:xfrm>
                <a:custGeom>
                  <a:avLst/>
                  <a:gdLst>
                    <a:gd name="T0" fmla="*/ 76 w 105"/>
                    <a:gd name="T1" fmla="*/ 105 h 105"/>
                    <a:gd name="T2" fmla="*/ 29 w 105"/>
                    <a:gd name="T3" fmla="*/ 105 h 105"/>
                    <a:gd name="T4" fmla="*/ 0 w 105"/>
                    <a:gd name="T5" fmla="*/ 76 h 105"/>
                    <a:gd name="T6" fmla="*/ 0 w 105"/>
                    <a:gd name="T7" fmla="*/ 29 h 105"/>
                    <a:gd name="T8" fmla="*/ 29 w 105"/>
                    <a:gd name="T9" fmla="*/ 0 h 105"/>
                    <a:gd name="T10" fmla="*/ 76 w 105"/>
                    <a:gd name="T11" fmla="*/ 0 h 105"/>
                    <a:gd name="T12" fmla="*/ 105 w 105"/>
                    <a:gd name="T13" fmla="*/ 29 h 105"/>
                    <a:gd name="T14" fmla="*/ 105 w 105"/>
                    <a:gd name="T15" fmla="*/ 76 h 105"/>
                    <a:gd name="T16" fmla="*/ 76 w 105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5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5" y="13"/>
                        <a:pt x="105" y="29"/>
                      </a:cubicBezTo>
                      <a:cubicBezTo>
                        <a:pt x="105" y="76"/>
                        <a:pt x="105" y="76"/>
                        <a:pt x="105" y="76"/>
                      </a:cubicBezTo>
                      <a:cubicBezTo>
                        <a:pt x="105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" name="Freeform 8"/>
                <p:cNvSpPr>
                  <a:spLocks/>
                </p:cNvSpPr>
                <p:nvPr/>
              </p:nvSpPr>
              <p:spPr bwMode="auto">
                <a:xfrm>
                  <a:off x="284638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8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8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8" y="105"/>
                        <a:pt x="28" y="105"/>
                        <a:pt x="28" y="105"/>
                      </a:cubicBezTo>
                      <a:cubicBezTo>
                        <a:pt x="12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" name="Freeform 9"/>
                <p:cNvSpPr>
                  <a:spLocks/>
                </p:cNvSpPr>
                <p:nvPr/>
              </p:nvSpPr>
              <p:spPr bwMode="auto">
                <a:xfrm>
                  <a:off x="295433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" name="Freeform 10"/>
                <p:cNvSpPr>
                  <a:spLocks/>
                </p:cNvSpPr>
                <p:nvPr/>
              </p:nvSpPr>
              <p:spPr bwMode="auto">
                <a:xfrm>
                  <a:off x="306228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" name="Freeform 11"/>
                <p:cNvSpPr>
                  <a:spLocks/>
                </p:cNvSpPr>
                <p:nvPr/>
              </p:nvSpPr>
              <p:spPr bwMode="auto">
                <a:xfrm>
                  <a:off x="3170238" y="2674938"/>
                  <a:ext cx="77788" cy="77788"/>
                </a:xfrm>
                <a:custGeom>
                  <a:avLst/>
                  <a:gdLst>
                    <a:gd name="T0" fmla="*/ 76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6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6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" name="Freeform 12"/>
                <p:cNvSpPr>
                  <a:spLocks/>
                </p:cNvSpPr>
                <p:nvPr/>
              </p:nvSpPr>
              <p:spPr bwMode="auto">
                <a:xfrm>
                  <a:off x="3278188" y="2674938"/>
                  <a:ext cx="77788" cy="77788"/>
                </a:xfrm>
                <a:custGeom>
                  <a:avLst/>
                  <a:gdLst>
                    <a:gd name="T0" fmla="*/ 76 w 105"/>
                    <a:gd name="T1" fmla="*/ 105 h 105"/>
                    <a:gd name="T2" fmla="*/ 29 w 105"/>
                    <a:gd name="T3" fmla="*/ 105 h 105"/>
                    <a:gd name="T4" fmla="*/ 0 w 105"/>
                    <a:gd name="T5" fmla="*/ 76 h 105"/>
                    <a:gd name="T6" fmla="*/ 0 w 105"/>
                    <a:gd name="T7" fmla="*/ 29 h 105"/>
                    <a:gd name="T8" fmla="*/ 29 w 105"/>
                    <a:gd name="T9" fmla="*/ 0 h 105"/>
                    <a:gd name="T10" fmla="*/ 76 w 105"/>
                    <a:gd name="T11" fmla="*/ 0 h 105"/>
                    <a:gd name="T12" fmla="*/ 105 w 105"/>
                    <a:gd name="T13" fmla="*/ 29 h 105"/>
                    <a:gd name="T14" fmla="*/ 105 w 105"/>
                    <a:gd name="T15" fmla="*/ 76 h 105"/>
                    <a:gd name="T16" fmla="*/ 76 w 105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5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5" y="13"/>
                        <a:pt x="105" y="29"/>
                      </a:cubicBezTo>
                      <a:cubicBezTo>
                        <a:pt x="105" y="76"/>
                        <a:pt x="105" y="76"/>
                        <a:pt x="105" y="76"/>
                      </a:cubicBezTo>
                      <a:cubicBezTo>
                        <a:pt x="105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" name="Freeform 13"/>
                <p:cNvSpPr>
                  <a:spLocks/>
                </p:cNvSpPr>
                <p:nvPr/>
              </p:nvSpPr>
              <p:spPr bwMode="auto">
                <a:xfrm>
                  <a:off x="2789238" y="2776538"/>
                  <a:ext cx="65088" cy="65088"/>
                </a:xfrm>
                <a:custGeom>
                  <a:avLst/>
                  <a:gdLst>
                    <a:gd name="T0" fmla="*/ 58 w 87"/>
                    <a:gd name="T1" fmla="*/ 87 h 87"/>
                    <a:gd name="T2" fmla="*/ 28 w 87"/>
                    <a:gd name="T3" fmla="*/ 87 h 87"/>
                    <a:gd name="T4" fmla="*/ 0 w 87"/>
                    <a:gd name="T5" fmla="*/ 58 h 87"/>
                    <a:gd name="T6" fmla="*/ 0 w 87"/>
                    <a:gd name="T7" fmla="*/ 29 h 87"/>
                    <a:gd name="T8" fmla="*/ 28 w 87"/>
                    <a:gd name="T9" fmla="*/ 0 h 87"/>
                    <a:gd name="T10" fmla="*/ 58 w 87"/>
                    <a:gd name="T11" fmla="*/ 0 h 87"/>
                    <a:gd name="T12" fmla="*/ 87 w 87"/>
                    <a:gd name="T13" fmla="*/ 29 h 87"/>
                    <a:gd name="T14" fmla="*/ 87 w 87"/>
                    <a:gd name="T15" fmla="*/ 58 h 87"/>
                    <a:gd name="T16" fmla="*/ 58 w 87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7" h="87">
                      <a:moveTo>
                        <a:pt x="58" y="87"/>
                      </a:moveTo>
                      <a:cubicBezTo>
                        <a:pt x="28" y="87"/>
                        <a:pt x="28" y="87"/>
                        <a:pt x="28" y="87"/>
                      </a:cubicBezTo>
                      <a:cubicBezTo>
                        <a:pt x="12" y="87"/>
                        <a:pt x="0" y="74"/>
                        <a:pt x="0" y="58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74" y="0"/>
                        <a:pt x="87" y="13"/>
                        <a:pt x="87" y="29"/>
                      </a:cubicBezTo>
                      <a:cubicBezTo>
                        <a:pt x="87" y="58"/>
                        <a:pt x="87" y="58"/>
                        <a:pt x="87" y="58"/>
                      </a:cubicBezTo>
                      <a:cubicBezTo>
                        <a:pt x="87" y="74"/>
                        <a:pt x="74" y="87"/>
                        <a:pt x="58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" name="Freeform 14"/>
                <p:cNvSpPr>
                  <a:spLocks/>
                </p:cNvSpPr>
                <p:nvPr/>
              </p:nvSpPr>
              <p:spPr bwMode="auto">
                <a:xfrm>
                  <a:off x="2901950" y="2776538"/>
                  <a:ext cx="65088" cy="65088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9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9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9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" name="Freeform 15"/>
                <p:cNvSpPr>
                  <a:spLocks/>
                </p:cNvSpPr>
                <p:nvPr/>
              </p:nvSpPr>
              <p:spPr bwMode="auto">
                <a:xfrm>
                  <a:off x="3014663" y="2778125"/>
                  <a:ext cx="65088" cy="63500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8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8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8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" name="Freeform 16"/>
                <p:cNvSpPr>
                  <a:spLocks/>
                </p:cNvSpPr>
                <p:nvPr/>
              </p:nvSpPr>
              <p:spPr bwMode="auto">
                <a:xfrm>
                  <a:off x="3127375" y="2778125"/>
                  <a:ext cx="65088" cy="63500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8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8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8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" name="Freeform 17"/>
                <p:cNvSpPr>
                  <a:spLocks/>
                </p:cNvSpPr>
                <p:nvPr/>
              </p:nvSpPr>
              <p:spPr bwMode="auto">
                <a:xfrm>
                  <a:off x="3240088" y="2778125"/>
                  <a:ext cx="65088" cy="63500"/>
                </a:xfrm>
                <a:custGeom>
                  <a:avLst/>
                  <a:gdLst>
                    <a:gd name="T0" fmla="*/ 59 w 87"/>
                    <a:gd name="T1" fmla="*/ 87 h 87"/>
                    <a:gd name="T2" fmla="*/ 29 w 87"/>
                    <a:gd name="T3" fmla="*/ 87 h 87"/>
                    <a:gd name="T4" fmla="*/ 0 w 87"/>
                    <a:gd name="T5" fmla="*/ 58 h 87"/>
                    <a:gd name="T6" fmla="*/ 0 w 87"/>
                    <a:gd name="T7" fmla="*/ 28 h 87"/>
                    <a:gd name="T8" fmla="*/ 29 w 87"/>
                    <a:gd name="T9" fmla="*/ 0 h 87"/>
                    <a:gd name="T10" fmla="*/ 59 w 87"/>
                    <a:gd name="T11" fmla="*/ 0 h 87"/>
                    <a:gd name="T12" fmla="*/ 87 w 87"/>
                    <a:gd name="T13" fmla="*/ 28 h 87"/>
                    <a:gd name="T14" fmla="*/ 87 w 87"/>
                    <a:gd name="T15" fmla="*/ 58 h 87"/>
                    <a:gd name="T16" fmla="*/ 59 w 87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7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7" y="13"/>
                        <a:pt x="87" y="28"/>
                      </a:cubicBezTo>
                      <a:cubicBezTo>
                        <a:pt x="87" y="58"/>
                        <a:pt x="87" y="58"/>
                        <a:pt x="87" y="58"/>
                      </a:cubicBezTo>
                      <a:cubicBezTo>
                        <a:pt x="87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" name="Freeform 18"/>
                <p:cNvSpPr>
                  <a:spLocks/>
                </p:cNvSpPr>
                <p:nvPr/>
              </p:nvSpPr>
              <p:spPr bwMode="auto">
                <a:xfrm>
                  <a:off x="2841625" y="2862263"/>
                  <a:ext cx="50800" cy="52388"/>
                </a:xfrm>
                <a:custGeom>
                  <a:avLst/>
                  <a:gdLst>
                    <a:gd name="T0" fmla="*/ 41 w 70"/>
                    <a:gd name="T1" fmla="*/ 70 h 70"/>
                    <a:gd name="T2" fmla="*/ 28 w 70"/>
                    <a:gd name="T3" fmla="*/ 70 h 70"/>
                    <a:gd name="T4" fmla="*/ 0 w 70"/>
                    <a:gd name="T5" fmla="*/ 41 h 70"/>
                    <a:gd name="T6" fmla="*/ 0 w 70"/>
                    <a:gd name="T7" fmla="*/ 29 h 70"/>
                    <a:gd name="T8" fmla="*/ 28 w 70"/>
                    <a:gd name="T9" fmla="*/ 0 h 70"/>
                    <a:gd name="T10" fmla="*/ 41 w 70"/>
                    <a:gd name="T11" fmla="*/ 0 h 70"/>
                    <a:gd name="T12" fmla="*/ 70 w 70"/>
                    <a:gd name="T13" fmla="*/ 29 h 70"/>
                    <a:gd name="T14" fmla="*/ 70 w 70"/>
                    <a:gd name="T15" fmla="*/ 41 h 70"/>
                    <a:gd name="T16" fmla="*/ 41 w 70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0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7" y="0"/>
                        <a:pt x="70" y="13"/>
                        <a:pt x="70" y="29"/>
                      </a:cubicBezTo>
                      <a:cubicBezTo>
                        <a:pt x="70" y="41"/>
                        <a:pt x="70" y="41"/>
                        <a:pt x="70" y="41"/>
                      </a:cubicBezTo>
                      <a:cubicBezTo>
                        <a:pt x="70" y="57"/>
                        <a:pt x="57" y="70"/>
                        <a:pt x="41" y="7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" name="Freeform 19"/>
                <p:cNvSpPr>
                  <a:spLocks/>
                </p:cNvSpPr>
                <p:nvPr/>
              </p:nvSpPr>
              <p:spPr bwMode="auto">
                <a:xfrm>
                  <a:off x="2962275" y="2862263"/>
                  <a:ext cx="50800" cy="52388"/>
                </a:xfrm>
                <a:custGeom>
                  <a:avLst/>
                  <a:gdLst>
                    <a:gd name="T0" fmla="*/ 41 w 69"/>
                    <a:gd name="T1" fmla="*/ 70 h 70"/>
                    <a:gd name="T2" fmla="*/ 28 w 69"/>
                    <a:gd name="T3" fmla="*/ 70 h 70"/>
                    <a:gd name="T4" fmla="*/ 0 w 69"/>
                    <a:gd name="T5" fmla="*/ 41 h 70"/>
                    <a:gd name="T6" fmla="*/ 0 w 69"/>
                    <a:gd name="T7" fmla="*/ 29 h 70"/>
                    <a:gd name="T8" fmla="*/ 28 w 69"/>
                    <a:gd name="T9" fmla="*/ 0 h 70"/>
                    <a:gd name="T10" fmla="*/ 41 w 69"/>
                    <a:gd name="T11" fmla="*/ 0 h 70"/>
                    <a:gd name="T12" fmla="*/ 69 w 69"/>
                    <a:gd name="T13" fmla="*/ 29 h 70"/>
                    <a:gd name="T14" fmla="*/ 69 w 69"/>
                    <a:gd name="T15" fmla="*/ 41 h 70"/>
                    <a:gd name="T16" fmla="*/ 41 w 69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7" y="0"/>
                        <a:pt x="69" y="13"/>
                        <a:pt x="69" y="29"/>
                      </a:cubicBezTo>
                      <a:cubicBezTo>
                        <a:pt x="69" y="41"/>
                        <a:pt x="69" y="41"/>
                        <a:pt x="69" y="41"/>
                      </a:cubicBezTo>
                      <a:cubicBezTo>
                        <a:pt x="69" y="57"/>
                        <a:pt x="57" y="70"/>
                        <a:pt x="41" y="7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" name="Freeform 20"/>
                <p:cNvSpPr>
                  <a:spLocks/>
                </p:cNvSpPr>
                <p:nvPr/>
              </p:nvSpPr>
              <p:spPr bwMode="auto">
                <a:xfrm>
                  <a:off x="3081338" y="2863850"/>
                  <a:ext cx="52388" cy="50800"/>
                </a:xfrm>
                <a:custGeom>
                  <a:avLst/>
                  <a:gdLst>
                    <a:gd name="T0" fmla="*/ 41 w 69"/>
                    <a:gd name="T1" fmla="*/ 70 h 70"/>
                    <a:gd name="T2" fmla="*/ 28 w 69"/>
                    <a:gd name="T3" fmla="*/ 70 h 70"/>
                    <a:gd name="T4" fmla="*/ 0 w 69"/>
                    <a:gd name="T5" fmla="*/ 41 h 70"/>
                    <a:gd name="T6" fmla="*/ 0 w 69"/>
                    <a:gd name="T7" fmla="*/ 29 h 70"/>
                    <a:gd name="T8" fmla="*/ 28 w 69"/>
                    <a:gd name="T9" fmla="*/ 0 h 70"/>
                    <a:gd name="T10" fmla="*/ 41 w 69"/>
                    <a:gd name="T11" fmla="*/ 0 h 70"/>
                    <a:gd name="T12" fmla="*/ 69 w 69"/>
                    <a:gd name="T13" fmla="*/ 29 h 70"/>
                    <a:gd name="T14" fmla="*/ 69 w 69"/>
                    <a:gd name="T15" fmla="*/ 41 h 70"/>
                    <a:gd name="T16" fmla="*/ 41 w 69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2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6" y="0"/>
                        <a:pt x="69" y="13"/>
                        <a:pt x="69" y="29"/>
                      </a:cubicBezTo>
                      <a:cubicBezTo>
                        <a:pt x="69" y="41"/>
                        <a:pt x="69" y="41"/>
                        <a:pt x="69" y="41"/>
                      </a:cubicBezTo>
                      <a:cubicBezTo>
                        <a:pt x="69" y="57"/>
                        <a:pt x="56" y="70"/>
                        <a:pt x="41" y="7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" name="Freeform 21"/>
                <p:cNvSpPr>
                  <a:spLocks/>
                </p:cNvSpPr>
                <p:nvPr/>
              </p:nvSpPr>
              <p:spPr bwMode="auto">
                <a:xfrm>
                  <a:off x="3201988" y="2863850"/>
                  <a:ext cx="50800" cy="50800"/>
                </a:xfrm>
                <a:custGeom>
                  <a:avLst/>
                  <a:gdLst>
                    <a:gd name="T0" fmla="*/ 42 w 70"/>
                    <a:gd name="T1" fmla="*/ 70 h 70"/>
                    <a:gd name="T2" fmla="*/ 29 w 70"/>
                    <a:gd name="T3" fmla="*/ 70 h 70"/>
                    <a:gd name="T4" fmla="*/ 0 w 70"/>
                    <a:gd name="T5" fmla="*/ 41 h 70"/>
                    <a:gd name="T6" fmla="*/ 0 w 70"/>
                    <a:gd name="T7" fmla="*/ 29 h 70"/>
                    <a:gd name="T8" fmla="*/ 29 w 70"/>
                    <a:gd name="T9" fmla="*/ 0 h 70"/>
                    <a:gd name="T10" fmla="*/ 42 w 70"/>
                    <a:gd name="T11" fmla="*/ 0 h 70"/>
                    <a:gd name="T12" fmla="*/ 70 w 70"/>
                    <a:gd name="T13" fmla="*/ 29 h 70"/>
                    <a:gd name="T14" fmla="*/ 70 w 70"/>
                    <a:gd name="T15" fmla="*/ 41 h 70"/>
                    <a:gd name="T16" fmla="*/ 42 w 70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0" h="70">
                      <a:moveTo>
                        <a:pt x="42" y="70"/>
                      </a:moveTo>
                      <a:cubicBezTo>
                        <a:pt x="29" y="70"/>
                        <a:pt x="29" y="70"/>
                        <a:pt x="29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57" y="0"/>
                        <a:pt x="70" y="13"/>
                        <a:pt x="70" y="29"/>
                      </a:cubicBezTo>
                      <a:cubicBezTo>
                        <a:pt x="70" y="41"/>
                        <a:pt x="70" y="41"/>
                        <a:pt x="70" y="41"/>
                      </a:cubicBezTo>
                      <a:cubicBezTo>
                        <a:pt x="70" y="57"/>
                        <a:pt x="57" y="70"/>
                        <a:pt x="42" y="7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D509A774-3AF6-49E0-B164-3495FD8AB9F8}"/>
              </a:ext>
            </a:extLst>
          </p:cNvPr>
          <p:cNvGrpSpPr/>
          <p:nvPr/>
        </p:nvGrpSpPr>
        <p:grpSpPr>
          <a:xfrm>
            <a:off x="485585" y="710972"/>
            <a:ext cx="457390" cy="457390"/>
            <a:chOff x="485585" y="485585"/>
            <a:chExt cx="457390" cy="45739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xmlns="" id="{61C01907-C391-464F-908A-D62C0216549E}"/>
                </a:ext>
              </a:extLst>
            </p:cNvPr>
            <p:cNvSpPr/>
            <p:nvPr/>
          </p:nvSpPr>
          <p:spPr>
            <a:xfrm>
              <a:off x="485585" y="485585"/>
              <a:ext cx="457390" cy="45739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56" name="Group 55"/>
            <p:cNvGrpSpPr>
              <a:grpSpLocks noChangeAspect="1"/>
            </p:cNvGrpSpPr>
            <p:nvPr/>
          </p:nvGrpSpPr>
          <p:grpSpPr>
            <a:xfrm>
              <a:off x="549267" y="560453"/>
              <a:ext cx="318407" cy="318194"/>
              <a:chOff x="2439988" y="-1801813"/>
              <a:chExt cx="2363788" cy="2362200"/>
            </a:xfrm>
          </p:grpSpPr>
          <p:sp>
            <p:nvSpPr>
              <p:cNvPr id="52" name="Oval 36"/>
              <p:cNvSpPr>
                <a:spLocks noChangeArrowheads="1"/>
              </p:cNvSpPr>
              <p:nvPr/>
            </p:nvSpPr>
            <p:spPr bwMode="auto">
              <a:xfrm>
                <a:off x="2439988" y="-1801813"/>
                <a:ext cx="2363788" cy="2362200"/>
              </a:xfrm>
              <a:prstGeom prst="ellipse">
                <a:avLst/>
              </a:pr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35"/>
              <p:cNvSpPr>
                <a:spLocks/>
              </p:cNvSpPr>
              <p:nvPr/>
            </p:nvSpPr>
            <p:spPr bwMode="auto">
              <a:xfrm>
                <a:off x="2624138" y="-979488"/>
                <a:ext cx="2163763" cy="1539875"/>
              </a:xfrm>
              <a:custGeom>
                <a:avLst/>
                <a:gdLst>
                  <a:gd name="T0" fmla="*/ 574 w 574"/>
                  <a:gd name="T1" fmla="*/ 141 h 409"/>
                  <a:gd name="T2" fmla="*/ 527 w 574"/>
                  <a:gd name="T3" fmla="*/ 94 h 409"/>
                  <a:gd name="T4" fmla="*/ 507 w 574"/>
                  <a:gd name="T5" fmla="*/ 66 h 409"/>
                  <a:gd name="T6" fmla="*/ 505 w 574"/>
                  <a:gd name="T7" fmla="*/ 63 h 409"/>
                  <a:gd name="T8" fmla="*/ 501 w 574"/>
                  <a:gd name="T9" fmla="*/ 61 h 409"/>
                  <a:gd name="T10" fmla="*/ 499 w 574"/>
                  <a:gd name="T11" fmla="*/ 59 h 409"/>
                  <a:gd name="T12" fmla="*/ 494 w 574"/>
                  <a:gd name="T13" fmla="*/ 57 h 409"/>
                  <a:gd name="T14" fmla="*/ 493 w 574"/>
                  <a:gd name="T15" fmla="*/ 56 h 409"/>
                  <a:gd name="T16" fmla="*/ 487 w 574"/>
                  <a:gd name="T17" fmla="*/ 54 h 409"/>
                  <a:gd name="T18" fmla="*/ 485 w 574"/>
                  <a:gd name="T19" fmla="*/ 53 h 409"/>
                  <a:gd name="T20" fmla="*/ 482 w 574"/>
                  <a:gd name="T21" fmla="*/ 49 h 409"/>
                  <a:gd name="T22" fmla="*/ 479 w 574"/>
                  <a:gd name="T23" fmla="*/ 45 h 409"/>
                  <a:gd name="T24" fmla="*/ 479 w 574"/>
                  <a:gd name="T25" fmla="*/ 45 h 409"/>
                  <a:gd name="T26" fmla="*/ 475 w 574"/>
                  <a:gd name="T27" fmla="*/ 41 h 409"/>
                  <a:gd name="T28" fmla="*/ 475 w 574"/>
                  <a:gd name="T29" fmla="*/ 41 h 409"/>
                  <a:gd name="T30" fmla="*/ 471 w 574"/>
                  <a:gd name="T31" fmla="*/ 37 h 409"/>
                  <a:gd name="T32" fmla="*/ 471 w 574"/>
                  <a:gd name="T33" fmla="*/ 37 h 409"/>
                  <a:gd name="T34" fmla="*/ 466 w 574"/>
                  <a:gd name="T35" fmla="*/ 33 h 409"/>
                  <a:gd name="T36" fmla="*/ 399 w 574"/>
                  <a:gd name="T37" fmla="*/ 10 h 409"/>
                  <a:gd name="T38" fmla="*/ 327 w 574"/>
                  <a:gd name="T39" fmla="*/ 38 h 409"/>
                  <a:gd name="T40" fmla="*/ 265 w 574"/>
                  <a:gd name="T41" fmla="*/ 0 h 409"/>
                  <a:gd name="T42" fmla="*/ 256 w 574"/>
                  <a:gd name="T43" fmla="*/ 1 h 409"/>
                  <a:gd name="T44" fmla="*/ 253 w 574"/>
                  <a:gd name="T45" fmla="*/ 1 h 409"/>
                  <a:gd name="T46" fmla="*/ 251 w 574"/>
                  <a:gd name="T47" fmla="*/ 1 h 409"/>
                  <a:gd name="T48" fmla="*/ 249 w 574"/>
                  <a:gd name="T49" fmla="*/ 2 h 409"/>
                  <a:gd name="T50" fmla="*/ 247 w 574"/>
                  <a:gd name="T51" fmla="*/ 3 h 409"/>
                  <a:gd name="T52" fmla="*/ 244 w 574"/>
                  <a:gd name="T53" fmla="*/ 3 h 409"/>
                  <a:gd name="T54" fmla="*/ 242 w 574"/>
                  <a:gd name="T55" fmla="*/ 4 h 409"/>
                  <a:gd name="T56" fmla="*/ 240 w 574"/>
                  <a:gd name="T57" fmla="*/ 5 h 409"/>
                  <a:gd name="T58" fmla="*/ 238 w 574"/>
                  <a:gd name="T59" fmla="*/ 5 h 409"/>
                  <a:gd name="T60" fmla="*/ 236 w 574"/>
                  <a:gd name="T61" fmla="*/ 6 h 409"/>
                  <a:gd name="T62" fmla="*/ 234 w 574"/>
                  <a:gd name="T63" fmla="*/ 7 h 409"/>
                  <a:gd name="T64" fmla="*/ 232 w 574"/>
                  <a:gd name="T65" fmla="*/ 8 h 409"/>
                  <a:gd name="T66" fmla="*/ 230 w 574"/>
                  <a:gd name="T67" fmla="*/ 10 h 409"/>
                  <a:gd name="T68" fmla="*/ 228 w 574"/>
                  <a:gd name="T69" fmla="*/ 11 h 409"/>
                  <a:gd name="T70" fmla="*/ 225 w 574"/>
                  <a:gd name="T71" fmla="*/ 13 h 409"/>
                  <a:gd name="T72" fmla="*/ 223 w 574"/>
                  <a:gd name="T73" fmla="*/ 14 h 409"/>
                  <a:gd name="T74" fmla="*/ 221 w 574"/>
                  <a:gd name="T75" fmla="*/ 16 h 409"/>
                  <a:gd name="T76" fmla="*/ 220 w 574"/>
                  <a:gd name="T77" fmla="*/ 17 h 409"/>
                  <a:gd name="T78" fmla="*/ 218 w 574"/>
                  <a:gd name="T79" fmla="*/ 19 h 409"/>
                  <a:gd name="T80" fmla="*/ 216 w 574"/>
                  <a:gd name="T81" fmla="*/ 20 h 409"/>
                  <a:gd name="T82" fmla="*/ 215 w 574"/>
                  <a:gd name="T83" fmla="*/ 22 h 409"/>
                  <a:gd name="T84" fmla="*/ 213 w 574"/>
                  <a:gd name="T85" fmla="*/ 23 h 409"/>
                  <a:gd name="T86" fmla="*/ 212 w 574"/>
                  <a:gd name="T87" fmla="*/ 25 h 409"/>
                  <a:gd name="T88" fmla="*/ 210 w 574"/>
                  <a:gd name="T89" fmla="*/ 26 h 409"/>
                  <a:gd name="T90" fmla="*/ 209 w 574"/>
                  <a:gd name="T91" fmla="*/ 29 h 409"/>
                  <a:gd name="T92" fmla="*/ 208 w 574"/>
                  <a:gd name="T93" fmla="*/ 30 h 409"/>
                  <a:gd name="T94" fmla="*/ 206 w 574"/>
                  <a:gd name="T95" fmla="*/ 33 h 409"/>
                  <a:gd name="T96" fmla="*/ 205 w 574"/>
                  <a:gd name="T97" fmla="*/ 34 h 409"/>
                  <a:gd name="T98" fmla="*/ 203 w 574"/>
                  <a:gd name="T99" fmla="*/ 38 h 409"/>
                  <a:gd name="T100" fmla="*/ 131 w 574"/>
                  <a:gd name="T101" fmla="*/ 10 h 409"/>
                  <a:gd name="T102" fmla="*/ 45 w 574"/>
                  <a:gd name="T103" fmla="*/ 53 h 409"/>
                  <a:gd name="T104" fmla="*/ 39 w 574"/>
                  <a:gd name="T105" fmla="*/ 55 h 409"/>
                  <a:gd name="T106" fmla="*/ 38 w 574"/>
                  <a:gd name="T107" fmla="*/ 56 h 409"/>
                  <a:gd name="T108" fmla="*/ 33 w 574"/>
                  <a:gd name="T109" fmla="*/ 58 h 409"/>
                  <a:gd name="T110" fmla="*/ 32 w 574"/>
                  <a:gd name="T111" fmla="*/ 59 h 409"/>
                  <a:gd name="T112" fmla="*/ 21 w 574"/>
                  <a:gd name="T113" fmla="*/ 67 h 409"/>
                  <a:gd name="T114" fmla="*/ 0 w 574"/>
                  <a:gd name="T115" fmla="*/ 116 h 409"/>
                  <a:gd name="T116" fmla="*/ 45 w 574"/>
                  <a:gd name="T117" fmla="*/ 180 h 409"/>
                  <a:gd name="T118" fmla="*/ 75 w 574"/>
                  <a:gd name="T119" fmla="*/ 207 h 409"/>
                  <a:gd name="T120" fmla="*/ 277 w 574"/>
                  <a:gd name="T121" fmla="*/ 409 h 409"/>
                  <a:gd name="T122" fmla="*/ 574 w 574"/>
                  <a:gd name="T123" fmla="*/ 141 h 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74" h="409">
                    <a:moveTo>
                      <a:pt x="574" y="141"/>
                    </a:moveTo>
                    <a:cubicBezTo>
                      <a:pt x="527" y="94"/>
                      <a:pt x="527" y="94"/>
                      <a:pt x="527" y="94"/>
                    </a:cubicBezTo>
                    <a:cubicBezTo>
                      <a:pt x="523" y="83"/>
                      <a:pt x="516" y="73"/>
                      <a:pt x="507" y="66"/>
                    </a:cubicBezTo>
                    <a:cubicBezTo>
                      <a:pt x="506" y="65"/>
                      <a:pt x="505" y="64"/>
                      <a:pt x="505" y="63"/>
                    </a:cubicBezTo>
                    <a:cubicBezTo>
                      <a:pt x="504" y="63"/>
                      <a:pt x="502" y="62"/>
                      <a:pt x="501" y="61"/>
                    </a:cubicBezTo>
                    <a:cubicBezTo>
                      <a:pt x="500" y="60"/>
                      <a:pt x="500" y="60"/>
                      <a:pt x="499" y="59"/>
                    </a:cubicBezTo>
                    <a:cubicBezTo>
                      <a:pt x="497" y="58"/>
                      <a:pt x="496" y="58"/>
                      <a:pt x="494" y="57"/>
                    </a:cubicBezTo>
                    <a:cubicBezTo>
                      <a:pt x="494" y="57"/>
                      <a:pt x="493" y="56"/>
                      <a:pt x="493" y="56"/>
                    </a:cubicBezTo>
                    <a:cubicBezTo>
                      <a:pt x="491" y="55"/>
                      <a:pt x="489" y="54"/>
                      <a:pt x="487" y="54"/>
                    </a:cubicBezTo>
                    <a:cubicBezTo>
                      <a:pt x="486" y="53"/>
                      <a:pt x="486" y="53"/>
                      <a:pt x="485" y="53"/>
                    </a:cubicBezTo>
                    <a:cubicBezTo>
                      <a:pt x="484" y="52"/>
                      <a:pt x="483" y="51"/>
                      <a:pt x="482" y="49"/>
                    </a:cubicBezTo>
                    <a:cubicBezTo>
                      <a:pt x="481" y="48"/>
                      <a:pt x="480" y="47"/>
                      <a:pt x="479" y="45"/>
                    </a:cubicBezTo>
                    <a:cubicBezTo>
                      <a:pt x="479" y="45"/>
                      <a:pt x="479" y="45"/>
                      <a:pt x="479" y="45"/>
                    </a:cubicBezTo>
                    <a:cubicBezTo>
                      <a:pt x="477" y="44"/>
                      <a:pt x="476" y="42"/>
                      <a:pt x="475" y="41"/>
                    </a:cubicBezTo>
                    <a:cubicBezTo>
                      <a:pt x="475" y="41"/>
                      <a:pt x="475" y="41"/>
                      <a:pt x="475" y="41"/>
                    </a:cubicBezTo>
                    <a:cubicBezTo>
                      <a:pt x="473" y="39"/>
                      <a:pt x="472" y="38"/>
                      <a:pt x="471" y="37"/>
                    </a:cubicBezTo>
                    <a:cubicBezTo>
                      <a:pt x="471" y="37"/>
                      <a:pt x="471" y="37"/>
                      <a:pt x="471" y="37"/>
                    </a:cubicBezTo>
                    <a:cubicBezTo>
                      <a:pt x="469" y="36"/>
                      <a:pt x="468" y="34"/>
                      <a:pt x="466" y="33"/>
                    </a:cubicBezTo>
                    <a:cubicBezTo>
                      <a:pt x="448" y="18"/>
                      <a:pt x="425" y="10"/>
                      <a:pt x="399" y="10"/>
                    </a:cubicBezTo>
                    <a:cubicBezTo>
                      <a:pt x="372" y="10"/>
                      <a:pt x="346" y="20"/>
                      <a:pt x="327" y="38"/>
                    </a:cubicBezTo>
                    <a:cubicBezTo>
                      <a:pt x="316" y="15"/>
                      <a:pt x="292" y="0"/>
                      <a:pt x="265" y="0"/>
                    </a:cubicBezTo>
                    <a:cubicBezTo>
                      <a:pt x="262" y="0"/>
                      <a:pt x="259" y="0"/>
                      <a:pt x="256" y="1"/>
                    </a:cubicBezTo>
                    <a:cubicBezTo>
                      <a:pt x="255" y="1"/>
                      <a:pt x="254" y="1"/>
                      <a:pt x="253" y="1"/>
                    </a:cubicBezTo>
                    <a:cubicBezTo>
                      <a:pt x="252" y="1"/>
                      <a:pt x="252" y="1"/>
                      <a:pt x="251" y="1"/>
                    </a:cubicBezTo>
                    <a:cubicBezTo>
                      <a:pt x="250" y="2"/>
                      <a:pt x="249" y="2"/>
                      <a:pt x="249" y="2"/>
                    </a:cubicBezTo>
                    <a:cubicBezTo>
                      <a:pt x="248" y="2"/>
                      <a:pt x="247" y="2"/>
                      <a:pt x="247" y="3"/>
                    </a:cubicBezTo>
                    <a:cubicBezTo>
                      <a:pt x="246" y="3"/>
                      <a:pt x="245" y="3"/>
                      <a:pt x="244" y="3"/>
                    </a:cubicBezTo>
                    <a:cubicBezTo>
                      <a:pt x="244" y="3"/>
                      <a:pt x="243" y="4"/>
                      <a:pt x="242" y="4"/>
                    </a:cubicBezTo>
                    <a:cubicBezTo>
                      <a:pt x="242" y="4"/>
                      <a:pt x="241" y="4"/>
                      <a:pt x="240" y="5"/>
                    </a:cubicBezTo>
                    <a:cubicBezTo>
                      <a:pt x="239" y="5"/>
                      <a:pt x="239" y="5"/>
                      <a:pt x="238" y="5"/>
                    </a:cubicBezTo>
                    <a:cubicBezTo>
                      <a:pt x="237" y="6"/>
                      <a:pt x="237" y="6"/>
                      <a:pt x="236" y="6"/>
                    </a:cubicBezTo>
                    <a:cubicBezTo>
                      <a:pt x="235" y="7"/>
                      <a:pt x="235" y="7"/>
                      <a:pt x="234" y="7"/>
                    </a:cubicBezTo>
                    <a:cubicBezTo>
                      <a:pt x="233" y="8"/>
                      <a:pt x="233" y="8"/>
                      <a:pt x="232" y="8"/>
                    </a:cubicBezTo>
                    <a:cubicBezTo>
                      <a:pt x="231" y="9"/>
                      <a:pt x="231" y="9"/>
                      <a:pt x="230" y="10"/>
                    </a:cubicBezTo>
                    <a:cubicBezTo>
                      <a:pt x="229" y="10"/>
                      <a:pt x="229" y="10"/>
                      <a:pt x="228" y="11"/>
                    </a:cubicBezTo>
                    <a:cubicBezTo>
                      <a:pt x="227" y="11"/>
                      <a:pt x="226" y="12"/>
                      <a:pt x="225" y="13"/>
                    </a:cubicBezTo>
                    <a:cubicBezTo>
                      <a:pt x="224" y="13"/>
                      <a:pt x="224" y="14"/>
                      <a:pt x="223" y="14"/>
                    </a:cubicBezTo>
                    <a:cubicBezTo>
                      <a:pt x="223" y="15"/>
                      <a:pt x="222" y="15"/>
                      <a:pt x="221" y="16"/>
                    </a:cubicBezTo>
                    <a:cubicBezTo>
                      <a:pt x="221" y="16"/>
                      <a:pt x="220" y="16"/>
                      <a:pt x="220" y="17"/>
                    </a:cubicBezTo>
                    <a:cubicBezTo>
                      <a:pt x="219" y="17"/>
                      <a:pt x="218" y="18"/>
                      <a:pt x="218" y="19"/>
                    </a:cubicBezTo>
                    <a:cubicBezTo>
                      <a:pt x="217" y="19"/>
                      <a:pt x="217" y="19"/>
                      <a:pt x="216" y="20"/>
                    </a:cubicBezTo>
                    <a:cubicBezTo>
                      <a:pt x="216" y="21"/>
                      <a:pt x="215" y="21"/>
                      <a:pt x="215" y="22"/>
                    </a:cubicBezTo>
                    <a:cubicBezTo>
                      <a:pt x="214" y="22"/>
                      <a:pt x="214" y="23"/>
                      <a:pt x="213" y="23"/>
                    </a:cubicBezTo>
                    <a:cubicBezTo>
                      <a:pt x="213" y="24"/>
                      <a:pt x="212" y="24"/>
                      <a:pt x="212" y="25"/>
                    </a:cubicBezTo>
                    <a:cubicBezTo>
                      <a:pt x="211" y="26"/>
                      <a:pt x="211" y="26"/>
                      <a:pt x="210" y="26"/>
                    </a:cubicBezTo>
                    <a:cubicBezTo>
                      <a:pt x="210" y="27"/>
                      <a:pt x="209" y="28"/>
                      <a:pt x="209" y="29"/>
                    </a:cubicBezTo>
                    <a:cubicBezTo>
                      <a:pt x="208" y="29"/>
                      <a:pt x="208" y="30"/>
                      <a:pt x="208" y="30"/>
                    </a:cubicBezTo>
                    <a:cubicBezTo>
                      <a:pt x="207" y="31"/>
                      <a:pt x="207" y="32"/>
                      <a:pt x="206" y="33"/>
                    </a:cubicBezTo>
                    <a:cubicBezTo>
                      <a:pt x="206" y="33"/>
                      <a:pt x="206" y="33"/>
                      <a:pt x="205" y="34"/>
                    </a:cubicBezTo>
                    <a:cubicBezTo>
                      <a:pt x="205" y="35"/>
                      <a:pt x="204" y="36"/>
                      <a:pt x="203" y="38"/>
                    </a:cubicBezTo>
                    <a:cubicBezTo>
                      <a:pt x="184" y="20"/>
                      <a:pt x="159" y="10"/>
                      <a:pt x="131" y="10"/>
                    </a:cubicBezTo>
                    <a:cubicBezTo>
                      <a:pt x="96" y="10"/>
                      <a:pt x="65" y="27"/>
                      <a:pt x="45" y="53"/>
                    </a:cubicBezTo>
                    <a:cubicBezTo>
                      <a:pt x="43" y="53"/>
                      <a:pt x="41" y="54"/>
                      <a:pt x="39" y="55"/>
                    </a:cubicBezTo>
                    <a:cubicBezTo>
                      <a:pt x="39" y="55"/>
                      <a:pt x="38" y="56"/>
                      <a:pt x="38" y="56"/>
                    </a:cubicBezTo>
                    <a:cubicBezTo>
                      <a:pt x="36" y="57"/>
                      <a:pt x="35" y="57"/>
                      <a:pt x="33" y="58"/>
                    </a:cubicBezTo>
                    <a:cubicBezTo>
                      <a:pt x="33" y="59"/>
                      <a:pt x="33" y="59"/>
                      <a:pt x="32" y="59"/>
                    </a:cubicBezTo>
                    <a:cubicBezTo>
                      <a:pt x="28" y="61"/>
                      <a:pt x="25" y="64"/>
                      <a:pt x="21" y="67"/>
                    </a:cubicBezTo>
                    <a:cubicBezTo>
                      <a:pt x="8" y="79"/>
                      <a:pt x="0" y="97"/>
                      <a:pt x="0" y="116"/>
                    </a:cubicBezTo>
                    <a:cubicBezTo>
                      <a:pt x="0" y="146"/>
                      <a:pt x="19" y="171"/>
                      <a:pt x="45" y="180"/>
                    </a:cubicBezTo>
                    <a:cubicBezTo>
                      <a:pt x="53" y="191"/>
                      <a:pt x="63" y="200"/>
                      <a:pt x="75" y="207"/>
                    </a:cubicBezTo>
                    <a:cubicBezTo>
                      <a:pt x="277" y="409"/>
                      <a:pt x="277" y="409"/>
                      <a:pt x="277" y="409"/>
                    </a:cubicBezTo>
                    <a:cubicBezTo>
                      <a:pt x="429" y="403"/>
                      <a:pt x="553" y="289"/>
                      <a:pt x="574" y="141"/>
                    </a:cubicBezTo>
                    <a:close/>
                  </a:path>
                </a:pathLst>
              </a:custGeom>
              <a:solidFill>
                <a:srgbClr val="00A2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34"/>
              <p:cNvSpPr>
                <a:spLocks/>
              </p:cNvSpPr>
              <p:nvPr/>
            </p:nvSpPr>
            <p:spPr bwMode="auto">
              <a:xfrm>
                <a:off x="2624138" y="-979488"/>
                <a:ext cx="2001838" cy="839788"/>
              </a:xfrm>
              <a:custGeom>
                <a:avLst/>
                <a:gdLst>
                  <a:gd name="T0" fmla="*/ 485 w 531"/>
                  <a:gd name="T1" fmla="*/ 53 h 223"/>
                  <a:gd name="T2" fmla="*/ 399 w 531"/>
                  <a:gd name="T3" fmla="*/ 10 h 223"/>
                  <a:gd name="T4" fmla="*/ 327 w 531"/>
                  <a:gd name="T5" fmla="*/ 38 h 223"/>
                  <a:gd name="T6" fmla="*/ 265 w 531"/>
                  <a:gd name="T7" fmla="*/ 0 h 223"/>
                  <a:gd name="T8" fmla="*/ 203 w 531"/>
                  <a:gd name="T9" fmla="*/ 38 h 223"/>
                  <a:gd name="T10" fmla="*/ 131 w 531"/>
                  <a:gd name="T11" fmla="*/ 10 h 223"/>
                  <a:gd name="T12" fmla="*/ 45 w 531"/>
                  <a:gd name="T13" fmla="*/ 53 h 223"/>
                  <a:gd name="T14" fmla="*/ 0 w 531"/>
                  <a:gd name="T15" fmla="*/ 116 h 223"/>
                  <a:gd name="T16" fmla="*/ 45 w 531"/>
                  <a:gd name="T17" fmla="*/ 180 h 223"/>
                  <a:gd name="T18" fmla="*/ 131 w 531"/>
                  <a:gd name="T19" fmla="*/ 223 h 223"/>
                  <a:gd name="T20" fmla="*/ 236 w 531"/>
                  <a:gd name="T21" fmla="*/ 134 h 223"/>
                  <a:gd name="T22" fmla="*/ 265 w 531"/>
                  <a:gd name="T23" fmla="*/ 140 h 223"/>
                  <a:gd name="T24" fmla="*/ 294 w 531"/>
                  <a:gd name="T25" fmla="*/ 134 h 223"/>
                  <a:gd name="T26" fmla="*/ 399 w 531"/>
                  <a:gd name="T27" fmla="*/ 223 h 223"/>
                  <a:gd name="T28" fmla="*/ 485 w 531"/>
                  <a:gd name="T29" fmla="*/ 180 h 223"/>
                  <a:gd name="T30" fmla="*/ 531 w 531"/>
                  <a:gd name="T31" fmla="*/ 116 h 223"/>
                  <a:gd name="T32" fmla="*/ 485 w 531"/>
                  <a:gd name="T33" fmla="*/ 5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1" h="223">
                    <a:moveTo>
                      <a:pt x="485" y="53"/>
                    </a:moveTo>
                    <a:cubicBezTo>
                      <a:pt x="466" y="27"/>
                      <a:pt x="434" y="10"/>
                      <a:pt x="399" y="10"/>
                    </a:cubicBezTo>
                    <a:cubicBezTo>
                      <a:pt x="372" y="10"/>
                      <a:pt x="346" y="20"/>
                      <a:pt x="327" y="38"/>
                    </a:cubicBezTo>
                    <a:cubicBezTo>
                      <a:pt x="316" y="15"/>
                      <a:pt x="292" y="0"/>
                      <a:pt x="265" y="0"/>
                    </a:cubicBezTo>
                    <a:cubicBezTo>
                      <a:pt x="238" y="0"/>
                      <a:pt x="215" y="15"/>
                      <a:pt x="203" y="38"/>
                    </a:cubicBezTo>
                    <a:cubicBezTo>
                      <a:pt x="184" y="20"/>
                      <a:pt x="159" y="10"/>
                      <a:pt x="131" y="10"/>
                    </a:cubicBezTo>
                    <a:cubicBezTo>
                      <a:pt x="96" y="10"/>
                      <a:pt x="65" y="27"/>
                      <a:pt x="45" y="53"/>
                    </a:cubicBezTo>
                    <a:cubicBezTo>
                      <a:pt x="19" y="62"/>
                      <a:pt x="0" y="87"/>
                      <a:pt x="0" y="116"/>
                    </a:cubicBezTo>
                    <a:cubicBezTo>
                      <a:pt x="0" y="146"/>
                      <a:pt x="19" y="171"/>
                      <a:pt x="45" y="180"/>
                    </a:cubicBezTo>
                    <a:cubicBezTo>
                      <a:pt x="65" y="206"/>
                      <a:pt x="96" y="223"/>
                      <a:pt x="131" y="223"/>
                    </a:cubicBezTo>
                    <a:cubicBezTo>
                      <a:pt x="184" y="223"/>
                      <a:pt x="228" y="184"/>
                      <a:pt x="236" y="134"/>
                    </a:cubicBezTo>
                    <a:cubicBezTo>
                      <a:pt x="245" y="138"/>
                      <a:pt x="255" y="140"/>
                      <a:pt x="265" y="140"/>
                    </a:cubicBezTo>
                    <a:cubicBezTo>
                      <a:pt x="276" y="140"/>
                      <a:pt x="285" y="138"/>
                      <a:pt x="294" y="134"/>
                    </a:cubicBezTo>
                    <a:cubicBezTo>
                      <a:pt x="302" y="184"/>
                      <a:pt x="346" y="223"/>
                      <a:pt x="399" y="223"/>
                    </a:cubicBezTo>
                    <a:cubicBezTo>
                      <a:pt x="434" y="223"/>
                      <a:pt x="466" y="206"/>
                      <a:pt x="485" y="180"/>
                    </a:cubicBezTo>
                    <a:cubicBezTo>
                      <a:pt x="512" y="171"/>
                      <a:pt x="531" y="146"/>
                      <a:pt x="531" y="116"/>
                    </a:cubicBezTo>
                    <a:cubicBezTo>
                      <a:pt x="531" y="87"/>
                      <a:pt x="512" y="62"/>
                      <a:pt x="485" y="53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Oval 32"/>
              <p:cNvSpPr>
                <a:spLocks noChangeArrowheads="1"/>
              </p:cNvSpPr>
              <p:nvPr/>
            </p:nvSpPr>
            <p:spPr bwMode="auto">
              <a:xfrm>
                <a:off x="2851151" y="-806451"/>
                <a:ext cx="534988" cy="530225"/>
              </a:xfrm>
              <a:prstGeom prst="ellipse">
                <a:avLst/>
              </a:prstGeom>
              <a:solidFill>
                <a:srgbClr val="BFEEF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Oval 33"/>
              <p:cNvSpPr>
                <a:spLocks noChangeArrowheads="1"/>
              </p:cNvSpPr>
              <p:nvPr/>
            </p:nvSpPr>
            <p:spPr bwMode="auto">
              <a:xfrm>
                <a:off x="3863976" y="-806451"/>
                <a:ext cx="531813" cy="530225"/>
              </a:xfrm>
              <a:prstGeom prst="ellipse">
                <a:avLst/>
              </a:prstGeom>
              <a:solidFill>
                <a:srgbClr val="BFEEF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00C164E4-AA47-44D6-A4CF-A840F3257CAD}"/>
              </a:ext>
            </a:extLst>
          </p:cNvPr>
          <p:cNvGrpSpPr/>
          <p:nvPr/>
        </p:nvGrpSpPr>
        <p:grpSpPr>
          <a:xfrm>
            <a:off x="1643331" y="710972"/>
            <a:ext cx="457390" cy="457390"/>
            <a:chOff x="1866501" y="485585"/>
            <a:chExt cx="457390" cy="457390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xmlns="" id="{E7BA089C-A271-4556-8CB7-A3D326590ACE}"/>
                </a:ext>
              </a:extLst>
            </p:cNvPr>
            <p:cNvSpPr/>
            <p:nvPr/>
          </p:nvSpPr>
          <p:spPr>
            <a:xfrm>
              <a:off x="1866501" y="485585"/>
              <a:ext cx="457390" cy="45739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64" name="Group 63"/>
            <p:cNvGrpSpPr/>
            <p:nvPr/>
          </p:nvGrpSpPr>
          <p:grpSpPr>
            <a:xfrm>
              <a:off x="1925765" y="544915"/>
              <a:ext cx="349271" cy="349271"/>
              <a:chOff x="2581275" y="3149114"/>
              <a:chExt cx="933450" cy="933450"/>
            </a:xfrm>
          </p:grpSpPr>
          <p:sp>
            <p:nvSpPr>
              <p:cNvPr id="30" name="Freeform 25"/>
              <p:cNvSpPr>
                <a:spLocks/>
              </p:cNvSpPr>
              <p:nvPr/>
            </p:nvSpPr>
            <p:spPr bwMode="auto">
              <a:xfrm>
                <a:off x="2581275" y="3149114"/>
                <a:ext cx="933450" cy="933450"/>
              </a:xfrm>
              <a:custGeom>
                <a:avLst/>
                <a:gdLst>
                  <a:gd name="T0" fmla="*/ 1039 w 1264"/>
                  <a:gd name="T1" fmla="*/ 1039 h 1264"/>
                  <a:gd name="T2" fmla="*/ 225 w 1264"/>
                  <a:gd name="T3" fmla="*/ 1039 h 1264"/>
                  <a:gd name="T4" fmla="*/ 225 w 1264"/>
                  <a:gd name="T5" fmla="*/ 225 h 1264"/>
                  <a:gd name="T6" fmla="*/ 1039 w 1264"/>
                  <a:gd name="T7" fmla="*/ 225 h 1264"/>
                  <a:gd name="T8" fmla="*/ 1039 w 1264"/>
                  <a:gd name="T9" fmla="*/ 1039 h 1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4" h="1264">
                    <a:moveTo>
                      <a:pt x="1039" y="1039"/>
                    </a:moveTo>
                    <a:cubicBezTo>
                      <a:pt x="814" y="1264"/>
                      <a:pt x="450" y="1264"/>
                      <a:pt x="225" y="1039"/>
                    </a:cubicBezTo>
                    <a:cubicBezTo>
                      <a:pt x="0" y="814"/>
                      <a:pt x="0" y="450"/>
                      <a:pt x="225" y="225"/>
                    </a:cubicBezTo>
                    <a:cubicBezTo>
                      <a:pt x="450" y="0"/>
                      <a:pt x="814" y="0"/>
                      <a:pt x="1039" y="225"/>
                    </a:cubicBezTo>
                    <a:cubicBezTo>
                      <a:pt x="1264" y="450"/>
                      <a:pt x="1264" y="814"/>
                      <a:pt x="1039" y="1039"/>
                    </a:cubicBezTo>
                    <a:close/>
                  </a:path>
                </a:pathLst>
              </a:cu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59"/>
              <p:cNvSpPr>
                <a:spLocks/>
              </p:cNvSpPr>
              <p:nvPr/>
            </p:nvSpPr>
            <p:spPr bwMode="auto">
              <a:xfrm>
                <a:off x="2912865" y="3411052"/>
                <a:ext cx="560585" cy="619125"/>
              </a:xfrm>
              <a:custGeom>
                <a:avLst/>
                <a:gdLst>
                  <a:gd name="connsiteX0" fmla="*/ 343475 w 560585"/>
                  <a:gd name="connsiteY0" fmla="*/ 0 h 619125"/>
                  <a:gd name="connsiteX1" fmla="*/ 560585 w 560585"/>
                  <a:gd name="connsiteY1" fmla="*/ 219427 h 619125"/>
                  <a:gd name="connsiteX2" fmla="*/ 435784 w 560585"/>
                  <a:gd name="connsiteY2" fmla="*/ 506087 h 619125"/>
                  <a:gd name="connsiteX3" fmla="*/ 236397 w 560585"/>
                  <a:gd name="connsiteY3" fmla="*/ 619125 h 619125"/>
                  <a:gd name="connsiteX4" fmla="*/ 87 w 560585"/>
                  <a:gd name="connsiteY4" fmla="*/ 393048 h 619125"/>
                  <a:gd name="connsiteX5" fmla="*/ 64 w 560585"/>
                  <a:gd name="connsiteY5" fmla="*/ 391571 h 619125"/>
                  <a:gd name="connsiteX6" fmla="*/ 0 w 560585"/>
                  <a:gd name="connsiteY6" fmla="*/ 387488 h 619125"/>
                  <a:gd name="connsiteX7" fmla="*/ 49858 w 560585"/>
                  <a:gd name="connsiteY7" fmla="*/ 430601 h 619125"/>
                  <a:gd name="connsiteX8" fmla="*/ 135135 w 560585"/>
                  <a:gd name="connsiteY8" fmla="*/ 463550 h 619125"/>
                  <a:gd name="connsiteX9" fmla="*/ 347860 w 560585"/>
                  <a:gd name="connsiteY9" fmla="*/ 204928 h 619125"/>
                  <a:gd name="connsiteX10" fmla="*/ 347860 w 560585"/>
                  <a:gd name="connsiteY10" fmla="*/ 14093 h 619125"/>
                  <a:gd name="connsiteX11" fmla="*/ 342392 w 560585"/>
                  <a:gd name="connsiteY11" fmla="*/ 938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60585" h="619125">
                    <a:moveTo>
                      <a:pt x="343475" y="0"/>
                    </a:moveTo>
                    <a:cubicBezTo>
                      <a:pt x="343475" y="0"/>
                      <a:pt x="343475" y="0"/>
                      <a:pt x="560585" y="219427"/>
                    </a:cubicBezTo>
                    <a:cubicBezTo>
                      <a:pt x="556893" y="323600"/>
                      <a:pt x="515539" y="427034"/>
                      <a:pt x="435784" y="506087"/>
                    </a:cubicBezTo>
                    <a:cubicBezTo>
                      <a:pt x="378922" y="563714"/>
                      <a:pt x="309506" y="601394"/>
                      <a:pt x="236397" y="619125"/>
                    </a:cubicBezTo>
                    <a:cubicBezTo>
                      <a:pt x="236397" y="619125"/>
                      <a:pt x="236397" y="619125"/>
                      <a:pt x="87" y="393048"/>
                    </a:cubicBezTo>
                    <a:cubicBezTo>
                      <a:pt x="87" y="393048"/>
                      <a:pt x="87" y="393048"/>
                      <a:pt x="64" y="391571"/>
                    </a:cubicBezTo>
                    <a:lnTo>
                      <a:pt x="0" y="387488"/>
                    </a:lnTo>
                    <a:lnTo>
                      <a:pt x="49858" y="430601"/>
                    </a:lnTo>
                    <a:cubicBezTo>
                      <a:pt x="75583" y="446143"/>
                      <a:pt x="104297" y="457471"/>
                      <a:pt x="135135" y="463550"/>
                    </a:cubicBezTo>
                    <a:cubicBezTo>
                      <a:pt x="258486" y="439235"/>
                      <a:pt x="347860" y="330924"/>
                      <a:pt x="347860" y="204928"/>
                    </a:cubicBezTo>
                    <a:cubicBezTo>
                      <a:pt x="347860" y="14093"/>
                      <a:pt x="347860" y="14093"/>
                      <a:pt x="347860" y="14093"/>
                    </a:cubicBezTo>
                    <a:lnTo>
                      <a:pt x="342392" y="938"/>
                    </a:lnTo>
                    <a:close/>
                  </a:path>
                </a:pathLst>
              </a:custGeom>
              <a:solidFill>
                <a:srgbClr val="00A2E1">
                  <a:alpha val="23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grpSp>
            <p:nvGrpSpPr>
              <p:cNvPr id="63" name="Group 62"/>
              <p:cNvGrpSpPr/>
              <p:nvPr/>
            </p:nvGrpSpPr>
            <p:grpSpPr>
              <a:xfrm>
                <a:off x="2835275" y="3350727"/>
                <a:ext cx="425450" cy="523875"/>
                <a:chOff x="2835275" y="3350727"/>
                <a:chExt cx="425450" cy="523875"/>
              </a:xfrm>
              <a:solidFill>
                <a:schemeClr val="accent1">
                  <a:lumMod val="75000"/>
                  <a:alpha val="40000"/>
                </a:schemeClr>
              </a:solidFill>
            </p:grpSpPr>
            <p:sp>
              <p:nvSpPr>
                <p:cNvPr id="61" name="Freeform 27"/>
                <p:cNvSpPr>
                  <a:spLocks/>
                </p:cNvSpPr>
                <p:nvPr/>
              </p:nvSpPr>
              <p:spPr bwMode="auto">
                <a:xfrm>
                  <a:off x="2835275" y="3350727"/>
                  <a:ext cx="425450" cy="523875"/>
                </a:xfrm>
                <a:custGeom>
                  <a:avLst/>
                  <a:gdLst>
                    <a:gd name="T0" fmla="*/ 0 w 576"/>
                    <a:gd name="T1" fmla="*/ 101 h 711"/>
                    <a:gd name="T2" fmla="*/ 0 w 576"/>
                    <a:gd name="T3" fmla="*/ 360 h 711"/>
                    <a:gd name="T4" fmla="*/ 288 w 576"/>
                    <a:gd name="T5" fmla="*/ 711 h 711"/>
                    <a:gd name="T6" fmla="*/ 288 w 576"/>
                    <a:gd name="T7" fmla="*/ 711 h 711"/>
                    <a:gd name="T8" fmla="*/ 288 w 576"/>
                    <a:gd name="T9" fmla="*/ 711 h 711"/>
                    <a:gd name="T10" fmla="*/ 576 w 576"/>
                    <a:gd name="T11" fmla="*/ 360 h 711"/>
                    <a:gd name="T12" fmla="*/ 576 w 576"/>
                    <a:gd name="T13" fmla="*/ 101 h 711"/>
                    <a:gd name="T14" fmla="*/ 547 w 576"/>
                    <a:gd name="T15" fmla="*/ 72 h 711"/>
                    <a:gd name="T16" fmla="*/ 513 w 576"/>
                    <a:gd name="T17" fmla="*/ 72 h 711"/>
                    <a:gd name="T18" fmla="*/ 288 w 576"/>
                    <a:gd name="T19" fmla="*/ 0 h 711"/>
                    <a:gd name="T20" fmla="*/ 288 w 576"/>
                    <a:gd name="T21" fmla="*/ 0 h 711"/>
                    <a:gd name="T22" fmla="*/ 288 w 576"/>
                    <a:gd name="T23" fmla="*/ 0 h 711"/>
                    <a:gd name="T24" fmla="*/ 63 w 576"/>
                    <a:gd name="T25" fmla="*/ 72 h 711"/>
                    <a:gd name="T26" fmla="*/ 29 w 576"/>
                    <a:gd name="T27" fmla="*/ 72 h 711"/>
                    <a:gd name="T28" fmla="*/ 0 w 576"/>
                    <a:gd name="T29" fmla="*/ 101 h 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76" h="711">
                      <a:moveTo>
                        <a:pt x="0" y="101"/>
                      </a:moveTo>
                      <a:cubicBezTo>
                        <a:pt x="0" y="360"/>
                        <a:pt x="0" y="360"/>
                        <a:pt x="0" y="360"/>
                      </a:cubicBezTo>
                      <a:cubicBezTo>
                        <a:pt x="0" y="531"/>
                        <a:pt x="121" y="678"/>
                        <a:pt x="288" y="711"/>
                      </a:cubicBezTo>
                      <a:cubicBezTo>
                        <a:pt x="288" y="711"/>
                        <a:pt x="288" y="711"/>
                        <a:pt x="288" y="711"/>
                      </a:cubicBezTo>
                      <a:cubicBezTo>
                        <a:pt x="288" y="711"/>
                        <a:pt x="288" y="711"/>
                        <a:pt x="288" y="711"/>
                      </a:cubicBezTo>
                      <a:cubicBezTo>
                        <a:pt x="455" y="678"/>
                        <a:pt x="576" y="531"/>
                        <a:pt x="576" y="360"/>
                      </a:cubicBezTo>
                      <a:cubicBezTo>
                        <a:pt x="576" y="101"/>
                        <a:pt x="576" y="101"/>
                        <a:pt x="576" y="101"/>
                      </a:cubicBezTo>
                      <a:cubicBezTo>
                        <a:pt x="576" y="85"/>
                        <a:pt x="563" y="72"/>
                        <a:pt x="547" y="72"/>
                      </a:cubicBezTo>
                      <a:cubicBezTo>
                        <a:pt x="513" y="72"/>
                        <a:pt x="513" y="72"/>
                        <a:pt x="513" y="72"/>
                      </a:cubicBezTo>
                      <a:cubicBezTo>
                        <a:pt x="432" y="72"/>
                        <a:pt x="354" y="47"/>
                        <a:pt x="288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22" y="47"/>
                        <a:pt x="144" y="72"/>
                        <a:pt x="63" y="72"/>
                      </a:cubicBezTo>
                      <a:cubicBezTo>
                        <a:pt x="29" y="72"/>
                        <a:pt x="29" y="72"/>
                        <a:pt x="29" y="72"/>
                      </a:cubicBezTo>
                      <a:cubicBezTo>
                        <a:pt x="13" y="72"/>
                        <a:pt x="0" y="85"/>
                        <a:pt x="0" y="10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" name="Freeform 28"/>
                <p:cNvSpPr>
                  <a:spLocks/>
                </p:cNvSpPr>
                <p:nvPr/>
              </p:nvSpPr>
              <p:spPr bwMode="auto">
                <a:xfrm>
                  <a:off x="3048000" y="3350727"/>
                  <a:ext cx="212725" cy="523875"/>
                </a:xfrm>
                <a:custGeom>
                  <a:avLst/>
                  <a:gdLst>
                    <a:gd name="T0" fmla="*/ 0 w 288"/>
                    <a:gd name="T1" fmla="*/ 0 h 711"/>
                    <a:gd name="T2" fmla="*/ 225 w 288"/>
                    <a:gd name="T3" fmla="*/ 72 h 711"/>
                    <a:gd name="T4" fmla="*/ 259 w 288"/>
                    <a:gd name="T5" fmla="*/ 72 h 711"/>
                    <a:gd name="T6" fmla="*/ 288 w 288"/>
                    <a:gd name="T7" fmla="*/ 101 h 711"/>
                    <a:gd name="T8" fmla="*/ 288 w 288"/>
                    <a:gd name="T9" fmla="*/ 360 h 711"/>
                    <a:gd name="T10" fmla="*/ 0 w 288"/>
                    <a:gd name="T11" fmla="*/ 711 h 711"/>
                    <a:gd name="T12" fmla="*/ 0 w 288"/>
                    <a:gd name="T13" fmla="*/ 0 h 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8" h="711">
                      <a:moveTo>
                        <a:pt x="0" y="0"/>
                      </a:moveTo>
                      <a:cubicBezTo>
                        <a:pt x="66" y="47"/>
                        <a:pt x="144" y="72"/>
                        <a:pt x="225" y="72"/>
                      </a:cubicBezTo>
                      <a:cubicBezTo>
                        <a:pt x="259" y="72"/>
                        <a:pt x="259" y="72"/>
                        <a:pt x="259" y="72"/>
                      </a:cubicBezTo>
                      <a:cubicBezTo>
                        <a:pt x="275" y="72"/>
                        <a:pt x="288" y="85"/>
                        <a:pt x="288" y="101"/>
                      </a:cubicBezTo>
                      <a:cubicBezTo>
                        <a:pt x="288" y="360"/>
                        <a:pt x="288" y="360"/>
                        <a:pt x="288" y="360"/>
                      </a:cubicBezTo>
                      <a:cubicBezTo>
                        <a:pt x="288" y="531"/>
                        <a:pt x="167" y="678"/>
                        <a:pt x="0" y="711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  <a:alpha val="2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xmlns="" id="{E206152A-F543-4A9A-8EB0-07A67EB36E3E}"/>
              </a:ext>
            </a:extLst>
          </p:cNvPr>
          <p:cNvCxnSpPr>
            <a:cxnSpLocks/>
          </p:cNvCxnSpPr>
          <p:nvPr/>
        </p:nvCxnSpPr>
        <p:spPr>
          <a:xfrm>
            <a:off x="4330103" y="2546297"/>
            <a:ext cx="0" cy="238710"/>
          </a:xfrm>
          <a:prstGeom prst="line">
            <a:avLst/>
          </a:prstGeom>
          <a:ln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7" name="Straight Connector 1216">
            <a:extLst>
              <a:ext uri="{FF2B5EF4-FFF2-40B4-BE49-F238E27FC236}">
                <a16:creationId xmlns:a16="http://schemas.microsoft.com/office/drawing/2014/main" xmlns="" id="{494AE977-6F5A-42B9-B3DA-7C0C0EA0E5C2}"/>
              </a:ext>
            </a:extLst>
          </p:cNvPr>
          <p:cNvCxnSpPr>
            <a:cxnSpLocks/>
          </p:cNvCxnSpPr>
          <p:nvPr/>
        </p:nvCxnSpPr>
        <p:spPr>
          <a:xfrm>
            <a:off x="4489647" y="2546297"/>
            <a:ext cx="0" cy="238710"/>
          </a:xfrm>
          <a:prstGeom prst="line">
            <a:avLst/>
          </a:prstGeom>
          <a:ln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8" name="Straight Connector 1277">
            <a:extLst>
              <a:ext uri="{FF2B5EF4-FFF2-40B4-BE49-F238E27FC236}">
                <a16:creationId xmlns:a16="http://schemas.microsoft.com/office/drawing/2014/main" xmlns="" id="{50463F8D-9641-458B-ABB4-477D1F156D5D}"/>
              </a:ext>
            </a:extLst>
          </p:cNvPr>
          <p:cNvCxnSpPr>
            <a:cxnSpLocks/>
          </p:cNvCxnSpPr>
          <p:nvPr/>
        </p:nvCxnSpPr>
        <p:spPr>
          <a:xfrm>
            <a:off x="4649191" y="2546297"/>
            <a:ext cx="0" cy="238710"/>
          </a:xfrm>
          <a:prstGeom prst="line">
            <a:avLst/>
          </a:prstGeom>
          <a:ln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9" name="yellow 1">
            <a:extLst>
              <a:ext uri="{FF2B5EF4-FFF2-40B4-BE49-F238E27FC236}">
                <a16:creationId xmlns:a16="http://schemas.microsoft.com/office/drawing/2014/main" xmlns="" id="{D8B18284-1D83-4FE6-8C47-8CC0DBAB1C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314498" y="2824055"/>
            <a:ext cx="45719" cy="45719"/>
          </a:xfrm>
          <a:prstGeom prst="ellipse">
            <a:avLst/>
          </a:prstGeom>
          <a:solidFill>
            <a:schemeClr val="accent5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98" name="blue 1">
            <a:extLst>
              <a:ext uri="{FF2B5EF4-FFF2-40B4-BE49-F238E27FC236}">
                <a16:creationId xmlns:a16="http://schemas.microsoft.com/office/drawing/2014/main" xmlns="" id="{763C78AA-3C46-4FB3-A271-0B725C911D0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314080" y="2821659"/>
            <a:ext cx="45719" cy="45719"/>
          </a:xfrm>
          <a:prstGeom prst="ellipse">
            <a:avLst/>
          </a:prstGeom>
          <a:solidFill>
            <a:schemeClr val="accent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92" name="green 1">
            <a:extLst>
              <a:ext uri="{FF2B5EF4-FFF2-40B4-BE49-F238E27FC236}">
                <a16:creationId xmlns:a16="http://schemas.microsoft.com/office/drawing/2014/main" xmlns="" id="{99605758-DED4-4676-8CA2-29767154AD9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314076" y="2824039"/>
            <a:ext cx="45719" cy="45719"/>
          </a:xfrm>
          <a:prstGeom prst="ellipse">
            <a:avLst/>
          </a:prstGeom>
          <a:solidFill>
            <a:schemeClr val="accent2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00" name="green 2">
            <a:extLst>
              <a:ext uri="{FF2B5EF4-FFF2-40B4-BE49-F238E27FC236}">
                <a16:creationId xmlns:a16="http://schemas.microsoft.com/office/drawing/2014/main" xmlns="" id="{C2B2ECF0-12D8-4577-939C-C84EA2F0F11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466898" y="2818926"/>
            <a:ext cx="45719" cy="45719"/>
          </a:xfrm>
          <a:prstGeom prst="ellipse">
            <a:avLst/>
          </a:prstGeom>
          <a:solidFill>
            <a:schemeClr val="accent2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01" name="yellow 2">
            <a:extLst>
              <a:ext uri="{FF2B5EF4-FFF2-40B4-BE49-F238E27FC236}">
                <a16:creationId xmlns:a16="http://schemas.microsoft.com/office/drawing/2014/main" xmlns="" id="{1C134F4A-32EF-40A8-8FBD-E892EA6820E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468906" y="2824039"/>
            <a:ext cx="45719" cy="45719"/>
          </a:xfrm>
          <a:prstGeom prst="ellipse">
            <a:avLst/>
          </a:prstGeom>
          <a:solidFill>
            <a:schemeClr val="accent5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02" name="blue 2">
            <a:extLst>
              <a:ext uri="{FF2B5EF4-FFF2-40B4-BE49-F238E27FC236}">
                <a16:creationId xmlns:a16="http://schemas.microsoft.com/office/drawing/2014/main" xmlns="" id="{4FE98C92-D14D-423F-8A97-86B5E42E1EA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463564" y="2824039"/>
            <a:ext cx="45719" cy="45719"/>
          </a:xfrm>
          <a:prstGeom prst="ellipse">
            <a:avLst/>
          </a:prstGeom>
          <a:solidFill>
            <a:schemeClr val="accent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97" name="yellow 3">
            <a:extLst>
              <a:ext uri="{FF2B5EF4-FFF2-40B4-BE49-F238E27FC236}">
                <a16:creationId xmlns:a16="http://schemas.microsoft.com/office/drawing/2014/main" xmlns="" id="{1CF45028-8CDB-4006-871C-697F04F3C85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632797" y="2818926"/>
            <a:ext cx="45719" cy="45719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03" name="green 3">
            <a:extLst>
              <a:ext uri="{FF2B5EF4-FFF2-40B4-BE49-F238E27FC236}">
                <a16:creationId xmlns:a16="http://schemas.microsoft.com/office/drawing/2014/main" xmlns="" id="{399818EA-2E9D-47DF-88E1-A089224A236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632797" y="2818926"/>
            <a:ext cx="45719" cy="4571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04" name="blue 3">
            <a:extLst>
              <a:ext uri="{FF2B5EF4-FFF2-40B4-BE49-F238E27FC236}">
                <a16:creationId xmlns:a16="http://schemas.microsoft.com/office/drawing/2014/main" xmlns="" id="{34147C7A-6FC2-4A67-83EC-C4DA922C7EAE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632810" y="2821315"/>
            <a:ext cx="45719" cy="4571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662" name="Group 3661">
            <a:extLst>
              <a:ext uri="{FF2B5EF4-FFF2-40B4-BE49-F238E27FC236}">
                <a16:creationId xmlns:a16="http://schemas.microsoft.com/office/drawing/2014/main" xmlns="" id="{7BDEE26C-C323-4086-8D99-AC444E785EDA}"/>
              </a:ext>
            </a:extLst>
          </p:cNvPr>
          <p:cNvGrpSpPr/>
          <p:nvPr/>
        </p:nvGrpSpPr>
        <p:grpSpPr>
          <a:xfrm>
            <a:off x="4259919" y="2214899"/>
            <a:ext cx="465186" cy="337180"/>
            <a:chOff x="4207537" y="2273730"/>
            <a:chExt cx="598923" cy="434116"/>
          </a:xfrm>
        </p:grpSpPr>
        <p:grpSp>
          <p:nvGrpSpPr>
            <p:cNvPr id="3663" name="Group 3662">
              <a:extLst>
                <a:ext uri="{FF2B5EF4-FFF2-40B4-BE49-F238E27FC236}">
                  <a16:creationId xmlns:a16="http://schemas.microsoft.com/office/drawing/2014/main" xmlns="" id="{88B8EEAC-0C4C-41B4-8B5D-F1116E305E5E}"/>
                </a:ext>
              </a:extLst>
            </p:cNvPr>
            <p:cNvGrpSpPr/>
            <p:nvPr/>
          </p:nvGrpSpPr>
          <p:grpSpPr>
            <a:xfrm>
              <a:off x="4207537" y="2273730"/>
              <a:ext cx="179387" cy="434116"/>
              <a:chOff x="2330274" y="3840316"/>
              <a:chExt cx="238125" cy="576262"/>
            </a:xfrm>
          </p:grpSpPr>
          <p:sp>
            <p:nvSpPr>
              <p:cNvPr id="3678" name="Freeform 201">
                <a:extLst>
                  <a:ext uri="{FF2B5EF4-FFF2-40B4-BE49-F238E27FC236}">
                    <a16:creationId xmlns:a16="http://schemas.microsoft.com/office/drawing/2014/main" xmlns="" id="{F508452D-BF83-4137-ADF3-A5242ED4F7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9" name="Line 202">
                <a:extLst>
                  <a:ext uri="{FF2B5EF4-FFF2-40B4-BE49-F238E27FC236}">
                    <a16:creationId xmlns:a16="http://schemas.microsoft.com/office/drawing/2014/main" xmlns="" id="{69FB30A3-F9DB-4D3C-8ED5-36CAB7DC30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0" name="Line 203">
                <a:extLst>
                  <a:ext uri="{FF2B5EF4-FFF2-40B4-BE49-F238E27FC236}">
                    <a16:creationId xmlns:a16="http://schemas.microsoft.com/office/drawing/2014/main" xmlns="" id="{89755442-06BB-4E0C-8797-8B7EF30317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1" name="Line 204">
                <a:extLst>
                  <a:ext uri="{FF2B5EF4-FFF2-40B4-BE49-F238E27FC236}">
                    <a16:creationId xmlns:a16="http://schemas.microsoft.com/office/drawing/2014/main" xmlns="" id="{EA9D7178-2F89-4B8D-9D66-8B3150ACE1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2" name="Line 205">
                <a:extLst>
                  <a:ext uri="{FF2B5EF4-FFF2-40B4-BE49-F238E27FC236}">
                    <a16:creationId xmlns:a16="http://schemas.microsoft.com/office/drawing/2014/main" xmlns="" id="{416D26AD-4ED7-4F89-B2FB-30B8313C19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3" name="Line 206">
                <a:extLst>
                  <a:ext uri="{FF2B5EF4-FFF2-40B4-BE49-F238E27FC236}">
                    <a16:creationId xmlns:a16="http://schemas.microsoft.com/office/drawing/2014/main" xmlns="" id="{DDCE1096-1E03-41F0-989D-05639A450A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664" name="Group 3663">
              <a:extLst>
                <a:ext uri="{FF2B5EF4-FFF2-40B4-BE49-F238E27FC236}">
                  <a16:creationId xmlns:a16="http://schemas.microsoft.com/office/drawing/2014/main" xmlns="" id="{0F47D0A4-444E-4FA4-BDFF-C971B4CF38F1}"/>
                </a:ext>
              </a:extLst>
            </p:cNvPr>
            <p:cNvGrpSpPr/>
            <p:nvPr/>
          </p:nvGrpSpPr>
          <p:grpSpPr>
            <a:xfrm>
              <a:off x="4417305" y="2273730"/>
              <a:ext cx="179387" cy="434116"/>
              <a:chOff x="2330274" y="3840316"/>
              <a:chExt cx="238125" cy="576262"/>
            </a:xfrm>
          </p:grpSpPr>
          <p:sp>
            <p:nvSpPr>
              <p:cNvPr id="3672" name="Freeform 201">
                <a:extLst>
                  <a:ext uri="{FF2B5EF4-FFF2-40B4-BE49-F238E27FC236}">
                    <a16:creationId xmlns:a16="http://schemas.microsoft.com/office/drawing/2014/main" xmlns="" id="{C2C21232-7A6D-444C-8F56-A1658DC4C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3" name="Line 202">
                <a:extLst>
                  <a:ext uri="{FF2B5EF4-FFF2-40B4-BE49-F238E27FC236}">
                    <a16:creationId xmlns:a16="http://schemas.microsoft.com/office/drawing/2014/main" xmlns="" id="{4D9E1BE5-8D56-49D3-B35E-1953E271294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4" name="Line 203">
                <a:extLst>
                  <a:ext uri="{FF2B5EF4-FFF2-40B4-BE49-F238E27FC236}">
                    <a16:creationId xmlns:a16="http://schemas.microsoft.com/office/drawing/2014/main" xmlns="" id="{8B1AEAC6-A757-4090-B7F6-B8F35A725A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5" name="Line 204">
                <a:extLst>
                  <a:ext uri="{FF2B5EF4-FFF2-40B4-BE49-F238E27FC236}">
                    <a16:creationId xmlns:a16="http://schemas.microsoft.com/office/drawing/2014/main" xmlns="" id="{0209E748-6D3A-485D-B7EF-878C815CCB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6" name="Line 205">
                <a:extLst>
                  <a:ext uri="{FF2B5EF4-FFF2-40B4-BE49-F238E27FC236}">
                    <a16:creationId xmlns:a16="http://schemas.microsoft.com/office/drawing/2014/main" xmlns="" id="{AC44A579-34AF-4108-846F-9BAC7934293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7" name="Line 206">
                <a:extLst>
                  <a:ext uri="{FF2B5EF4-FFF2-40B4-BE49-F238E27FC236}">
                    <a16:creationId xmlns:a16="http://schemas.microsoft.com/office/drawing/2014/main" xmlns="" id="{358A69CE-0D58-4C23-A6A5-6CCED0FAC9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665" name="Group 3664">
              <a:extLst>
                <a:ext uri="{FF2B5EF4-FFF2-40B4-BE49-F238E27FC236}">
                  <a16:creationId xmlns:a16="http://schemas.microsoft.com/office/drawing/2014/main" xmlns="" id="{2D1409BB-028E-4F03-89B6-91D4804D4D4D}"/>
                </a:ext>
              </a:extLst>
            </p:cNvPr>
            <p:cNvGrpSpPr/>
            <p:nvPr/>
          </p:nvGrpSpPr>
          <p:grpSpPr>
            <a:xfrm>
              <a:off x="4627073" y="2273730"/>
              <a:ext cx="179387" cy="434116"/>
              <a:chOff x="2330274" y="3840316"/>
              <a:chExt cx="238125" cy="576262"/>
            </a:xfrm>
          </p:grpSpPr>
          <p:sp>
            <p:nvSpPr>
              <p:cNvPr id="3666" name="Freeform 201">
                <a:extLst>
                  <a:ext uri="{FF2B5EF4-FFF2-40B4-BE49-F238E27FC236}">
                    <a16:creationId xmlns:a16="http://schemas.microsoft.com/office/drawing/2014/main" xmlns="" id="{A0B5C5B0-AC1F-4C82-8F45-5BAC41165A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7" name="Line 202">
                <a:extLst>
                  <a:ext uri="{FF2B5EF4-FFF2-40B4-BE49-F238E27FC236}">
                    <a16:creationId xmlns:a16="http://schemas.microsoft.com/office/drawing/2014/main" xmlns="" id="{FC94A115-9D87-4EC6-BE85-0FEB3A4C7F2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8" name="Line 203">
                <a:extLst>
                  <a:ext uri="{FF2B5EF4-FFF2-40B4-BE49-F238E27FC236}">
                    <a16:creationId xmlns:a16="http://schemas.microsoft.com/office/drawing/2014/main" xmlns="" id="{8982D130-3FCD-4CB1-9154-D3FE909CA5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9" name="Line 204">
                <a:extLst>
                  <a:ext uri="{FF2B5EF4-FFF2-40B4-BE49-F238E27FC236}">
                    <a16:creationId xmlns:a16="http://schemas.microsoft.com/office/drawing/2014/main" xmlns="" id="{5E4C97BC-59B6-40CD-B6A5-C089B20A57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0" name="Line 205">
                <a:extLst>
                  <a:ext uri="{FF2B5EF4-FFF2-40B4-BE49-F238E27FC236}">
                    <a16:creationId xmlns:a16="http://schemas.microsoft.com/office/drawing/2014/main" xmlns="" id="{3998518F-2773-497D-B69A-3B94C2B221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1" name="Line 206">
                <a:extLst>
                  <a:ext uri="{FF2B5EF4-FFF2-40B4-BE49-F238E27FC236}">
                    <a16:creationId xmlns:a16="http://schemas.microsoft.com/office/drawing/2014/main" xmlns="" id="{52A0BD43-438F-4BB2-A0C9-B45A8DB491B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684" name="Group 3683">
            <a:extLst>
              <a:ext uri="{FF2B5EF4-FFF2-40B4-BE49-F238E27FC236}">
                <a16:creationId xmlns:a16="http://schemas.microsoft.com/office/drawing/2014/main" xmlns="" id="{15A48F88-AE66-48D9-A376-7858B951ABE0}"/>
              </a:ext>
            </a:extLst>
          </p:cNvPr>
          <p:cNvGrpSpPr/>
          <p:nvPr/>
        </p:nvGrpSpPr>
        <p:grpSpPr>
          <a:xfrm>
            <a:off x="4259919" y="2780652"/>
            <a:ext cx="465186" cy="337180"/>
            <a:chOff x="4207537" y="2273730"/>
            <a:chExt cx="598923" cy="434116"/>
          </a:xfrm>
        </p:grpSpPr>
        <p:grpSp>
          <p:nvGrpSpPr>
            <p:cNvPr id="3685" name="Group 3684">
              <a:extLst>
                <a:ext uri="{FF2B5EF4-FFF2-40B4-BE49-F238E27FC236}">
                  <a16:creationId xmlns:a16="http://schemas.microsoft.com/office/drawing/2014/main" xmlns="" id="{4E69870A-EEAC-4898-8317-3FEED94931DB}"/>
                </a:ext>
              </a:extLst>
            </p:cNvPr>
            <p:cNvGrpSpPr/>
            <p:nvPr/>
          </p:nvGrpSpPr>
          <p:grpSpPr>
            <a:xfrm>
              <a:off x="4207537" y="2273730"/>
              <a:ext cx="179387" cy="434116"/>
              <a:chOff x="2330274" y="3840316"/>
              <a:chExt cx="238125" cy="576262"/>
            </a:xfrm>
          </p:grpSpPr>
          <p:sp>
            <p:nvSpPr>
              <p:cNvPr id="3700" name="Freeform 201">
                <a:extLst>
                  <a:ext uri="{FF2B5EF4-FFF2-40B4-BE49-F238E27FC236}">
                    <a16:creationId xmlns:a16="http://schemas.microsoft.com/office/drawing/2014/main" xmlns="" id="{7BF9D046-C546-4E48-8E0A-2DE41C90F5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1" name="Line 202">
                <a:extLst>
                  <a:ext uri="{FF2B5EF4-FFF2-40B4-BE49-F238E27FC236}">
                    <a16:creationId xmlns:a16="http://schemas.microsoft.com/office/drawing/2014/main" xmlns="" id="{C43F859F-8E30-427A-8D20-F27E3C5677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2" name="Line 203">
                <a:extLst>
                  <a:ext uri="{FF2B5EF4-FFF2-40B4-BE49-F238E27FC236}">
                    <a16:creationId xmlns:a16="http://schemas.microsoft.com/office/drawing/2014/main" xmlns="" id="{3F44537E-575E-4EDD-82A9-2E0686A8CA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3" name="Line 204">
                <a:extLst>
                  <a:ext uri="{FF2B5EF4-FFF2-40B4-BE49-F238E27FC236}">
                    <a16:creationId xmlns:a16="http://schemas.microsoft.com/office/drawing/2014/main" xmlns="" id="{0FF70040-6E8F-47CB-B97B-02127E5D56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4" name="Line 205">
                <a:extLst>
                  <a:ext uri="{FF2B5EF4-FFF2-40B4-BE49-F238E27FC236}">
                    <a16:creationId xmlns:a16="http://schemas.microsoft.com/office/drawing/2014/main" xmlns="" id="{61543744-FB8C-448C-B8A5-C358886387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5" name="Line 206">
                <a:extLst>
                  <a:ext uri="{FF2B5EF4-FFF2-40B4-BE49-F238E27FC236}">
                    <a16:creationId xmlns:a16="http://schemas.microsoft.com/office/drawing/2014/main" xmlns="" id="{3C81102F-A3DC-4973-98AB-DAB68CFFD2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686" name="Group 3685">
              <a:extLst>
                <a:ext uri="{FF2B5EF4-FFF2-40B4-BE49-F238E27FC236}">
                  <a16:creationId xmlns:a16="http://schemas.microsoft.com/office/drawing/2014/main" xmlns="" id="{239550D8-5178-41F4-A46A-E7F6E473296F}"/>
                </a:ext>
              </a:extLst>
            </p:cNvPr>
            <p:cNvGrpSpPr/>
            <p:nvPr/>
          </p:nvGrpSpPr>
          <p:grpSpPr>
            <a:xfrm>
              <a:off x="4417305" y="2273730"/>
              <a:ext cx="179387" cy="434116"/>
              <a:chOff x="2330274" y="3840316"/>
              <a:chExt cx="238125" cy="576262"/>
            </a:xfrm>
          </p:grpSpPr>
          <p:sp>
            <p:nvSpPr>
              <p:cNvPr id="3694" name="Freeform 201">
                <a:extLst>
                  <a:ext uri="{FF2B5EF4-FFF2-40B4-BE49-F238E27FC236}">
                    <a16:creationId xmlns:a16="http://schemas.microsoft.com/office/drawing/2014/main" xmlns="" id="{35C8D95F-02B8-4CCD-9570-A1AFD30B9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5" name="Line 202">
                <a:extLst>
                  <a:ext uri="{FF2B5EF4-FFF2-40B4-BE49-F238E27FC236}">
                    <a16:creationId xmlns:a16="http://schemas.microsoft.com/office/drawing/2014/main" xmlns="" id="{8EC2106A-2F0F-4361-A5A5-9AFC185675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6" name="Line 203">
                <a:extLst>
                  <a:ext uri="{FF2B5EF4-FFF2-40B4-BE49-F238E27FC236}">
                    <a16:creationId xmlns:a16="http://schemas.microsoft.com/office/drawing/2014/main" xmlns="" id="{AFAD2AB8-7004-4959-A517-2185D1383D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7" name="Line 204">
                <a:extLst>
                  <a:ext uri="{FF2B5EF4-FFF2-40B4-BE49-F238E27FC236}">
                    <a16:creationId xmlns:a16="http://schemas.microsoft.com/office/drawing/2014/main" xmlns="" id="{E04F0661-448B-40E8-B53B-11A47762D0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8" name="Line 205">
                <a:extLst>
                  <a:ext uri="{FF2B5EF4-FFF2-40B4-BE49-F238E27FC236}">
                    <a16:creationId xmlns:a16="http://schemas.microsoft.com/office/drawing/2014/main" xmlns="" id="{361BEEBE-C610-4F55-9B98-B705D0B182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9" name="Line 206">
                <a:extLst>
                  <a:ext uri="{FF2B5EF4-FFF2-40B4-BE49-F238E27FC236}">
                    <a16:creationId xmlns:a16="http://schemas.microsoft.com/office/drawing/2014/main" xmlns="" id="{CECD2CB4-8FD6-45D5-9AC9-9D3C5EA8794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687" name="Group 3686">
              <a:extLst>
                <a:ext uri="{FF2B5EF4-FFF2-40B4-BE49-F238E27FC236}">
                  <a16:creationId xmlns:a16="http://schemas.microsoft.com/office/drawing/2014/main" xmlns="" id="{7F41F43E-E0E7-4F93-A283-B01ECF364C2B}"/>
                </a:ext>
              </a:extLst>
            </p:cNvPr>
            <p:cNvGrpSpPr/>
            <p:nvPr/>
          </p:nvGrpSpPr>
          <p:grpSpPr>
            <a:xfrm>
              <a:off x="4627073" y="2273730"/>
              <a:ext cx="179387" cy="434116"/>
              <a:chOff x="2330274" y="3840316"/>
              <a:chExt cx="238125" cy="576262"/>
            </a:xfrm>
          </p:grpSpPr>
          <p:sp>
            <p:nvSpPr>
              <p:cNvPr id="3688" name="Freeform 201">
                <a:extLst>
                  <a:ext uri="{FF2B5EF4-FFF2-40B4-BE49-F238E27FC236}">
                    <a16:creationId xmlns:a16="http://schemas.microsoft.com/office/drawing/2014/main" xmlns="" id="{7494285A-7895-4AF6-8495-E94FA6A51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9" name="Line 202">
                <a:extLst>
                  <a:ext uri="{FF2B5EF4-FFF2-40B4-BE49-F238E27FC236}">
                    <a16:creationId xmlns:a16="http://schemas.microsoft.com/office/drawing/2014/main" xmlns="" id="{9ACB8513-9AAE-4364-A6C5-D45C435EE2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0" name="Line 203">
                <a:extLst>
                  <a:ext uri="{FF2B5EF4-FFF2-40B4-BE49-F238E27FC236}">
                    <a16:creationId xmlns:a16="http://schemas.microsoft.com/office/drawing/2014/main" xmlns="" id="{25DD7B1F-F09C-4955-935E-A528FF8EB2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1" name="Line 204">
                <a:extLst>
                  <a:ext uri="{FF2B5EF4-FFF2-40B4-BE49-F238E27FC236}">
                    <a16:creationId xmlns:a16="http://schemas.microsoft.com/office/drawing/2014/main" xmlns="" id="{5DEE6EA9-3C5F-4FC5-AC39-18B6F80113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2" name="Line 205">
                <a:extLst>
                  <a:ext uri="{FF2B5EF4-FFF2-40B4-BE49-F238E27FC236}">
                    <a16:creationId xmlns:a16="http://schemas.microsoft.com/office/drawing/2014/main" xmlns="" id="{6016FFE6-F0FC-4907-8D2E-4D165D5347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3" name="Line 206">
                <a:extLst>
                  <a:ext uri="{FF2B5EF4-FFF2-40B4-BE49-F238E27FC236}">
                    <a16:creationId xmlns:a16="http://schemas.microsoft.com/office/drawing/2014/main" xmlns="" id="{5972C5E5-13D5-4DDC-AE1F-026F7C03D0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cxnSp>
        <p:nvCxnSpPr>
          <p:cNvPr id="3706" name="Connector: Elbow 3705">
            <a:extLst>
              <a:ext uri="{FF2B5EF4-FFF2-40B4-BE49-F238E27FC236}">
                <a16:creationId xmlns:a16="http://schemas.microsoft.com/office/drawing/2014/main" xmlns="" id="{9E0955C0-28EA-4321-9F12-FC3A037E0A7E}"/>
              </a:ext>
            </a:extLst>
          </p:cNvPr>
          <p:cNvCxnSpPr>
            <a:cxnSpLocks/>
          </p:cNvCxnSpPr>
          <p:nvPr/>
        </p:nvCxnSpPr>
        <p:spPr>
          <a:xfrm rot="5400000">
            <a:off x="4048619" y="2457485"/>
            <a:ext cx="279960" cy="142643"/>
          </a:xfrm>
          <a:prstGeom prst="bentConnector3">
            <a:avLst>
              <a:gd name="adj1" fmla="val -184"/>
            </a:avLst>
          </a:prstGeom>
          <a:ln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07" name="Connector: Elbow 3706">
            <a:extLst>
              <a:ext uri="{FF2B5EF4-FFF2-40B4-BE49-F238E27FC236}">
                <a16:creationId xmlns:a16="http://schemas.microsoft.com/office/drawing/2014/main" xmlns="" id="{C1A860F8-06C6-4738-A8D2-1CD2F5D8CEB8}"/>
              </a:ext>
            </a:extLst>
          </p:cNvPr>
          <p:cNvCxnSpPr>
            <a:cxnSpLocks/>
          </p:cNvCxnSpPr>
          <p:nvPr/>
        </p:nvCxnSpPr>
        <p:spPr>
          <a:xfrm rot="16200000" flipV="1">
            <a:off x="4048619" y="2743415"/>
            <a:ext cx="279960" cy="142643"/>
          </a:xfrm>
          <a:prstGeom prst="bentConnector3">
            <a:avLst>
              <a:gd name="adj1" fmla="val -184"/>
            </a:avLst>
          </a:prstGeom>
          <a:ln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0" name="Connector: Elbow 3709">
            <a:extLst>
              <a:ext uri="{FF2B5EF4-FFF2-40B4-BE49-F238E27FC236}">
                <a16:creationId xmlns:a16="http://schemas.microsoft.com/office/drawing/2014/main" xmlns="" id="{2138BB9A-E1F7-42DB-A64F-99AA8906F143}"/>
              </a:ext>
            </a:extLst>
          </p:cNvPr>
          <p:cNvCxnSpPr>
            <a:cxnSpLocks/>
          </p:cNvCxnSpPr>
          <p:nvPr/>
        </p:nvCxnSpPr>
        <p:spPr>
          <a:xfrm rot="16200000" flipH="1">
            <a:off x="4673799" y="2457485"/>
            <a:ext cx="279960" cy="142643"/>
          </a:xfrm>
          <a:prstGeom prst="bentConnector3">
            <a:avLst>
              <a:gd name="adj1" fmla="val -184"/>
            </a:avLst>
          </a:prstGeom>
          <a:ln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36CF219D-0CCC-42B6-89D0-2B30EFCC271C}"/>
              </a:ext>
            </a:extLst>
          </p:cNvPr>
          <p:cNvGrpSpPr/>
          <p:nvPr/>
        </p:nvGrpSpPr>
        <p:grpSpPr>
          <a:xfrm>
            <a:off x="-22640" y="2774515"/>
            <a:ext cx="3062110" cy="2059044"/>
            <a:chOff x="-22640" y="2774515"/>
            <a:chExt cx="3062110" cy="2059044"/>
          </a:xfrm>
        </p:grpSpPr>
        <p:sp>
          <p:nvSpPr>
            <p:cNvPr id="3612" name="Oval 3611">
              <a:extLst>
                <a:ext uri="{FF2B5EF4-FFF2-40B4-BE49-F238E27FC236}">
                  <a16:creationId xmlns:a16="http://schemas.microsoft.com/office/drawing/2014/main" xmlns="" id="{23F1BD17-1F1D-4543-8CE4-E01F97F09C2A}"/>
                </a:ext>
              </a:extLst>
            </p:cNvPr>
            <p:cNvSpPr/>
            <p:nvPr/>
          </p:nvSpPr>
          <p:spPr>
            <a:xfrm>
              <a:off x="-22640" y="4474271"/>
              <a:ext cx="3062110" cy="359288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50000"/>
                  </a:schemeClr>
                </a:gs>
                <a:gs pos="32000">
                  <a:schemeClr val="accent1">
                    <a:lumMod val="75000"/>
                  </a:schemeClr>
                </a:gs>
                <a:gs pos="100000">
                  <a:schemeClr val="accent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xmlns="" id="{BDD1837A-886D-40A3-8B58-B970F3C1C40C}"/>
                </a:ext>
              </a:extLst>
            </p:cNvPr>
            <p:cNvSpPr/>
            <p:nvPr/>
          </p:nvSpPr>
          <p:spPr>
            <a:xfrm>
              <a:off x="480060" y="2780127"/>
              <a:ext cx="1224049" cy="26904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xmlns="" id="{937600EC-7FFF-4C9E-ABF9-716F29A9C544}"/>
                </a:ext>
              </a:extLst>
            </p:cNvPr>
            <p:cNvSpPr/>
            <p:nvPr/>
          </p:nvSpPr>
          <p:spPr>
            <a:xfrm rot="10800000">
              <a:off x="604651" y="3034884"/>
              <a:ext cx="152313" cy="131304"/>
            </a:xfrm>
            <a:prstGeom prst="triangl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61" name="Rectangle 2560">
              <a:extLst>
                <a:ext uri="{FF2B5EF4-FFF2-40B4-BE49-F238E27FC236}">
                  <a16:creationId xmlns:a16="http://schemas.microsoft.com/office/drawing/2014/main" xmlns="" id="{67B3A002-29DF-4AAC-B80F-4975850276B9}"/>
                </a:ext>
              </a:extLst>
            </p:cNvPr>
            <p:cNvSpPr/>
            <p:nvPr/>
          </p:nvSpPr>
          <p:spPr>
            <a:xfrm>
              <a:off x="510757" y="2774515"/>
              <a:ext cx="1184940" cy="26161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en-US" sz="1100" dirty="0">
                  <a:solidFill>
                    <a:schemeClr val="bg1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Cisco </a:t>
              </a:r>
              <a:r>
                <a:rPr lang="en-US" sz="1100" dirty="0" err="1">
                  <a:solidFill>
                    <a:schemeClr val="bg1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Tetration</a:t>
              </a:r>
              <a:r>
                <a:rPr lang="en-US" sz="1100" dirty="0">
                  <a:solidFill>
                    <a:schemeClr val="bg1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 </a:t>
              </a:r>
              <a:endParaRPr lang="en-US" sz="1400" dirty="0">
                <a:solidFill>
                  <a:schemeClr val="bg1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xmlns="" id="{F7EF0DDA-1C40-49BA-8AB6-86C53A0073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549267" y="3256022"/>
              <a:ext cx="1917708" cy="1289687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xmlns="" id="{77DB61C0-C370-4062-8E66-232BBCF4B6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218175" y="3190876"/>
              <a:ext cx="2575848" cy="1551890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5FF859B6-5641-4B6B-A988-1B4156602BBD}"/>
              </a:ext>
            </a:extLst>
          </p:cNvPr>
          <p:cNvGrpSpPr/>
          <p:nvPr/>
        </p:nvGrpSpPr>
        <p:grpSpPr>
          <a:xfrm>
            <a:off x="4290865" y="3325833"/>
            <a:ext cx="4441153" cy="1449935"/>
            <a:chOff x="4490397" y="3217286"/>
            <a:chExt cx="1452205" cy="989192"/>
          </a:xfrm>
        </p:grpSpPr>
        <p:sp>
          <p:nvSpPr>
            <p:cNvPr id="1197" name="Rectangle: Rounded Corners 1196">
              <a:extLst>
                <a:ext uri="{FF2B5EF4-FFF2-40B4-BE49-F238E27FC236}">
                  <a16:creationId xmlns:a16="http://schemas.microsoft.com/office/drawing/2014/main" xmlns="" id="{5B2D18F0-C1DA-4193-8C6F-E0973D497BAB}"/>
                </a:ext>
              </a:extLst>
            </p:cNvPr>
            <p:cNvSpPr/>
            <p:nvPr/>
          </p:nvSpPr>
          <p:spPr>
            <a:xfrm>
              <a:off x="4490397" y="3342359"/>
              <a:ext cx="1432905" cy="864119"/>
            </a:xfrm>
            <a:prstGeom prst="roundRect">
              <a:avLst>
                <a:gd name="adj" fmla="val 10749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98" name="Isosceles Triangle 1197">
              <a:extLst>
                <a:ext uri="{FF2B5EF4-FFF2-40B4-BE49-F238E27FC236}">
                  <a16:creationId xmlns:a16="http://schemas.microsoft.com/office/drawing/2014/main" xmlns="" id="{5D8512FB-8EC6-461D-94E5-DD64305A3FE1}"/>
                </a:ext>
              </a:extLst>
            </p:cNvPr>
            <p:cNvSpPr/>
            <p:nvPr/>
          </p:nvSpPr>
          <p:spPr>
            <a:xfrm rot="10800000" flipV="1">
              <a:off x="4614987" y="3217286"/>
              <a:ext cx="152313" cy="131304"/>
            </a:xfrm>
            <a:prstGeom prst="triangl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99" name="Rectangle 1198">
              <a:extLst>
                <a:ext uri="{FF2B5EF4-FFF2-40B4-BE49-F238E27FC236}">
                  <a16:creationId xmlns:a16="http://schemas.microsoft.com/office/drawing/2014/main" xmlns="" id="{F7DE3585-1A42-4528-9933-8B3058453F69}"/>
                </a:ext>
              </a:extLst>
            </p:cNvPr>
            <p:cNvSpPr/>
            <p:nvPr/>
          </p:nvSpPr>
          <p:spPr>
            <a:xfrm>
              <a:off x="4502343" y="3341528"/>
              <a:ext cx="1440259" cy="797905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171450" indent="-1714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Full visibility into application components including workloads, processes and application behavior in the data center</a:t>
              </a:r>
            </a:p>
            <a:p>
              <a:pPr marL="171450" indent="-1714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100" dirty="0" smtClean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Application </a:t>
              </a:r>
              <a:r>
                <a:rPr lang="en-US" sz="1100" dirty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dependency mapping</a:t>
              </a:r>
            </a:p>
            <a:p>
              <a:pPr marL="171450" indent="-1714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Application segmentation </a:t>
              </a:r>
              <a:r>
                <a:rPr lang="en-US" sz="1100" dirty="0" smtClean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policies (whitelist/blacklist</a:t>
              </a:r>
              <a:r>
                <a:rPr lang="en-US" sz="1100" dirty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)</a:t>
              </a:r>
            </a:p>
            <a:p>
              <a:pPr marL="171450" indent="-1714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Forensic search and </a:t>
              </a:r>
              <a:r>
                <a:rPr lang="en-US" sz="1100" dirty="0" smtClean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application anomaly </a:t>
              </a:r>
              <a:r>
                <a:rPr lang="en-US" sz="1100" dirty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detection</a:t>
              </a:r>
            </a:p>
          </p:txBody>
        </p:sp>
      </p:grpSp>
      <p:cxnSp>
        <p:nvCxnSpPr>
          <p:cNvPr id="1279" name="Straight Connector 1278">
            <a:extLst>
              <a:ext uri="{FF2B5EF4-FFF2-40B4-BE49-F238E27FC236}">
                <a16:creationId xmlns:a16="http://schemas.microsoft.com/office/drawing/2014/main" xmlns="" id="{05B67877-FB31-4448-A6DA-A6F2F13C9939}"/>
              </a:ext>
            </a:extLst>
          </p:cNvPr>
          <p:cNvCxnSpPr>
            <a:cxnSpLocks/>
          </p:cNvCxnSpPr>
          <p:nvPr/>
        </p:nvCxnSpPr>
        <p:spPr>
          <a:xfrm>
            <a:off x="7568603" y="2546297"/>
            <a:ext cx="0" cy="238710"/>
          </a:xfrm>
          <a:prstGeom prst="line">
            <a:avLst/>
          </a:prstGeom>
          <a:ln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0" name="Straight Connector 1279">
            <a:extLst>
              <a:ext uri="{FF2B5EF4-FFF2-40B4-BE49-F238E27FC236}">
                <a16:creationId xmlns:a16="http://schemas.microsoft.com/office/drawing/2014/main" xmlns="" id="{7CD132C3-FCFA-4A08-8707-1068815C6769}"/>
              </a:ext>
            </a:extLst>
          </p:cNvPr>
          <p:cNvCxnSpPr>
            <a:cxnSpLocks/>
          </p:cNvCxnSpPr>
          <p:nvPr/>
        </p:nvCxnSpPr>
        <p:spPr>
          <a:xfrm>
            <a:off x="7728147" y="2546297"/>
            <a:ext cx="0" cy="238710"/>
          </a:xfrm>
          <a:prstGeom prst="line">
            <a:avLst/>
          </a:prstGeom>
          <a:ln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1" name="Straight Connector 1280">
            <a:extLst>
              <a:ext uri="{FF2B5EF4-FFF2-40B4-BE49-F238E27FC236}">
                <a16:creationId xmlns:a16="http://schemas.microsoft.com/office/drawing/2014/main" xmlns="" id="{38B44934-CEB3-43BF-9611-4ED70BB7382E}"/>
              </a:ext>
            </a:extLst>
          </p:cNvPr>
          <p:cNvCxnSpPr>
            <a:cxnSpLocks/>
          </p:cNvCxnSpPr>
          <p:nvPr/>
        </p:nvCxnSpPr>
        <p:spPr>
          <a:xfrm>
            <a:off x="7887691" y="2546297"/>
            <a:ext cx="0" cy="238710"/>
          </a:xfrm>
          <a:prstGeom prst="line">
            <a:avLst/>
          </a:prstGeom>
          <a:ln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5" name="yellow 1">
            <a:extLst>
              <a:ext uri="{FF2B5EF4-FFF2-40B4-BE49-F238E27FC236}">
                <a16:creationId xmlns:a16="http://schemas.microsoft.com/office/drawing/2014/main" xmlns="" id="{1D17EA8C-83BB-4C38-BE3F-1B0CDCE0A749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7554418" y="2805895"/>
            <a:ext cx="45719" cy="45719"/>
          </a:xfrm>
          <a:prstGeom prst="ellipse">
            <a:avLst/>
          </a:prstGeom>
          <a:solidFill>
            <a:schemeClr val="accent5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06" name="blue 1">
            <a:extLst>
              <a:ext uri="{FF2B5EF4-FFF2-40B4-BE49-F238E27FC236}">
                <a16:creationId xmlns:a16="http://schemas.microsoft.com/office/drawing/2014/main" xmlns="" id="{ED994EE1-796F-453D-805F-02AE9408F7B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7554000" y="2803499"/>
            <a:ext cx="45719" cy="45719"/>
          </a:xfrm>
          <a:prstGeom prst="ellipse">
            <a:avLst/>
          </a:prstGeom>
          <a:solidFill>
            <a:schemeClr val="accent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07" name="green 1">
            <a:extLst>
              <a:ext uri="{FF2B5EF4-FFF2-40B4-BE49-F238E27FC236}">
                <a16:creationId xmlns:a16="http://schemas.microsoft.com/office/drawing/2014/main" xmlns="" id="{F18C48D5-7635-45AB-9451-6C87D9FBA695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7553996" y="2805879"/>
            <a:ext cx="45719" cy="45719"/>
          </a:xfrm>
          <a:prstGeom prst="ellipse">
            <a:avLst/>
          </a:prstGeom>
          <a:solidFill>
            <a:schemeClr val="accent2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08" name="green 2">
            <a:extLst>
              <a:ext uri="{FF2B5EF4-FFF2-40B4-BE49-F238E27FC236}">
                <a16:creationId xmlns:a16="http://schemas.microsoft.com/office/drawing/2014/main" xmlns="" id="{8823020A-6505-4824-97D1-1903E904352F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7706818" y="2800766"/>
            <a:ext cx="45719" cy="45719"/>
          </a:xfrm>
          <a:prstGeom prst="ellipse">
            <a:avLst/>
          </a:prstGeom>
          <a:solidFill>
            <a:schemeClr val="accent2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09" name="yellow 2">
            <a:extLst>
              <a:ext uri="{FF2B5EF4-FFF2-40B4-BE49-F238E27FC236}">
                <a16:creationId xmlns:a16="http://schemas.microsoft.com/office/drawing/2014/main" xmlns="" id="{B01159E0-24C3-4379-A982-7924FBEEEB0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7708826" y="2805879"/>
            <a:ext cx="45719" cy="45719"/>
          </a:xfrm>
          <a:prstGeom prst="ellipse">
            <a:avLst/>
          </a:prstGeom>
          <a:solidFill>
            <a:schemeClr val="accent5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10" name="blue 2">
            <a:extLst>
              <a:ext uri="{FF2B5EF4-FFF2-40B4-BE49-F238E27FC236}">
                <a16:creationId xmlns:a16="http://schemas.microsoft.com/office/drawing/2014/main" xmlns="" id="{3DC004C0-8B86-407B-B6B5-662B1A4E0D7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7703484" y="2805879"/>
            <a:ext cx="45719" cy="45719"/>
          </a:xfrm>
          <a:prstGeom prst="ellipse">
            <a:avLst/>
          </a:prstGeom>
          <a:solidFill>
            <a:schemeClr val="accent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11" name="yellow 3">
            <a:extLst>
              <a:ext uri="{FF2B5EF4-FFF2-40B4-BE49-F238E27FC236}">
                <a16:creationId xmlns:a16="http://schemas.microsoft.com/office/drawing/2014/main" xmlns="" id="{A7B2B546-8BC1-41C8-B424-2BCCCCD42F51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7872717" y="2800766"/>
            <a:ext cx="45719" cy="45719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12" name="green 3">
            <a:extLst>
              <a:ext uri="{FF2B5EF4-FFF2-40B4-BE49-F238E27FC236}">
                <a16:creationId xmlns:a16="http://schemas.microsoft.com/office/drawing/2014/main" xmlns="" id="{9829BD98-EC7D-4463-A689-0A08D0FF0DF9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7872717" y="2800766"/>
            <a:ext cx="45719" cy="4571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13" name="blue 3">
            <a:extLst>
              <a:ext uri="{FF2B5EF4-FFF2-40B4-BE49-F238E27FC236}">
                <a16:creationId xmlns:a16="http://schemas.microsoft.com/office/drawing/2014/main" xmlns="" id="{58BBA109-C554-4037-90E4-FD14DF00C09C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7872730" y="2803155"/>
            <a:ext cx="45719" cy="4571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512" name="Group 3511">
            <a:extLst>
              <a:ext uri="{FF2B5EF4-FFF2-40B4-BE49-F238E27FC236}">
                <a16:creationId xmlns:a16="http://schemas.microsoft.com/office/drawing/2014/main" xmlns="" id="{91347035-99D9-42F0-ADB6-2971A8BDB77A}"/>
              </a:ext>
            </a:extLst>
          </p:cNvPr>
          <p:cNvGrpSpPr/>
          <p:nvPr/>
        </p:nvGrpSpPr>
        <p:grpSpPr>
          <a:xfrm>
            <a:off x="7488807" y="2214899"/>
            <a:ext cx="465186" cy="337180"/>
            <a:chOff x="4207537" y="2273730"/>
            <a:chExt cx="598923" cy="434116"/>
          </a:xfrm>
        </p:grpSpPr>
        <p:grpSp>
          <p:nvGrpSpPr>
            <p:cNvPr id="3513" name="Group 3512">
              <a:extLst>
                <a:ext uri="{FF2B5EF4-FFF2-40B4-BE49-F238E27FC236}">
                  <a16:creationId xmlns:a16="http://schemas.microsoft.com/office/drawing/2014/main" xmlns="" id="{F6ABA459-DEF6-4221-B147-4FE7B6556B12}"/>
                </a:ext>
              </a:extLst>
            </p:cNvPr>
            <p:cNvGrpSpPr/>
            <p:nvPr/>
          </p:nvGrpSpPr>
          <p:grpSpPr>
            <a:xfrm>
              <a:off x="4207537" y="2273730"/>
              <a:ext cx="179387" cy="434116"/>
              <a:chOff x="2330274" y="3840316"/>
              <a:chExt cx="238125" cy="576262"/>
            </a:xfrm>
          </p:grpSpPr>
          <p:sp>
            <p:nvSpPr>
              <p:cNvPr id="3528" name="Freeform 201">
                <a:extLst>
                  <a:ext uri="{FF2B5EF4-FFF2-40B4-BE49-F238E27FC236}">
                    <a16:creationId xmlns:a16="http://schemas.microsoft.com/office/drawing/2014/main" xmlns="" id="{31F9CC96-76C7-4E23-B332-5C79E3B74E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9" name="Line 202">
                <a:extLst>
                  <a:ext uri="{FF2B5EF4-FFF2-40B4-BE49-F238E27FC236}">
                    <a16:creationId xmlns:a16="http://schemas.microsoft.com/office/drawing/2014/main" xmlns="" id="{843D2ACF-23F1-451A-9C92-79E946CB24A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0" name="Line 203">
                <a:extLst>
                  <a:ext uri="{FF2B5EF4-FFF2-40B4-BE49-F238E27FC236}">
                    <a16:creationId xmlns:a16="http://schemas.microsoft.com/office/drawing/2014/main" xmlns="" id="{CA63233B-2BCA-44E3-84AB-244ECF3B7D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1" name="Line 204">
                <a:extLst>
                  <a:ext uri="{FF2B5EF4-FFF2-40B4-BE49-F238E27FC236}">
                    <a16:creationId xmlns:a16="http://schemas.microsoft.com/office/drawing/2014/main" xmlns="" id="{376B4943-273F-4F16-9E60-E512EB4722E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2" name="Line 205">
                <a:extLst>
                  <a:ext uri="{FF2B5EF4-FFF2-40B4-BE49-F238E27FC236}">
                    <a16:creationId xmlns:a16="http://schemas.microsoft.com/office/drawing/2014/main" xmlns="" id="{768D12DB-99FE-44B6-9E9F-0BB95D3170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3" name="Line 206">
                <a:extLst>
                  <a:ext uri="{FF2B5EF4-FFF2-40B4-BE49-F238E27FC236}">
                    <a16:creationId xmlns:a16="http://schemas.microsoft.com/office/drawing/2014/main" xmlns="" id="{284F26CC-B9B6-4EB3-9EE0-9B51912285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514" name="Group 3513">
              <a:extLst>
                <a:ext uri="{FF2B5EF4-FFF2-40B4-BE49-F238E27FC236}">
                  <a16:creationId xmlns:a16="http://schemas.microsoft.com/office/drawing/2014/main" xmlns="" id="{40F05D58-4627-4D38-993A-39D9F153B1B9}"/>
                </a:ext>
              </a:extLst>
            </p:cNvPr>
            <p:cNvGrpSpPr/>
            <p:nvPr/>
          </p:nvGrpSpPr>
          <p:grpSpPr>
            <a:xfrm>
              <a:off x="4417305" y="2273730"/>
              <a:ext cx="179387" cy="434116"/>
              <a:chOff x="2330274" y="3840316"/>
              <a:chExt cx="238125" cy="576262"/>
            </a:xfrm>
          </p:grpSpPr>
          <p:sp>
            <p:nvSpPr>
              <p:cNvPr id="3522" name="Freeform 201">
                <a:extLst>
                  <a:ext uri="{FF2B5EF4-FFF2-40B4-BE49-F238E27FC236}">
                    <a16:creationId xmlns:a16="http://schemas.microsoft.com/office/drawing/2014/main" xmlns="" id="{75BDFE3F-CED2-48E5-9F8E-B336D9546C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3" name="Line 202">
                <a:extLst>
                  <a:ext uri="{FF2B5EF4-FFF2-40B4-BE49-F238E27FC236}">
                    <a16:creationId xmlns:a16="http://schemas.microsoft.com/office/drawing/2014/main" xmlns="" id="{126E4B4F-EA75-4D50-8525-E3FB8886853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4" name="Line 203">
                <a:extLst>
                  <a:ext uri="{FF2B5EF4-FFF2-40B4-BE49-F238E27FC236}">
                    <a16:creationId xmlns:a16="http://schemas.microsoft.com/office/drawing/2014/main" xmlns="" id="{5F0E0D8A-2BFD-4A84-B99C-1AD09DF809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5" name="Line 204">
                <a:extLst>
                  <a:ext uri="{FF2B5EF4-FFF2-40B4-BE49-F238E27FC236}">
                    <a16:creationId xmlns:a16="http://schemas.microsoft.com/office/drawing/2014/main" xmlns="" id="{31FADD0A-7188-474E-A505-00DB5219FC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6" name="Line 205">
                <a:extLst>
                  <a:ext uri="{FF2B5EF4-FFF2-40B4-BE49-F238E27FC236}">
                    <a16:creationId xmlns:a16="http://schemas.microsoft.com/office/drawing/2014/main" xmlns="" id="{A8713570-A78F-41D0-B073-0E02B3741A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7" name="Line 206">
                <a:extLst>
                  <a:ext uri="{FF2B5EF4-FFF2-40B4-BE49-F238E27FC236}">
                    <a16:creationId xmlns:a16="http://schemas.microsoft.com/office/drawing/2014/main" xmlns="" id="{7EAC848D-0D9C-4D92-B15E-11748FA1E82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515" name="Group 3514">
              <a:extLst>
                <a:ext uri="{FF2B5EF4-FFF2-40B4-BE49-F238E27FC236}">
                  <a16:creationId xmlns:a16="http://schemas.microsoft.com/office/drawing/2014/main" xmlns="" id="{6F1F29B8-D130-48C0-9D5A-2EAF11B97574}"/>
                </a:ext>
              </a:extLst>
            </p:cNvPr>
            <p:cNvGrpSpPr/>
            <p:nvPr/>
          </p:nvGrpSpPr>
          <p:grpSpPr>
            <a:xfrm>
              <a:off x="4627073" y="2273730"/>
              <a:ext cx="179387" cy="434116"/>
              <a:chOff x="2330274" y="3840316"/>
              <a:chExt cx="238125" cy="576262"/>
            </a:xfrm>
          </p:grpSpPr>
          <p:sp>
            <p:nvSpPr>
              <p:cNvPr id="3516" name="Freeform 201">
                <a:extLst>
                  <a:ext uri="{FF2B5EF4-FFF2-40B4-BE49-F238E27FC236}">
                    <a16:creationId xmlns:a16="http://schemas.microsoft.com/office/drawing/2014/main" xmlns="" id="{15094D6B-9A5B-4B86-9B91-7DA0F7483E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7" name="Line 202">
                <a:extLst>
                  <a:ext uri="{FF2B5EF4-FFF2-40B4-BE49-F238E27FC236}">
                    <a16:creationId xmlns:a16="http://schemas.microsoft.com/office/drawing/2014/main" xmlns="" id="{9992A9A4-7FB7-4350-9174-0F0286D9C63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8" name="Line 203">
                <a:extLst>
                  <a:ext uri="{FF2B5EF4-FFF2-40B4-BE49-F238E27FC236}">
                    <a16:creationId xmlns:a16="http://schemas.microsoft.com/office/drawing/2014/main" xmlns="" id="{982AA5F7-3B04-49A7-9E3C-3BB26E6B07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9" name="Line 204">
                <a:extLst>
                  <a:ext uri="{FF2B5EF4-FFF2-40B4-BE49-F238E27FC236}">
                    <a16:creationId xmlns:a16="http://schemas.microsoft.com/office/drawing/2014/main" xmlns="" id="{4F833476-0D9F-451A-B352-05F75965446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0" name="Line 205">
                <a:extLst>
                  <a:ext uri="{FF2B5EF4-FFF2-40B4-BE49-F238E27FC236}">
                    <a16:creationId xmlns:a16="http://schemas.microsoft.com/office/drawing/2014/main" xmlns="" id="{7A585599-8815-4C78-8A5E-306F344017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1" name="Line 206">
                <a:extLst>
                  <a:ext uri="{FF2B5EF4-FFF2-40B4-BE49-F238E27FC236}">
                    <a16:creationId xmlns:a16="http://schemas.microsoft.com/office/drawing/2014/main" xmlns="" id="{8A283454-A962-410E-BB89-6538256803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583" name="Group 3582">
            <a:extLst>
              <a:ext uri="{FF2B5EF4-FFF2-40B4-BE49-F238E27FC236}">
                <a16:creationId xmlns:a16="http://schemas.microsoft.com/office/drawing/2014/main" xmlns="" id="{F5063D7E-B5A7-4E38-AE31-E7980E6EA8D8}"/>
              </a:ext>
            </a:extLst>
          </p:cNvPr>
          <p:cNvGrpSpPr/>
          <p:nvPr/>
        </p:nvGrpSpPr>
        <p:grpSpPr>
          <a:xfrm>
            <a:off x="7488807" y="2780652"/>
            <a:ext cx="465186" cy="337180"/>
            <a:chOff x="4207537" y="2273730"/>
            <a:chExt cx="598923" cy="434116"/>
          </a:xfrm>
        </p:grpSpPr>
        <p:grpSp>
          <p:nvGrpSpPr>
            <p:cNvPr id="3584" name="Group 3583">
              <a:extLst>
                <a:ext uri="{FF2B5EF4-FFF2-40B4-BE49-F238E27FC236}">
                  <a16:creationId xmlns:a16="http://schemas.microsoft.com/office/drawing/2014/main" xmlns="" id="{DC204382-92AC-444C-BBA3-C68C8F911F7F}"/>
                </a:ext>
              </a:extLst>
            </p:cNvPr>
            <p:cNvGrpSpPr/>
            <p:nvPr/>
          </p:nvGrpSpPr>
          <p:grpSpPr>
            <a:xfrm>
              <a:off x="4207537" y="2273730"/>
              <a:ext cx="179387" cy="434116"/>
              <a:chOff x="2330274" y="3840316"/>
              <a:chExt cx="238125" cy="576262"/>
            </a:xfrm>
          </p:grpSpPr>
          <p:sp>
            <p:nvSpPr>
              <p:cNvPr id="3599" name="Freeform 201">
                <a:extLst>
                  <a:ext uri="{FF2B5EF4-FFF2-40B4-BE49-F238E27FC236}">
                    <a16:creationId xmlns:a16="http://schemas.microsoft.com/office/drawing/2014/main" xmlns="" id="{A140103E-6E07-490D-8CDA-528D1250B0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0" name="Line 202">
                <a:extLst>
                  <a:ext uri="{FF2B5EF4-FFF2-40B4-BE49-F238E27FC236}">
                    <a16:creationId xmlns:a16="http://schemas.microsoft.com/office/drawing/2014/main" xmlns="" id="{308A576F-5015-4592-BC74-F2CDF48D3A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1" name="Line 203">
                <a:extLst>
                  <a:ext uri="{FF2B5EF4-FFF2-40B4-BE49-F238E27FC236}">
                    <a16:creationId xmlns:a16="http://schemas.microsoft.com/office/drawing/2014/main" xmlns="" id="{104FDEEB-500D-46D2-A413-CCDEE92B23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2" name="Line 204">
                <a:extLst>
                  <a:ext uri="{FF2B5EF4-FFF2-40B4-BE49-F238E27FC236}">
                    <a16:creationId xmlns:a16="http://schemas.microsoft.com/office/drawing/2014/main" xmlns="" id="{4A27DAA3-5490-49FE-8DD3-25A4545981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3" name="Line 205">
                <a:extLst>
                  <a:ext uri="{FF2B5EF4-FFF2-40B4-BE49-F238E27FC236}">
                    <a16:creationId xmlns:a16="http://schemas.microsoft.com/office/drawing/2014/main" xmlns="" id="{A68B719F-0CB8-41BE-826E-42A8C2C3D8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4" name="Line 206">
                <a:extLst>
                  <a:ext uri="{FF2B5EF4-FFF2-40B4-BE49-F238E27FC236}">
                    <a16:creationId xmlns:a16="http://schemas.microsoft.com/office/drawing/2014/main" xmlns="" id="{FCF8FE67-0941-4422-9932-36E1D139FF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585" name="Group 3584">
              <a:extLst>
                <a:ext uri="{FF2B5EF4-FFF2-40B4-BE49-F238E27FC236}">
                  <a16:creationId xmlns:a16="http://schemas.microsoft.com/office/drawing/2014/main" xmlns="" id="{1399B0E7-4915-4C01-ACCC-3957972FED88}"/>
                </a:ext>
              </a:extLst>
            </p:cNvPr>
            <p:cNvGrpSpPr/>
            <p:nvPr/>
          </p:nvGrpSpPr>
          <p:grpSpPr>
            <a:xfrm>
              <a:off x="4417305" y="2273730"/>
              <a:ext cx="179387" cy="434116"/>
              <a:chOff x="2330274" y="3840316"/>
              <a:chExt cx="238125" cy="576262"/>
            </a:xfrm>
          </p:grpSpPr>
          <p:sp>
            <p:nvSpPr>
              <p:cNvPr id="3593" name="Freeform 201">
                <a:extLst>
                  <a:ext uri="{FF2B5EF4-FFF2-40B4-BE49-F238E27FC236}">
                    <a16:creationId xmlns:a16="http://schemas.microsoft.com/office/drawing/2014/main" xmlns="" id="{2A317F94-7AB9-43FC-931A-40841BEF68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4" name="Line 202">
                <a:extLst>
                  <a:ext uri="{FF2B5EF4-FFF2-40B4-BE49-F238E27FC236}">
                    <a16:creationId xmlns:a16="http://schemas.microsoft.com/office/drawing/2014/main" xmlns="" id="{D5487F58-1B9D-4703-94F1-4E0A9778724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5" name="Line 203">
                <a:extLst>
                  <a:ext uri="{FF2B5EF4-FFF2-40B4-BE49-F238E27FC236}">
                    <a16:creationId xmlns:a16="http://schemas.microsoft.com/office/drawing/2014/main" xmlns="" id="{69F46007-CF58-441C-90B3-8B451FA6452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6" name="Line 204">
                <a:extLst>
                  <a:ext uri="{FF2B5EF4-FFF2-40B4-BE49-F238E27FC236}">
                    <a16:creationId xmlns:a16="http://schemas.microsoft.com/office/drawing/2014/main" xmlns="" id="{1AC9755E-4492-4582-A6E7-ADADE9A162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7" name="Line 205">
                <a:extLst>
                  <a:ext uri="{FF2B5EF4-FFF2-40B4-BE49-F238E27FC236}">
                    <a16:creationId xmlns:a16="http://schemas.microsoft.com/office/drawing/2014/main" xmlns="" id="{CE13C1C7-9531-4D7C-8E4B-6F0C6E548A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8" name="Line 206">
                <a:extLst>
                  <a:ext uri="{FF2B5EF4-FFF2-40B4-BE49-F238E27FC236}">
                    <a16:creationId xmlns:a16="http://schemas.microsoft.com/office/drawing/2014/main" xmlns="" id="{A2632B83-C4CC-4689-8E78-DD0EA752852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586" name="Group 3585">
              <a:extLst>
                <a:ext uri="{FF2B5EF4-FFF2-40B4-BE49-F238E27FC236}">
                  <a16:creationId xmlns:a16="http://schemas.microsoft.com/office/drawing/2014/main" xmlns="" id="{A3CAAB48-445D-4691-9EB9-FD2C4A9D798C}"/>
                </a:ext>
              </a:extLst>
            </p:cNvPr>
            <p:cNvGrpSpPr/>
            <p:nvPr/>
          </p:nvGrpSpPr>
          <p:grpSpPr>
            <a:xfrm>
              <a:off x="4627073" y="2273730"/>
              <a:ext cx="179387" cy="434116"/>
              <a:chOff x="2330274" y="3840316"/>
              <a:chExt cx="238125" cy="576262"/>
            </a:xfrm>
          </p:grpSpPr>
          <p:sp>
            <p:nvSpPr>
              <p:cNvPr id="3587" name="Freeform 201">
                <a:extLst>
                  <a:ext uri="{FF2B5EF4-FFF2-40B4-BE49-F238E27FC236}">
                    <a16:creationId xmlns:a16="http://schemas.microsoft.com/office/drawing/2014/main" xmlns="" id="{6DE3E030-9316-405A-92DD-829F24EA8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8" name="Line 202">
                <a:extLst>
                  <a:ext uri="{FF2B5EF4-FFF2-40B4-BE49-F238E27FC236}">
                    <a16:creationId xmlns:a16="http://schemas.microsoft.com/office/drawing/2014/main" xmlns="" id="{22931012-26A1-4581-840F-AF53FEF0B5C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9" name="Line 203">
                <a:extLst>
                  <a:ext uri="{FF2B5EF4-FFF2-40B4-BE49-F238E27FC236}">
                    <a16:creationId xmlns:a16="http://schemas.microsoft.com/office/drawing/2014/main" xmlns="" id="{5CCDA46C-10C3-4F64-B203-C03ABE673E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0" name="Line 204">
                <a:extLst>
                  <a:ext uri="{FF2B5EF4-FFF2-40B4-BE49-F238E27FC236}">
                    <a16:creationId xmlns:a16="http://schemas.microsoft.com/office/drawing/2014/main" xmlns="" id="{8D18BAB7-9BBA-4A70-8340-D0CDB34CC3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1" name="Line 205">
                <a:extLst>
                  <a:ext uri="{FF2B5EF4-FFF2-40B4-BE49-F238E27FC236}">
                    <a16:creationId xmlns:a16="http://schemas.microsoft.com/office/drawing/2014/main" xmlns="" id="{8C76D2E0-7304-44D1-B2E8-3746C836C7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2" name="Line 206">
                <a:extLst>
                  <a:ext uri="{FF2B5EF4-FFF2-40B4-BE49-F238E27FC236}">
                    <a16:creationId xmlns:a16="http://schemas.microsoft.com/office/drawing/2014/main" xmlns="" id="{E286EB1F-D655-4E9E-A468-94433DDFBE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981" name="TextBox 980">
            <a:extLst>
              <a:ext uri="{FF2B5EF4-FFF2-40B4-BE49-F238E27FC236}">
                <a16:creationId xmlns:a16="http://schemas.microsoft.com/office/drawing/2014/main" xmlns="" id="{CF3393CF-03E8-4CF0-A5FC-11D4DD9F6333}"/>
              </a:ext>
            </a:extLst>
          </p:cNvPr>
          <p:cNvSpPr txBox="1"/>
          <p:nvPr/>
        </p:nvSpPr>
        <p:spPr>
          <a:xfrm>
            <a:off x="386201" y="1228847"/>
            <a:ext cx="2761785" cy="147732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defTabSz="685783">
              <a:lnSpc>
                <a:spcPct val="90000"/>
              </a:lnSpc>
              <a:spcBef>
                <a:spcPts val="600"/>
              </a:spcBef>
              <a:defRPr/>
            </a:pPr>
            <a:r>
              <a:rPr kumimoji="0" lang="en-US" sz="280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Visibility: </a:t>
            </a:r>
            <a:r>
              <a:rPr kumimoji="0" lang="en-US" sz="280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/>
            </a:r>
            <a:br>
              <a:rPr kumimoji="0" lang="en-US" sz="280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</a:br>
            <a:r>
              <a:rPr lang="en-US" sz="2400" dirty="0" smtClean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See application </a:t>
            </a:r>
            <a:r>
              <a:rPr lang="en-US" sz="24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components &amp; their behavior</a:t>
            </a:r>
            <a:endParaRPr kumimoji="0" lang="en-US" sz="24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1456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3444"/>
                                        </p:tgtEl>
                                      </p:cBhvr>
                                      <p:by x="142850" y="14285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decel="100000" fill="hold" grpId="2" nodeType="withEffect">
                                  <p:stCondLst>
                                    <p:cond delay="10"/>
                                  </p:stCondLst>
                                  <p:childTnLst>
                                    <p:animScale>
                                      <p:cBhvr>
                                        <p:cTn id="11" dur="1000" fill="hold"/>
                                        <p:tgtEl>
                                          <p:spTgt spid="3444"/>
                                        </p:tgtEl>
                                      </p:cBhvr>
                                      <p:by x="70000" y="70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10" fill="hold"/>
                                        <p:tgtEl>
                                          <p:spTgt spid="39"/>
                                        </p:tgtEl>
                                      </p:cBhvr>
                                      <p:by x="142850" y="14285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6" presetClass="emph" presetSubtype="0" decel="10000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Scale>
                                      <p:cBhvr>
                                        <p:cTn id="18" dur="1000" fill="hold"/>
                                        <p:tgtEl>
                                          <p:spTgt spid="39"/>
                                        </p:tgtEl>
                                      </p:cBhvr>
                                      <p:by x="70000" y="70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3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2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3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3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3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3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3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3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3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3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3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35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36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6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36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2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36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6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37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37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37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2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35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35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42" presetClass="path" presetSubtype="0" repeatCount="indefinite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0087 -0.00093 L -0.00122 -0.06112 " pathEditMode="relative" rAng="0" ptsTypes="AA">
                                      <p:cBhvr>
                                        <p:cTn id="125" dur="750" fill="hold"/>
                                        <p:tgtEl>
                                          <p:spTgt spid="12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-3025"/>
                                    </p:animMotion>
                                  </p:childTnLst>
                                </p:cTn>
                              </p:par>
                              <p:par>
                                <p:cTn id="126" presetID="42" presetClass="path" presetSubtype="0" repeatCount="indefinite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0087 -0.00093 L -0.00122 -0.06111 " pathEditMode="relative" rAng="0" ptsTypes="AA">
                                      <p:cBhvr>
                                        <p:cTn id="127" dur="1900" fill="hold"/>
                                        <p:tgtEl>
                                          <p:spTgt spid="12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-3025"/>
                                    </p:animMotion>
                                  </p:childTnLst>
                                </p:cTn>
                              </p:par>
                              <p:par>
                                <p:cTn id="128" presetID="42" presetClass="path" presetSubtype="0" repeatCount="indefinite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animMotion origin="layout" path="M -0.00087 -0.00093 L -0.00122 -0.06112 " pathEditMode="relative" rAng="0" ptsTypes="AA">
                                      <p:cBhvr>
                                        <p:cTn id="129" dur="1000" fill="hold"/>
                                        <p:tgtEl>
                                          <p:spTgt spid="129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-3025"/>
                                    </p:animMotion>
                                  </p:childTnLst>
                                </p:cTn>
                              </p:par>
                              <p:par>
                                <p:cTn id="130" presetID="64" presetClass="path" presetSubtype="0" repeatCount="indefinite" accel="50000" decel="5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1.38889E-6 4.5679E-6 L -0.00052 -0.05741 " pathEditMode="relative" rAng="0" ptsTypes="AA">
                                      <p:cBhvr>
                                        <p:cTn id="131" dur="1000" spd="-100000" fill="hold"/>
                                        <p:tgtEl>
                                          <p:spTgt spid="13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" y="-2870"/>
                                    </p:animMotion>
                                  </p:childTnLst>
                                </p:cTn>
                              </p:par>
                              <p:par>
                                <p:cTn id="132" presetID="64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1.38889E-6 3.20988E-6 L -0.00052 -0.06019 " pathEditMode="relative" rAng="0" ptsTypes="AA">
                                      <p:cBhvr>
                                        <p:cTn id="133" dur="1900" spd="-100000" fill="hold"/>
                                        <p:tgtEl>
                                          <p:spTgt spid="13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" y="-3025"/>
                                    </p:animMotion>
                                  </p:childTnLst>
                                </p:cTn>
                              </p:par>
                              <p:par>
                                <p:cTn id="134" presetID="64" presetClass="path" presetSubtype="0" repeatCount="indefinite" accel="50000" decel="5000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animMotion origin="layout" path="M -4.16667E-6 -3.20988E-6 L 0.00053 -0.06018 " pathEditMode="relative" rAng="0" ptsTypes="AA">
                                      <p:cBhvr>
                                        <p:cTn id="135" dur="1000" spd="-100000" fill="hold"/>
                                        <p:tgtEl>
                                          <p:spTgt spid="13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" y="-3025"/>
                                    </p:animMotion>
                                  </p:childTnLst>
                                </p:cTn>
                              </p:par>
                              <p:par>
                                <p:cTn id="136" presetID="42" presetClass="path" presetSubtype="0" repeatCount="indefinite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0087 -0.00093 L -0.00122 -0.06111 " pathEditMode="relative" rAng="0" ptsTypes="AA">
                                      <p:cBhvr>
                                        <p:cTn id="137" dur="750" fill="hold"/>
                                        <p:tgtEl>
                                          <p:spTgt spid="129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-3025"/>
                                    </p:animMotion>
                                  </p:childTnLst>
                                </p:cTn>
                              </p:par>
                              <p:par>
                                <p:cTn id="138" presetID="42" presetClass="path" presetSubtype="0" repeatCount="indefinite" fill="hold" grpId="0" nodeType="withEffect">
                                  <p:stCondLst>
                                    <p:cond delay="1050"/>
                                  </p:stCondLst>
                                  <p:childTnLst>
                                    <p:animMotion origin="layout" path="M -0.00087 -0.00093 L -0.00122 -0.06111 " pathEditMode="relative" rAng="0" ptsTypes="AA">
                                      <p:cBhvr>
                                        <p:cTn id="139" dur="1900" fill="hold"/>
                                        <p:tgtEl>
                                          <p:spTgt spid="130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-3025"/>
                                    </p:animMotion>
                                  </p:childTnLst>
                                </p:cTn>
                              </p:par>
                              <p:par>
                                <p:cTn id="140" presetID="42" presetClass="path" presetSubtype="0" repeatCount="indefinite" fill="hold" grpId="0" nodeType="withEffect">
                                  <p:stCondLst>
                                    <p:cond delay="1050"/>
                                  </p:stCondLst>
                                  <p:childTnLst>
                                    <p:animMotion origin="layout" path="M -0.00087 -0.00093 L -0.00122 -0.06111 " pathEditMode="relative" rAng="0" ptsTypes="AA">
                                      <p:cBhvr>
                                        <p:cTn id="141" dur="1000" fill="hold"/>
                                        <p:tgtEl>
                                          <p:spTgt spid="13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-3025"/>
                                    </p:animMotion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6" presetClass="emph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animScale>
                                      <p:cBhvr>
                                        <p:cTn id="146" dur="10" fill="hold"/>
                                        <p:tgtEl>
                                          <p:spTgt spid="41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147" presetID="6" presetClass="emph" presetSubtype="0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Scale>
                                      <p:cBhvr>
                                        <p:cTn id="148" dur="1000" fill="hold"/>
                                        <p:tgtEl>
                                          <p:spTgt spid="41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149" presetID="42" presetClass="path" presetSubtype="0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1.38889E-6 -3.7037E-6 L -0.075 -0.10926 " pathEditMode="relative" rAng="0" ptsTypes="AA">
                                      <p:cBhvr>
                                        <p:cTn id="150" dur="10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-5463"/>
                                    </p:animMotion>
                                  </p:childTnLst>
                                </p:cTn>
                              </p:par>
                              <p:par>
                                <p:cTn id="151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87 -0.00092 L -0.00121 -0.06111 " pathEditMode="relative" rAng="0" ptsTypes="AA">
                                      <p:cBhvr>
                                        <p:cTn id="152" dur="700" fill="hold"/>
                                        <p:tgtEl>
                                          <p:spTgt spid="130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-3025"/>
                                    </p:animMotion>
                                  </p:childTnLst>
                                </p:cTn>
                              </p:par>
                              <p:par>
                                <p:cTn id="153" presetID="42" presetClass="path" presetSubtype="0" repeatCount="indefinite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0087 -0.00092 L -0.00121 -0.06111 " pathEditMode="relative" rAng="0" ptsTypes="AA">
                                      <p:cBhvr>
                                        <p:cTn id="154" dur="1900" fill="hold"/>
                                        <p:tgtEl>
                                          <p:spTgt spid="130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-3025"/>
                                    </p:animMotion>
                                  </p:childTnLst>
                                </p:cTn>
                              </p:par>
                              <p:par>
                                <p:cTn id="155" presetID="42" presetClass="path" presetSubtype="0" repeatCount="indefinite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0.00087 -0.00092 L -0.00122 -0.06111 " pathEditMode="relative" rAng="0" ptsTypes="AA">
                                      <p:cBhvr>
                                        <p:cTn id="156" dur="1000" fill="hold"/>
                                        <p:tgtEl>
                                          <p:spTgt spid="13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-3025"/>
                                    </p:animMotion>
                                  </p:childTnLst>
                                </p:cTn>
                              </p:par>
                              <p:par>
                                <p:cTn id="157" presetID="64" presetClass="path" presetSubtype="0" repeatCount="indefinite" accel="50000" decel="5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5E-6 4.5679E-6 L -0.00052 -0.05741 " pathEditMode="relative" rAng="0" ptsTypes="AA">
                                      <p:cBhvr>
                                        <p:cTn id="158" dur="1000" spd="-100000" fill="hold"/>
                                        <p:tgtEl>
                                          <p:spTgt spid="130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" y="-2870"/>
                                    </p:animMotion>
                                  </p:childTnLst>
                                </p:cTn>
                              </p:par>
                              <p:par>
                                <p:cTn id="159" presetID="64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3.88889E-6 -1.35802E-6 L -0.00052 -0.06018 " pathEditMode="relative" rAng="0" ptsTypes="AA">
                                      <p:cBhvr>
                                        <p:cTn id="160" dur="1900" spd="-100000" fill="hold"/>
                                        <p:tgtEl>
                                          <p:spTgt spid="130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" y="-3025"/>
                                    </p:animMotion>
                                  </p:childTnLst>
                                </p:cTn>
                              </p:par>
                              <p:par>
                                <p:cTn id="161" presetID="64" presetClass="path" presetSubtype="0" repeatCount="indefinite" accel="50000" decel="5000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animMotion origin="layout" path="M 4.72222E-6 -1.35802E-6 L 0.00052 -0.06018 " pathEditMode="relative" rAng="0" ptsTypes="AA">
                                      <p:cBhvr>
                                        <p:cTn id="162" dur="1000" spd="-100000" fill="hold"/>
                                        <p:tgtEl>
                                          <p:spTgt spid="13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" y="-3025"/>
                                    </p:animMotion>
                                  </p:childTnLst>
                                </p:cTn>
                              </p:par>
                              <p:par>
                                <p:cTn id="163" presetID="42" presetClass="path" presetSubtype="0" repeatCount="indefinite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0087 -0.00093 L -0.00122 -0.06112 " pathEditMode="relative" rAng="0" ptsTypes="AA">
                                      <p:cBhvr>
                                        <p:cTn id="164" dur="750" fill="hold"/>
                                        <p:tgtEl>
                                          <p:spTgt spid="13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-3025"/>
                                    </p:animMotion>
                                  </p:childTnLst>
                                </p:cTn>
                              </p:par>
                              <p:par>
                                <p:cTn id="165" presetID="42" presetClass="path" presetSubtype="0" repeatCount="indefinite" fill="hold" grpId="0" nodeType="withEffect">
                                  <p:stCondLst>
                                    <p:cond delay="1050"/>
                                  </p:stCondLst>
                                  <p:childTnLst>
                                    <p:animMotion origin="layout" path="M -0.00087 -0.00093 L -0.00122 -0.06112 " pathEditMode="relative" rAng="0" ptsTypes="AA">
                                      <p:cBhvr>
                                        <p:cTn id="166" dur="1900" fill="hold"/>
                                        <p:tgtEl>
                                          <p:spTgt spid="13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-3025"/>
                                    </p:animMotion>
                                  </p:childTnLst>
                                </p:cTn>
                              </p:par>
                              <p:par>
                                <p:cTn id="167" presetID="42" presetClass="path" presetSubtype="0" repeatCount="indefinite" fill="hold" grpId="0" nodeType="withEffect">
                                  <p:stCondLst>
                                    <p:cond delay="1050"/>
                                  </p:stCondLst>
                                  <p:childTnLst>
                                    <p:animMotion origin="layout" path="M -0.00087 -0.00092 L -0.00122 -0.06111 " pathEditMode="relative" rAng="0" ptsTypes="AA">
                                      <p:cBhvr>
                                        <p:cTn id="168" dur="1000" fill="hold"/>
                                        <p:tgtEl>
                                          <p:spTgt spid="13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-302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9" fill="hold">
                      <p:stCondLst>
                        <p:cond delay="indefinite"/>
                      </p:stCondLst>
                      <p:childTnLst>
                        <p:par>
                          <p:cTn id="170" fill="hold">
                            <p:stCondLst>
                              <p:cond delay="0"/>
                            </p:stCondLst>
                            <p:childTnLst>
                              <p:par>
                                <p:cTn id="17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44" grpId="0" animBg="1"/>
      <p:bldP spid="3444" grpId="1" animBg="1"/>
      <p:bldP spid="3444" grpId="2" animBg="1"/>
      <p:bldP spid="1299" grpId="0" animBg="1"/>
      <p:bldP spid="1299" grpId="1" animBg="1"/>
      <p:bldP spid="1298" grpId="0" animBg="1"/>
      <p:bldP spid="1298" grpId="1" animBg="1"/>
      <p:bldP spid="1292" grpId="0" animBg="1"/>
      <p:bldP spid="1292" grpId="1" animBg="1"/>
      <p:bldP spid="1300" grpId="0" animBg="1"/>
      <p:bldP spid="1300" grpId="1" animBg="1"/>
      <p:bldP spid="1301" grpId="0" animBg="1"/>
      <p:bldP spid="1301" grpId="1" animBg="1"/>
      <p:bldP spid="1302" grpId="0" animBg="1"/>
      <p:bldP spid="1302" grpId="1" animBg="1"/>
      <p:bldP spid="1297" grpId="0" animBg="1"/>
      <p:bldP spid="1297" grpId="1" animBg="1"/>
      <p:bldP spid="1303" grpId="0" animBg="1"/>
      <p:bldP spid="1303" grpId="1" animBg="1"/>
      <p:bldP spid="1304" grpId="0" animBg="1"/>
      <p:bldP spid="1304" grpId="1" animBg="1"/>
      <p:bldP spid="1305" grpId="0" animBg="1"/>
      <p:bldP spid="1305" grpId="1" animBg="1"/>
      <p:bldP spid="1306" grpId="0" animBg="1"/>
      <p:bldP spid="1306" grpId="1" animBg="1"/>
      <p:bldP spid="1307" grpId="0" animBg="1"/>
      <p:bldP spid="1307" grpId="1" animBg="1"/>
      <p:bldP spid="1308" grpId="0" animBg="1"/>
      <p:bldP spid="1308" grpId="1" animBg="1"/>
      <p:bldP spid="1309" grpId="0" animBg="1"/>
      <p:bldP spid="1309" grpId="1" animBg="1"/>
      <p:bldP spid="1310" grpId="0" animBg="1"/>
      <p:bldP spid="1310" grpId="1" animBg="1"/>
      <p:bldP spid="1311" grpId="0" animBg="1"/>
      <p:bldP spid="1311" grpId="1" animBg="1"/>
      <p:bldP spid="1312" grpId="0" animBg="1"/>
      <p:bldP spid="1312" grpId="1" animBg="1"/>
      <p:bldP spid="1313" grpId="0" animBg="1"/>
      <p:bldP spid="1313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9A1242C5-353F-4E0D-B96B-F4B4FCB66C4E}"/>
              </a:ext>
            </a:extLst>
          </p:cNvPr>
          <p:cNvSpPr/>
          <p:nvPr/>
        </p:nvSpPr>
        <p:spPr>
          <a:xfrm>
            <a:off x="0" y="4533900"/>
            <a:ext cx="4048125" cy="6096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2602" name="Group 2380">
            <a:extLst>
              <a:ext uri="{FF2B5EF4-FFF2-40B4-BE49-F238E27FC236}">
                <a16:creationId xmlns:a16="http://schemas.microsoft.com/office/drawing/2014/main" xmlns="" id="{0EDEE642-4793-44E0-94E8-2A77AECB015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873485" y="-418462"/>
            <a:ext cx="6429375" cy="6374289"/>
            <a:chOff x="1246" y="0"/>
            <a:chExt cx="3268" cy="3240"/>
          </a:xfrm>
        </p:grpSpPr>
        <p:grpSp>
          <p:nvGrpSpPr>
            <p:cNvPr id="2604" name="Group 2581">
              <a:extLst>
                <a:ext uri="{FF2B5EF4-FFF2-40B4-BE49-F238E27FC236}">
                  <a16:creationId xmlns:a16="http://schemas.microsoft.com/office/drawing/2014/main" xmlns="" id="{EEF02138-350E-4B6F-A9F9-3E6ABF8E47A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76" y="30"/>
              <a:ext cx="3178" cy="3180"/>
              <a:chOff x="1276" y="30"/>
              <a:chExt cx="3178" cy="3180"/>
            </a:xfrm>
          </p:grpSpPr>
          <p:sp>
            <p:nvSpPr>
              <p:cNvPr id="3192" name="Line 2381">
                <a:extLst>
                  <a:ext uri="{FF2B5EF4-FFF2-40B4-BE49-F238E27FC236}">
                    <a16:creationId xmlns:a16="http://schemas.microsoft.com/office/drawing/2014/main" xmlns="" id="{1ECBEB15-D25A-4424-9F12-6EAB46551E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47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3" name="Freeform 2382">
                <a:extLst>
                  <a:ext uri="{FF2B5EF4-FFF2-40B4-BE49-F238E27FC236}">
                    <a16:creationId xmlns:a16="http://schemas.microsoft.com/office/drawing/2014/main" xmlns="" id="{8D1389BA-1FA9-4EA6-94FA-166A13A3F3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1410"/>
                <a:ext cx="300" cy="210"/>
              </a:xfrm>
              <a:custGeom>
                <a:avLst/>
                <a:gdLst>
                  <a:gd name="T0" fmla="*/ 210 w 300"/>
                  <a:gd name="T1" fmla="*/ 90 h 210"/>
                  <a:gd name="T2" fmla="*/ 300 w 300"/>
                  <a:gd name="T3" fmla="*/ 30 h 210"/>
                  <a:gd name="T4" fmla="*/ 300 w 300"/>
                  <a:gd name="T5" fmla="*/ 120 h 210"/>
                  <a:gd name="T6" fmla="*/ 240 w 300"/>
                  <a:gd name="T7" fmla="*/ 210 h 210"/>
                  <a:gd name="T8" fmla="*/ 150 w 300"/>
                  <a:gd name="T9" fmla="*/ 150 h 210"/>
                  <a:gd name="T10" fmla="*/ 60 w 300"/>
                  <a:gd name="T11" fmla="*/ 90 h 210"/>
                  <a:gd name="T12" fmla="*/ 0 w 300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0" h="210">
                    <a:moveTo>
                      <a:pt x="210" y="90"/>
                    </a:moveTo>
                    <a:lnTo>
                      <a:pt x="300" y="30"/>
                    </a:lnTo>
                    <a:lnTo>
                      <a:pt x="300" y="120"/>
                    </a:lnTo>
                    <a:lnTo>
                      <a:pt x="240" y="210"/>
                    </a:lnTo>
                    <a:lnTo>
                      <a:pt x="150" y="150"/>
                    </a:lnTo>
                    <a:lnTo>
                      <a:pt x="60" y="9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4" name="Freeform 2383">
                <a:extLst>
                  <a:ext uri="{FF2B5EF4-FFF2-40B4-BE49-F238E27FC236}">
                    <a16:creationId xmlns:a16="http://schemas.microsoft.com/office/drawing/2014/main" xmlns="" id="{A5EAB024-A9DB-41F4-85FA-3DEC21014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5" y="1292"/>
                <a:ext cx="180" cy="208"/>
              </a:xfrm>
              <a:custGeom>
                <a:avLst/>
                <a:gdLst>
                  <a:gd name="T0" fmla="*/ 0 w 180"/>
                  <a:gd name="T1" fmla="*/ 149 h 208"/>
                  <a:gd name="T2" fmla="*/ 150 w 180"/>
                  <a:gd name="T3" fmla="*/ 208 h 208"/>
                  <a:gd name="T4" fmla="*/ 180 w 180"/>
                  <a:gd name="T5" fmla="*/ 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08">
                    <a:moveTo>
                      <a:pt x="0" y="149"/>
                    </a:moveTo>
                    <a:lnTo>
                      <a:pt x="150" y="208"/>
                    </a:lnTo>
                    <a:lnTo>
                      <a:pt x="1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5" name="Line 2384">
                <a:extLst>
                  <a:ext uri="{FF2B5EF4-FFF2-40B4-BE49-F238E27FC236}">
                    <a16:creationId xmlns:a16="http://schemas.microsoft.com/office/drawing/2014/main" xmlns="" id="{C0105CE3-91E4-49BD-A09C-133AA6C6EE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535" y="1620"/>
                <a:ext cx="18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6" name="Line 2385">
                <a:extLst>
                  <a:ext uri="{FF2B5EF4-FFF2-40B4-BE49-F238E27FC236}">
                    <a16:creationId xmlns:a16="http://schemas.microsoft.com/office/drawing/2014/main" xmlns="" id="{00FD4591-1FAA-4A52-BF05-0A469113DA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560"/>
                <a:ext cx="6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7" name="Freeform 2386">
                <a:extLst>
                  <a:ext uri="{FF2B5EF4-FFF2-40B4-BE49-F238E27FC236}">
                    <a16:creationId xmlns:a16="http://schemas.microsoft.com/office/drawing/2014/main" xmlns="" id="{3DC532BC-999E-4E57-A580-8052E03F79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5" y="1650"/>
                <a:ext cx="210" cy="330"/>
              </a:xfrm>
              <a:custGeom>
                <a:avLst/>
                <a:gdLst>
                  <a:gd name="T0" fmla="*/ 120 w 210"/>
                  <a:gd name="T1" fmla="*/ 60 h 330"/>
                  <a:gd name="T2" fmla="*/ 0 w 210"/>
                  <a:gd name="T3" fmla="*/ 0 h 330"/>
                  <a:gd name="T4" fmla="*/ 0 w 210"/>
                  <a:gd name="T5" fmla="*/ 330 h 330"/>
                  <a:gd name="T6" fmla="*/ 210 w 210"/>
                  <a:gd name="T7" fmla="*/ 270 h 330"/>
                  <a:gd name="T8" fmla="*/ 119 w 210"/>
                  <a:gd name="T9" fmla="*/ 182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0" h="330">
                    <a:moveTo>
                      <a:pt x="120" y="60"/>
                    </a:moveTo>
                    <a:lnTo>
                      <a:pt x="0" y="0"/>
                    </a:lnTo>
                    <a:lnTo>
                      <a:pt x="0" y="330"/>
                    </a:lnTo>
                    <a:lnTo>
                      <a:pt x="210" y="270"/>
                    </a:lnTo>
                    <a:lnTo>
                      <a:pt x="119" y="18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8" name="Freeform 2387">
                <a:extLst>
                  <a:ext uri="{FF2B5EF4-FFF2-40B4-BE49-F238E27FC236}">
                    <a16:creationId xmlns:a16="http://schemas.microsoft.com/office/drawing/2014/main" xmlns="" id="{0AB008BF-00BD-4037-B5DC-D9802EF350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4" y="1680"/>
                <a:ext cx="151" cy="152"/>
              </a:xfrm>
              <a:custGeom>
                <a:avLst/>
                <a:gdLst>
                  <a:gd name="T0" fmla="*/ 121 w 151"/>
                  <a:gd name="T1" fmla="*/ 0 h 152"/>
                  <a:gd name="T2" fmla="*/ 151 w 151"/>
                  <a:gd name="T3" fmla="*/ 120 h 152"/>
                  <a:gd name="T4" fmla="*/ 0 w 151"/>
                  <a:gd name="T5" fmla="*/ 152 h 152"/>
                  <a:gd name="T6" fmla="*/ 1 w 151"/>
                  <a:gd name="T7" fmla="*/ 30 h 152"/>
                  <a:gd name="T8" fmla="*/ 121 w 151"/>
                  <a:gd name="T9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1" h="152">
                    <a:moveTo>
                      <a:pt x="121" y="0"/>
                    </a:moveTo>
                    <a:lnTo>
                      <a:pt x="151" y="120"/>
                    </a:lnTo>
                    <a:lnTo>
                      <a:pt x="0" y="152"/>
                    </a:lnTo>
                    <a:lnTo>
                      <a:pt x="1" y="30"/>
                    </a:lnTo>
                    <a:lnTo>
                      <a:pt x="121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9" name="Freeform 2388">
                <a:extLst>
                  <a:ext uri="{FF2B5EF4-FFF2-40B4-BE49-F238E27FC236}">
                    <a16:creationId xmlns:a16="http://schemas.microsoft.com/office/drawing/2014/main" xmlns="" id="{25E9705F-6348-40DE-9BCD-3F90416B8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620"/>
                <a:ext cx="240" cy="270"/>
              </a:xfrm>
              <a:custGeom>
                <a:avLst/>
                <a:gdLst>
                  <a:gd name="T0" fmla="*/ 0 w 240"/>
                  <a:gd name="T1" fmla="*/ 180 h 270"/>
                  <a:gd name="T2" fmla="*/ 60 w 240"/>
                  <a:gd name="T3" fmla="*/ 0 h 270"/>
                  <a:gd name="T4" fmla="*/ 90 w 240"/>
                  <a:gd name="T5" fmla="*/ 90 h 270"/>
                  <a:gd name="T6" fmla="*/ 120 w 240"/>
                  <a:gd name="T7" fmla="*/ 180 h 270"/>
                  <a:gd name="T8" fmla="*/ 150 w 240"/>
                  <a:gd name="T9" fmla="*/ 270 h 270"/>
                  <a:gd name="T10" fmla="*/ 240 w 240"/>
                  <a:gd name="T11" fmla="*/ 15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0" h="270">
                    <a:moveTo>
                      <a:pt x="0" y="180"/>
                    </a:moveTo>
                    <a:lnTo>
                      <a:pt x="60" y="0"/>
                    </a:lnTo>
                    <a:lnTo>
                      <a:pt x="90" y="90"/>
                    </a:lnTo>
                    <a:lnTo>
                      <a:pt x="120" y="180"/>
                    </a:lnTo>
                    <a:lnTo>
                      <a:pt x="150" y="270"/>
                    </a:lnTo>
                    <a:lnTo>
                      <a:pt x="24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0" name="Freeform 2389">
                <a:extLst>
                  <a:ext uri="{FF2B5EF4-FFF2-40B4-BE49-F238E27FC236}">
                    <a16:creationId xmlns:a16="http://schemas.microsoft.com/office/drawing/2014/main" xmlns="" id="{AE724297-FBA2-4E6F-AD6E-ADDAD1291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8" y="1800"/>
                <a:ext cx="237" cy="270"/>
              </a:xfrm>
              <a:custGeom>
                <a:avLst/>
                <a:gdLst>
                  <a:gd name="T0" fmla="*/ 237 w 237"/>
                  <a:gd name="T1" fmla="*/ 0 h 270"/>
                  <a:gd name="T2" fmla="*/ 177 w 237"/>
                  <a:gd name="T3" fmla="*/ 122 h 270"/>
                  <a:gd name="T4" fmla="*/ 117 w 237"/>
                  <a:gd name="T5" fmla="*/ 0 h 270"/>
                  <a:gd name="T6" fmla="*/ 57 w 237"/>
                  <a:gd name="T7" fmla="*/ 120 h 270"/>
                  <a:gd name="T8" fmla="*/ 147 w 237"/>
                  <a:gd name="T9" fmla="*/ 270 h 270"/>
                  <a:gd name="T10" fmla="*/ 0 w 237"/>
                  <a:gd name="T11" fmla="*/ 213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7" h="270">
                    <a:moveTo>
                      <a:pt x="237" y="0"/>
                    </a:moveTo>
                    <a:lnTo>
                      <a:pt x="177" y="122"/>
                    </a:lnTo>
                    <a:lnTo>
                      <a:pt x="117" y="0"/>
                    </a:lnTo>
                    <a:lnTo>
                      <a:pt x="57" y="120"/>
                    </a:lnTo>
                    <a:lnTo>
                      <a:pt x="147" y="270"/>
                    </a:lnTo>
                    <a:lnTo>
                      <a:pt x="0" y="213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1" name="Freeform 2390">
                <a:extLst>
                  <a:ext uri="{FF2B5EF4-FFF2-40B4-BE49-F238E27FC236}">
                    <a16:creationId xmlns:a16="http://schemas.microsoft.com/office/drawing/2014/main" xmlns="" id="{1ECF84DE-5057-4ECA-BDC7-6E65C89328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440"/>
                <a:ext cx="390" cy="570"/>
              </a:xfrm>
              <a:custGeom>
                <a:avLst/>
                <a:gdLst>
                  <a:gd name="T0" fmla="*/ 390 w 390"/>
                  <a:gd name="T1" fmla="*/ 480 h 570"/>
                  <a:gd name="T2" fmla="*/ 330 w 390"/>
                  <a:gd name="T3" fmla="*/ 570 h 570"/>
                  <a:gd name="T4" fmla="*/ 180 w 390"/>
                  <a:gd name="T5" fmla="*/ 540 h 570"/>
                  <a:gd name="T6" fmla="*/ 300 w 390"/>
                  <a:gd name="T7" fmla="*/ 390 h 570"/>
                  <a:gd name="T8" fmla="*/ 120 w 390"/>
                  <a:gd name="T9" fmla="*/ 390 h 570"/>
                  <a:gd name="T10" fmla="*/ 180 w 390"/>
                  <a:gd name="T11" fmla="*/ 210 h 570"/>
                  <a:gd name="T12" fmla="*/ 60 w 390"/>
                  <a:gd name="T13" fmla="*/ 330 h 570"/>
                  <a:gd name="T14" fmla="*/ 0 w 390"/>
                  <a:gd name="T15" fmla="*/ 180 h 570"/>
                  <a:gd name="T16" fmla="*/ 60 w 390"/>
                  <a:gd name="T17" fmla="*/ 60 h 570"/>
                  <a:gd name="T18" fmla="*/ 240 w 390"/>
                  <a:gd name="T19" fmla="*/ 120 h 570"/>
                  <a:gd name="T20" fmla="*/ 180 w 390"/>
                  <a:gd name="T21" fmla="*/ 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0" h="570">
                    <a:moveTo>
                      <a:pt x="390" y="480"/>
                    </a:moveTo>
                    <a:lnTo>
                      <a:pt x="330" y="570"/>
                    </a:lnTo>
                    <a:lnTo>
                      <a:pt x="180" y="540"/>
                    </a:lnTo>
                    <a:lnTo>
                      <a:pt x="300" y="390"/>
                    </a:lnTo>
                    <a:lnTo>
                      <a:pt x="120" y="390"/>
                    </a:lnTo>
                    <a:lnTo>
                      <a:pt x="180" y="210"/>
                    </a:lnTo>
                    <a:lnTo>
                      <a:pt x="60" y="330"/>
                    </a:lnTo>
                    <a:lnTo>
                      <a:pt x="0" y="180"/>
                    </a:lnTo>
                    <a:lnTo>
                      <a:pt x="60" y="60"/>
                    </a:lnTo>
                    <a:lnTo>
                      <a:pt x="240" y="120"/>
                    </a:lnTo>
                    <a:lnTo>
                      <a:pt x="1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2" name="Freeform 2391">
                <a:extLst>
                  <a:ext uri="{FF2B5EF4-FFF2-40B4-BE49-F238E27FC236}">
                    <a16:creationId xmlns:a16="http://schemas.microsoft.com/office/drawing/2014/main" xmlns="" id="{CA331197-3057-4A48-A8AA-7C9771DE5F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410"/>
                <a:ext cx="480" cy="420"/>
              </a:xfrm>
              <a:custGeom>
                <a:avLst/>
                <a:gdLst>
                  <a:gd name="T0" fmla="*/ 300 w 480"/>
                  <a:gd name="T1" fmla="*/ 420 h 420"/>
                  <a:gd name="T2" fmla="*/ 0 w 480"/>
                  <a:gd name="T3" fmla="*/ 210 h 420"/>
                  <a:gd name="T4" fmla="*/ 180 w 480"/>
                  <a:gd name="T5" fmla="*/ 240 h 420"/>
                  <a:gd name="T6" fmla="*/ 90 w 480"/>
                  <a:gd name="T7" fmla="*/ 0 h 420"/>
                  <a:gd name="T8" fmla="*/ 240 w 480"/>
                  <a:gd name="T9" fmla="*/ 150 h 420"/>
                  <a:gd name="T10" fmla="*/ 270 w 480"/>
                  <a:gd name="T11" fmla="*/ 0 h 420"/>
                  <a:gd name="T12" fmla="*/ 420 w 480"/>
                  <a:gd name="T13" fmla="*/ 0 h 420"/>
                  <a:gd name="T14" fmla="*/ 480 w 480"/>
                  <a:gd name="T15" fmla="*/ 9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0" h="420">
                    <a:moveTo>
                      <a:pt x="300" y="420"/>
                    </a:moveTo>
                    <a:lnTo>
                      <a:pt x="0" y="210"/>
                    </a:lnTo>
                    <a:lnTo>
                      <a:pt x="180" y="240"/>
                    </a:lnTo>
                    <a:lnTo>
                      <a:pt x="90" y="0"/>
                    </a:lnTo>
                    <a:lnTo>
                      <a:pt x="240" y="150"/>
                    </a:lnTo>
                    <a:lnTo>
                      <a:pt x="270" y="0"/>
                    </a:lnTo>
                    <a:lnTo>
                      <a:pt x="420" y="0"/>
                    </a:lnTo>
                    <a:lnTo>
                      <a:pt x="4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3" name="Freeform 2392">
                <a:extLst>
                  <a:ext uri="{FF2B5EF4-FFF2-40B4-BE49-F238E27FC236}">
                    <a16:creationId xmlns:a16="http://schemas.microsoft.com/office/drawing/2014/main" xmlns="" id="{C52AF545-197E-476E-AA37-6F3453FE4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" y="1260"/>
                <a:ext cx="120" cy="300"/>
              </a:xfrm>
              <a:custGeom>
                <a:avLst/>
                <a:gdLst>
                  <a:gd name="T0" fmla="*/ 0 w 120"/>
                  <a:gd name="T1" fmla="*/ 0 h 300"/>
                  <a:gd name="T2" fmla="*/ 0 w 120"/>
                  <a:gd name="T3" fmla="*/ 180 h 300"/>
                  <a:gd name="T4" fmla="*/ 120 w 120"/>
                  <a:gd name="T5" fmla="*/ 90 h 300"/>
                  <a:gd name="T6" fmla="*/ 120 w 120"/>
                  <a:gd name="T7" fmla="*/ 210 h 300"/>
                  <a:gd name="T8" fmla="*/ 90 w 120"/>
                  <a:gd name="T9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300">
                    <a:moveTo>
                      <a:pt x="0" y="0"/>
                    </a:moveTo>
                    <a:lnTo>
                      <a:pt x="0" y="180"/>
                    </a:lnTo>
                    <a:lnTo>
                      <a:pt x="120" y="90"/>
                    </a:lnTo>
                    <a:lnTo>
                      <a:pt x="120" y="210"/>
                    </a:lnTo>
                    <a:lnTo>
                      <a:pt x="9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4" name="Freeform 2393">
                <a:extLst>
                  <a:ext uri="{FF2B5EF4-FFF2-40B4-BE49-F238E27FC236}">
                    <a16:creationId xmlns:a16="http://schemas.microsoft.com/office/drawing/2014/main" xmlns="" id="{81E07F59-EA5D-467C-BA5F-96E5C3CA15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292"/>
                <a:ext cx="330" cy="178"/>
              </a:xfrm>
              <a:custGeom>
                <a:avLst/>
                <a:gdLst>
                  <a:gd name="T0" fmla="*/ 0 w 330"/>
                  <a:gd name="T1" fmla="*/ 0 h 178"/>
                  <a:gd name="T2" fmla="*/ 60 w 330"/>
                  <a:gd name="T3" fmla="*/ 118 h 178"/>
                  <a:gd name="T4" fmla="*/ 150 w 330"/>
                  <a:gd name="T5" fmla="*/ 28 h 178"/>
                  <a:gd name="T6" fmla="*/ 330 w 330"/>
                  <a:gd name="T7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0" h="178">
                    <a:moveTo>
                      <a:pt x="0" y="0"/>
                    </a:moveTo>
                    <a:lnTo>
                      <a:pt x="60" y="118"/>
                    </a:lnTo>
                    <a:lnTo>
                      <a:pt x="150" y="28"/>
                    </a:lnTo>
                    <a:lnTo>
                      <a:pt x="330" y="17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5" name="Line 2394">
                <a:extLst>
                  <a:ext uri="{FF2B5EF4-FFF2-40B4-BE49-F238E27FC236}">
                    <a16:creationId xmlns:a16="http://schemas.microsoft.com/office/drawing/2014/main" xmlns="" id="{92DFA82E-4DE7-4F77-9605-15DB7A7C7D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925" y="1410"/>
                <a:ext cx="24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6" name="Freeform 2395">
                <a:extLst>
                  <a:ext uri="{FF2B5EF4-FFF2-40B4-BE49-F238E27FC236}">
                    <a16:creationId xmlns:a16="http://schemas.microsoft.com/office/drawing/2014/main" xmlns="" id="{5606F496-2131-455D-BE54-2E2164F78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2070"/>
                <a:ext cx="899" cy="720"/>
              </a:xfrm>
              <a:custGeom>
                <a:avLst/>
                <a:gdLst>
                  <a:gd name="T0" fmla="*/ 59 w 899"/>
                  <a:gd name="T1" fmla="*/ 240 h 720"/>
                  <a:gd name="T2" fmla="*/ 179 w 899"/>
                  <a:gd name="T3" fmla="*/ 390 h 720"/>
                  <a:gd name="T4" fmla="*/ 239 w 899"/>
                  <a:gd name="T5" fmla="*/ 300 h 720"/>
                  <a:gd name="T6" fmla="*/ 329 w 899"/>
                  <a:gd name="T7" fmla="*/ 360 h 720"/>
                  <a:gd name="T8" fmla="*/ 329 w 899"/>
                  <a:gd name="T9" fmla="*/ 240 h 720"/>
                  <a:gd name="T10" fmla="*/ 179 w 899"/>
                  <a:gd name="T11" fmla="*/ 181 h 720"/>
                  <a:gd name="T12" fmla="*/ 269 w 899"/>
                  <a:gd name="T13" fmla="*/ 150 h 720"/>
                  <a:gd name="T14" fmla="*/ 389 w 899"/>
                  <a:gd name="T15" fmla="*/ 120 h 720"/>
                  <a:gd name="T16" fmla="*/ 449 w 899"/>
                  <a:gd name="T17" fmla="*/ 300 h 720"/>
                  <a:gd name="T18" fmla="*/ 539 w 899"/>
                  <a:gd name="T19" fmla="*/ 180 h 720"/>
                  <a:gd name="T20" fmla="*/ 509 w 899"/>
                  <a:gd name="T21" fmla="*/ 60 h 720"/>
                  <a:gd name="T22" fmla="*/ 359 w 899"/>
                  <a:gd name="T23" fmla="*/ 30 h 720"/>
                  <a:gd name="T24" fmla="*/ 569 w 899"/>
                  <a:gd name="T25" fmla="*/ 0 h 720"/>
                  <a:gd name="T26" fmla="*/ 689 w 899"/>
                  <a:gd name="T27" fmla="*/ 90 h 720"/>
                  <a:gd name="T28" fmla="*/ 659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89 w 899"/>
                  <a:gd name="T41" fmla="*/ 390 h 720"/>
                  <a:gd name="T42" fmla="*/ 539 w 899"/>
                  <a:gd name="T43" fmla="*/ 330 h 720"/>
                  <a:gd name="T44" fmla="*/ 569 w 899"/>
                  <a:gd name="T45" fmla="*/ 450 h 720"/>
                  <a:gd name="T46" fmla="*/ 419 w 899"/>
                  <a:gd name="T47" fmla="*/ 420 h 720"/>
                  <a:gd name="T48" fmla="*/ 389 w 899"/>
                  <a:gd name="T49" fmla="*/ 540 h 720"/>
                  <a:gd name="T50" fmla="*/ 509 w 899"/>
                  <a:gd name="T51" fmla="*/ 570 h 720"/>
                  <a:gd name="T52" fmla="*/ 659 w 899"/>
                  <a:gd name="T53" fmla="*/ 570 h 720"/>
                  <a:gd name="T54" fmla="*/ 599 w 899"/>
                  <a:gd name="T55" fmla="*/ 720 h 720"/>
                  <a:gd name="T56" fmla="*/ 299 w 899"/>
                  <a:gd name="T57" fmla="*/ 630 h 720"/>
                  <a:gd name="T58" fmla="*/ 268 w 899"/>
                  <a:gd name="T59" fmla="*/ 482 h 720"/>
                  <a:gd name="T60" fmla="*/ 179 w 899"/>
                  <a:gd name="T61" fmla="*/ 570 h 720"/>
                  <a:gd name="T62" fmla="*/ 59 w 899"/>
                  <a:gd name="T63" fmla="*/ 480 h 720"/>
                  <a:gd name="T64" fmla="*/ 0 w 899"/>
                  <a:gd name="T65" fmla="*/ 360 h 720"/>
                  <a:gd name="T66" fmla="*/ 59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59" y="240"/>
                    </a:moveTo>
                    <a:lnTo>
                      <a:pt x="179" y="390"/>
                    </a:lnTo>
                    <a:lnTo>
                      <a:pt x="239" y="300"/>
                    </a:lnTo>
                    <a:lnTo>
                      <a:pt x="329" y="360"/>
                    </a:lnTo>
                    <a:lnTo>
                      <a:pt x="329" y="240"/>
                    </a:lnTo>
                    <a:lnTo>
                      <a:pt x="179" y="181"/>
                    </a:lnTo>
                    <a:lnTo>
                      <a:pt x="269" y="150"/>
                    </a:lnTo>
                    <a:lnTo>
                      <a:pt x="389" y="120"/>
                    </a:lnTo>
                    <a:lnTo>
                      <a:pt x="449" y="300"/>
                    </a:lnTo>
                    <a:lnTo>
                      <a:pt x="539" y="180"/>
                    </a:lnTo>
                    <a:lnTo>
                      <a:pt x="509" y="60"/>
                    </a:lnTo>
                    <a:lnTo>
                      <a:pt x="359" y="30"/>
                    </a:lnTo>
                    <a:lnTo>
                      <a:pt x="569" y="0"/>
                    </a:lnTo>
                    <a:lnTo>
                      <a:pt x="689" y="90"/>
                    </a:lnTo>
                    <a:lnTo>
                      <a:pt x="659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89" y="390"/>
                    </a:lnTo>
                    <a:lnTo>
                      <a:pt x="539" y="330"/>
                    </a:lnTo>
                    <a:lnTo>
                      <a:pt x="569" y="450"/>
                    </a:lnTo>
                    <a:lnTo>
                      <a:pt x="419" y="420"/>
                    </a:lnTo>
                    <a:lnTo>
                      <a:pt x="389" y="540"/>
                    </a:lnTo>
                    <a:lnTo>
                      <a:pt x="509" y="570"/>
                    </a:lnTo>
                    <a:lnTo>
                      <a:pt x="659" y="570"/>
                    </a:lnTo>
                    <a:lnTo>
                      <a:pt x="599" y="720"/>
                    </a:lnTo>
                    <a:lnTo>
                      <a:pt x="299" y="630"/>
                    </a:lnTo>
                    <a:lnTo>
                      <a:pt x="268" y="482"/>
                    </a:lnTo>
                    <a:lnTo>
                      <a:pt x="179" y="570"/>
                    </a:lnTo>
                    <a:lnTo>
                      <a:pt x="59" y="480"/>
                    </a:lnTo>
                    <a:lnTo>
                      <a:pt x="0" y="360"/>
                    </a:lnTo>
                    <a:lnTo>
                      <a:pt x="59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7" name="Line 2396">
                <a:extLst>
                  <a:ext uri="{FF2B5EF4-FFF2-40B4-BE49-F238E27FC236}">
                    <a16:creationId xmlns:a16="http://schemas.microsoft.com/office/drawing/2014/main" xmlns="" id="{A046A652-3A64-44DE-9578-0270B723AF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145" y="2251"/>
                <a:ext cx="120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8" name="Freeform 2397">
                <a:extLst>
                  <a:ext uri="{FF2B5EF4-FFF2-40B4-BE49-F238E27FC236}">
                    <a16:creationId xmlns:a16="http://schemas.microsoft.com/office/drawing/2014/main" xmlns="" id="{07F41C8C-7EB2-46E4-9D3F-BB63074A61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4" y="2430"/>
                <a:ext cx="121" cy="180"/>
              </a:xfrm>
              <a:custGeom>
                <a:avLst/>
                <a:gdLst>
                  <a:gd name="T0" fmla="*/ 61 w 121"/>
                  <a:gd name="T1" fmla="*/ 0 h 180"/>
                  <a:gd name="T2" fmla="*/ 121 w 121"/>
                  <a:gd name="T3" fmla="*/ 180 h 180"/>
                  <a:gd name="T4" fmla="*/ 0 w 121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1" h="180">
                    <a:moveTo>
                      <a:pt x="61" y="0"/>
                    </a:moveTo>
                    <a:lnTo>
                      <a:pt x="121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9" name="Freeform 2398">
                <a:extLst>
                  <a:ext uri="{FF2B5EF4-FFF2-40B4-BE49-F238E27FC236}">
                    <a16:creationId xmlns:a16="http://schemas.microsoft.com/office/drawing/2014/main" xmlns="" id="{8FC47CB8-19B4-404B-BAB5-8DB9752FBB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5" y="1980"/>
                <a:ext cx="240" cy="330"/>
              </a:xfrm>
              <a:custGeom>
                <a:avLst/>
                <a:gdLst>
                  <a:gd name="T0" fmla="*/ 180 w 240"/>
                  <a:gd name="T1" fmla="*/ 150 h 330"/>
                  <a:gd name="T2" fmla="*/ 120 w 240"/>
                  <a:gd name="T3" fmla="*/ 0 h 330"/>
                  <a:gd name="T4" fmla="*/ 240 w 240"/>
                  <a:gd name="T5" fmla="*/ 90 h 330"/>
                  <a:gd name="T6" fmla="*/ 210 w 240"/>
                  <a:gd name="T7" fmla="*/ 270 h 330"/>
                  <a:gd name="T8" fmla="*/ 0 w 240"/>
                  <a:gd name="T9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30">
                    <a:moveTo>
                      <a:pt x="180" y="150"/>
                    </a:moveTo>
                    <a:lnTo>
                      <a:pt x="120" y="0"/>
                    </a:lnTo>
                    <a:lnTo>
                      <a:pt x="240" y="90"/>
                    </a:lnTo>
                    <a:lnTo>
                      <a:pt x="210" y="270"/>
                    </a:lnTo>
                    <a:lnTo>
                      <a:pt x="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0" name="Line 2399">
                <a:extLst>
                  <a:ext uri="{FF2B5EF4-FFF2-40B4-BE49-F238E27FC236}">
                    <a16:creationId xmlns:a16="http://schemas.microsoft.com/office/drawing/2014/main" xmlns="" id="{3C76CECA-7678-4B73-B96B-032E5152AF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5" y="219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1" name="Freeform 2400">
                <a:extLst>
                  <a:ext uri="{FF2B5EF4-FFF2-40B4-BE49-F238E27FC236}">
                    <a16:creationId xmlns:a16="http://schemas.microsoft.com/office/drawing/2014/main" xmlns="" id="{F543B3C8-6283-486A-AB6C-3DBF593E85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2070"/>
                <a:ext cx="899" cy="720"/>
              </a:xfrm>
              <a:custGeom>
                <a:avLst/>
                <a:gdLst>
                  <a:gd name="T0" fmla="*/ 60 w 899"/>
                  <a:gd name="T1" fmla="*/ 240 h 720"/>
                  <a:gd name="T2" fmla="*/ 180 w 899"/>
                  <a:gd name="T3" fmla="*/ 390 h 720"/>
                  <a:gd name="T4" fmla="*/ 240 w 899"/>
                  <a:gd name="T5" fmla="*/ 300 h 720"/>
                  <a:gd name="T6" fmla="*/ 330 w 899"/>
                  <a:gd name="T7" fmla="*/ 360 h 720"/>
                  <a:gd name="T8" fmla="*/ 330 w 899"/>
                  <a:gd name="T9" fmla="*/ 240 h 720"/>
                  <a:gd name="T10" fmla="*/ 180 w 899"/>
                  <a:gd name="T11" fmla="*/ 181 h 720"/>
                  <a:gd name="T12" fmla="*/ 270 w 899"/>
                  <a:gd name="T13" fmla="*/ 150 h 720"/>
                  <a:gd name="T14" fmla="*/ 390 w 899"/>
                  <a:gd name="T15" fmla="*/ 120 h 720"/>
                  <a:gd name="T16" fmla="*/ 450 w 899"/>
                  <a:gd name="T17" fmla="*/ 300 h 720"/>
                  <a:gd name="T18" fmla="*/ 540 w 899"/>
                  <a:gd name="T19" fmla="*/ 180 h 720"/>
                  <a:gd name="T20" fmla="*/ 510 w 899"/>
                  <a:gd name="T21" fmla="*/ 60 h 720"/>
                  <a:gd name="T22" fmla="*/ 360 w 899"/>
                  <a:gd name="T23" fmla="*/ 30 h 720"/>
                  <a:gd name="T24" fmla="*/ 570 w 899"/>
                  <a:gd name="T25" fmla="*/ 0 h 720"/>
                  <a:gd name="T26" fmla="*/ 690 w 899"/>
                  <a:gd name="T27" fmla="*/ 90 h 720"/>
                  <a:gd name="T28" fmla="*/ 660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90 w 899"/>
                  <a:gd name="T41" fmla="*/ 390 h 720"/>
                  <a:gd name="T42" fmla="*/ 540 w 899"/>
                  <a:gd name="T43" fmla="*/ 330 h 720"/>
                  <a:gd name="T44" fmla="*/ 570 w 899"/>
                  <a:gd name="T45" fmla="*/ 450 h 720"/>
                  <a:gd name="T46" fmla="*/ 420 w 899"/>
                  <a:gd name="T47" fmla="*/ 420 h 720"/>
                  <a:gd name="T48" fmla="*/ 390 w 899"/>
                  <a:gd name="T49" fmla="*/ 540 h 720"/>
                  <a:gd name="T50" fmla="*/ 510 w 899"/>
                  <a:gd name="T51" fmla="*/ 570 h 720"/>
                  <a:gd name="T52" fmla="*/ 660 w 899"/>
                  <a:gd name="T53" fmla="*/ 570 h 720"/>
                  <a:gd name="T54" fmla="*/ 600 w 899"/>
                  <a:gd name="T55" fmla="*/ 720 h 720"/>
                  <a:gd name="T56" fmla="*/ 300 w 899"/>
                  <a:gd name="T57" fmla="*/ 630 h 720"/>
                  <a:gd name="T58" fmla="*/ 268 w 899"/>
                  <a:gd name="T59" fmla="*/ 482 h 720"/>
                  <a:gd name="T60" fmla="*/ 180 w 899"/>
                  <a:gd name="T61" fmla="*/ 570 h 720"/>
                  <a:gd name="T62" fmla="*/ 60 w 899"/>
                  <a:gd name="T63" fmla="*/ 480 h 720"/>
                  <a:gd name="T64" fmla="*/ 0 w 899"/>
                  <a:gd name="T65" fmla="*/ 360 h 720"/>
                  <a:gd name="T66" fmla="*/ 60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60" y="240"/>
                    </a:moveTo>
                    <a:lnTo>
                      <a:pt x="180" y="390"/>
                    </a:lnTo>
                    <a:lnTo>
                      <a:pt x="240" y="300"/>
                    </a:lnTo>
                    <a:lnTo>
                      <a:pt x="330" y="360"/>
                    </a:lnTo>
                    <a:lnTo>
                      <a:pt x="330" y="240"/>
                    </a:lnTo>
                    <a:lnTo>
                      <a:pt x="180" y="181"/>
                    </a:lnTo>
                    <a:lnTo>
                      <a:pt x="270" y="150"/>
                    </a:lnTo>
                    <a:lnTo>
                      <a:pt x="390" y="120"/>
                    </a:lnTo>
                    <a:lnTo>
                      <a:pt x="450" y="300"/>
                    </a:lnTo>
                    <a:lnTo>
                      <a:pt x="540" y="180"/>
                    </a:lnTo>
                    <a:lnTo>
                      <a:pt x="510" y="60"/>
                    </a:lnTo>
                    <a:lnTo>
                      <a:pt x="360" y="30"/>
                    </a:lnTo>
                    <a:lnTo>
                      <a:pt x="570" y="0"/>
                    </a:lnTo>
                    <a:lnTo>
                      <a:pt x="690" y="90"/>
                    </a:lnTo>
                    <a:lnTo>
                      <a:pt x="660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90" y="390"/>
                    </a:lnTo>
                    <a:lnTo>
                      <a:pt x="540" y="330"/>
                    </a:lnTo>
                    <a:lnTo>
                      <a:pt x="570" y="450"/>
                    </a:lnTo>
                    <a:lnTo>
                      <a:pt x="420" y="420"/>
                    </a:lnTo>
                    <a:lnTo>
                      <a:pt x="390" y="540"/>
                    </a:lnTo>
                    <a:lnTo>
                      <a:pt x="510" y="570"/>
                    </a:lnTo>
                    <a:lnTo>
                      <a:pt x="660" y="570"/>
                    </a:lnTo>
                    <a:lnTo>
                      <a:pt x="600" y="720"/>
                    </a:lnTo>
                    <a:lnTo>
                      <a:pt x="300" y="630"/>
                    </a:lnTo>
                    <a:lnTo>
                      <a:pt x="268" y="482"/>
                    </a:lnTo>
                    <a:lnTo>
                      <a:pt x="180" y="570"/>
                    </a:lnTo>
                    <a:lnTo>
                      <a:pt x="60" y="480"/>
                    </a:lnTo>
                    <a:lnTo>
                      <a:pt x="0" y="360"/>
                    </a:lnTo>
                    <a:lnTo>
                      <a:pt x="6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2" name="Freeform 2401">
                <a:extLst>
                  <a:ext uri="{FF2B5EF4-FFF2-40B4-BE49-F238E27FC236}">
                    <a16:creationId xmlns:a16="http://schemas.microsoft.com/office/drawing/2014/main" xmlns="" id="{83E96365-B4AE-414A-B221-31F44F7461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2220"/>
                <a:ext cx="210" cy="150"/>
              </a:xfrm>
              <a:custGeom>
                <a:avLst/>
                <a:gdLst>
                  <a:gd name="T0" fmla="*/ 0 w 210"/>
                  <a:gd name="T1" fmla="*/ 90 h 150"/>
                  <a:gd name="T2" fmla="*/ 180 w 210"/>
                  <a:gd name="T3" fmla="*/ 150 h 150"/>
                  <a:gd name="T4" fmla="*/ 210 w 210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150">
                    <a:moveTo>
                      <a:pt x="0" y="90"/>
                    </a:moveTo>
                    <a:lnTo>
                      <a:pt x="180" y="150"/>
                    </a:lnTo>
                    <a:lnTo>
                      <a:pt x="21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3" name="Freeform 2402">
                <a:extLst>
                  <a:ext uri="{FF2B5EF4-FFF2-40B4-BE49-F238E27FC236}">
                    <a16:creationId xmlns:a16="http://schemas.microsoft.com/office/drawing/2014/main" xmlns="" id="{B76B3836-D7A6-40D4-A0BF-6142C522CF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5" y="2251"/>
                <a:ext cx="240" cy="389"/>
              </a:xfrm>
              <a:custGeom>
                <a:avLst/>
                <a:gdLst>
                  <a:gd name="T0" fmla="*/ 240 w 240"/>
                  <a:gd name="T1" fmla="*/ 0 h 389"/>
                  <a:gd name="T2" fmla="*/ 120 w 240"/>
                  <a:gd name="T3" fmla="*/ 299 h 389"/>
                  <a:gd name="T4" fmla="*/ 0 w 240"/>
                  <a:gd name="T5" fmla="*/ 389 h 389"/>
                  <a:gd name="T6" fmla="*/ 60 w 240"/>
                  <a:gd name="T7" fmla="*/ 179 h 389"/>
                  <a:gd name="T8" fmla="*/ 0 w 240"/>
                  <a:gd name="T9" fmla="*/ 59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89">
                    <a:moveTo>
                      <a:pt x="240" y="0"/>
                    </a:moveTo>
                    <a:lnTo>
                      <a:pt x="120" y="299"/>
                    </a:lnTo>
                    <a:lnTo>
                      <a:pt x="0" y="389"/>
                    </a:lnTo>
                    <a:lnTo>
                      <a:pt x="60" y="179"/>
                    </a:lnTo>
                    <a:lnTo>
                      <a:pt x="0" y="5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4" name="Freeform 2403">
                <a:extLst>
                  <a:ext uri="{FF2B5EF4-FFF2-40B4-BE49-F238E27FC236}">
                    <a16:creationId xmlns:a16="http://schemas.microsoft.com/office/drawing/2014/main" xmlns="" id="{1DA23454-0E94-40AF-9820-8835AE7651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2430"/>
                <a:ext cx="122" cy="180"/>
              </a:xfrm>
              <a:custGeom>
                <a:avLst/>
                <a:gdLst>
                  <a:gd name="T0" fmla="*/ 62 w 122"/>
                  <a:gd name="T1" fmla="*/ 0 h 180"/>
                  <a:gd name="T2" fmla="*/ 122 w 122"/>
                  <a:gd name="T3" fmla="*/ 180 h 180"/>
                  <a:gd name="T4" fmla="*/ 0 w 122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2" h="180">
                    <a:moveTo>
                      <a:pt x="62" y="0"/>
                    </a:moveTo>
                    <a:lnTo>
                      <a:pt x="122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5" name="Freeform 2404">
                <a:extLst>
                  <a:ext uri="{FF2B5EF4-FFF2-40B4-BE49-F238E27FC236}">
                    <a16:creationId xmlns:a16="http://schemas.microsoft.com/office/drawing/2014/main" xmlns="" id="{93B04752-F4EB-4780-B5D9-DEC6C341A0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5" y="204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6" name="Line 2405">
                <a:extLst>
                  <a:ext uri="{FF2B5EF4-FFF2-40B4-BE49-F238E27FC236}">
                    <a16:creationId xmlns:a16="http://schemas.microsoft.com/office/drawing/2014/main" xmlns="" id="{FE780FEF-FA2C-4405-8C0F-01647448EE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35" y="219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7" name="Line 2406">
                <a:extLst>
                  <a:ext uri="{FF2B5EF4-FFF2-40B4-BE49-F238E27FC236}">
                    <a16:creationId xmlns:a16="http://schemas.microsoft.com/office/drawing/2014/main" xmlns="" id="{50B6133D-07FF-4912-8183-F5B1543668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55" y="18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8" name="Line 2407">
                <a:extLst>
                  <a:ext uri="{FF2B5EF4-FFF2-40B4-BE49-F238E27FC236}">
                    <a16:creationId xmlns:a16="http://schemas.microsoft.com/office/drawing/2014/main" xmlns="" id="{05130E31-ABC3-4967-B247-520CBE2B74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55" y="183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9" name="Line 2408">
                <a:extLst>
                  <a:ext uri="{FF2B5EF4-FFF2-40B4-BE49-F238E27FC236}">
                    <a16:creationId xmlns:a16="http://schemas.microsoft.com/office/drawing/2014/main" xmlns="" id="{65CF0AE6-463B-4F6D-81A3-E8BAA8DCEF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77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0" name="Line 2409">
                <a:extLst>
                  <a:ext uri="{FF2B5EF4-FFF2-40B4-BE49-F238E27FC236}">
                    <a16:creationId xmlns:a16="http://schemas.microsoft.com/office/drawing/2014/main" xmlns="" id="{36088EEA-A2BC-4B8C-B584-417F228A56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3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1" name="Line 2410">
                <a:extLst>
                  <a:ext uri="{FF2B5EF4-FFF2-40B4-BE49-F238E27FC236}">
                    <a16:creationId xmlns:a16="http://schemas.microsoft.com/office/drawing/2014/main" xmlns="" id="{CBEDC4F8-D87D-4585-94AD-B3273D72A2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415" y="1770"/>
                <a:ext cx="6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2" name="Line 2411">
                <a:extLst>
                  <a:ext uri="{FF2B5EF4-FFF2-40B4-BE49-F238E27FC236}">
                    <a16:creationId xmlns:a16="http://schemas.microsoft.com/office/drawing/2014/main" xmlns="" id="{7386F278-D864-4A24-AF11-6A613C6130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5" y="1830"/>
                <a:ext cx="21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3" name="Line 2412">
                <a:extLst>
                  <a:ext uri="{FF2B5EF4-FFF2-40B4-BE49-F238E27FC236}">
                    <a16:creationId xmlns:a16="http://schemas.microsoft.com/office/drawing/2014/main" xmlns="" id="{FBA35497-967B-4C8E-9DDB-07510B11B4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35" y="165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4" name="Line 2413">
                <a:extLst>
                  <a:ext uri="{FF2B5EF4-FFF2-40B4-BE49-F238E27FC236}">
                    <a16:creationId xmlns:a16="http://schemas.microsoft.com/office/drawing/2014/main" xmlns="" id="{B68F6885-E3B4-4F95-92F1-99F635B85E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35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5" name="Line 2414">
                <a:extLst>
                  <a:ext uri="{FF2B5EF4-FFF2-40B4-BE49-F238E27FC236}">
                    <a16:creationId xmlns:a16="http://schemas.microsoft.com/office/drawing/2014/main" xmlns="" id="{985E2B84-1458-4E20-8324-91D9A3E76F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25" y="12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6" name="Freeform 2415">
                <a:extLst>
                  <a:ext uri="{FF2B5EF4-FFF2-40B4-BE49-F238E27FC236}">
                    <a16:creationId xmlns:a16="http://schemas.microsoft.com/office/drawing/2014/main" xmlns="" id="{266283E5-D104-4D07-A65C-C7ED37E89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5" y="1710"/>
                <a:ext cx="240" cy="240"/>
              </a:xfrm>
              <a:custGeom>
                <a:avLst/>
                <a:gdLst>
                  <a:gd name="T0" fmla="*/ 240 w 240"/>
                  <a:gd name="T1" fmla="*/ 0 h 240"/>
                  <a:gd name="T2" fmla="*/ 210 w 240"/>
                  <a:gd name="T3" fmla="*/ 180 h 240"/>
                  <a:gd name="T4" fmla="*/ 180 w 240"/>
                  <a:gd name="T5" fmla="*/ 60 h 240"/>
                  <a:gd name="T6" fmla="*/ 150 w 240"/>
                  <a:gd name="T7" fmla="*/ 240 h 240"/>
                  <a:gd name="T8" fmla="*/ 90 w 240"/>
                  <a:gd name="T9" fmla="*/ 180 h 240"/>
                  <a:gd name="T10" fmla="*/ 0 w 240"/>
                  <a:gd name="T11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0" h="240">
                    <a:moveTo>
                      <a:pt x="240" y="0"/>
                    </a:moveTo>
                    <a:lnTo>
                      <a:pt x="210" y="180"/>
                    </a:lnTo>
                    <a:lnTo>
                      <a:pt x="180" y="60"/>
                    </a:lnTo>
                    <a:lnTo>
                      <a:pt x="150" y="240"/>
                    </a:lnTo>
                    <a:lnTo>
                      <a:pt x="90" y="18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7" name="Line 2416">
                <a:extLst>
                  <a:ext uri="{FF2B5EF4-FFF2-40B4-BE49-F238E27FC236}">
                    <a16:creationId xmlns:a16="http://schemas.microsoft.com/office/drawing/2014/main" xmlns="" id="{28670604-1B2A-4183-8F39-350929E7C2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9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8" name="Freeform 2417">
                <a:extLst>
                  <a:ext uri="{FF2B5EF4-FFF2-40B4-BE49-F238E27FC236}">
                    <a16:creationId xmlns:a16="http://schemas.microsoft.com/office/drawing/2014/main" xmlns="" id="{980F12FC-73EF-4A49-AE96-140F9C0BC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1770"/>
                <a:ext cx="180" cy="120"/>
              </a:xfrm>
              <a:custGeom>
                <a:avLst/>
                <a:gdLst>
                  <a:gd name="T0" fmla="*/ 150 w 180"/>
                  <a:gd name="T1" fmla="*/ 120 h 120"/>
                  <a:gd name="T2" fmla="*/ 180 w 180"/>
                  <a:gd name="T3" fmla="*/ 0 h 120"/>
                  <a:gd name="T4" fmla="*/ 30 w 180"/>
                  <a:gd name="T5" fmla="*/ 120 h 120"/>
                  <a:gd name="T6" fmla="*/ 150 w 180"/>
                  <a:gd name="T7" fmla="*/ 120 h 120"/>
                  <a:gd name="T8" fmla="*/ 0 w 180"/>
                  <a:gd name="T9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120">
                    <a:moveTo>
                      <a:pt x="150" y="120"/>
                    </a:moveTo>
                    <a:lnTo>
                      <a:pt x="180" y="0"/>
                    </a:lnTo>
                    <a:lnTo>
                      <a:pt x="30" y="120"/>
                    </a:lnTo>
                    <a:lnTo>
                      <a:pt x="150" y="12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9" name="Freeform 2418">
                <a:extLst>
                  <a:ext uri="{FF2B5EF4-FFF2-40B4-BE49-F238E27FC236}">
                    <a16:creationId xmlns:a16="http://schemas.microsoft.com/office/drawing/2014/main" xmlns="" id="{D3F81549-A5B3-40F7-BF58-FB5FE82F13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530"/>
                <a:ext cx="240" cy="360"/>
              </a:xfrm>
              <a:custGeom>
                <a:avLst/>
                <a:gdLst>
                  <a:gd name="T0" fmla="*/ 120 w 240"/>
                  <a:gd name="T1" fmla="*/ 240 h 360"/>
                  <a:gd name="T2" fmla="*/ 90 w 240"/>
                  <a:gd name="T3" fmla="*/ 120 h 360"/>
                  <a:gd name="T4" fmla="*/ 90 w 240"/>
                  <a:gd name="T5" fmla="*/ 0 h 360"/>
                  <a:gd name="T6" fmla="*/ 210 w 240"/>
                  <a:gd name="T7" fmla="*/ 30 h 360"/>
                  <a:gd name="T8" fmla="*/ 240 w 240"/>
                  <a:gd name="T9" fmla="*/ 180 h 360"/>
                  <a:gd name="T10" fmla="*/ 120 w 240"/>
                  <a:gd name="T11" fmla="*/ 240 h 360"/>
                  <a:gd name="T12" fmla="*/ 210 w 240"/>
                  <a:gd name="T13" fmla="*/ 330 h 360"/>
                  <a:gd name="T14" fmla="*/ 90 w 240"/>
                  <a:gd name="T15" fmla="*/ 360 h 360"/>
                  <a:gd name="T16" fmla="*/ 0 w 240"/>
                  <a:gd name="T17" fmla="*/ 18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360">
                    <a:moveTo>
                      <a:pt x="120" y="240"/>
                    </a:moveTo>
                    <a:lnTo>
                      <a:pt x="90" y="120"/>
                    </a:lnTo>
                    <a:lnTo>
                      <a:pt x="90" y="0"/>
                    </a:lnTo>
                    <a:lnTo>
                      <a:pt x="210" y="30"/>
                    </a:lnTo>
                    <a:lnTo>
                      <a:pt x="240" y="180"/>
                    </a:lnTo>
                    <a:lnTo>
                      <a:pt x="120" y="240"/>
                    </a:lnTo>
                    <a:lnTo>
                      <a:pt x="210" y="330"/>
                    </a:lnTo>
                    <a:lnTo>
                      <a:pt x="90" y="36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0" name="Freeform 2419">
                <a:extLst>
                  <a:ext uri="{FF2B5EF4-FFF2-40B4-BE49-F238E27FC236}">
                    <a16:creationId xmlns:a16="http://schemas.microsoft.com/office/drawing/2014/main" xmlns="" id="{396FE12F-3DEC-4E47-A37C-9FE894434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590"/>
                <a:ext cx="90" cy="120"/>
              </a:xfrm>
              <a:custGeom>
                <a:avLst/>
                <a:gdLst>
                  <a:gd name="T0" fmla="*/ 0 w 90"/>
                  <a:gd name="T1" fmla="*/ 120 h 120"/>
                  <a:gd name="T2" fmla="*/ 90 w 90"/>
                  <a:gd name="T3" fmla="*/ 60 h 120"/>
                  <a:gd name="T4" fmla="*/ 0 w 90"/>
                  <a:gd name="T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120">
                    <a:moveTo>
                      <a:pt x="0" y="120"/>
                    </a:moveTo>
                    <a:lnTo>
                      <a:pt x="9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1" name="Line 2420">
                <a:extLst>
                  <a:ext uri="{FF2B5EF4-FFF2-40B4-BE49-F238E27FC236}">
                    <a16:creationId xmlns:a16="http://schemas.microsoft.com/office/drawing/2014/main" xmlns="" id="{7509DD0B-388A-4FBE-AC16-5FA915C93A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5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2" name="Freeform 2421">
                <a:extLst>
                  <a:ext uri="{FF2B5EF4-FFF2-40B4-BE49-F238E27FC236}">
                    <a16:creationId xmlns:a16="http://schemas.microsoft.com/office/drawing/2014/main" xmlns="" id="{1E9738AE-A95A-473B-A072-85395EC12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230"/>
                <a:ext cx="450" cy="180"/>
              </a:xfrm>
              <a:custGeom>
                <a:avLst/>
                <a:gdLst>
                  <a:gd name="T0" fmla="*/ 450 w 450"/>
                  <a:gd name="T1" fmla="*/ 180 h 180"/>
                  <a:gd name="T2" fmla="*/ 450 w 450"/>
                  <a:gd name="T3" fmla="*/ 60 h 180"/>
                  <a:gd name="T4" fmla="*/ 330 w 450"/>
                  <a:gd name="T5" fmla="*/ 120 h 180"/>
                  <a:gd name="T6" fmla="*/ 210 w 450"/>
                  <a:gd name="T7" fmla="*/ 30 h 180"/>
                  <a:gd name="T8" fmla="*/ 90 w 450"/>
                  <a:gd name="T9" fmla="*/ 0 h 180"/>
                  <a:gd name="T10" fmla="*/ 150 w 450"/>
                  <a:gd name="T11" fmla="*/ 90 h 180"/>
                  <a:gd name="T12" fmla="*/ 0 w 450"/>
                  <a:gd name="T13" fmla="*/ 6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0" h="180">
                    <a:moveTo>
                      <a:pt x="450" y="180"/>
                    </a:moveTo>
                    <a:lnTo>
                      <a:pt x="450" y="60"/>
                    </a:lnTo>
                    <a:lnTo>
                      <a:pt x="330" y="120"/>
                    </a:lnTo>
                    <a:lnTo>
                      <a:pt x="210" y="30"/>
                    </a:lnTo>
                    <a:lnTo>
                      <a:pt x="90" y="0"/>
                    </a:lnTo>
                    <a:lnTo>
                      <a:pt x="150" y="9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3" name="Freeform 2422">
                <a:extLst>
                  <a:ext uri="{FF2B5EF4-FFF2-40B4-BE49-F238E27FC236}">
                    <a16:creationId xmlns:a16="http://schemas.microsoft.com/office/drawing/2014/main" xmlns="" id="{5DA8B0CF-EC86-4160-AB0A-AEE84A1A93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440"/>
                <a:ext cx="180" cy="150"/>
              </a:xfrm>
              <a:custGeom>
                <a:avLst/>
                <a:gdLst>
                  <a:gd name="T0" fmla="*/ 180 w 180"/>
                  <a:gd name="T1" fmla="*/ 0 h 150"/>
                  <a:gd name="T2" fmla="*/ 90 w 180"/>
                  <a:gd name="T3" fmla="*/ 90 h 150"/>
                  <a:gd name="T4" fmla="*/ 0 w 180"/>
                  <a:gd name="T5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180" y="0"/>
                    </a:moveTo>
                    <a:lnTo>
                      <a:pt x="90" y="90"/>
                    </a:lnTo>
                    <a:lnTo>
                      <a:pt x="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4" name="Freeform 2423">
                <a:extLst>
                  <a:ext uri="{FF2B5EF4-FFF2-40B4-BE49-F238E27FC236}">
                    <a16:creationId xmlns:a16="http://schemas.microsoft.com/office/drawing/2014/main" xmlns="" id="{BB18136F-6660-4F40-B0F0-C6A3AC5528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" y="1260"/>
                <a:ext cx="390" cy="390"/>
              </a:xfrm>
              <a:custGeom>
                <a:avLst/>
                <a:gdLst>
                  <a:gd name="T0" fmla="*/ 270 w 390"/>
                  <a:gd name="T1" fmla="*/ 390 h 390"/>
                  <a:gd name="T2" fmla="*/ 390 w 390"/>
                  <a:gd name="T3" fmla="*/ 300 h 390"/>
                  <a:gd name="T4" fmla="*/ 360 w 390"/>
                  <a:gd name="T5" fmla="*/ 180 h 390"/>
                  <a:gd name="T6" fmla="*/ 240 w 390"/>
                  <a:gd name="T7" fmla="*/ 30 h 390"/>
                  <a:gd name="T8" fmla="*/ 0 w 390"/>
                  <a:gd name="T9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0" h="390">
                    <a:moveTo>
                      <a:pt x="270" y="390"/>
                    </a:moveTo>
                    <a:lnTo>
                      <a:pt x="390" y="300"/>
                    </a:lnTo>
                    <a:lnTo>
                      <a:pt x="360" y="180"/>
                    </a:lnTo>
                    <a:lnTo>
                      <a:pt x="24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5" name="Freeform 2424">
                <a:extLst>
                  <a:ext uri="{FF2B5EF4-FFF2-40B4-BE49-F238E27FC236}">
                    <a16:creationId xmlns:a16="http://schemas.microsoft.com/office/drawing/2014/main" xmlns="" id="{27911EAA-6238-49F0-84A5-CD151891CD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5" y="1230"/>
                <a:ext cx="360" cy="210"/>
              </a:xfrm>
              <a:custGeom>
                <a:avLst/>
                <a:gdLst>
                  <a:gd name="T0" fmla="*/ 90 w 360"/>
                  <a:gd name="T1" fmla="*/ 60 h 210"/>
                  <a:gd name="T2" fmla="*/ 0 w 360"/>
                  <a:gd name="T3" fmla="*/ 180 h 210"/>
                  <a:gd name="T4" fmla="*/ 90 w 360"/>
                  <a:gd name="T5" fmla="*/ 210 h 210"/>
                  <a:gd name="T6" fmla="*/ 180 w 360"/>
                  <a:gd name="T7" fmla="*/ 180 h 210"/>
                  <a:gd name="T8" fmla="*/ 90 w 360"/>
                  <a:gd name="T9" fmla="*/ 60 h 210"/>
                  <a:gd name="T10" fmla="*/ 270 w 360"/>
                  <a:gd name="T11" fmla="*/ 60 h 210"/>
                  <a:gd name="T12" fmla="*/ 360 w 360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0" h="210">
                    <a:moveTo>
                      <a:pt x="90" y="60"/>
                    </a:moveTo>
                    <a:lnTo>
                      <a:pt x="0" y="180"/>
                    </a:lnTo>
                    <a:lnTo>
                      <a:pt x="90" y="210"/>
                    </a:lnTo>
                    <a:lnTo>
                      <a:pt x="180" y="180"/>
                    </a:lnTo>
                    <a:lnTo>
                      <a:pt x="90" y="60"/>
                    </a:lnTo>
                    <a:lnTo>
                      <a:pt x="270" y="60"/>
                    </a:lnTo>
                    <a:lnTo>
                      <a:pt x="3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6" name="Line 2425">
                <a:extLst>
                  <a:ext uri="{FF2B5EF4-FFF2-40B4-BE49-F238E27FC236}">
                    <a16:creationId xmlns:a16="http://schemas.microsoft.com/office/drawing/2014/main" xmlns="" id="{8268A157-E1C8-4D59-AFE0-DDDD9A5385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3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7" name="Line 2426">
                <a:extLst>
                  <a:ext uri="{FF2B5EF4-FFF2-40B4-BE49-F238E27FC236}">
                    <a16:creationId xmlns:a16="http://schemas.microsoft.com/office/drawing/2014/main" xmlns="" id="{1E3FDC2D-37DE-4D8C-972B-A7826AEF96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105" y="141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8" name="Freeform 2427">
                <a:extLst>
                  <a:ext uri="{FF2B5EF4-FFF2-40B4-BE49-F238E27FC236}">
                    <a16:creationId xmlns:a16="http://schemas.microsoft.com/office/drawing/2014/main" xmlns="" id="{BE99F115-7C58-4FD2-8DD9-6C40DC005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5" y="2490"/>
                <a:ext cx="450" cy="300"/>
              </a:xfrm>
              <a:custGeom>
                <a:avLst/>
                <a:gdLst>
                  <a:gd name="T0" fmla="*/ 180 w 450"/>
                  <a:gd name="T1" fmla="*/ 300 h 300"/>
                  <a:gd name="T2" fmla="*/ 300 w 450"/>
                  <a:gd name="T3" fmla="*/ 240 h 300"/>
                  <a:gd name="T4" fmla="*/ 450 w 450"/>
                  <a:gd name="T5" fmla="*/ 300 h 300"/>
                  <a:gd name="T6" fmla="*/ 360 w 450"/>
                  <a:gd name="T7" fmla="*/ 90 h 300"/>
                  <a:gd name="T8" fmla="*/ 240 w 450"/>
                  <a:gd name="T9" fmla="*/ 150 h 300"/>
                  <a:gd name="T10" fmla="*/ 0 w 450"/>
                  <a:gd name="T11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0" h="300">
                    <a:moveTo>
                      <a:pt x="180" y="300"/>
                    </a:moveTo>
                    <a:lnTo>
                      <a:pt x="300" y="240"/>
                    </a:lnTo>
                    <a:lnTo>
                      <a:pt x="450" y="300"/>
                    </a:lnTo>
                    <a:lnTo>
                      <a:pt x="360" y="9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9" name="Line 2428">
                <a:extLst>
                  <a:ext uri="{FF2B5EF4-FFF2-40B4-BE49-F238E27FC236}">
                    <a16:creationId xmlns:a16="http://schemas.microsoft.com/office/drawing/2014/main" xmlns="" id="{4FA8AFF8-3D78-4FF6-9F8A-1DC6F40571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925" y="243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0" name="Freeform 2429">
                <a:extLst>
                  <a:ext uri="{FF2B5EF4-FFF2-40B4-BE49-F238E27FC236}">
                    <a16:creationId xmlns:a16="http://schemas.microsoft.com/office/drawing/2014/main" xmlns="" id="{EA568BC4-F458-45E1-87EB-7CE82BC4E2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2070"/>
                <a:ext cx="300" cy="240"/>
              </a:xfrm>
              <a:custGeom>
                <a:avLst/>
                <a:gdLst>
                  <a:gd name="T0" fmla="*/ 180 w 300"/>
                  <a:gd name="T1" fmla="*/ 0 h 240"/>
                  <a:gd name="T2" fmla="*/ 0 w 300"/>
                  <a:gd name="T3" fmla="*/ 0 h 240"/>
                  <a:gd name="T4" fmla="*/ 60 w 300"/>
                  <a:gd name="T5" fmla="*/ 120 h 240"/>
                  <a:gd name="T6" fmla="*/ 180 w 300"/>
                  <a:gd name="T7" fmla="*/ 0 h 240"/>
                  <a:gd name="T8" fmla="*/ 300 w 300"/>
                  <a:gd name="T9" fmla="*/ 150 h 240"/>
                  <a:gd name="T10" fmla="*/ 150 w 300"/>
                  <a:gd name="T11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0" h="240">
                    <a:moveTo>
                      <a:pt x="180" y="0"/>
                    </a:moveTo>
                    <a:lnTo>
                      <a:pt x="0" y="0"/>
                    </a:lnTo>
                    <a:lnTo>
                      <a:pt x="60" y="120"/>
                    </a:lnTo>
                    <a:lnTo>
                      <a:pt x="180" y="0"/>
                    </a:lnTo>
                    <a:lnTo>
                      <a:pt x="300" y="150"/>
                    </a:lnTo>
                    <a:lnTo>
                      <a:pt x="15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1" name="Line 2430">
                <a:extLst>
                  <a:ext uri="{FF2B5EF4-FFF2-40B4-BE49-F238E27FC236}">
                    <a16:creationId xmlns:a16="http://schemas.microsoft.com/office/drawing/2014/main" xmlns="" id="{DAFC6CC4-FC5E-4EDA-9957-AA350D3D31C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35" y="2040"/>
                <a:ext cx="90" cy="21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2" name="Freeform 2431">
                <a:extLst>
                  <a:ext uri="{FF2B5EF4-FFF2-40B4-BE49-F238E27FC236}">
                    <a16:creationId xmlns:a16="http://schemas.microsoft.com/office/drawing/2014/main" xmlns="" id="{33356E3A-DA1D-4CF0-82AA-2DF76CECF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2310"/>
                <a:ext cx="690" cy="420"/>
              </a:xfrm>
              <a:custGeom>
                <a:avLst/>
                <a:gdLst>
                  <a:gd name="T0" fmla="*/ 120 w 690"/>
                  <a:gd name="T1" fmla="*/ 150 h 420"/>
                  <a:gd name="T2" fmla="*/ 330 w 690"/>
                  <a:gd name="T3" fmla="*/ 0 h 420"/>
                  <a:gd name="T4" fmla="*/ 180 w 690"/>
                  <a:gd name="T5" fmla="*/ 30 h 420"/>
                  <a:gd name="T6" fmla="*/ 270 w 690"/>
                  <a:gd name="T7" fmla="*/ 180 h 420"/>
                  <a:gd name="T8" fmla="*/ 0 w 690"/>
                  <a:gd name="T9" fmla="*/ 210 h 420"/>
                  <a:gd name="T10" fmla="*/ 210 w 690"/>
                  <a:gd name="T11" fmla="*/ 270 h 420"/>
                  <a:gd name="T12" fmla="*/ 330 w 690"/>
                  <a:gd name="T13" fmla="*/ 330 h 420"/>
                  <a:gd name="T14" fmla="*/ 420 w 690"/>
                  <a:gd name="T15" fmla="*/ 420 h 420"/>
                  <a:gd name="T16" fmla="*/ 450 w 690"/>
                  <a:gd name="T17" fmla="*/ 240 h 420"/>
                  <a:gd name="T18" fmla="*/ 570 w 690"/>
                  <a:gd name="T19" fmla="*/ 420 h 420"/>
                  <a:gd name="T20" fmla="*/ 690 w 690"/>
                  <a:gd name="T21" fmla="*/ 39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0" h="420">
                    <a:moveTo>
                      <a:pt x="120" y="150"/>
                    </a:moveTo>
                    <a:lnTo>
                      <a:pt x="330" y="0"/>
                    </a:lnTo>
                    <a:lnTo>
                      <a:pt x="180" y="30"/>
                    </a:lnTo>
                    <a:lnTo>
                      <a:pt x="270" y="180"/>
                    </a:lnTo>
                    <a:lnTo>
                      <a:pt x="0" y="210"/>
                    </a:lnTo>
                    <a:lnTo>
                      <a:pt x="210" y="270"/>
                    </a:lnTo>
                    <a:lnTo>
                      <a:pt x="330" y="330"/>
                    </a:lnTo>
                    <a:lnTo>
                      <a:pt x="420" y="420"/>
                    </a:lnTo>
                    <a:lnTo>
                      <a:pt x="450" y="240"/>
                    </a:lnTo>
                    <a:lnTo>
                      <a:pt x="570" y="420"/>
                    </a:lnTo>
                    <a:lnTo>
                      <a:pt x="690" y="3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3" name="Freeform 2432">
                <a:extLst>
                  <a:ext uri="{FF2B5EF4-FFF2-40B4-BE49-F238E27FC236}">
                    <a16:creationId xmlns:a16="http://schemas.microsoft.com/office/drawing/2014/main" xmlns="" id="{F106D933-6D5B-4BC9-9A44-8076B60F6D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" y="2490"/>
                <a:ext cx="389" cy="300"/>
              </a:xfrm>
              <a:custGeom>
                <a:avLst/>
                <a:gdLst>
                  <a:gd name="T0" fmla="*/ 180 w 389"/>
                  <a:gd name="T1" fmla="*/ 300 h 300"/>
                  <a:gd name="T2" fmla="*/ 389 w 389"/>
                  <a:gd name="T3" fmla="*/ 270 h 300"/>
                  <a:gd name="T4" fmla="*/ 240 w 389"/>
                  <a:gd name="T5" fmla="*/ 150 h 300"/>
                  <a:gd name="T6" fmla="*/ 0 w 389"/>
                  <a:gd name="T7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9" h="300">
                    <a:moveTo>
                      <a:pt x="180" y="300"/>
                    </a:moveTo>
                    <a:lnTo>
                      <a:pt x="389" y="27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4" name="Freeform 2433">
                <a:extLst>
                  <a:ext uri="{FF2B5EF4-FFF2-40B4-BE49-F238E27FC236}">
                    <a16:creationId xmlns:a16="http://schemas.microsoft.com/office/drawing/2014/main" xmlns="" id="{44884E62-54B7-4F19-B6A0-D82BDC70E4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5" y="2310"/>
                <a:ext cx="389" cy="360"/>
              </a:xfrm>
              <a:custGeom>
                <a:avLst/>
                <a:gdLst>
                  <a:gd name="T0" fmla="*/ 90 w 389"/>
                  <a:gd name="T1" fmla="*/ 330 h 360"/>
                  <a:gd name="T2" fmla="*/ 389 w 389"/>
                  <a:gd name="T3" fmla="*/ 360 h 360"/>
                  <a:gd name="T4" fmla="*/ 359 w 389"/>
                  <a:gd name="T5" fmla="*/ 240 h 360"/>
                  <a:gd name="T6" fmla="*/ 209 w 389"/>
                  <a:gd name="T7" fmla="*/ 270 h 360"/>
                  <a:gd name="T8" fmla="*/ 0 w 389"/>
                  <a:gd name="T9" fmla="*/ 210 h 360"/>
                  <a:gd name="T10" fmla="*/ 269 w 389"/>
                  <a:gd name="T11" fmla="*/ 180 h 360"/>
                  <a:gd name="T12" fmla="*/ 179 w 389"/>
                  <a:gd name="T13" fmla="*/ 30 h 360"/>
                  <a:gd name="T14" fmla="*/ 329 w 389"/>
                  <a:gd name="T15" fmla="*/ 0 h 360"/>
                  <a:gd name="T16" fmla="*/ 120 w 389"/>
                  <a:gd name="T17" fmla="*/ 15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9" h="360">
                    <a:moveTo>
                      <a:pt x="90" y="330"/>
                    </a:moveTo>
                    <a:lnTo>
                      <a:pt x="389" y="360"/>
                    </a:lnTo>
                    <a:lnTo>
                      <a:pt x="359" y="240"/>
                    </a:lnTo>
                    <a:lnTo>
                      <a:pt x="209" y="270"/>
                    </a:lnTo>
                    <a:lnTo>
                      <a:pt x="0" y="210"/>
                    </a:lnTo>
                    <a:lnTo>
                      <a:pt x="269" y="180"/>
                    </a:lnTo>
                    <a:lnTo>
                      <a:pt x="179" y="30"/>
                    </a:lnTo>
                    <a:lnTo>
                      <a:pt x="329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5" name="Line 2434">
                <a:extLst>
                  <a:ext uri="{FF2B5EF4-FFF2-40B4-BE49-F238E27FC236}">
                    <a16:creationId xmlns:a16="http://schemas.microsoft.com/office/drawing/2014/main" xmlns="" id="{D9606FCA-BC61-413D-9665-B66D3BA837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44" y="2310"/>
                <a:ext cx="30" cy="24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6" name="Freeform 2435">
                <a:extLst>
                  <a:ext uri="{FF2B5EF4-FFF2-40B4-BE49-F238E27FC236}">
                    <a16:creationId xmlns:a16="http://schemas.microsoft.com/office/drawing/2014/main" xmlns="" id="{0B02F323-3A65-434C-8981-11C1CAB4C7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5" y="2160"/>
                <a:ext cx="239" cy="30"/>
              </a:xfrm>
              <a:custGeom>
                <a:avLst/>
                <a:gdLst>
                  <a:gd name="T0" fmla="*/ 0 w 239"/>
                  <a:gd name="T1" fmla="*/ 0 h 30"/>
                  <a:gd name="T2" fmla="*/ 119 w 239"/>
                  <a:gd name="T3" fmla="*/ 30 h 30"/>
                  <a:gd name="T4" fmla="*/ 239 w 239"/>
                  <a:gd name="T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30">
                    <a:moveTo>
                      <a:pt x="0" y="0"/>
                    </a:moveTo>
                    <a:lnTo>
                      <a:pt x="119" y="30"/>
                    </a:lnTo>
                    <a:lnTo>
                      <a:pt x="23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7" name="Freeform 2436">
                <a:extLst>
                  <a:ext uri="{FF2B5EF4-FFF2-40B4-BE49-F238E27FC236}">
                    <a16:creationId xmlns:a16="http://schemas.microsoft.com/office/drawing/2014/main" xmlns="" id="{B5CDCA35-4247-47AD-9321-E5575BF93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2160"/>
                <a:ext cx="210" cy="510"/>
              </a:xfrm>
              <a:custGeom>
                <a:avLst/>
                <a:gdLst>
                  <a:gd name="T0" fmla="*/ 210 w 210"/>
                  <a:gd name="T1" fmla="*/ 180 h 510"/>
                  <a:gd name="T2" fmla="*/ 0 w 210"/>
                  <a:gd name="T3" fmla="*/ 510 h 510"/>
                  <a:gd name="T4" fmla="*/ 120 w 210"/>
                  <a:gd name="T5" fmla="*/ 480 h 510"/>
                  <a:gd name="T6" fmla="*/ 30 w 210"/>
                  <a:gd name="T7" fmla="*/ 330 h 510"/>
                  <a:gd name="T8" fmla="*/ 120 w 210"/>
                  <a:gd name="T9" fmla="*/ 240 h 510"/>
                  <a:gd name="T10" fmla="*/ 0 w 210"/>
                  <a:gd name="T11" fmla="*/ 180 h 510"/>
                  <a:gd name="T12" fmla="*/ 90 w 210"/>
                  <a:gd name="T13" fmla="*/ 0 h 510"/>
                  <a:gd name="T14" fmla="*/ 210 w 210"/>
                  <a:gd name="T15" fmla="*/ 18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0" h="510">
                    <a:moveTo>
                      <a:pt x="210" y="180"/>
                    </a:moveTo>
                    <a:lnTo>
                      <a:pt x="0" y="510"/>
                    </a:lnTo>
                    <a:lnTo>
                      <a:pt x="120" y="480"/>
                    </a:lnTo>
                    <a:lnTo>
                      <a:pt x="30" y="330"/>
                    </a:lnTo>
                    <a:lnTo>
                      <a:pt x="120" y="240"/>
                    </a:lnTo>
                    <a:lnTo>
                      <a:pt x="0" y="180"/>
                    </a:lnTo>
                    <a:lnTo>
                      <a:pt x="90" y="0"/>
                    </a:lnTo>
                    <a:lnTo>
                      <a:pt x="210" y="18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8" name="Freeform 2437">
                <a:extLst>
                  <a:ext uri="{FF2B5EF4-FFF2-40B4-BE49-F238E27FC236}">
                    <a16:creationId xmlns:a16="http://schemas.microsoft.com/office/drawing/2014/main" xmlns="" id="{EA6A00EF-E27E-4FB9-9FB8-26C402021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2100"/>
                <a:ext cx="719" cy="690"/>
              </a:xfrm>
              <a:custGeom>
                <a:avLst/>
                <a:gdLst>
                  <a:gd name="T0" fmla="*/ 119 w 719"/>
                  <a:gd name="T1" fmla="*/ 120 h 690"/>
                  <a:gd name="T2" fmla="*/ 0 w 719"/>
                  <a:gd name="T3" fmla="*/ 30 h 690"/>
                  <a:gd name="T4" fmla="*/ 209 w 719"/>
                  <a:gd name="T5" fmla="*/ 0 h 690"/>
                  <a:gd name="T6" fmla="*/ 299 w 719"/>
                  <a:gd name="T7" fmla="*/ 120 h 690"/>
                  <a:gd name="T8" fmla="*/ 389 w 719"/>
                  <a:gd name="T9" fmla="*/ 0 h 690"/>
                  <a:gd name="T10" fmla="*/ 209 w 719"/>
                  <a:gd name="T11" fmla="*/ 0 h 690"/>
                  <a:gd name="T12" fmla="*/ 209 w 719"/>
                  <a:gd name="T13" fmla="*/ 151 h 690"/>
                  <a:gd name="T14" fmla="*/ 119 w 719"/>
                  <a:gd name="T15" fmla="*/ 120 h 690"/>
                  <a:gd name="T16" fmla="*/ 89 w 719"/>
                  <a:gd name="T17" fmla="*/ 210 h 690"/>
                  <a:gd name="T18" fmla="*/ 89 w 719"/>
                  <a:gd name="T19" fmla="*/ 450 h 690"/>
                  <a:gd name="T20" fmla="*/ 209 w 719"/>
                  <a:gd name="T21" fmla="*/ 360 h 690"/>
                  <a:gd name="T22" fmla="*/ 298 w 719"/>
                  <a:gd name="T23" fmla="*/ 452 h 690"/>
                  <a:gd name="T24" fmla="*/ 269 w 719"/>
                  <a:gd name="T25" fmla="*/ 270 h 690"/>
                  <a:gd name="T26" fmla="*/ 359 w 719"/>
                  <a:gd name="T27" fmla="*/ 210 h 690"/>
                  <a:gd name="T28" fmla="*/ 479 w 719"/>
                  <a:gd name="T29" fmla="*/ 270 h 690"/>
                  <a:gd name="T30" fmla="*/ 359 w 719"/>
                  <a:gd name="T31" fmla="*/ 330 h 690"/>
                  <a:gd name="T32" fmla="*/ 449 w 719"/>
                  <a:gd name="T33" fmla="*/ 390 h 690"/>
                  <a:gd name="T34" fmla="*/ 719 w 719"/>
                  <a:gd name="T35" fmla="*/ 360 h 690"/>
                  <a:gd name="T36" fmla="*/ 599 w 719"/>
                  <a:gd name="T37" fmla="*/ 420 h 690"/>
                  <a:gd name="T38" fmla="*/ 629 w 719"/>
                  <a:gd name="T39" fmla="*/ 690 h 690"/>
                  <a:gd name="T40" fmla="*/ 419 w 719"/>
                  <a:gd name="T41" fmla="*/ 510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9" h="690">
                    <a:moveTo>
                      <a:pt x="119" y="120"/>
                    </a:moveTo>
                    <a:lnTo>
                      <a:pt x="0" y="30"/>
                    </a:lnTo>
                    <a:lnTo>
                      <a:pt x="209" y="0"/>
                    </a:lnTo>
                    <a:lnTo>
                      <a:pt x="299" y="120"/>
                    </a:lnTo>
                    <a:lnTo>
                      <a:pt x="389" y="0"/>
                    </a:lnTo>
                    <a:lnTo>
                      <a:pt x="209" y="0"/>
                    </a:lnTo>
                    <a:lnTo>
                      <a:pt x="209" y="151"/>
                    </a:lnTo>
                    <a:lnTo>
                      <a:pt x="119" y="120"/>
                    </a:lnTo>
                    <a:lnTo>
                      <a:pt x="89" y="210"/>
                    </a:lnTo>
                    <a:lnTo>
                      <a:pt x="89" y="450"/>
                    </a:lnTo>
                    <a:lnTo>
                      <a:pt x="209" y="360"/>
                    </a:lnTo>
                    <a:lnTo>
                      <a:pt x="298" y="452"/>
                    </a:lnTo>
                    <a:lnTo>
                      <a:pt x="269" y="270"/>
                    </a:lnTo>
                    <a:lnTo>
                      <a:pt x="359" y="210"/>
                    </a:lnTo>
                    <a:lnTo>
                      <a:pt x="479" y="270"/>
                    </a:lnTo>
                    <a:lnTo>
                      <a:pt x="359" y="330"/>
                    </a:lnTo>
                    <a:lnTo>
                      <a:pt x="449" y="390"/>
                    </a:lnTo>
                    <a:lnTo>
                      <a:pt x="719" y="360"/>
                    </a:lnTo>
                    <a:lnTo>
                      <a:pt x="599" y="420"/>
                    </a:lnTo>
                    <a:lnTo>
                      <a:pt x="629" y="690"/>
                    </a:lnTo>
                    <a:lnTo>
                      <a:pt x="419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9" name="Freeform 2438">
                <a:extLst>
                  <a:ext uri="{FF2B5EF4-FFF2-40B4-BE49-F238E27FC236}">
                    <a16:creationId xmlns:a16="http://schemas.microsoft.com/office/drawing/2014/main" xmlns="" id="{D0DFAE96-F160-43D0-9D72-9FD883AAFD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2190"/>
                <a:ext cx="359" cy="330"/>
              </a:xfrm>
              <a:custGeom>
                <a:avLst/>
                <a:gdLst>
                  <a:gd name="T0" fmla="*/ 300 w 359"/>
                  <a:gd name="T1" fmla="*/ 240 h 330"/>
                  <a:gd name="T2" fmla="*/ 210 w 359"/>
                  <a:gd name="T3" fmla="*/ 330 h 330"/>
                  <a:gd name="T4" fmla="*/ 30 w 359"/>
                  <a:gd name="T5" fmla="*/ 300 h 330"/>
                  <a:gd name="T6" fmla="*/ 0 w 359"/>
                  <a:gd name="T7" fmla="*/ 150 h 330"/>
                  <a:gd name="T8" fmla="*/ 210 w 359"/>
                  <a:gd name="T9" fmla="*/ 0 h 330"/>
                  <a:gd name="T10" fmla="*/ 359 w 359"/>
                  <a:gd name="T11" fmla="*/ 12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9" h="330">
                    <a:moveTo>
                      <a:pt x="300" y="240"/>
                    </a:moveTo>
                    <a:lnTo>
                      <a:pt x="210" y="330"/>
                    </a:lnTo>
                    <a:lnTo>
                      <a:pt x="30" y="300"/>
                    </a:lnTo>
                    <a:lnTo>
                      <a:pt x="0" y="150"/>
                    </a:lnTo>
                    <a:lnTo>
                      <a:pt x="210" y="0"/>
                    </a:lnTo>
                    <a:lnTo>
                      <a:pt x="359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0" name="Freeform 2439">
                <a:extLst>
                  <a:ext uri="{FF2B5EF4-FFF2-40B4-BE49-F238E27FC236}">
                    <a16:creationId xmlns:a16="http://schemas.microsoft.com/office/drawing/2014/main" xmlns="" id="{65B028FD-571D-4DF0-8134-6B6AD565FE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6" y="2520"/>
                <a:ext cx="239" cy="120"/>
              </a:xfrm>
              <a:custGeom>
                <a:avLst/>
                <a:gdLst>
                  <a:gd name="T0" fmla="*/ 90 w 239"/>
                  <a:gd name="T1" fmla="*/ 0 h 120"/>
                  <a:gd name="T2" fmla="*/ 0 w 239"/>
                  <a:gd name="T3" fmla="*/ 120 h 120"/>
                  <a:gd name="T4" fmla="*/ 239 w 239"/>
                  <a:gd name="T5" fmla="*/ 3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120">
                    <a:moveTo>
                      <a:pt x="90" y="0"/>
                    </a:moveTo>
                    <a:lnTo>
                      <a:pt x="0" y="120"/>
                    </a:lnTo>
                    <a:lnTo>
                      <a:pt x="23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1" name="Freeform 2440">
                <a:extLst>
                  <a:ext uri="{FF2B5EF4-FFF2-40B4-BE49-F238E27FC236}">
                    <a16:creationId xmlns:a16="http://schemas.microsoft.com/office/drawing/2014/main" xmlns="" id="{BD49CB6C-8549-40C8-B788-AC7EBB9165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540"/>
                <a:ext cx="899" cy="750"/>
              </a:xfrm>
              <a:custGeom>
                <a:avLst/>
                <a:gdLst>
                  <a:gd name="T0" fmla="*/ 299 w 899"/>
                  <a:gd name="T1" fmla="*/ 630 h 750"/>
                  <a:gd name="T2" fmla="*/ 268 w 899"/>
                  <a:gd name="T3" fmla="*/ 482 h 750"/>
                  <a:gd name="T4" fmla="*/ 179 w 899"/>
                  <a:gd name="T5" fmla="*/ 570 h 750"/>
                  <a:gd name="T6" fmla="*/ 59 w 899"/>
                  <a:gd name="T7" fmla="*/ 480 h 750"/>
                  <a:gd name="T8" fmla="*/ 0 w 899"/>
                  <a:gd name="T9" fmla="*/ 360 h 750"/>
                  <a:gd name="T10" fmla="*/ 59 w 899"/>
                  <a:gd name="T11" fmla="*/ 240 h 750"/>
                  <a:gd name="T12" fmla="*/ 179 w 899"/>
                  <a:gd name="T13" fmla="*/ 390 h 750"/>
                  <a:gd name="T14" fmla="*/ 239 w 899"/>
                  <a:gd name="T15" fmla="*/ 300 h 750"/>
                  <a:gd name="T16" fmla="*/ 329 w 899"/>
                  <a:gd name="T17" fmla="*/ 360 h 750"/>
                  <a:gd name="T18" fmla="*/ 329 w 899"/>
                  <a:gd name="T19" fmla="*/ 240 h 750"/>
                  <a:gd name="T20" fmla="*/ 179 w 899"/>
                  <a:gd name="T21" fmla="*/ 181 h 750"/>
                  <a:gd name="T22" fmla="*/ 269 w 899"/>
                  <a:gd name="T23" fmla="*/ 150 h 750"/>
                  <a:gd name="T24" fmla="*/ 389 w 899"/>
                  <a:gd name="T25" fmla="*/ 120 h 750"/>
                  <a:gd name="T26" fmla="*/ 449 w 899"/>
                  <a:gd name="T27" fmla="*/ 300 h 750"/>
                  <a:gd name="T28" fmla="*/ 539 w 899"/>
                  <a:gd name="T29" fmla="*/ 180 h 750"/>
                  <a:gd name="T30" fmla="*/ 509 w 899"/>
                  <a:gd name="T31" fmla="*/ 60 h 750"/>
                  <a:gd name="T32" fmla="*/ 359 w 899"/>
                  <a:gd name="T33" fmla="*/ 30 h 750"/>
                  <a:gd name="T34" fmla="*/ 569 w 899"/>
                  <a:gd name="T35" fmla="*/ 0 h 750"/>
                  <a:gd name="T36" fmla="*/ 689 w 899"/>
                  <a:gd name="T37" fmla="*/ 90 h 750"/>
                  <a:gd name="T38" fmla="*/ 659 w 899"/>
                  <a:gd name="T39" fmla="*/ 240 h 750"/>
                  <a:gd name="T40" fmla="*/ 749 w 899"/>
                  <a:gd name="T41" fmla="*/ 270 h 750"/>
                  <a:gd name="T42" fmla="*/ 809 w 899"/>
                  <a:gd name="T43" fmla="*/ 120 h 750"/>
                  <a:gd name="T44" fmla="*/ 899 w 899"/>
                  <a:gd name="T45" fmla="*/ 240 h 750"/>
                  <a:gd name="T46" fmla="*/ 839 w 899"/>
                  <a:gd name="T47" fmla="*/ 420 h 750"/>
                  <a:gd name="T48" fmla="*/ 779 w 899"/>
                  <a:gd name="T49" fmla="*/ 510 h 750"/>
                  <a:gd name="T50" fmla="*/ 689 w 899"/>
                  <a:gd name="T51" fmla="*/ 390 h 750"/>
                  <a:gd name="T52" fmla="*/ 539 w 899"/>
                  <a:gd name="T53" fmla="*/ 330 h 750"/>
                  <a:gd name="T54" fmla="*/ 569 w 899"/>
                  <a:gd name="T55" fmla="*/ 450 h 750"/>
                  <a:gd name="T56" fmla="*/ 419 w 899"/>
                  <a:gd name="T57" fmla="*/ 420 h 750"/>
                  <a:gd name="T58" fmla="*/ 389 w 899"/>
                  <a:gd name="T59" fmla="*/ 540 h 750"/>
                  <a:gd name="T60" fmla="*/ 509 w 899"/>
                  <a:gd name="T61" fmla="*/ 570 h 750"/>
                  <a:gd name="T62" fmla="*/ 659 w 899"/>
                  <a:gd name="T63" fmla="*/ 570 h 750"/>
                  <a:gd name="T64" fmla="*/ 659 w 899"/>
                  <a:gd name="T65" fmla="*/ 75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99" h="750">
                    <a:moveTo>
                      <a:pt x="299" y="630"/>
                    </a:moveTo>
                    <a:lnTo>
                      <a:pt x="268" y="482"/>
                    </a:lnTo>
                    <a:lnTo>
                      <a:pt x="179" y="570"/>
                    </a:lnTo>
                    <a:lnTo>
                      <a:pt x="59" y="480"/>
                    </a:lnTo>
                    <a:lnTo>
                      <a:pt x="0" y="360"/>
                    </a:lnTo>
                    <a:lnTo>
                      <a:pt x="59" y="240"/>
                    </a:lnTo>
                    <a:lnTo>
                      <a:pt x="179" y="390"/>
                    </a:lnTo>
                    <a:lnTo>
                      <a:pt x="239" y="300"/>
                    </a:lnTo>
                    <a:lnTo>
                      <a:pt x="329" y="360"/>
                    </a:lnTo>
                    <a:lnTo>
                      <a:pt x="329" y="240"/>
                    </a:lnTo>
                    <a:lnTo>
                      <a:pt x="179" y="181"/>
                    </a:lnTo>
                    <a:lnTo>
                      <a:pt x="269" y="150"/>
                    </a:lnTo>
                    <a:lnTo>
                      <a:pt x="389" y="120"/>
                    </a:lnTo>
                    <a:lnTo>
                      <a:pt x="449" y="300"/>
                    </a:lnTo>
                    <a:lnTo>
                      <a:pt x="539" y="180"/>
                    </a:lnTo>
                    <a:lnTo>
                      <a:pt x="509" y="60"/>
                    </a:lnTo>
                    <a:lnTo>
                      <a:pt x="359" y="30"/>
                    </a:lnTo>
                    <a:lnTo>
                      <a:pt x="569" y="0"/>
                    </a:lnTo>
                    <a:lnTo>
                      <a:pt x="689" y="90"/>
                    </a:lnTo>
                    <a:lnTo>
                      <a:pt x="659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89" y="390"/>
                    </a:lnTo>
                    <a:lnTo>
                      <a:pt x="539" y="330"/>
                    </a:lnTo>
                    <a:lnTo>
                      <a:pt x="569" y="450"/>
                    </a:lnTo>
                    <a:lnTo>
                      <a:pt x="419" y="420"/>
                    </a:lnTo>
                    <a:lnTo>
                      <a:pt x="389" y="540"/>
                    </a:lnTo>
                    <a:lnTo>
                      <a:pt x="509" y="570"/>
                    </a:lnTo>
                    <a:lnTo>
                      <a:pt x="659" y="570"/>
                    </a:lnTo>
                    <a:lnTo>
                      <a:pt x="659" y="7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2" name="Line 2441">
                <a:extLst>
                  <a:ext uri="{FF2B5EF4-FFF2-40B4-BE49-F238E27FC236}">
                    <a16:creationId xmlns:a16="http://schemas.microsoft.com/office/drawing/2014/main" xmlns="" id="{183CE9D6-EEB1-4E8B-8141-69B7E29FEC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115" y="721"/>
                <a:ext cx="120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3" name="Freeform 2442">
                <a:extLst>
                  <a:ext uri="{FF2B5EF4-FFF2-40B4-BE49-F238E27FC236}">
                    <a16:creationId xmlns:a16="http://schemas.microsoft.com/office/drawing/2014/main" xmlns="" id="{4A9B83AF-3F9B-41BF-A242-68F66EAC58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" y="900"/>
                <a:ext cx="121" cy="180"/>
              </a:xfrm>
              <a:custGeom>
                <a:avLst/>
                <a:gdLst>
                  <a:gd name="T0" fmla="*/ 61 w 121"/>
                  <a:gd name="T1" fmla="*/ 0 h 180"/>
                  <a:gd name="T2" fmla="*/ 121 w 121"/>
                  <a:gd name="T3" fmla="*/ 180 h 180"/>
                  <a:gd name="T4" fmla="*/ 0 w 121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1" h="180">
                    <a:moveTo>
                      <a:pt x="61" y="0"/>
                    </a:moveTo>
                    <a:lnTo>
                      <a:pt x="121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4" name="Freeform 2443">
                <a:extLst>
                  <a:ext uri="{FF2B5EF4-FFF2-40B4-BE49-F238E27FC236}">
                    <a16:creationId xmlns:a16="http://schemas.microsoft.com/office/drawing/2014/main" xmlns="" id="{04D7D19B-7BC1-4157-BDCF-F9C5E6F0A1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5" y="51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5" name="Line 2444">
                <a:extLst>
                  <a:ext uri="{FF2B5EF4-FFF2-40B4-BE49-F238E27FC236}">
                    <a16:creationId xmlns:a16="http://schemas.microsoft.com/office/drawing/2014/main" xmlns="" id="{9094EBC4-2634-48FA-8434-417FD3EFBC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45" y="6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6" name="Freeform 2445">
                <a:extLst>
                  <a:ext uri="{FF2B5EF4-FFF2-40B4-BE49-F238E27FC236}">
                    <a16:creationId xmlns:a16="http://schemas.microsoft.com/office/drawing/2014/main" xmlns="" id="{1FB9E07E-C9CE-4AA7-927A-F7DC054E96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6" y="600"/>
                <a:ext cx="599" cy="630"/>
              </a:xfrm>
              <a:custGeom>
                <a:avLst/>
                <a:gdLst>
                  <a:gd name="T0" fmla="*/ 599 w 599"/>
                  <a:gd name="T1" fmla="*/ 510 h 630"/>
                  <a:gd name="T2" fmla="*/ 389 w 599"/>
                  <a:gd name="T3" fmla="*/ 570 h 630"/>
                  <a:gd name="T4" fmla="*/ 269 w 599"/>
                  <a:gd name="T5" fmla="*/ 510 h 630"/>
                  <a:gd name="T6" fmla="*/ 90 w 599"/>
                  <a:gd name="T7" fmla="*/ 540 h 630"/>
                  <a:gd name="T8" fmla="*/ 0 w 599"/>
                  <a:gd name="T9" fmla="*/ 390 h 630"/>
                  <a:gd name="T10" fmla="*/ 0 w 599"/>
                  <a:gd name="T11" fmla="*/ 630 h 630"/>
                  <a:gd name="T12" fmla="*/ 90 w 599"/>
                  <a:gd name="T13" fmla="*/ 300 h 630"/>
                  <a:gd name="T14" fmla="*/ 0 w 599"/>
                  <a:gd name="T15" fmla="*/ 210 h 630"/>
                  <a:gd name="T16" fmla="*/ 0 w 599"/>
                  <a:gd name="T17" fmla="*/ 60 h 630"/>
                  <a:gd name="T18" fmla="*/ 60 w 599"/>
                  <a:gd name="T19" fmla="*/ 0 h 630"/>
                  <a:gd name="T20" fmla="*/ 149 w 599"/>
                  <a:gd name="T21" fmla="*/ 180 h 630"/>
                  <a:gd name="T22" fmla="*/ 329 w 599"/>
                  <a:gd name="T23" fmla="*/ 240 h 630"/>
                  <a:gd name="T24" fmla="*/ 359 w 599"/>
                  <a:gd name="T25" fmla="*/ 9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9" h="630">
                    <a:moveTo>
                      <a:pt x="599" y="510"/>
                    </a:moveTo>
                    <a:lnTo>
                      <a:pt x="389" y="570"/>
                    </a:lnTo>
                    <a:lnTo>
                      <a:pt x="269" y="510"/>
                    </a:lnTo>
                    <a:lnTo>
                      <a:pt x="90" y="540"/>
                    </a:lnTo>
                    <a:lnTo>
                      <a:pt x="0" y="390"/>
                    </a:lnTo>
                    <a:lnTo>
                      <a:pt x="0" y="630"/>
                    </a:lnTo>
                    <a:lnTo>
                      <a:pt x="90" y="300"/>
                    </a:lnTo>
                    <a:lnTo>
                      <a:pt x="0" y="210"/>
                    </a:lnTo>
                    <a:lnTo>
                      <a:pt x="0" y="60"/>
                    </a:lnTo>
                    <a:lnTo>
                      <a:pt x="60" y="0"/>
                    </a:lnTo>
                    <a:lnTo>
                      <a:pt x="149" y="180"/>
                    </a:lnTo>
                    <a:lnTo>
                      <a:pt x="329" y="240"/>
                    </a:lnTo>
                    <a:lnTo>
                      <a:pt x="359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7" name="Freeform 2446">
                <a:extLst>
                  <a:ext uri="{FF2B5EF4-FFF2-40B4-BE49-F238E27FC236}">
                    <a16:creationId xmlns:a16="http://schemas.microsoft.com/office/drawing/2014/main" xmlns="" id="{4CC2CCE0-8B45-4306-9D02-24739493D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5" y="540"/>
                <a:ext cx="899" cy="720"/>
              </a:xfrm>
              <a:custGeom>
                <a:avLst/>
                <a:gdLst>
                  <a:gd name="T0" fmla="*/ 60 w 899"/>
                  <a:gd name="T1" fmla="*/ 240 h 720"/>
                  <a:gd name="T2" fmla="*/ 180 w 899"/>
                  <a:gd name="T3" fmla="*/ 390 h 720"/>
                  <a:gd name="T4" fmla="*/ 240 w 899"/>
                  <a:gd name="T5" fmla="*/ 300 h 720"/>
                  <a:gd name="T6" fmla="*/ 330 w 899"/>
                  <a:gd name="T7" fmla="*/ 360 h 720"/>
                  <a:gd name="T8" fmla="*/ 330 w 899"/>
                  <a:gd name="T9" fmla="*/ 240 h 720"/>
                  <a:gd name="T10" fmla="*/ 180 w 899"/>
                  <a:gd name="T11" fmla="*/ 181 h 720"/>
                  <a:gd name="T12" fmla="*/ 270 w 899"/>
                  <a:gd name="T13" fmla="*/ 150 h 720"/>
                  <a:gd name="T14" fmla="*/ 390 w 899"/>
                  <a:gd name="T15" fmla="*/ 120 h 720"/>
                  <a:gd name="T16" fmla="*/ 450 w 899"/>
                  <a:gd name="T17" fmla="*/ 300 h 720"/>
                  <a:gd name="T18" fmla="*/ 540 w 899"/>
                  <a:gd name="T19" fmla="*/ 180 h 720"/>
                  <a:gd name="T20" fmla="*/ 510 w 899"/>
                  <a:gd name="T21" fmla="*/ 60 h 720"/>
                  <a:gd name="T22" fmla="*/ 360 w 899"/>
                  <a:gd name="T23" fmla="*/ 30 h 720"/>
                  <a:gd name="T24" fmla="*/ 570 w 899"/>
                  <a:gd name="T25" fmla="*/ 0 h 720"/>
                  <a:gd name="T26" fmla="*/ 690 w 899"/>
                  <a:gd name="T27" fmla="*/ 90 h 720"/>
                  <a:gd name="T28" fmla="*/ 660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90 w 899"/>
                  <a:gd name="T41" fmla="*/ 390 h 720"/>
                  <a:gd name="T42" fmla="*/ 540 w 899"/>
                  <a:gd name="T43" fmla="*/ 330 h 720"/>
                  <a:gd name="T44" fmla="*/ 570 w 899"/>
                  <a:gd name="T45" fmla="*/ 450 h 720"/>
                  <a:gd name="T46" fmla="*/ 420 w 899"/>
                  <a:gd name="T47" fmla="*/ 420 h 720"/>
                  <a:gd name="T48" fmla="*/ 390 w 899"/>
                  <a:gd name="T49" fmla="*/ 540 h 720"/>
                  <a:gd name="T50" fmla="*/ 510 w 899"/>
                  <a:gd name="T51" fmla="*/ 570 h 720"/>
                  <a:gd name="T52" fmla="*/ 660 w 899"/>
                  <a:gd name="T53" fmla="*/ 570 h 720"/>
                  <a:gd name="T54" fmla="*/ 600 w 899"/>
                  <a:gd name="T55" fmla="*/ 720 h 720"/>
                  <a:gd name="T56" fmla="*/ 300 w 899"/>
                  <a:gd name="T57" fmla="*/ 630 h 720"/>
                  <a:gd name="T58" fmla="*/ 268 w 899"/>
                  <a:gd name="T59" fmla="*/ 482 h 720"/>
                  <a:gd name="T60" fmla="*/ 180 w 899"/>
                  <a:gd name="T61" fmla="*/ 570 h 720"/>
                  <a:gd name="T62" fmla="*/ 60 w 899"/>
                  <a:gd name="T63" fmla="*/ 480 h 720"/>
                  <a:gd name="T64" fmla="*/ 0 w 899"/>
                  <a:gd name="T65" fmla="*/ 360 h 720"/>
                  <a:gd name="T66" fmla="*/ 60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60" y="240"/>
                    </a:moveTo>
                    <a:lnTo>
                      <a:pt x="180" y="390"/>
                    </a:lnTo>
                    <a:lnTo>
                      <a:pt x="240" y="300"/>
                    </a:lnTo>
                    <a:lnTo>
                      <a:pt x="330" y="360"/>
                    </a:lnTo>
                    <a:lnTo>
                      <a:pt x="330" y="240"/>
                    </a:lnTo>
                    <a:lnTo>
                      <a:pt x="180" y="181"/>
                    </a:lnTo>
                    <a:lnTo>
                      <a:pt x="270" y="150"/>
                    </a:lnTo>
                    <a:lnTo>
                      <a:pt x="390" y="120"/>
                    </a:lnTo>
                    <a:lnTo>
                      <a:pt x="450" y="300"/>
                    </a:lnTo>
                    <a:lnTo>
                      <a:pt x="540" y="180"/>
                    </a:lnTo>
                    <a:lnTo>
                      <a:pt x="510" y="60"/>
                    </a:lnTo>
                    <a:lnTo>
                      <a:pt x="360" y="30"/>
                    </a:lnTo>
                    <a:lnTo>
                      <a:pt x="570" y="0"/>
                    </a:lnTo>
                    <a:lnTo>
                      <a:pt x="690" y="90"/>
                    </a:lnTo>
                    <a:lnTo>
                      <a:pt x="660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90" y="390"/>
                    </a:lnTo>
                    <a:lnTo>
                      <a:pt x="540" y="330"/>
                    </a:lnTo>
                    <a:lnTo>
                      <a:pt x="570" y="450"/>
                    </a:lnTo>
                    <a:lnTo>
                      <a:pt x="420" y="420"/>
                    </a:lnTo>
                    <a:lnTo>
                      <a:pt x="390" y="540"/>
                    </a:lnTo>
                    <a:lnTo>
                      <a:pt x="510" y="570"/>
                    </a:lnTo>
                    <a:lnTo>
                      <a:pt x="660" y="570"/>
                    </a:lnTo>
                    <a:lnTo>
                      <a:pt x="600" y="720"/>
                    </a:lnTo>
                    <a:lnTo>
                      <a:pt x="300" y="630"/>
                    </a:lnTo>
                    <a:lnTo>
                      <a:pt x="268" y="482"/>
                    </a:lnTo>
                    <a:lnTo>
                      <a:pt x="180" y="570"/>
                    </a:lnTo>
                    <a:lnTo>
                      <a:pt x="60" y="480"/>
                    </a:lnTo>
                    <a:lnTo>
                      <a:pt x="0" y="360"/>
                    </a:lnTo>
                    <a:lnTo>
                      <a:pt x="6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8" name="Freeform 2447">
                <a:extLst>
                  <a:ext uri="{FF2B5EF4-FFF2-40B4-BE49-F238E27FC236}">
                    <a16:creationId xmlns:a16="http://schemas.microsoft.com/office/drawing/2014/main" xmlns="" id="{54130A2D-79C4-485A-B64E-0A4DA5ED7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690"/>
                <a:ext cx="210" cy="150"/>
              </a:xfrm>
              <a:custGeom>
                <a:avLst/>
                <a:gdLst>
                  <a:gd name="T0" fmla="*/ 0 w 210"/>
                  <a:gd name="T1" fmla="*/ 90 h 150"/>
                  <a:gd name="T2" fmla="*/ 180 w 210"/>
                  <a:gd name="T3" fmla="*/ 150 h 150"/>
                  <a:gd name="T4" fmla="*/ 210 w 210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150">
                    <a:moveTo>
                      <a:pt x="0" y="90"/>
                    </a:moveTo>
                    <a:lnTo>
                      <a:pt x="180" y="150"/>
                    </a:lnTo>
                    <a:lnTo>
                      <a:pt x="21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9" name="Freeform 2448">
                <a:extLst>
                  <a:ext uri="{FF2B5EF4-FFF2-40B4-BE49-F238E27FC236}">
                    <a16:creationId xmlns:a16="http://schemas.microsoft.com/office/drawing/2014/main" xmlns="" id="{FD9594E0-7F0E-4412-B167-5CB9DB84C7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721"/>
                <a:ext cx="240" cy="389"/>
              </a:xfrm>
              <a:custGeom>
                <a:avLst/>
                <a:gdLst>
                  <a:gd name="T0" fmla="*/ 240 w 240"/>
                  <a:gd name="T1" fmla="*/ 0 h 389"/>
                  <a:gd name="T2" fmla="*/ 120 w 240"/>
                  <a:gd name="T3" fmla="*/ 299 h 389"/>
                  <a:gd name="T4" fmla="*/ 0 w 240"/>
                  <a:gd name="T5" fmla="*/ 389 h 389"/>
                  <a:gd name="T6" fmla="*/ 60 w 240"/>
                  <a:gd name="T7" fmla="*/ 179 h 389"/>
                  <a:gd name="T8" fmla="*/ 0 w 240"/>
                  <a:gd name="T9" fmla="*/ 59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89">
                    <a:moveTo>
                      <a:pt x="240" y="0"/>
                    </a:moveTo>
                    <a:lnTo>
                      <a:pt x="120" y="299"/>
                    </a:lnTo>
                    <a:lnTo>
                      <a:pt x="0" y="389"/>
                    </a:lnTo>
                    <a:lnTo>
                      <a:pt x="60" y="179"/>
                    </a:lnTo>
                    <a:lnTo>
                      <a:pt x="0" y="5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0" name="Freeform 2449">
                <a:extLst>
                  <a:ext uri="{FF2B5EF4-FFF2-40B4-BE49-F238E27FC236}">
                    <a16:creationId xmlns:a16="http://schemas.microsoft.com/office/drawing/2014/main" xmlns="" id="{C99822E5-027C-49C7-9956-5F103E28C1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3" y="900"/>
                <a:ext cx="122" cy="180"/>
              </a:xfrm>
              <a:custGeom>
                <a:avLst/>
                <a:gdLst>
                  <a:gd name="T0" fmla="*/ 62 w 122"/>
                  <a:gd name="T1" fmla="*/ 0 h 180"/>
                  <a:gd name="T2" fmla="*/ 122 w 122"/>
                  <a:gd name="T3" fmla="*/ 180 h 180"/>
                  <a:gd name="T4" fmla="*/ 0 w 122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2" h="180">
                    <a:moveTo>
                      <a:pt x="62" y="0"/>
                    </a:moveTo>
                    <a:lnTo>
                      <a:pt x="122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1" name="Freeform 2450">
                <a:extLst>
                  <a:ext uri="{FF2B5EF4-FFF2-40B4-BE49-F238E27FC236}">
                    <a16:creationId xmlns:a16="http://schemas.microsoft.com/office/drawing/2014/main" xmlns="" id="{D7C0589B-DFCB-41F1-82E6-76CA946C9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5" y="51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2" name="Line 2451">
                <a:extLst>
                  <a:ext uri="{FF2B5EF4-FFF2-40B4-BE49-F238E27FC236}">
                    <a16:creationId xmlns:a16="http://schemas.microsoft.com/office/drawing/2014/main" xmlns="" id="{C914DC24-B310-4F88-BFEC-7973009206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05" y="6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3" name="Freeform 2452">
                <a:extLst>
                  <a:ext uri="{FF2B5EF4-FFF2-40B4-BE49-F238E27FC236}">
                    <a16:creationId xmlns:a16="http://schemas.microsoft.com/office/drawing/2014/main" xmlns="" id="{EE6D7AC2-9EC1-4687-B84A-1679CF17C1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780"/>
                <a:ext cx="450" cy="390"/>
              </a:xfrm>
              <a:custGeom>
                <a:avLst/>
                <a:gdLst>
                  <a:gd name="T0" fmla="*/ 450 w 450"/>
                  <a:gd name="T1" fmla="*/ 330 h 390"/>
                  <a:gd name="T2" fmla="*/ 240 w 450"/>
                  <a:gd name="T3" fmla="*/ 390 h 390"/>
                  <a:gd name="T4" fmla="*/ 120 w 450"/>
                  <a:gd name="T5" fmla="*/ 330 h 390"/>
                  <a:gd name="T6" fmla="*/ 0 w 450"/>
                  <a:gd name="T7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0" h="390">
                    <a:moveTo>
                      <a:pt x="450" y="330"/>
                    </a:moveTo>
                    <a:lnTo>
                      <a:pt x="240" y="390"/>
                    </a:lnTo>
                    <a:lnTo>
                      <a:pt x="120" y="3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4" name="Freeform 2453">
                <a:extLst>
                  <a:ext uri="{FF2B5EF4-FFF2-40B4-BE49-F238E27FC236}">
                    <a16:creationId xmlns:a16="http://schemas.microsoft.com/office/drawing/2014/main" xmlns="" id="{453F4DEF-66A3-402A-BE8B-BC695A171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960"/>
                <a:ext cx="570" cy="300"/>
              </a:xfrm>
              <a:custGeom>
                <a:avLst/>
                <a:gdLst>
                  <a:gd name="T0" fmla="*/ 0 w 570"/>
                  <a:gd name="T1" fmla="*/ 0 h 300"/>
                  <a:gd name="T2" fmla="*/ 240 w 570"/>
                  <a:gd name="T3" fmla="*/ 150 h 300"/>
                  <a:gd name="T4" fmla="*/ 360 w 570"/>
                  <a:gd name="T5" fmla="*/ 90 h 300"/>
                  <a:gd name="T6" fmla="*/ 450 w 570"/>
                  <a:gd name="T7" fmla="*/ 300 h 300"/>
                  <a:gd name="T8" fmla="*/ 570 w 570"/>
                  <a:gd name="T9" fmla="*/ 24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0" h="300">
                    <a:moveTo>
                      <a:pt x="0" y="0"/>
                    </a:moveTo>
                    <a:lnTo>
                      <a:pt x="240" y="150"/>
                    </a:lnTo>
                    <a:lnTo>
                      <a:pt x="360" y="90"/>
                    </a:lnTo>
                    <a:lnTo>
                      <a:pt x="450" y="300"/>
                    </a:lnTo>
                    <a:lnTo>
                      <a:pt x="57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5" name="Line 2454">
                <a:extLst>
                  <a:ext uri="{FF2B5EF4-FFF2-40B4-BE49-F238E27FC236}">
                    <a16:creationId xmlns:a16="http://schemas.microsoft.com/office/drawing/2014/main" xmlns="" id="{0BDC0ABA-FB6D-402B-BAAE-498CDFB75C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95" y="90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6" name="Line 2455">
                <a:extLst>
                  <a:ext uri="{FF2B5EF4-FFF2-40B4-BE49-F238E27FC236}">
                    <a16:creationId xmlns:a16="http://schemas.microsoft.com/office/drawing/2014/main" xmlns="" id="{8758586D-C798-4FB9-A631-CBC7419311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05" y="510"/>
                <a:ext cx="90" cy="21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7" name="Freeform 2456">
                <a:extLst>
                  <a:ext uri="{FF2B5EF4-FFF2-40B4-BE49-F238E27FC236}">
                    <a16:creationId xmlns:a16="http://schemas.microsoft.com/office/drawing/2014/main" xmlns="" id="{D3C5BE8C-9E1C-47E0-AB74-2DE1D7A75F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5" y="960"/>
                <a:ext cx="389" cy="300"/>
              </a:xfrm>
              <a:custGeom>
                <a:avLst/>
                <a:gdLst>
                  <a:gd name="T0" fmla="*/ 180 w 389"/>
                  <a:gd name="T1" fmla="*/ 300 h 300"/>
                  <a:gd name="T2" fmla="*/ 389 w 389"/>
                  <a:gd name="T3" fmla="*/ 270 h 300"/>
                  <a:gd name="T4" fmla="*/ 240 w 389"/>
                  <a:gd name="T5" fmla="*/ 150 h 300"/>
                  <a:gd name="T6" fmla="*/ 0 w 389"/>
                  <a:gd name="T7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9" h="300">
                    <a:moveTo>
                      <a:pt x="180" y="300"/>
                    </a:moveTo>
                    <a:lnTo>
                      <a:pt x="389" y="27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8" name="Freeform 2457">
                <a:extLst>
                  <a:ext uri="{FF2B5EF4-FFF2-40B4-BE49-F238E27FC236}">
                    <a16:creationId xmlns:a16="http://schemas.microsoft.com/office/drawing/2014/main" xmlns="" id="{547E6695-D628-4002-8368-E35D0D4B0A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780"/>
                <a:ext cx="389" cy="360"/>
              </a:xfrm>
              <a:custGeom>
                <a:avLst/>
                <a:gdLst>
                  <a:gd name="T0" fmla="*/ 90 w 389"/>
                  <a:gd name="T1" fmla="*/ 330 h 360"/>
                  <a:gd name="T2" fmla="*/ 389 w 389"/>
                  <a:gd name="T3" fmla="*/ 360 h 360"/>
                  <a:gd name="T4" fmla="*/ 359 w 389"/>
                  <a:gd name="T5" fmla="*/ 240 h 360"/>
                  <a:gd name="T6" fmla="*/ 209 w 389"/>
                  <a:gd name="T7" fmla="*/ 270 h 360"/>
                  <a:gd name="T8" fmla="*/ 0 w 389"/>
                  <a:gd name="T9" fmla="*/ 210 h 360"/>
                  <a:gd name="T10" fmla="*/ 269 w 389"/>
                  <a:gd name="T11" fmla="*/ 180 h 360"/>
                  <a:gd name="T12" fmla="*/ 179 w 389"/>
                  <a:gd name="T13" fmla="*/ 30 h 360"/>
                  <a:gd name="T14" fmla="*/ 329 w 389"/>
                  <a:gd name="T15" fmla="*/ 0 h 360"/>
                  <a:gd name="T16" fmla="*/ 120 w 389"/>
                  <a:gd name="T17" fmla="*/ 15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9" h="360">
                    <a:moveTo>
                      <a:pt x="90" y="330"/>
                    </a:moveTo>
                    <a:lnTo>
                      <a:pt x="389" y="360"/>
                    </a:lnTo>
                    <a:lnTo>
                      <a:pt x="359" y="240"/>
                    </a:lnTo>
                    <a:lnTo>
                      <a:pt x="209" y="270"/>
                    </a:lnTo>
                    <a:lnTo>
                      <a:pt x="0" y="210"/>
                    </a:lnTo>
                    <a:lnTo>
                      <a:pt x="269" y="180"/>
                    </a:lnTo>
                    <a:lnTo>
                      <a:pt x="179" y="30"/>
                    </a:lnTo>
                    <a:lnTo>
                      <a:pt x="329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9" name="Line 2458">
                <a:extLst>
                  <a:ext uri="{FF2B5EF4-FFF2-40B4-BE49-F238E27FC236}">
                    <a16:creationId xmlns:a16="http://schemas.microsoft.com/office/drawing/2014/main" xmlns="" id="{43FE14E3-2E67-4ECD-97AE-C4A9E8F6631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14" y="780"/>
                <a:ext cx="30" cy="24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0" name="Freeform 2459">
                <a:extLst>
                  <a:ext uri="{FF2B5EF4-FFF2-40B4-BE49-F238E27FC236}">
                    <a16:creationId xmlns:a16="http://schemas.microsoft.com/office/drawing/2014/main" xmlns="" id="{B90B6BC7-1C66-4DBB-A4C0-E4B67C321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5" y="630"/>
                <a:ext cx="239" cy="30"/>
              </a:xfrm>
              <a:custGeom>
                <a:avLst/>
                <a:gdLst>
                  <a:gd name="T0" fmla="*/ 0 w 239"/>
                  <a:gd name="T1" fmla="*/ 0 h 30"/>
                  <a:gd name="T2" fmla="*/ 119 w 239"/>
                  <a:gd name="T3" fmla="*/ 30 h 30"/>
                  <a:gd name="T4" fmla="*/ 239 w 239"/>
                  <a:gd name="T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30">
                    <a:moveTo>
                      <a:pt x="0" y="0"/>
                    </a:moveTo>
                    <a:lnTo>
                      <a:pt x="119" y="30"/>
                    </a:lnTo>
                    <a:lnTo>
                      <a:pt x="23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1" name="Freeform 2460">
                <a:extLst>
                  <a:ext uri="{FF2B5EF4-FFF2-40B4-BE49-F238E27FC236}">
                    <a16:creationId xmlns:a16="http://schemas.microsoft.com/office/drawing/2014/main" xmlns="" id="{55E51B30-2F75-44DE-B2FD-280F797D22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630"/>
                <a:ext cx="210" cy="510"/>
              </a:xfrm>
              <a:custGeom>
                <a:avLst/>
                <a:gdLst>
                  <a:gd name="T0" fmla="*/ 210 w 210"/>
                  <a:gd name="T1" fmla="*/ 180 h 510"/>
                  <a:gd name="T2" fmla="*/ 0 w 210"/>
                  <a:gd name="T3" fmla="*/ 510 h 510"/>
                  <a:gd name="T4" fmla="*/ 120 w 210"/>
                  <a:gd name="T5" fmla="*/ 480 h 510"/>
                  <a:gd name="T6" fmla="*/ 30 w 210"/>
                  <a:gd name="T7" fmla="*/ 330 h 510"/>
                  <a:gd name="T8" fmla="*/ 120 w 210"/>
                  <a:gd name="T9" fmla="*/ 240 h 510"/>
                  <a:gd name="T10" fmla="*/ 0 w 210"/>
                  <a:gd name="T11" fmla="*/ 180 h 510"/>
                  <a:gd name="T12" fmla="*/ 90 w 210"/>
                  <a:gd name="T13" fmla="*/ 0 h 510"/>
                  <a:gd name="T14" fmla="*/ 210 w 210"/>
                  <a:gd name="T15" fmla="*/ 18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0" h="510">
                    <a:moveTo>
                      <a:pt x="210" y="180"/>
                    </a:moveTo>
                    <a:lnTo>
                      <a:pt x="0" y="510"/>
                    </a:lnTo>
                    <a:lnTo>
                      <a:pt x="120" y="480"/>
                    </a:lnTo>
                    <a:lnTo>
                      <a:pt x="30" y="330"/>
                    </a:lnTo>
                    <a:lnTo>
                      <a:pt x="120" y="240"/>
                    </a:lnTo>
                    <a:lnTo>
                      <a:pt x="0" y="180"/>
                    </a:lnTo>
                    <a:lnTo>
                      <a:pt x="90" y="0"/>
                    </a:lnTo>
                    <a:lnTo>
                      <a:pt x="210" y="18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2" name="Freeform 2461">
                <a:extLst>
                  <a:ext uri="{FF2B5EF4-FFF2-40B4-BE49-F238E27FC236}">
                    <a16:creationId xmlns:a16="http://schemas.microsoft.com/office/drawing/2014/main" xmlns="" id="{6C203705-0D95-4727-9620-DDF5F3972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6" y="570"/>
                <a:ext cx="719" cy="720"/>
              </a:xfrm>
              <a:custGeom>
                <a:avLst/>
                <a:gdLst>
                  <a:gd name="T0" fmla="*/ 119 w 719"/>
                  <a:gd name="T1" fmla="*/ 120 h 720"/>
                  <a:gd name="T2" fmla="*/ 0 w 719"/>
                  <a:gd name="T3" fmla="*/ 30 h 720"/>
                  <a:gd name="T4" fmla="*/ 209 w 719"/>
                  <a:gd name="T5" fmla="*/ 0 h 720"/>
                  <a:gd name="T6" fmla="*/ 299 w 719"/>
                  <a:gd name="T7" fmla="*/ 120 h 720"/>
                  <a:gd name="T8" fmla="*/ 389 w 719"/>
                  <a:gd name="T9" fmla="*/ 0 h 720"/>
                  <a:gd name="T10" fmla="*/ 209 w 719"/>
                  <a:gd name="T11" fmla="*/ 0 h 720"/>
                  <a:gd name="T12" fmla="*/ 209 w 719"/>
                  <a:gd name="T13" fmla="*/ 151 h 720"/>
                  <a:gd name="T14" fmla="*/ 119 w 719"/>
                  <a:gd name="T15" fmla="*/ 120 h 720"/>
                  <a:gd name="T16" fmla="*/ 89 w 719"/>
                  <a:gd name="T17" fmla="*/ 210 h 720"/>
                  <a:gd name="T18" fmla="*/ 89 w 719"/>
                  <a:gd name="T19" fmla="*/ 450 h 720"/>
                  <a:gd name="T20" fmla="*/ 209 w 719"/>
                  <a:gd name="T21" fmla="*/ 360 h 720"/>
                  <a:gd name="T22" fmla="*/ 298 w 719"/>
                  <a:gd name="T23" fmla="*/ 452 h 720"/>
                  <a:gd name="T24" fmla="*/ 269 w 719"/>
                  <a:gd name="T25" fmla="*/ 270 h 720"/>
                  <a:gd name="T26" fmla="*/ 359 w 719"/>
                  <a:gd name="T27" fmla="*/ 210 h 720"/>
                  <a:gd name="T28" fmla="*/ 479 w 719"/>
                  <a:gd name="T29" fmla="*/ 270 h 720"/>
                  <a:gd name="T30" fmla="*/ 359 w 719"/>
                  <a:gd name="T31" fmla="*/ 330 h 720"/>
                  <a:gd name="T32" fmla="*/ 449 w 719"/>
                  <a:gd name="T33" fmla="*/ 390 h 720"/>
                  <a:gd name="T34" fmla="*/ 719 w 719"/>
                  <a:gd name="T35" fmla="*/ 360 h 720"/>
                  <a:gd name="T36" fmla="*/ 599 w 719"/>
                  <a:gd name="T37" fmla="*/ 420 h 720"/>
                  <a:gd name="T38" fmla="*/ 689 w 719"/>
                  <a:gd name="T39" fmla="*/ 720 h 720"/>
                  <a:gd name="T40" fmla="*/ 419 w 719"/>
                  <a:gd name="T41" fmla="*/ 51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9" h="720">
                    <a:moveTo>
                      <a:pt x="119" y="120"/>
                    </a:moveTo>
                    <a:lnTo>
                      <a:pt x="0" y="30"/>
                    </a:lnTo>
                    <a:lnTo>
                      <a:pt x="209" y="0"/>
                    </a:lnTo>
                    <a:lnTo>
                      <a:pt x="299" y="120"/>
                    </a:lnTo>
                    <a:lnTo>
                      <a:pt x="389" y="0"/>
                    </a:lnTo>
                    <a:lnTo>
                      <a:pt x="209" y="0"/>
                    </a:lnTo>
                    <a:lnTo>
                      <a:pt x="209" y="151"/>
                    </a:lnTo>
                    <a:lnTo>
                      <a:pt x="119" y="120"/>
                    </a:lnTo>
                    <a:lnTo>
                      <a:pt x="89" y="210"/>
                    </a:lnTo>
                    <a:lnTo>
                      <a:pt x="89" y="450"/>
                    </a:lnTo>
                    <a:lnTo>
                      <a:pt x="209" y="360"/>
                    </a:lnTo>
                    <a:lnTo>
                      <a:pt x="298" y="452"/>
                    </a:lnTo>
                    <a:lnTo>
                      <a:pt x="269" y="270"/>
                    </a:lnTo>
                    <a:lnTo>
                      <a:pt x="359" y="210"/>
                    </a:lnTo>
                    <a:lnTo>
                      <a:pt x="479" y="270"/>
                    </a:lnTo>
                    <a:lnTo>
                      <a:pt x="359" y="330"/>
                    </a:lnTo>
                    <a:lnTo>
                      <a:pt x="449" y="390"/>
                    </a:lnTo>
                    <a:lnTo>
                      <a:pt x="719" y="360"/>
                    </a:lnTo>
                    <a:lnTo>
                      <a:pt x="599" y="420"/>
                    </a:lnTo>
                    <a:lnTo>
                      <a:pt x="689" y="720"/>
                    </a:lnTo>
                    <a:lnTo>
                      <a:pt x="419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3" name="Freeform 2462">
                <a:extLst>
                  <a:ext uri="{FF2B5EF4-FFF2-40B4-BE49-F238E27FC236}">
                    <a16:creationId xmlns:a16="http://schemas.microsoft.com/office/drawing/2014/main" xmlns="" id="{BD7618C3-9C37-46B1-B4E3-A1E68D632C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660"/>
                <a:ext cx="359" cy="330"/>
              </a:xfrm>
              <a:custGeom>
                <a:avLst/>
                <a:gdLst>
                  <a:gd name="T0" fmla="*/ 300 w 359"/>
                  <a:gd name="T1" fmla="*/ 240 h 330"/>
                  <a:gd name="T2" fmla="*/ 210 w 359"/>
                  <a:gd name="T3" fmla="*/ 330 h 330"/>
                  <a:gd name="T4" fmla="*/ 30 w 359"/>
                  <a:gd name="T5" fmla="*/ 300 h 330"/>
                  <a:gd name="T6" fmla="*/ 0 w 359"/>
                  <a:gd name="T7" fmla="*/ 150 h 330"/>
                  <a:gd name="T8" fmla="*/ 210 w 359"/>
                  <a:gd name="T9" fmla="*/ 0 h 330"/>
                  <a:gd name="T10" fmla="*/ 359 w 359"/>
                  <a:gd name="T11" fmla="*/ 12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9" h="330">
                    <a:moveTo>
                      <a:pt x="300" y="240"/>
                    </a:moveTo>
                    <a:lnTo>
                      <a:pt x="210" y="330"/>
                    </a:lnTo>
                    <a:lnTo>
                      <a:pt x="30" y="300"/>
                    </a:lnTo>
                    <a:lnTo>
                      <a:pt x="0" y="150"/>
                    </a:lnTo>
                    <a:lnTo>
                      <a:pt x="210" y="0"/>
                    </a:lnTo>
                    <a:lnTo>
                      <a:pt x="359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4" name="Freeform 2463">
                <a:extLst>
                  <a:ext uri="{FF2B5EF4-FFF2-40B4-BE49-F238E27FC236}">
                    <a16:creationId xmlns:a16="http://schemas.microsoft.com/office/drawing/2014/main" xmlns="" id="{B16FE604-9235-4727-87F9-759D91ACF5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990"/>
                <a:ext cx="239" cy="120"/>
              </a:xfrm>
              <a:custGeom>
                <a:avLst/>
                <a:gdLst>
                  <a:gd name="T0" fmla="*/ 90 w 239"/>
                  <a:gd name="T1" fmla="*/ 0 h 120"/>
                  <a:gd name="T2" fmla="*/ 0 w 239"/>
                  <a:gd name="T3" fmla="*/ 120 h 120"/>
                  <a:gd name="T4" fmla="*/ 239 w 239"/>
                  <a:gd name="T5" fmla="*/ 3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120">
                    <a:moveTo>
                      <a:pt x="90" y="0"/>
                    </a:moveTo>
                    <a:lnTo>
                      <a:pt x="0" y="120"/>
                    </a:lnTo>
                    <a:lnTo>
                      <a:pt x="23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5" name="Freeform 2464">
                <a:extLst>
                  <a:ext uri="{FF2B5EF4-FFF2-40B4-BE49-F238E27FC236}">
                    <a16:creationId xmlns:a16="http://schemas.microsoft.com/office/drawing/2014/main" xmlns="" id="{612D1B63-B3A0-4658-8F3E-914CBA90DF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170"/>
                <a:ext cx="360" cy="120"/>
              </a:xfrm>
              <a:custGeom>
                <a:avLst/>
                <a:gdLst>
                  <a:gd name="T0" fmla="*/ 360 w 360"/>
                  <a:gd name="T1" fmla="*/ 120 h 120"/>
                  <a:gd name="T2" fmla="*/ 150 w 360"/>
                  <a:gd name="T3" fmla="*/ 30 h 120"/>
                  <a:gd name="T4" fmla="*/ 0 w 360"/>
                  <a:gd name="T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120">
                    <a:moveTo>
                      <a:pt x="360" y="120"/>
                    </a:moveTo>
                    <a:lnTo>
                      <a:pt x="15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6" name="Freeform 2465">
                <a:extLst>
                  <a:ext uri="{FF2B5EF4-FFF2-40B4-BE49-F238E27FC236}">
                    <a16:creationId xmlns:a16="http://schemas.microsoft.com/office/drawing/2014/main" xmlns="" id="{F5644EB5-924F-40F7-894B-2368DAF2D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5" y="930"/>
                <a:ext cx="720" cy="360"/>
              </a:xfrm>
              <a:custGeom>
                <a:avLst/>
                <a:gdLst>
                  <a:gd name="T0" fmla="*/ 510 w 720"/>
                  <a:gd name="T1" fmla="*/ 0 h 360"/>
                  <a:gd name="T2" fmla="*/ 570 w 720"/>
                  <a:gd name="T3" fmla="*/ 300 h 360"/>
                  <a:gd name="T4" fmla="*/ 720 w 720"/>
                  <a:gd name="T5" fmla="*/ 180 h 360"/>
                  <a:gd name="T6" fmla="*/ 480 w 720"/>
                  <a:gd name="T7" fmla="*/ 180 h 360"/>
                  <a:gd name="T8" fmla="*/ 300 w 720"/>
                  <a:gd name="T9" fmla="*/ 360 h 360"/>
                  <a:gd name="T10" fmla="*/ 270 w 720"/>
                  <a:gd name="T11" fmla="*/ 270 h 360"/>
                  <a:gd name="T12" fmla="*/ 120 w 720"/>
                  <a:gd name="T13" fmla="*/ 360 h 360"/>
                  <a:gd name="T14" fmla="*/ 0 w 720"/>
                  <a:gd name="T15" fmla="*/ 301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0" h="360">
                    <a:moveTo>
                      <a:pt x="510" y="0"/>
                    </a:moveTo>
                    <a:lnTo>
                      <a:pt x="570" y="300"/>
                    </a:lnTo>
                    <a:lnTo>
                      <a:pt x="720" y="180"/>
                    </a:lnTo>
                    <a:lnTo>
                      <a:pt x="480" y="180"/>
                    </a:lnTo>
                    <a:lnTo>
                      <a:pt x="300" y="360"/>
                    </a:lnTo>
                    <a:lnTo>
                      <a:pt x="270" y="270"/>
                    </a:lnTo>
                    <a:lnTo>
                      <a:pt x="120" y="360"/>
                    </a:lnTo>
                    <a:lnTo>
                      <a:pt x="0" y="301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7" name="Freeform 2466">
                <a:extLst>
                  <a:ext uri="{FF2B5EF4-FFF2-40B4-BE49-F238E27FC236}">
                    <a16:creationId xmlns:a16="http://schemas.microsoft.com/office/drawing/2014/main" xmlns="" id="{8C92DF9F-924E-42F5-AF42-B258E50E5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1200"/>
                <a:ext cx="150" cy="90"/>
              </a:xfrm>
              <a:custGeom>
                <a:avLst/>
                <a:gdLst>
                  <a:gd name="T0" fmla="*/ 150 w 150"/>
                  <a:gd name="T1" fmla="*/ 0 h 90"/>
                  <a:gd name="T2" fmla="*/ 0 w 150"/>
                  <a:gd name="T3" fmla="*/ 0 h 90"/>
                  <a:gd name="T4" fmla="*/ 120 w 150"/>
                  <a:gd name="T5" fmla="*/ 90 h 90"/>
                  <a:gd name="T6" fmla="*/ 150 w 150"/>
                  <a:gd name="T7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0" h="90">
                    <a:moveTo>
                      <a:pt x="150" y="0"/>
                    </a:moveTo>
                    <a:lnTo>
                      <a:pt x="0" y="0"/>
                    </a:lnTo>
                    <a:lnTo>
                      <a:pt x="120" y="90"/>
                    </a:lnTo>
                    <a:lnTo>
                      <a:pt x="15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8" name="Freeform 2467">
                <a:extLst>
                  <a:ext uri="{FF2B5EF4-FFF2-40B4-BE49-F238E27FC236}">
                    <a16:creationId xmlns:a16="http://schemas.microsoft.com/office/drawing/2014/main" xmlns="" id="{3B105C70-C5B0-462A-AC67-DFAA8804A8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480"/>
                <a:ext cx="390" cy="360"/>
              </a:xfrm>
              <a:custGeom>
                <a:avLst/>
                <a:gdLst>
                  <a:gd name="T0" fmla="*/ 180 w 390"/>
                  <a:gd name="T1" fmla="*/ 360 h 360"/>
                  <a:gd name="T2" fmla="*/ 150 w 390"/>
                  <a:gd name="T3" fmla="*/ 150 h 360"/>
                  <a:gd name="T4" fmla="*/ 30 w 390"/>
                  <a:gd name="T5" fmla="*/ 0 h 360"/>
                  <a:gd name="T6" fmla="*/ 330 w 390"/>
                  <a:gd name="T7" fmla="*/ 120 h 360"/>
                  <a:gd name="T8" fmla="*/ 390 w 390"/>
                  <a:gd name="T9" fmla="*/ 0 h 360"/>
                  <a:gd name="T10" fmla="*/ 210 w 390"/>
                  <a:gd name="T11" fmla="*/ 30 h 360"/>
                  <a:gd name="T12" fmla="*/ 0 w 390"/>
                  <a:gd name="T13" fmla="*/ 180 h 360"/>
                  <a:gd name="T14" fmla="*/ 270 w 390"/>
                  <a:gd name="T15" fmla="*/ 33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0" h="360">
                    <a:moveTo>
                      <a:pt x="180" y="360"/>
                    </a:moveTo>
                    <a:lnTo>
                      <a:pt x="150" y="150"/>
                    </a:lnTo>
                    <a:lnTo>
                      <a:pt x="30" y="0"/>
                    </a:lnTo>
                    <a:lnTo>
                      <a:pt x="330" y="120"/>
                    </a:lnTo>
                    <a:lnTo>
                      <a:pt x="390" y="0"/>
                    </a:lnTo>
                    <a:lnTo>
                      <a:pt x="210" y="30"/>
                    </a:lnTo>
                    <a:lnTo>
                      <a:pt x="0" y="180"/>
                    </a:lnTo>
                    <a:lnTo>
                      <a:pt x="27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9" name="Line 2468">
                <a:extLst>
                  <a:ext uri="{FF2B5EF4-FFF2-40B4-BE49-F238E27FC236}">
                    <a16:creationId xmlns:a16="http://schemas.microsoft.com/office/drawing/2014/main" xmlns="" id="{B7264139-EDBF-4394-B406-77CE40E755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846" y="510"/>
                <a:ext cx="6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0" name="Freeform 2469">
                <a:extLst>
                  <a:ext uri="{FF2B5EF4-FFF2-40B4-BE49-F238E27FC236}">
                    <a16:creationId xmlns:a16="http://schemas.microsoft.com/office/drawing/2014/main" xmlns="" id="{6F30AE07-F97D-4839-A090-FE26085F94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450"/>
                <a:ext cx="239" cy="120"/>
              </a:xfrm>
              <a:custGeom>
                <a:avLst/>
                <a:gdLst>
                  <a:gd name="T0" fmla="*/ 239 w 239"/>
                  <a:gd name="T1" fmla="*/ 0 h 120"/>
                  <a:gd name="T2" fmla="*/ 0 w 239"/>
                  <a:gd name="T3" fmla="*/ 30 h 120"/>
                  <a:gd name="T4" fmla="*/ 149 w 239"/>
                  <a:gd name="T5" fmla="*/ 120 h 120"/>
                  <a:gd name="T6" fmla="*/ 239 w 239"/>
                  <a:gd name="T7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9" h="120">
                    <a:moveTo>
                      <a:pt x="239" y="0"/>
                    </a:moveTo>
                    <a:lnTo>
                      <a:pt x="0" y="30"/>
                    </a:lnTo>
                    <a:lnTo>
                      <a:pt x="149" y="120"/>
                    </a:lnTo>
                    <a:lnTo>
                      <a:pt x="239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1" name="Line 2470">
                <a:extLst>
                  <a:ext uri="{FF2B5EF4-FFF2-40B4-BE49-F238E27FC236}">
                    <a16:creationId xmlns:a16="http://schemas.microsoft.com/office/drawing/2014/main" xmlns="" id="{1E35B2BA-D7F8-4B95-ACE7-9041ACFB5E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25" y="540"/>
                <a:ext cx="18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2" name="Freeform 2471">
                <a:extLst>
                  <a:ext uri="{FF2B5EF4-FFF2-40B4-BE49-F238E27FC236}">
                    <a16:creationId xmlns:a16="http://schemas.microsoft.com/office/drawing/2014/main" xmlns="" id="{937699B8-0284-405C-9E7B-7704F6076B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450"/>
                <a:ext cx="300" cy="330"/>
              </a:xfrm>
              <a:custGeom>
                <a:avLst/>
                <a:gdLst>
                  <a:gd name="T0" fmla="*/ 90 w 300"/>
                  <a:gd name="T1" fmla="*/ 0 h 330"/>
                  <a:gd name="T2" fmla="*/ 180 w 300"/>
                  <a:gd name="T3" fmla="*/ 90 h 330"/>
                  <a:gd name="T4" fmla="*/ 0 w 300"/>
                  <a:gd name="T5" fmla="*/ 90 h 330"/>
                  <a:gd name="T6" fmla="*/ 60 w 300"/>
                  <a:gd name="T7" fmla="*/ 210 h 330"/>
                  <a:gd name="T8" fmla="*/ 180 w 300"/>
                  <a:gd name="T9" fmla="*/ 90 h 330"/>
                  <a:gd name="T10" fmla="*/ 300 w 300"/>
                  <a:gd name="T11" fmla="*/ 240 h 330"/>
                  <a:gd name="T12" fmla="*/ 150 w 300"/>
                  <a:gd name="T13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0" h="330">
                    <a:moveTo>
                      <a:pt x="90" y="0"/>
                    </a:moveTo>
                    <a:lnTo>
                      <a:pt x="180" y="90"/>
                    </a:lnTo>
                    <a:lnTo>
                      <a:pt x="0" y="90"/>
                    </a:lnTo>
                    <a:lnTo>
                      <a:pt x="60" y="210"/>
                    </a:lnTo>
                    <a:lnTo>
                      <a:pt x="180" y="90"/>
                    </a:lnTo>
                    <a:lnTo>
                      <a:pt x="300" y="240"/>
                    </a:lnTo>
                    <a:lnTo>
                      <a:pt x="15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3" name="Freeform 2472">
                <a:extLst>
                  <a:ext uri="{FF2B5EF4-FFF2-40B4-BE49-F238E27FC236}">
                    <a16:creationId xmlns:a16="http://schemas.microsoft.com/office/drawing/2014/main" xmlns="" id="{7B66893D-5ECB-40C0-B698-DBBC02AD78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480"/>
                <a:ext cx="180" cy="90"/>
              </a:xfrm>
              <a:custGeom>
                <a:avLst/>
                <a:gdLst>
                  <a:gd name="T0" fmla="*/ 0 w 180"/>
                  <a:gd name="T1" fmla="*/ 90 h 90"/>
                  <a:gd name="T2" fmla="*/ 90 w 180"/>
                  <a:gd name="T3" fmla="*/ 0 h 90"/>
                  <a:gd name="T4" fmla="*/ 180 w 180"/>
                  <a:gd name="T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90">
                    <a:moveTo>
                      <a:pt x="0" y="90"/>
                    </a:moveTo>
                    <a:lnTo>
                      <a:pt x="90" y="0"/>
                    </a:lnTo>
                    <a:lnTo>
                      <a:pt x="1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4" name="Freeform 2473">
                <a:extLst>
                  <a:ext uri="{FF2B5EF4-FFF2-40B4-BE49-F238E27FC236}">
                    <a16:creationId xmlns:a16="http://schemas.microsoft.com/office/drawing/2014/main" xmlns="" id="{436E07E4-ED01-4251-8726-24822D3A7B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450"/>
                <a:ext cx="269" cy="210"/>
              </a:xfrm>
              <a:custGeom>
                <a:avLst/>
                <a:gdLst>
                  <a:gd name="T0" fmla="*/ 119 w 269"/>
                  <a:gd name="T1" fmla="*/ 60 h 210"/>
                  <a:gd name="T2" fmla="*/ 269 w 269"/>
                  <a:gd name="T3" fmla="*/ 30 h 210"/>
                  <a:gd name="T4" fmla="*/ 149 w 269"/>
                  <a:gd name="T5" fmla="*/ 210 h 210"/>
                  <a:gd name="T6" fmla="*/ 0 w 269"/>
                  <a:gd name="T7" fmla="*/ 0 h 210"/>
                  <a:gd name="T8" fmla="*/ 30 w 269"/>
                  <a:gd name="T9" fmla="*/ 18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9" h="210">
                    <a:moveTo>
                      <a:pt x="119" y="60"/>
                    </a:moveTo>
                    <a:lnTo>
                      <a:pt x="269" y="30"/>
                    </a:lnTo>
                    <a:lnTo>
                      <a:pt x="149" y="210"/>
                    </a:lnTo>
                    <a:lnTo>
                      <a:pt x="0" y="0"/>
                    </a:lnTo>
                    <a:lnTo>
                      <a:pt x="3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5" name="Freeform 2474">
                <a:extLst>
                  <a:ext uri="{FF2B5EF4-FFF2-40B4-BE49-F238E27FC236}">
                    <a16:creationId xmlns:a16="http://schemas.microsoft.com/office/drawing/2014/main" xmlns="" id="{AD16E3E4-9F4F-4448-8609-8B3F57A20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1530"/>
                <a:ext cx="180" cy="390"/>
              </a:xfrm>
              <a:custGeom>
                <a:avLst/>
                <a:gdLst>
                  <a:gd name="T0" fmla="*/ 0 w 216"/>
                  <a:gd name="T1" fmla="*/ 468 h 468"/>
                  <a:gd name="T2" fmla="*/ 216 w 216"/>
                  <a:gd name="T3" fmla="*/ 0 h 468"/>
                  <a:gd name="T4" fmla="*/ 36 w 216"/>
                  <a:gd name="T5" fmla="*/ 7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" h="468">
                    <a:moveTo>
                      <a:pt x="0" y="468"/>
                    </a:moveTo>
                    <a:cubicBezTo>
                      <a:pt x="0" y="432"/>
                      <a:pt x="216" y="0"/>
                      <a:pt x="216" y="0"/>
                    </a:cubicBezTo>
                    <a:cubicBezTo>
                      <a:pt x="36" y="72"/>
                      <a:pt x="36" y="72"/>
                      <a:pt x="36" y="72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6" name="Freeform 2475">
                <a:extLst>
                  <a:ext uri="{FF2B5EF4-FFF2-40B4-BE49-F238E27FC236}">
                    <a16:creationId xmlns:a16="http://schemas.microsoft.com/office/drawing/2014/main" xmlns="" id="{09F4CC8A-09C6-4525-B73B-256F23FBB8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" y="1470"/>
                <a:ext cx="179" cy="210"/>
              </a:xfrm>
              <a:custGeom>
                <a:avLst/>
                <a:gdLst>
                  <a:gd name="T0" fmla="*/ 0 w 179"/>
                  <a:gd name="T1" fmla="*/ 210 h 210"/>
                  <a:gd name="T2" fmla="*/ 120 w 179"/>
                  <a:gd name="T3" fmla="*/ 0 h 210"/>
                  <a:gd name="T4" fmla="*/ 179 w 179"/>
                  <a:gd name="T5" fmla="*/ 150 h 210"/>
                  <a:gd name="T6" fmla="*/ 0 w 179"/>
                  <a:gd name="T7" fmla="*/ 210 h 210"/>
                  <a:gd name="T8" fmla="*/ 0 w 179"/>
                  <a:gd name="T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210">
                    <a:moveTo>
                      <a:pt x="0" y="210"/>
                    </a:moveTo>
                    <a:lnTo>
                      <a:pt x="120" y="0"/>
                    </a:lnTo>
                    <a:lnTo>
                      <a:pt x="179" y="150"/>
                    </a:lnTo>
                    <a:lnTo>
                      <a:pt x="0" y="21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7" name="Freeform 2476">
                <a:extLst>
                  <a:ext uri="{FF2B5EF4-FFF2-40B4-BE49-F238E27FC236}">
                    <a16:creationId xmlns:a16="http://schemas.microsoft.com/office/drawing/2014/main" xmlns="" id="{B5FEF867-BBE3-41BF-82B2-6EA92B493C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1740"/>
                <a:ext cx="479" cy="270"/>
              </a:xfrm>
              <a:custGeom>
                <a:avLst/>
                <a:gdLst>
                  <a:gd name="T0" fmla="*/ 0 w 479"/>
                  <a:gd name="T1" fmla="*/ 90 h 270"/>
                  <a:gd name="T2" fmla="*/ 180 w 479"/>
                  <a:gd name="T3" fmla="*/ 30 h 270"/>
                  <a:gd name="T4" fmla="*/ 299 w 479"/>
                  <a:gd name="T5" fmla="*/ 150 h 270"/>
                  <a:gd name="T6" fmla="*/ 210 w 479"/>
                  <a:gd name="T7" fmla="*/ 270 h 270"/>
                  <a:gd name="T8" fmla="*/ 30 w 479"/>
                  <a:gd name="T9" fmla="*/ 270 h 270"/>
                  <a:gd name="T10" fmla="*/ 0 w 479"/>
                  <a:gd name="T11" fmla="*/ 90 h 270"/>
                  <a:gd name="T12" fmla="*/ 150 w 479"/>
                  <a:gd name="T13" fmla="*/ 150 h 270"/>
                  <a:gd name="T14" fmla="*/ 299 w 479"/>
                  <a:gd name="T15" fmla="*/ 0 h 270"/>
                  <a:gd name="T16" fmla="*/ 479 w 479"/>
                  <a:gd name="T17" fmla="*/ 210 h 270"/>
                  <a:gd name="T18" fmla="*/ 419 w 479"/>
                  <a:gd name="T19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9" h="270">
                    <a:moveTo>
                      <a:pt x="0" y="90"/>
                    </a:moveTo>
                    <a:lnTo>
                      <a:pt x="180" y="30"/>
                    </a:lnTo>
                    <a:lnTo>
                      <a:pt x="299" y="150"/>
                    </a:lnTo>
                    <a:lnTo>
                      <a:pt x="210" y="270"/>
                    </a:lnTo>
                    <a:lnTo>
                      <a:pt x="30" y="270"/>
                    </a:lnTo>
                    <a:lnTo>
                      <a:pt x="0" y="90"/>
                    </a:lnTo>
                    <a:lnTo>
                      <a:pt x="150" y="150"/>
                    </a:lnTo>
                    <a:lnTo>
                      <a:pt x="299" y="0"/>
                    </a:lnTo>
                    <a:lnTo>
                      <a:pt x="479" y="210"/>
                    </a:lnTo>
                    <a:lnTo>
                      <a:pt x="41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8" name="Freeform 2477">
                <a:extLst>
                  <a:ext uri="{FF2B5EF4-FFF2-40B4-BE49-F238E27FC236}">
                    <a16:creationId xmlns:a16="http://schemas.microsoft.com/office/drawing/2014/main" xmlns="" id="{C4D9D6AE-FC18-46E9-8BF5-61AE849F0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6" y="1740"/>
                <a:ext cx="149" cy="150"/>
              </a:xfrm>
              <a:custGeom>
                <a:avLst/>
                <a:gdLst>
                  <a:gd name="T0" fmla="*/ 0 w 149"/>
                  <a:gd name="T1" fmla="*/ 150 h 150"/>
                  <a:gd name="T2" fmla="*/ 30 w 149"/>
                  <a:gd name="T3" fmla="*/ 30 h 150"/>
                  <a:gd name="T4" fmla="*/ 149 w 149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150"/>
                    </a:moveTo>
                    <a:lnTo>
                      <a:pt x="30" y="30"/>
                    </a:lnTo>
                    <a:lnTo>
                      <a:pt x="14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9" name="Freeform 2478">
                <a:extLst>
                  <a:ext uri="{FF2B5EF4-FFF2-40B4-BE49-F238E27FC236}">
                    <a16:creationId xmlns:a16="http://schemas.microsoft.com/office/drawing/2014/main" xmlns="" id="{234DC8D1-F4E2-423B-8A58-EDC6BFD7AD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530"/>
                <a:ext cx="180" cy="390"/>
              </a:xfrm>
              <a:custGeom>
                <a:avLst/>
                <a:gdLst>
                  <a:gd name="T0" fmla="*/ 0 w 216"/>
                  <a:gd name="T1" fmla="*/ 468 h 468"/>
                  <a:gd name="T2" fmla="*/ 216 w 216"/>
                  <a:gd name="T3" fmla="*/ 0 h 468"/>
                  <a:gd name="T4" fmla="*/ 36 w 216"/>
                  <a:gd name="T5" fmla="*/ 7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" h="468">
                    <a:moveTo>
                      <a:pt x="0" y="468"/>
                    </a:moveTo>
                    <a:cubicBezTo>
                      <a:pt x="0" y="432"/>
                      <a:pt x="216" y="0"/>
                      <a:pt x="216" y="0"/>
                    </a:cubicBezTo>
                    <a:cubicBezTo>
                      <a:pt x="36" y="72"/>
                      <a:pt x="36" y="72"/>
                      <a:pt x="36" y="72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0" name="Freeform 2479">
                <a:extLst>
                  <a:ext uri="{FF2B5EF4-FFF2-40B4-BE49-F238E27FC236}">
                    <a16:creationId xmlns:a16="http://schemas.microsoft.com/office/drawing/2014/main" xmlns="" id="{6AB3E43C-CAA1-4681-A538-065FAA506D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290"/>
                <a:ext cx="300" cy="540"/>
              </a:xfrm>
              <a:custGeom>
                <a:avLst/>
                <a:gdLst>
                  <a:gd name="T0" fmla="*/ 0 w 300"/>
                  <a:gd name="T1" fmla="*/ 390 h 540"/>
                  <a:gd name="T2" fmla="*/ 180 w 300"/>
                  <a:gd name="T3" fmla="*/ 240 h 540"/>
                  <a:gd name="T4" fmla="*/ 0 w 300"/>
                  <a:gd name="T5" fmla="*/ 150 h 540"/>
                  <a:gd name="T6" fmla="*/ 120 w 300"/>
                  <a:gd name="T7" fmla="*/ 120 h 540"/>
                  <a:gd name="T8" fmla="*/ 300 w 300"/>
                  <a:gd name="T9" fmla="*/ 180 h 540"/>
                  <a:gd name="T10" fmla="*/ 270 w 300"/>
                  <a:gd name="T11" fmla="*/ 30 h 540"/>
                  <a:gd name="T12" fmla="*/ 120 w 300"/>
                  <a:gd name="T13" fmla="*/ 120 h 540"/>
                  <a:gd name="T14" fmla="*/ 30 w 300"/>
                  <a:gd name="T15" fmla="*/ 0 h 540"/>
                  <a:gd name="T16" fmla="*/ 0 w 300"/>
                  <a:gd name="T17" fmla="*/ 150 h 540"/>
                  <a:gd name="T18" fmla="*/ 30 w 300"/>
                  <a:gd name="T19" fmla="*/ 300 h 540"/>
                  <a:gd name="T20" fmla="*/ 0 w 300"/>
                  <a:gd name="T21" fmla="*/ 390 h 540"/>
                  <a:gd name="T22" fmla="*/ 120 w 300"/>
                  <a:gd name="T23" fmla="*/ 54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00" h="540">
                    <a:moveTo>
                      <a:pt x="0" y="390"/>
                    </a:moveTo>
                    <a:lnTo>
                      <a:pt x="180" y="240"/>
                    </a:lnTo>
                    <a:lnTo>
                      <a:pt x="0" y="150"/>
                    </a:lnTo>
                    <a:lnTo>
                      <a:pt x="120" y="120"/>
                    </a:lnTo>
                    <a:lnTo>
                      <a:pt x="300" y="180"/>
                    </a:lnTo>
                    <a:lnTo>
                      <a:pt x="270" y="30"/>
                    </a:lnTo>
                    <a:lnTo>
                      <a:pt x="120" y="120"/>
                    </a:lnTo>
                    <a:lnTo>
                      <a:pt x="30" y="0"/>
                    </a:lnTo>
                    <a:lnTo>
                      <a:pt x="0" y="150"/>
                    </a:lnTo>
                    <a:lnTo>
                      <a:pt x="30" y="300"/>
                    </a:lnTo>
                    <a:lnTo>
                      <a:pt x="0" y="390"/>
                    </a:lnTo>
                    <a:lnTo>
                      <a:pt x="12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1" name="Freeform 2480">
                <a:extLst>
                  <a:ext uri="{FF2B5EF4-FFF2-40B4-BE49-F238E27FC236}">
                    <a16:creationId xmlns:a16="http://schemas.microsoft.com/office/drawing/2014/main" xmlns="" id="{5C3CD6F2-A262-4CFA-9F87-FD26EA0694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1470"/>
                <a:ext cx="179" cy="210"/>
              </a:xfrm>
              <a:custGeom>
                <a:avLst/>
                <a:gdLst>
                  <a:gd name="T0" fmla="*/ 0 w 179"/>
                  <a:gd name="T1" fmla="*/ 210 h 210"/>
                  <a:gd name="T2" fmla="*/ 120 w 179"/>
                  <a:gd name="T3" fmla="*/ 0 h 210"/>
                  <a:gd name="T4" fmla="*/ 179 w 179"/>
                  <a:gd name="T5" fmla="*/ 150 h 210"/>
                  <a:gd name="T6" fmla="*/ 0 w 179"/>
                  <a:gd name="T7" fmla="*/ 210 h 210"/>
                  <a:gd name="T8" fmla="*/ 0 w 179"/>
                  <a:gd name="T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210">
                    <a:moveTo>
                      <a:pt x="0" y="210"/>
                    </a:moveTo>
                    <a:lnTo>
                      <a:pt x="120" y="0"/>
                    </a:lnTo>
                    <a:lnTo>
                      <a:pt x="179" y="150"/>
                    </a:lnTo>
                    <a:lnTo>
                      <a:pt x="0" y="21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2" name="Freeform 2481">
                <a:extLst>
                  <a:ext uri="{FF2B5EF4-FFF2-40B4-BE49-F238E27FC236}">
                    <a16:creationId xmlns:a16="http://schemas.microsoft.com/office/drawing/2014/main" xmlns="" id="{A1800979-E0E2-4522-ACEF-170FDF76F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320"/>
                <a:ext cx="599" cy="750"/>
              </a:xfrm>
              <a:custGeom>
                <a:avLst/>
                <a:gdLst>
                  <a:gd name="T0" fmla="*/ 300 w 599"/>
                  <a:gd name="T1" fmla="*/ 150 h 750"/>
                  <a:gd name="T2" fmla="*/ 479 w 599"/>
                  <a:gd name="T3" fmla="*/ 210 h 750"/>
                  <a:gd name="T4" fmla="*/ 479 w 599"/>
                  <a:gd name="T5" fmla="*/ 60 h 750"/>
                  <a:gd name="T6" fmla="*/ 359 w 599"/>
                  <a:gd name="T7" fmla="*/ 300 h 750"/>
                  <a:gd name="T8" fmla="*/ 419 w 599"/>
                  <a:gd name="T9" fmla="*/ 420 h 750"/>
                  <a:gd name="T10" fmla="*/ 539 w 599"/>
                  <a:gd name="T11" fmla="*/ 480 h 750"/>
                  <a:gd name="T12" fmla="*/ 479 w 599"/>
                  <a:gd name="T13" fmla="*/ 210 h 750"/>
                  <a:gd name="T14" fmla="*/ 419 w 599"/>
                  <a:gd name="T15" fmla="*/ 420 h 750"/>
                  <a:gd name="T16" fmla="*/ 419 w 599"/>
                  <a:gd name="T17" fmla="*/ 570 h 750"/>
                  <a:gd name="T18" fmla="*/ 599 w 599"/>
                  <a:gd name="T19" fmla="*/ 630 h 750"/>
                  <a:gd name="T20" fmla="*/ 300 w 599"/>
                  <a:gd name="T21" fmla="*/ 660 h 750"/>
                  <a:gd name="T22" fmla="*/ 270 w 599"/>
                  <a:gd name="T23" fmla="*/ 570 h 750"/>
                  <a:gd name="T24" fmla="*/ 210 w 599"/>
                  <a:gd name="T25" fmla="*/ 750 h 750"/>
                  <a:gd name="T26" fmla="*/ 0 w 599"/>
                  <a:gd name="T27" fmla="*/ 600 h 750"/>
                  <a:gd name="T28" fmla="*/ 120 w 599"/>
                  <a:gd name="T29" fmla="*/ 510 h 750"/>
                  <a:gd name="T30" fmla="*/ 180 w 599"/>
                  <a:gd name="T31" fmla="*/ 360 h 750"/>
                  <a:gd name="T32" fmla="*/ 300 w 599"/>
                  <a:gd name="T33" fmla="*/ 450 h 750"/>
                  <a:gd name="T34" fmla="*/ 359 w 599"/>
                  <a:gd name="T35" fmla="*/ 300 h 750"/>
                  <a:gd name="T36" fmla="*/ 180 w 599"/>
                  <a:gd name="T37" fmla="*/ 210 h 750"/>
                  <a:gd name="T38" fmla="*/ 300 w 599"/>
                  <a:gd name="T39" fmla="*/ 150 h 750"/>
                  <a:gd name="T40" fmla="*/ 389 w 599"/>
                  <a:gd name="T41" fmla="*/ 90 h 750"/>
                  <a:gd name="T42" fmla="*/ 270 w 599"/>
                  <a:gd name="T43" fmla="*/ 0 h 750"/>
                  <a:gd name="T44" fmla="*/ 479 w 599"/>
                  <a:gd name="T45" fmla="*/ 6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99" h="750">
                    <a:moveTo>
                      <a:pt x="300" y="150"/>
                    </a:moveTo>
                    <a:lnTo>
                      <a:pt x="479" y="210"/>
                    </a:lnTo>
                    <a:lnTo>
                      <a:pt x="479" y="60"/>
                    </a:lnTo>
                    <a:lnTo>
                      <a:pt x="359" y="300"/>
                    </a:lnTo>
                    <a:lnTo>
                      <a:pt x="419" y="420"/>
                    </a:lnTo>
                    <a:lnTo>
                      <a:pt x="539" y="480"/>
                    </a:lnTo>
                    <a:lnTo>
                      <a:pt x="479" y="210"/>
                    </a:lnTo>
                    <a:lnTo>
                      <a:pt x="419" y="420"/>
                    </a:lnTo>
                    <a:lnTo>
                      <a:pt x="419" y="570"/>
                    </a:lnTo>
                    <a:lnTo>
                      <a:pt x="599" y="630"/>
                    </a:lnTo>
                    <a:lnTo>
                      <a:pt x="300" y="660"/>
                    </a:lnTo>
                    <a:lnTo>
                      <a:pt x="270" y="570"/>
                    </a:lnTo>
                    <a:lnTo>
                      <a:pt x="210" y="750"/>
                    </a:lnTo>
                    <a:lnTo>
                      <a:pt x="0" y="600"/>
                    </a:lnTo>
                    <a:lnTo>
                      <a:pt x="120" y="510"/>
                    </a:lnTo>
                    <a:lnTo>
                      <a:pt x="180" y="360"/>
                    </a:lnTo>
                    <a:lnTo>
                      <a:pt x="300" y="450"/>
                    </a:lnTo>
                    <a:lnTo>
                      <a:pt x="359" y="300"/>
                    </a:lnTo>
                    <a:lnTo>
                      <a:pt x="180" y="210"/>
                    </a:lnTo>
                    <a:lnTo>
                      <a:pt x="300" y="150"/>
                    </a:lnTo>
                    <a:lnTo>
                      <a:pt x="389" y="90"/>
                    </a:lnTo>
                    <a:lnTo>
                      <a:pt x="270" y="0"/>
                    </a:lnTo>
                    <a:lnTo>
                      <a:pt x="47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3" name="Freeform 2482">
                <a:extLst>
                  <a:ext uri="{FF2B5EF4-FFF2-40B4-BE49-F238E27FC236}">
                    <a16:creationId xmlns:a16="http://schemas.microsoft.com/office/drawing/2014/main" xmlns="" id="{FDB5CEE2-CFA7-46C2-B09A-68E9275E91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" y="1770"/>
                <a:ext cx="299" cy="210"/>
              </a:xfrm>
              <a:custGeom>
                <a:avLst/>
                <a:gdLst>
                  <a:gd name="T0" fmla="*/ 0 w 299"/>
                  <a:gd name="T1" fmla="*/ 60 h 210"/>
                  <a:gd name="T2" fmla="*/ 180 w 299"/>
                  <a:gd name="T3" fmla="*/ 0 h 210"/>
                  <a:gd name="T4" fmla="*/ 299 w 299"/>
                  <a:gd name="T5" fmla="*/ 120 h 210"/>
                  <a:gd name="T6" fmla="*/ 180 w 299"/>
                  <a:gd name="T7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9" h="210">
                    <a:moveTo>
                      <a:pt x="0" y="60"/>
                    </a:moveTo>
                    <a:lnTo>
                      <a:pt x="180" y="0"/>
                    </a:lnTo>
                    <a:lnTo>
                      <a:pt x="299" y="120"/>
                    </a:lnTo>
                    <a:lnTo>
                      <a:pt x="18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4" name="Freeform 2483">
                <a:extLst>
                  <a:ext uri="{FF2B5EF4-FFF2-40B4-BE49-F238E27FC236}">
                    <a16:creationId xmlns:a16="http://schemas.microsoft.com/office/drawing/2014/main" xmlns="" id="{BED12907-96DD-4899-A874-84764769C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1740"/>
                <a:ext cx="149" cy="150"/>
              </a:xfrm>
              <a:custGeom>
                <a:avLst/>
                <a:gdLst>
                  <a:gd name="T0" fmla="*/ 0 w 149"/>
                  <a:gd name="T1" fmla="*/ 150 h 150"/>
                  <a:gd name="T2" fmla="*/ 30 w 149"/>
                  <a:gd name="T3" fmla="*/ 30 h 150"/>
                  <a:gd name="T4" fmla="*/ 149 w 149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150"/>
                    </a:moveTo>
                    <a:lnTo>
                      <a:pt x="30" y="30"/>
                    </a:lnTo>
                    <a:lnTo>
                      <a:pt x="14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5" name="Line 2484">
                <a:extLst>
                  <a:ext uri="{FF2B5EF4-FFF2-40B4-BE49-F238E27FC236}">
                    <a16:creationId xmlns:a16="http://schemas.microsoft.com/office/drawing/2014/main" xmlns="" id="{51A0CA5D-B038-481A-9808-152286CEEF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786" y="1233"/>
                <a:ext cx="181" cy="57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6" name="Line 2485">
                <a:extLst>
                  <a:ext uri="{FF2B5EF4-FFF2-40B4-BE49-F238E27FC236}">
                    <a16:creationId xmlns:a16="http://schemas.microsoft.com/office/drawing/2014/main" xmlns="" id="{4896A9F5-6CA1-4864-A3F7-9A61F2441B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936" y="1233"/>
                <a:ext cx="31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7" name="Freeform 2486">
                <a:extLst>
                  <a:ext uri="{FF2B5EF4-FFF2-40B4-BE49-F238E27FC236}">
                    <a16:creationId xmlns:a16="http://schemas.microsoft.com/office/drawing/2014/main" xmlns="" id="{F64ECFFD-D15C-4AB6-9C2F-137E4FC9A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5" y="1231"/>
                <a:ext cx="210" cy="302"/>
              </a:xfrm>
              <a:custGeom>
                <a:avLst/>
                <a:gdLst>
                  <a:gd name="T0" fmla="*/ 0 w 210"/>
                  <a:gd name="T1" fmla="*/ 0 h 302"/>
                  <a:gd name="T2" fmla="*/ 180 w 210"/>
                  <a:gd name="T3" fmla="*/ 269 h 302"/>
                  <a:gd name="T4" fmla="*/ 2 w 210"/>
                  <a:gd name="T5" fmla="*/ 302 h 302"/>
                  <a:gd name="T6" fmla="*/ 210 w 210"/>
                  <a:gd name="T7" fmla="*/ 179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0" h="302">
                    <a:moveTo>
                      <a:pt x="0" y="0"/>
                    </a:moveTo>
                    <a:lnTo>
                      <a:pt x="180" y="269"/>
                    </a:lnTo>
                    <a:lnTo>
                      <a:pt x="2" y="302"/>
                    </a:lnTo>
                    <a:lnTo>
                      <a:pt x="210" y="17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8" name="Line 2487">
                <a:extLst>
                  <a:ext uri="{FF2B5EF4-FFF2-40B4-BE49-F238E27FC236}">
                    <a16:creationId xmlns:a16="http://schemas.microsoft.com/office/drawing/2014/main" xmlns="" id="{1B0F1571-3CCD-4A6B-819A-6D42D7AE2B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35" y="1380"/>
                <a:ext cx="21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9" name="Freeform 2488">
                <a:extLst>
                  <a:ext uri="{FF2B5EF4-FFF2-40B4-BE49-F238E27FC236}">
                    <a16:creationId xmlns:a16="http://schemas.microsoft.com/office/drawing/2014/main" xmlns="" id="{40125F09-49A9-45F0-B31A-1F483C140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1140"/>
                <a:ext cx="599" cy="870"/>
              </a:xfrm>
              <a:custGeom>
                <a:avLst/>
                <a:gdLst>
                  <a:gd name="T0" fmla="*/ 300 w 599"/>
                  <a:gd name="T1" fmla="*/ 0 h 870"/>
                  <a:gd name="T2" fmla="*/ 479 w 599"/>
                  <a:gd name="T3" fmla="*/ 91 h 870"/>
                  <a:gd name="T4" fmla="*/ 300 w 599"/>
                  <a:gd name="T5" fmla="*/ 330 h 870"/>
                  <a:gd name="T6" fmla="*/ 479 w 599"/>
                  <a:gd name="T7" fmla="*/ 390 h 870"/>
                  <a:gd name="T8" fmla="*/ 479 w 599"/>
                  <a:gd name="T9" fmla="*/ 240 h 870"/>
                  <a:gd name="T10" fmla="*/ 359 w 599"/>
                  <a:gd name="T11" fmla="*/ 480 h 870"/>
                  <a:gd name="T12" fmla="*/ 419 w 599"/>
                  <a:gd name="T13" fmla="*/ 600 h 870"/>
                  <a:gd name="T14" fmla="*/ 539 w 599"/>
                  <a:gd name="T15" fmla="*/ 660 h 870"/>
                  <a:gd name="T16" fmla="*/ 479 w 599"/>
                  <a:gd name="T17" fmla="*/ 390 h 870"/>
                  <a:gd name="T18" fmla="*/ 419 w 599"/>
                  <a:gd name="T19" fmla="*/ 600 h 870"/>
                  <a:gd name="T20" fmla="*/ 419 w 599"/>
                  <a:gd name="T21" fmla="*/ 750 h 870"/>
                  <a:gd name="T22" fmla="*/ 599 w 599"/>
                  <a:gd name="T23" fmla="*/ 810 h 870"/>
                  <a:gd name="T24" fmla="*/ 330 w 599"/>
                  <a:gd name="T25" fmla="*/ 870 h 870"/>
                  <a:gd name="T26" fmla="*/ 270 w 599"/>
                  <a:gd name="T27" fmla="*/ 750 h 870"/>
                  <a:gd name="T28" fmla="*/ 150 w 599"/>
                  <a:gd name="T29" fmla="*/ 870 h 870"/>
                  <a:gd name="T30" fmla="*/ 0 w 599"/>
                  <a:gd name="T31" fmla="*/ 780 h 870"/>
                  <a:gd name="T32" fmla="*/ 120 w 599"/>
                  <a:gd name="T33" fmla="*/ 690 h 870"/>
                  <a:gd name="T34" fmla="*/ 180 w 599"/>
                  <a:gd name="T35" fmla="*/ 540 h 870"/>
                  <a:gd name="T36" fmla="*/ 300 w 599"/>
                  <a:gd name="T37" fmla="*/ 630 h 870"/>
                  <a:gd name="T38" fmla="*/ 359 w 599"/>
                  <a:gd name="T39" fmla="*/ 480 h 870"/>
                  <a:gd name="T40" fmla="*/ 180 w 599"/>
                  <a:gd name="T41" fmla="*/ 390 h 870"/>
                  <a:gd name="T42" fmla="*/ 300 w 599"/>
                  <a:gd name="T43" fmla="*/ 330 h 870"/>
                  <a:gd name="T44" fmla="*/ 389 w 599"/>
                  <a:gd name="T45" fmla="*/ 270 h 870"/>
                  <a:gd name="T46" fmla="*/ 270 w 599"/>
                  <a:gd name="T47" fmla="*/ 180 h 870"/>
                  <a:gd name="T48" fmla="*/ 479 w 599"/>
                  <a:gd name="T49" fmla="*/ 240 h 870"/>
                  <a:gd name="T50" fmla="*/ 479 w 599"/>
                  <a:gd name="T51" fmla="*/ 90 h 870"/>
                  <a:gd name="T52" fmla="*/ 210 w 599"/>
                  <a:gd name="T53" fmla="*/ 90 h 8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99" h="870">
                    <a:moveTo>
                      <a:pt x="300" y="0"/>
                    </a:moveTo>
                    <a:lnTo>
                      <a:pt x="479" y="91"/>
                    </a:lnTo>
                    <a:lnTo>
                      <a:pt x="300" y="330"/>
                    </a:lnTo>
                    <a:lnTo>
                      <a:pt x="479" y="390"/>
                    </a:lnTo>
                    <a:lnTo>
                      <a:pt x="479" y="240"/>
                    </a:lnTo>
                    <a:lnTo>
                      <a:pt x="359" y="480"/>
                    </a:lnTo>
                    <a:lnTo>
                      <a:pt x="419" y="600"/>
                    </a:lnTo>
                    <a:lnTo>
                      <a:pt x="539" y="660"/>
                    </a:lnTo>
                    <a:lnTo>
                      <a:pt x="479" y="390"/>
                    </a:lnTo>
                    <a:lnTo>
                      <a:pt x="419" y="600"/>
                    </a:lnTo>
                    <a:lnTo>
                      <a:pt x="419" y="750"/>
                    </a:lnTo>
                    <a:lnTo>
                      <a:pt x="599" y="810"/>
                    </a:lnTo>
                    <a:lnTo>
                      <a:pt x="330" y="870"/>
                    </a:lnTo>
                    <a:lnTo>
                      <a:pt x="270" y="750"/>
                    </a:lnTo>
                    <a:lnTo>
                      <a:pt x="150" y="870"/>
                    </a:lnTo>
                    <a:lnTo>
                      <a:pt x="0" y="780"/>
                    </a:lnTo>
                    <a:lnTo>
                      <a:pt x="120" y="690"/>
                    </a:lnTo>
                    <a:lnTo>
                      <a:pt x="180" y="540"/>
                    </a:lnTo>
                    <a:lnTo>
                      <a:pt x="300" y="630"/>
                    </a:lnTo>
                    <a:lnTo>
                      <a:pt x="359" y="480"/>
                    </a:lnTo>
                    <a:lnTo>
                      <a:pt x="180" y="390"/>
                    </a:lnTo>
                    <a:lnTo>
                      <a:pt x="300" y="330"/>
                    </a:lnTo>
                    <a:lnTo>
                      <a:pt x="389" y="270"/>
                    </a:lnTo>
                    <a:lnTo>
                      <a:pt x="270" y="180"/>
                    </a:lnTo>
                    <a:lnTo>
                      <a:pt x="479" y="240"/>
                    </a:lnTo>
                    <a:lnTo>
                      <a:pt x="479" y="90"/>
                    </a:lnTo>
                    <a:lnTo>
                      <a:pt x="21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0" name="Line 2489">
                <a:extLst>
                  <a:ext uri="{FF2B5EF4-FFF2-40B4-BE49-F238E27FC236}">
                    <a16:creationId xmlns:a16="http://schemas.microsoft.com/office/drawing/2014/main" xmlns="" id="{F988E886-021C-415A-A371-14F2459FD6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026" y="1110"/>
                <a:ext cx="209" cy="21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1" name="Freeform 2490">
                <a:extLst>
                  <a:ext uri="{FF2B5EF4-FFF2-40B4-BE49-F238E27FC236}">
                    <a16:creationId xmlns:a16="http://schemas.microsoft.com/office/drawing/2014/main" xmlns="" id="{892D0493-1FC9-48C7-92AC-5589A98A0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290"/>
                <a:ext cx="780" cy="1080"/>
              </a:xfrm>
              <a:custGeom>
                <a:avLst/>
                <a:gdLst>
                  <a:gd name="T0" fmla="*/ 630 w 780"/>
                  <a:gd name="T1" fmla="*/ 1080 h 1080"/>
                  <a:gd name="T2" fmla="*/ 600 w 780"/>
                  <a:gd name="T3" fmla="*/ 870 h 1080"/>
                  <a:gd name="T4" fmla="*/ 480 w 780"/>
                  <a:gd name="T5" fmla="*/ 630 h 1080"/>
                  <a:gd name="T6" fmla="*/ 390 w 780"/>
                  <a:gd name="T7" fmla="*/ 720 h 1080"/>
                  <a:gd name="T8" fmla="*/ 270 w 780"/>
                  <a:gd name="T9" fmla="*/ 870 h 1080"/>
                  <a:gd name="T10" fmla="*/ 180 w 780"/>
                  <a:gd name="T11" fmla="*/ 750 h 1080"/>
                  <a:gd name="T12" fmla="*/ 210 w 780"/>
                  <a:gd name="T13" fmla="*/ 600 h 1080"/>
                  <a:gd name="T14" fmla="*/ 90 w 780"/>
                  <a:gd name="T15" fmla="*/ 660 h 1080"/>
                  <a:gd name="T16" fmla="*/ 0 w 780"/>
                  <a:gd name="T17" fmla="*/ 870 h 1080"/>
                  <a:gd name="T18" fmla="*/ 60 w 780"/>
                  <a:gd name="T19" fmla="*/ 510 h 1080"/>
                  <a:gd name="T20" fmla="*/ 0 w 780"/>
                  <a:gd name="T21" fmla="*/ 420 h 1080"/>
                  <a:gd name="T22" fmla="*/ 120 w 780"/>
                  <a:gd name="T23" fmla="*/ 330 h 1080"/>
                  <a:gd name="T24" fmla="*/ 300 w 780"/>
                  <a:gd name="T25" fmla="*/ 390 h 1080"/>
                  <a:gd name="T26" fmla="*/ 330 w 780"/>
                  <a:gd name="T27" fmla="*/ 510 h 1080"/>
                  <a:gd name="T28" fmla="*/ 480 w 780"/>
                  <a:gd name="T29" fmla="*/ 390 h 1080"/>
                  <a:gd name="T30" fmla="*/ 660 w 780"/>
                  <a:gd name="T31" fmla="*/ 240 h 1080"/>
                  <a:gd name="T32" fmla="*/ 480 w 780"/>
                  <a:gd name="T33" fmla="*/ 150 h 1080"/>
                  <a:gd name="T34" fmla="*/ 600 w 780"/>
                  <a:gd name="T35" fmla="*/ 120 h 1080"/>
                  <a:gd name="T36" fmla="*/ 780 w 780"/>
                  <a:gd name="T37" fmla="*/ 180 h 1080"/>
                  <a:gd name="T38" fmla="*/ 750 w 780"/>
                  <a:gd name="T39" fmla="*/ 30 h 1080"/>
                  <a:gd name="T40" fmla="*/ 600 w 780"/>
                  <a:gd name="T41" fmla="*/ 120 h 1080"/>
                  <a:gd name="T42" fmla="*/ 510 w 780"/>
                  <a:gd name="T43" fmla="*/ 0 h 1080"/>
                  <a:gd name="T44" fmla="*/ 480 w 780"/>
                  <a:gd name="T45" fmla="*/ 150 h 1080"/>
                  <a:gd name="T46" fmla="*/ 510 w 780"/>
                  <a:gd name="T47" fmla="*/ 300 h 1080"/>
                  <a:gd name="T48" fmla="*/ 480 w 780"/>
                  <a:gd name="T49" fmla="*/ 390 h 1080"/>
                  <a:gd name="T50" fmla="*/ 600 w 780"/>
                  <a:gd name="T51" fmla="*/ 540 h 10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80" h="1080">
                    <a:moveTo>
                      <a:pt x="630" y="1080"/>
                    </a:moveTo>
                    <a:lnTo>
                      <a:pt x="600" y="870"/>
                    </a:lnTo>
                    <a:lnTo>
                      <a:pt x="480" y="630"/>
                    </a:lnTo>
                    <a:lnTo>
                      <a:pt x="390" y="720"/>
                    </a:lnTo>
                    <a:lnTo>
                      <a:pt x="270" y="870"/>
                    </a:lnTo>
                    <a:lnTo>
                      <a:pt x="180" y="750"/>
                    </a:lnTo>
                    <a:lnTo>
                      <a:pt x="210" y="600"/>
                    </a:lnTo>
                    <a:lnTo>
                      <a:pt x="90" y="660"/>
                    </a:lnTo>
                    <a:lnTo>
                      <a:pt x="0" y="870"/>
                    </a:lnTo>
                    <a:lnTo>
                      <a:pt x="60" y="510"/>
                    </a:lnTo>
                    <a:lnTo>
                      <a:pt x="0" y="420"/>
                    </a:lnTo>
                    <a:lnTo>
                      <a:pt x="120" y="330"/>
                    </a:lnTo>
                    <a:lnTo>
                      <a:pt x="300" y="390"/>
                    </a:lnTo>
                    <a:lnTo>
                      <a:pt x="330" y="510"/>
                    </a:lnTo>
                    <a:lnTo>
                      <a:pt x="480" y="390"/>
                    </a:lnTo>
                    <a:lnTo>
                      <a:pt x="660" y="240"/>
                    </a:lnTo>
                    <a:lnTo>
                      <a:pt x="480" y="150"/>
                    </a:lnTo>
                    <a:lnTo>
                      <a:pt x="600" y="120"/>
                    </a:lnTo>
                    <a:lnTo>
                      <a:pt x="780" y="180"/>
                    </a:lnTo>
                    <a:lnTo>
                      <a:pt x="750" y="30"/>
                    </a:lnTo>
                    <a:lnTo>
                      <a:pt x="600" y="120"/>
                    </a:lnTo>
                    <a:lnTo>
                      <a:pt x="510" y="0"/>
                    </a:lnTo>
                    <a:lnTo>
                      <a:pt x="480" y="150"/>
                    </a:lnTo>
                    <a:lnTo>
                      <a:pt x="510" y="300"/>
                    </a:lnTo>
                    <a:lnTo>
                      <a:pt x="480" y="390"/>
                    </a:lnTo>
                    <a:lnTo>
                      <a:pt x="60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2" name="Line 2491">
                <a:extLst>
                  <a:ext uri="{FF2B5EF4-FFF2-40B4-BE49-F238E27FC236}">
                    <a16:creationId xmlns:a16="http://schemas.microsoft.com/office/drawing/2014/main" xmlns="" id="{FFCCED91-9206-463A-AFA7-85C01D8297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09" y="2013"/>
                <a:ext cx="87" cy="177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3" name="Freeform 2492">
                <a:extLst>
                  <a:ext uri="{FF2B5EF4-FFF2-40B4-BE49-F238E27FC236}">
                    <a16:creationId xmlns:a16="http://schemas.microsoft.com/office/drawing/2014/main" xmlns="" id="{88EC9DD2-F85E-4D92-8E39-C949F58969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1890"/>
                <a:ext cx="210" cy="270"/>
              </a:xfrm>
              <a:custGeom>
                <a:avLst/>
                <a:gdLst>
                  <a:gd name="T0" fmla="*/ 210 w 210"/>
                  <a:gd name="T1" fmla="*/ 120 h 270"/>
                  <a:gd name="T2" fmla="*/ 0 w 210"/>
                  <a:gd name="T3" fmla="*/ 270 h 270"/>
                  <a:gd name="T4" fmla="*/ 150 w 210"/>
                  <a:gd name="T5" fmla="*/ 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270">
                    <a:moveTo>
                      <a:pt x="210" y="120"/>
                    </a:moveTo>
                    <a:lnTo>
                      <a:pt x="0" y="27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4" name="Freeform 2493">
                <a:extLst>
                  <a:ext uri="{FF2B5EF4-FFF2-40B4-BE49-F238E27FC236}">
                    <a16:creationId xmlns:a16="http://schemas.microsoft.com/office/drawing/2014/main" xmlns="" id="{C83B85F5-B1C5-4AE9-9DE3-C774B5674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5" y="1620"/>
                <a:ext cx="360" cy="483"/>
              </a:xfrm>
              <a:custGeom>
                <a:avLst/>
                <a:gdLst>
                  <a:gd name="T0" fmla="*/ 0 w 432"/>
                  <a:gd name="T1" fmla="*/ 146 h 579"/>
                  <a:gd name="T2" fmla="*/ 216 w 432"/>
                  <a:gd name="T3" fmla="*/ 0 h 579"/>
                  <a:gd name="T4" fmla="*/ 144 w 432"/>
                  <a:gd name="T5" fmla="*/ 216 h 579"/>
                  <a:gd name="T6" fmla="*/ 360 w 432"/>
                  <a:gd name="T7" fmla="*/ 252 h 579"/>
                  <a:gd name="T8" fmla="*/ 324 w 432"/>
                  <a:gd name="T9" fmla="*/ 578 h 579"/>
                  <a:gd name="T10" fmla="*/ 432 w 432"/>
                  <a:gd name="T11" fmla="*/ 432 h 579"/>
                  <a:gd name="T12" fmla="*/ 220 w 432"/>
                  <a:gd name="T13" fmla="*/ 399 h 579"/>
                  <a:gd name="T14" fmla="*/ 112 w 432"/>
                  <a:gd name="T15" fmla="*/ 579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2" h="579">
                    <a:moveTo>
                      <a:pt x="0" y="146"/>
                    </a:moveTo>
                    <a:cubicBezTo>
                      <a:pt x="216" y="0"/>
                      <a:pt x="216" y="0"/>
                      <a:pt x="216" y="0"/>
                    </a:cubicBezTo>
                    <a:cubicBezTo>
                      <a:pt x="144" y="216"/>
                      <a:pt x="144" y="216"/>
                      <a:pt x="144" y="216"/>
                    </a:cubicBezTo>
                    <a:cubicBezTo>
                      <a:pt x="360" y="252"/>
                      <a:pt x="360" y="252"/>
                      <a:pt x="360" y="252"/>
                    </a:cubicBezTo>
                    <a:cubicBezTo>
                      <a:pt x="324" y="578"/>
                      <a:pt x="324" y="578"/>
                      <a:pt x="324" y="578"/>
                    </a:cubicBezTo>
                    <a:cubicBezTo>
                      <a:pt x="432" y="432"/>
                      <a:pt x="432" y="432"/>
                      <a:pt x="432" y="432"/>
                    </a:cubicBezTo>
                    <a:cubicBezTo>
                      <a:pt x="220" y="399"/>
                      <a:pt x="220" y="399"/>
                      <a:pt x="220" y="399"/>
                    </a:cubicBezTo>
                    <a:cubicBezTo>
                      <a:pt x="220" y="399"/>
                      <a:pt x="108" y="576"/>
                      <a:pt x="112" y="579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5" name="Freeform 2494">
                <a:extLst>
                  <a:ext uri="{FF2B5EF4-FFF2-40B4-BE49-F238E27FC236}">
                    <a16:creationId xmlns:a16="http://schemas.microsoft.com/office/drawing/2014/main" xmlns="" id="{67015895-6415-4558-ABDF-91BEFDF1F8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5" y="1800"/>
                <a:ext cx="120" cy="303"/>
              </a:xfrm>
              <a:custGeom>
                <a:avLst/>
                <a:gdLst>
                  <a:gd name="T0" fmla="*/ 0 w 120"/>
                  <a:gd name="T1" fmla="*/ 90 h 303"/>
                  <a:gd name="T2" fmla="*/ 120 w 120"/>
                  <a:gd name="T3" fmla="*/ 0 h 303"/>
                  <a:gd name="T4" fmla="*/ 94 w 120"/>
                  <a:gd name="T5" fmla="*/ 30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0" h="303">
                    <a:moveTo>
                      <a:pt x="0" y="90"/>
                    </a:moveTo>
                    <a:lnTo>
                      <a:pt x="120" y="0"/>
                    </a:lnTo>
                    <a:lnTo>
                      <a:pt x="94" y="303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6" name="Freeform 2495">
                <a:extLst>
                  <a:ext uri="{FF2B5EF4-FFF2-40B4-BE49-F238E27FC236}">
                    <a16:creationId xmlns:a16="http://schemas.microsoft.com/office/drawing/2014/main" xmlns="" id="{0E443648-D2B6-494A-B7A3-83D436971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1922"/>
                <a:ext cx="1110" cy="868"/>
              </a:xfrm>
              <a:custGeom>
                <a:avLst/>
                <a:gdLst>
                  <a:gd name="T0" fmla="*/ 240 w 1110"/>
                  <a:gd name="T1" fmla="*/ 0 h 868"/>
                  <a:gd name="T2" fmla="*/ 210 w 1110"/>
                  <a:gd name="T3" fmla="*/ 148 h 868"/>
                  <a:gd name="T4" fmla="*/ 150 w 1110"/>
                  <a:gd name="T5" fmla="*/ 238 h 868"/>
                  <a:gd name="T6" fmla="*/ 0 w 1110"/>
                  <a:gd name="T7" fmla="*/ 328 h 868"/>
                  <a:gd name="T8" fmla="*/ 0 w 1110"/>
                  <a:gd name="T9" fmla="*/ 478 h 868"/>
                  <a:gd name="T10" fmla="*/ 120 w 1110"/>
                  <a:gd name="T11" fmla="*/ 388 h 868"/>
                  <a:gd name="T12" fmla="*/ 270 w 1110"/>
                  <a:gd name="T13" fmla="*/ 268 h 868"/>
                  <a:gd name="T14" fmla="*/ 510 w 1110"/>
                  <a:gd name="T15" fmla="*/ 118 h 868"/>
                  <a:gd name="T16" fmla="*/ 600 w 1110"/>
                  <a:gd name="T17" fmla="*/ 178 h 868"/>
                  <a:gd name="T18" fmla="*/ 690 w 1110"/>
                  <a:gd name="T19" fmla="*/ 298 h 868"/>
                  <a:gd name="T20" fmla="*/ 780 w 1110"/>
                  <a:gd name="T21" fmla="*/ 178 h 868"/>
                  <a:gd name="T22" fmla="*/ 600 w 1110"/>
                  <a:gd name="T23" fmla="*/ 178 h 868"/>
                  <a:gd name="T24" fmla="*/ 600 w 1110"/>
                  <a:gd name="T25" fmla="*/ 329 h 868"/>
                  <a:gd name="T26" fmla="*/ 510 w 1110"/>
                  <a:gd name="T27" fmla="*/ 298 h 868"/>
                  <a:gd name="T28" fmla="*/ 480 w 1110"/>
                  <a:gd name="T29" fmla="*/ 388 h 868"/>
                  <a:gd name="T30" fmla="*/ 480 w 1110"/>
                  <a:gd name="T31" fmla="*/ 628 h 868"/>
                  <a:gd name="T32" fmla="*/ 600 w 1110"/>
                  <a:gd name="T33" fmla="*/ 538 h 868"/>
                  <a:gd name="T34" fmla="*/ 688 w 1110"/>
                  <a:gd name="T35" fmla="*/ 630 h 868"/>
                  <a:gd name="T36" fmla="*/ 660 w 1110"/>
                  <a:gd name="T37" fmla="*/ 448 h 868"/>
                  <a:gd name="T38" fmla="*/ 750 w 1110"/>
                  <a:gd name="T39" fmla="*/ 388 h 868"/>
                  <a:gd name="T40" fmla="*/ 870 w 1110"/>
                  <a:gd name="T41" fmla="*/ 448 h 868"/>
                  <a:gd name="T42" fmla="*/ 750 w 1110"/>
                  <a:gd name="T43" fmla="*/ 508 h 868"/>
                  <a:gd name="T44" fmla="*/ 840 w 1110"/>
                  <a:gd name="T45" fmla="*/ 568 h 868"/>
                  <a:gd name="T46" fmla="*/ 1110 w 1110"/>
                  <a:gd name="T47" fmla="*/ 538 h 868"/>
                  <a:gd name="T48" fmla="*/ 990 w 1110"/>
                  <a:gd name="T49" fmla="*/ 598 h 868"/>
                  <a:gd name="T50" fmla="*/ 1020 w 1110"/>
                  <a:gd name="T51" fmla="*/ 868 h 868"/>
                  <a:gd name="T52" fmla="*/ 810 w 1110"/>
                  <a:gd name="T53" fmla="*/ 688 h 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10" h="868">
                    <a:moveTo>
                      <a:pt x="240" y="0"/>
                    </a:moveTo>
                    <a:lnTo>
                      <a:pt x="210" y="148"/>
                    </a:lnTo>
                    <a:lnTo>
                      <a:pt x="150" y="238"/>
                    </a:lnTo>
                    <a:lnTo>
                      <a:pt x="0" y="328"/>
                    </a:lnTo>
                    <a:lnTo>
                      <a:pt x="0" y="478"/>
                    </a:lnTo>
                    <a:lnTo>
                      <a:pt x="120" y="388"/>
                    </a:lnTo>
                    <a:lnTo>
                      <a:pt x="270" y="268"/>
                    </a:lnTo>
                    <a:lnTo>
                      <a:pt x="510" y="118"/>
                    </a:lnTo>
                    <a:lnTo>
                      <a:pt x="600" y="178"/>
                    </a:lnTo>
                    <a:lnTo>
                      <a:pt x="690" y="298"/>
                    </a:lnTo>
                    <a:lnTo>
                      <a:pt x="780" y="178"/>
                    </a:lnTo>
                    <a:lnTo>
                      <a:pt x="600" y="178"/>
                    </a:lnTo>
                    <a:lnTo>
                      <a:pt x="600" y="329"/>
                    </a:lnTo>
                    <a:lnTo>
                      <a:pt x="510" y="298"/>
                    </a:lnTo>
                    <a:lnTo>
                      <a:pt x="480" y="388"/>
                    </a:lnTo>
                    <a:lnTo>
                      <a:pt x="480" y="628"/>
                    </a:lnTo>
                    <a:lnTo>
                      <a:pt x="600" y="538"/>
                    </a:lnTo>
                    <a:lnTo>
                      <a:pt x="688" y="630"/>
                    </a:lnTo>
                    <a:lnTo>
                      <a:pt x="660" y="448"/>
                    </a:lnTo>
                    <a:lnTo>
                      <a:pt x="750" y="388"/>
                    </a:lnTo>
                    <a:lnTo>
                      <a:pt x="870" y="448"/>
                    </a:lnTo>
                    <a:lnTo>
                      <a:pt x="750" y="508"/>
                    </a:lnTo>
                    <a:lnTo>
                      <a:pt x="840" y="568"/>
                    </a:lnTo>
                    <a:lnTo>
                      <a:pt x="1110" y="538"/>
                    </a:lnTo>
                    <a:lnTo>
                      <a:pt x="990" y="598"/>
                    </a:lnTo>
                    <a:lnTo>
                      <a:pt x="1020" y="868"/>
                    </a:lnTo>
                    <a:lnTo>
                      <a:pt x="810" y="68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7" name="Line 2496">
                <a:extLst>
                  <a:ext uri="{FF2B5EF4-FFF2-40B4-BE49-F238E27FC236}">
                    <a16:creationId xmlns:a16="http://schemas.microsoft.com/office/drawing/2014/main" xmlns="" id="{B0C312D1-7451-42D6-8F17-26EE13CDF6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35" y="1950"/>
                <a:ext cx="18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8" name="Line 2497">
                <a:extLst>
                  <a:ext uri="{FF2B5EF4-FFF2-40B4-BE49-F238E27FC236}">
                    <a16:creationId xmlns:a16="http://schemas.microsoft.com/office/drawing/2014/main" xmlns="" id="{1DEC7386-E963-42D4-9D1F-43377D35BA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865" y="1922"/>
                <a:ext cx="152" cy="15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9" name="Freeform 2498">
                <a:extLst>
                  <a:ext uri="{FF2B5EF4-FFF2-40B4-BE49-F238E27FC236}">
                    <a16:creationId xmlns:a16="http://schemas.microsoft.com/office/drawing/2014/main" xmlns="" id="{0D795EC9-1283-426D-BFAA-A3E48746F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7" y="1713"/>
                <a:ext cx="328" cy="390"/>
              </a:xfrm>
              <a:custGeom>
                <a:avLst/>
                <a:gdLst>
                  <a:gd name="T0" fmla="*/ 271 w 328"/>
                  <a:gd name="T1" fmla="*/ 0 h 390"/>
                  <a:gd name="T2" fmla="*/ 238 w 328"/>
                  <a:gd name="T3" fmla="*/ 147 h 390"/>
                  <a:gd name="T4" fmla="*/ 151 w 328"/>
                  <a:gd name="T5" fmla="*/ 390 h 390"/>
                  <a:gd name="T6" fmla="*/ 328 w 328"/>
                  <a:gd name="T7" fmla="*/ 207 h 390"/>
                  <a:gd name="T8" fmla="*/ 328 w 328"/>
                  <a:gd name="T9" fmla="*/ 389 h 390"/>
                  <a:gd name="T10" fmla="*/ 118 w 328"/>
                  <a:gd name="T11" fmla="*/ 177 h 390"/>
                  <a:gd name="T12" fmla="*/ 58 w 328"/>
                  <a:gd name="T13" fmla="*/ 327 h 390"/>
                  <a:gd name="T14" fmla="*/ 0 w 328"/>
                  <a:gd name="T15" fmla="*/ 18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8" h="390">
                    <a:moveTo>
                      <a:pt x="271" y="0"/>
                    </a:moveTo>
                    <a:lnTo>
                      <a:pt x="238" y="147"/>
                    </a:lnTo>
                    <a:lnTo>
                      <a:pt x="151" y="390"/>
                    </a:lnTo>
                    <a:lnTo>
                      <a:pt x="328" y="207"/>
                    </a:lnTo>
                    <a:lnTo>
                      <a:pt x="328" y="389"/>
                    </a:lnTo>
                    <a:lnTo>
                      <a:pt x="118" y="177"/>
                    </a:lnTo>
                    <a:lnTo>
                      <a:pt x="58" y="327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0" name="Line 2499">
                <a:extLst>
                  <a:ext uri="{FF2B5EF4-FFF2-40B4-BE49-F238E27FC236}">
                    <a16:creationId xmlns:a16="http://schemas.microsoft.com/office/drawing/2014/main" xmlns="" id="{2494AD39-37D6-4A18-B37C-27142FDF3E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348" y="1713"/>
                <a:ext cx="177" cy="11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1" name="Line 2500">
                <a:extLst>
                  <a:ext uri="{FF2B5EF4-FFF2-40B4-BE49-F238E27FC236}">
                    <a16:creationId xmlns:a16="http://schemas.microsoft.com/office/drawing/2014/main" xmlns="" id="{9540DE55-71AF-490C-9D44-161DB2BB5E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315" y="1442"/>
                <a:ext cx="88" cy="118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2" name="Freeform 2501">
                <a:extLst>
                  <a:ext uri="{FF2B5EF4-FFF2-40B4-BE49-F238E27FC236}">
                    <a16:creationId xmlns:a16="http://schemas.microsoft.com/office/drawing/2014/main" xmlns="" id="{7CDB3288-BBCE-4A1D-B460-DED4EEF7D3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780"/>
                <a:ext cx="690" cy="630"/>
              </a:xfrm>
              <a:custGeom>
                <a:avLst/>
                <a:gdLst>
                  <a:gd name="T0" fmla="*/ 660 w 690"/>
                  <a:gd name="T1" fmla="*/ 630 h 630"/>
                  <a:gd name="T2" fmla="*/ 690 w 690"/>
                  <a:gd name="T3" fmla="*/ 390 h 630"/>
                  <a:gd name="T4" fmla="*/ 570 w 690"/>
                  <a:gd name="T5" fmla="*/ 420 h 630"/>
                  <a:gd name="T6" fmla="*/ 450 w 690"/>
                  <a:gd name="T7" fmla="*/ 240 h 630"/>
                  <a:gd name="T8" fmla="*/ 420 w 690"/>
                  <a:gd name="T9" fmla="*/ 420 h 630"/>
                  <a:gd name="T10" fmla="*/ 330 w 690"/>
                  <a:gd name="T11" fmla="*/ 330 h 630"/>
                  <a:gd name="T12" fmla="*/ 210 w 690"/>
                  <a:gd name="T13" fmla="*/ 270 h 630"/>
                  <a:gd name="T14" fmla="*/ 0 w 690"/>
                  <a:gd name="T15" fmla="*/ 210 h 630"/>
                  <a:gd name="T16" fmla="*/ 270 w 690"/>
                  <a:gd name="T17" fmla="*/ 180 h 630"/>
                  <a:gd name="T18" fmla="*/ 180 w 690"/>
                  <a:gd name="T19" fmla="*/ 30 h 630"/>
                  <a:gd name="T20" fmla="*/ 330 w 690"/>
                  <a:gd name="T21" fmla="*/ 0 h 630"/>
                  <a:gd name="T22" fmla="*/ 120 w 690"/>
                  <a:gd name="T23" fmla="*/ 15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90" h="630">
                    <a:moveTo>
                      <a:pt x="660" y="630"/>
                    </a:moveTo>
                    <a:lnTo>
                      <a:pt x="690" y="390"/>
                    </a:lnTo>
                    <a:lnTo>
                      <a:pt x="570" y="420"/>
                    </a:lnTo>
                    <a:lnTo>
                      <a:pt x="450" y="240"/>
                    </a:lnTo>
                    <a:lnTo>
                      <a:pt x="420" y="420"/>
                    </a:lnTo>
                    <a:lnTo>
                      <a:pt x="330" y="330"/>
                    </a:lnTo>
                    <a:lnTo>
                      <a:pt x="210" y="270"/>
                    </a:lnTo>
                    <a:lnTo>
                      <a:pt x="0" y="210"/>
                    </a:lnTo>
                    <a:lnTo>
                      <a:pt x="270" y="180"/>
                    </a:lnTo>
                    <a:lnTo>
                      <a:pt x="180" y="30"/>
                    </a:lnTo>
                    <a:lnTo>
                      <a:pt x="330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3" name="Line 2502">
                <a:extLst>
                  <a:ext uri="{FF2B5EF4-FFF2-40B4-BE49-F238E27FC236}">
                    <a16:creationId xmlns:a16="http://schemas.microsoft.com/office/drawing/2014/main" xmlns="" id="{13AB2D93-C3EC-484F-8128-C69070FA73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285" y="1290"/>
                <a:ext cx="15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4" name="Freeform 2503">
                <a:extLst>
                  <a:ext uri="{FF2B5EF4-FFF2-40B4-BE49-F238E27FC236}">
                    <a16:creationId xmlns:a16="http://schemas.microsoft.com/office/drawing/2014/main" xmlns="" id="{E79B62DD-1ED8-4B04-A3D8-A8F487B50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1082"/>
                <a:ext cx="120" cy="208"/>
              </a:xfrm>
              <a:custGeom>
                <a:avLst/>
                <a:gdLst>
                  <a:gd name="T0" fmla="*/ 120 w 120"/>
                  <a:gd name="T1" fmla="*/ 208 h 208"/>
                  <a:gd name="T2" fmla="*/ 90 w 120"/>
                  <a:gd name="T3" fmla="*/ 0 h 208"/>
                  <a:gd name="T4" fmla="*/ 0 w 120"/>
                  <a:gd name="T5" fmla="*/ 88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0" h="208">
                    <a:moveTo>
                      <a:pt x="120" y="208"/>
                    </a:moveTo>
                    <a:lnTo>
                      <a:pt x="90" y="0"/>
                    </a:lnTo>
                    <a:lnTo>
                      <a:pt x="0" y="8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5" name="Freeform 2504">
                <a:extLst>
                  <a:ext uri="{FF2B5EF4-FFF2-40B4-BE49-F238E27FC236}">
                    <a16:creationId xmlns:a16="http://schemas.microsoft.com/office/drawing/2014/main" xmlns="" id="{E054FF8A-49B2-456A-B74E-990897C83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1200"/>
                <a:ext cx="240" cy="242"/>
              </a:xfrm>
              <a:custGeom>
                <a:avLst/>
                <a:gdLst>
                  <a:gd name="T0" fmla="*/ 240 w 240"/>
                  <a:gd name="T1" fmla="*/ 90 h 242"/>
                  <a:gd name="T2" fmla="*/ 0 w 240"/>
                  <a:gd name="T3" fmla="*/ 0 h 242"/>
                  <a:gd name="T4" fmla="*/ 208 w 240"/>
                  <a:gd name="T5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0" h="242">
                    <a:moveTo>
                      <a:pt x="240" y="90"/>
                    </a:moveTo>
                    <a:lnTo>
                      <a:pt x="0" y="0"/>
                    </a:lnTo>
                    <a:lnTo>
                      <a:pt x="208" y="24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6" name="Line 2505">
                <a:extLst>
                  <a:ext uri="{FF2B5EF4-FFF2-40B4-BE49-F238E27FC236}">
                    <a16:creationId xmlns:a16="http://schemas.microsoft.com/office/drawing/2014/main" xmlns="" id="{A945A76C-3251-4098-A845-DFDF1DA60A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85" y="1260"/>
                <a:ext cx="30" cy="272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7" name="Freeform 2506">
                <a:extLst>
                  <a:ext uri="{FF2B5EF4-FFF2-40B4-BE49-F238E27FC236}">
                    <a16:creationId xmlns:a16="http://schemas.microsoft.com/office/drawing/2014/main" xmlns="" id="{F8416B36-BAA8-4609-BA62-999BDE6CB5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5" y="450"/>
                <a:ext cx="449" cy="1140"/>
              </a:xfrm>
              <a:custGeom>
                <a:avLst/>
                <a:gdLst>
                  <a:gd name="T0" fmla="*/ 449 w 449"/>
                  <a:gd name="T1" fmla="*/ 1140 h 1140"/>
                  <a:gd name="T2" fmla="*/ 329 w 449"/>
                  <a:gd name="T3" fmla="*/ 930 h 1140"/>
                  <a:gd name="T4" fmla="*/ 419 w 449"/>
                  <a:gd name="T5" fmla="*/ 690 h 1140"/>
                  <a:gd name="T6" fmla="*/ 239 w 449"/>
                  <a:gd name="T7" fmla="*/ 600 h 1140"/>
                  <a:gd name="T8" fmla="*/ 269 w 449"/>
                  <a:gd name="T9" fmla="*/ 780 h 1140"/>
                  <a:gd name="T10" fmla="*/ 389 w 449"/>
                  <a:gd name="T11" fmla="*/ 570 h 1140"/>
                  <a:gd name="T12" fmla="*/ 419 w 449"/>
                  <a:gd name="T13" fmla="*/ 450 h 1140"/>
                  <a:gd name="T14" fmla="*/ 359 w 449"/>
                  <a:gd name="T15" fmla="*/ 330 h 1140"/>
                  <a:gd name="T16" fmla="*/ 389 w 449"/>
                  <a:gd name="T17" fmla="*/ 180 h 1140"/>
                  <a:gd name="T18" fmla="*/ 239 w 449"/>
                  <a:gd name="T19" fmla="*/ 60 h 1140"/>
                  <a:gd name="T20" fmla="*/ 150 w 449"/>
                  <a:gd name="T21" fmla="*/ 180 h 1140"/>
                  <a:gd name="T22" fmla="*/ 0 w 449"/>
                  <a:gd name="T23" fmla="*/ 270 h 1140"/>
                  <a:gd name="T24" fmla="*/ 0 w 449"/>
                  <a:gd name="T25" fmla="*/ 420 h 1140"/>
                  <a:gd name="T26" fmla="*/ 120 w 449"/>
                  <a:gd name="T27" fmla="*/ 330 h 1140"/>
                  <a:gd name="T28" fmla="*/ 269 w 449"/>
                  <a:gd name="T29" fmla="*/ 210 h 1140"/>
                  <a:gd name="T30" fmla="*/ 239 w 449"/>
                  <a:gd name="T31" fmla="*/ 60 h 1140"/>
                  <a:gd name="T32" fmla="*/ 120 w 449"/>
                  <a:gd name="T33" fmla="*/ 0 h 1140"/>
                  <a:gd name="T34" fmla="*/ 30 w 449"/>
                  <a:gd name="T35" fmla="*/ 90 h 1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9" h="1140">
                    <a:moveTo>
                      <a:pt x="449" y="1140"/>
                    </a:moveTo>
                    <a:lnTo>
                      <a:pt x="329" y="930"/>
                    </a:lnTo>
                    <a:lnTo>
                      <a:pt x="419" y="690"/>
                    </a:lnTo>
                    <a:lnTo>
                      <a:pt x="239" y="600"/>
                    </a:lnTo>
                    <a:lnTo>
                      <a:pt x="269" y="780"/>
                    </a:lnTo>
                    <a:lnTo>
                      <a:pt x="389" y="570"/>
                    </a:lnTo>
                    <a:lnTo>
                      <a:pt x="419" y="450"/>
                    </a:lnTo>
                    <a:lnTo>
                      <a:pt x="359" y="330"/>
                    </a:lnTo>
                    <a:lnTo>
                      <a:pt x="389" y="180"/>
                    </a:lnTo>
                    <a:lnTo>
                      <a:pt x="239" y="60"/>
                    </a:lnTo>
                    <a:lnTo>
                      <a:pt x="150" y="180"/>
                    </a:lnTo>
                    <a:lnTo>
                      <a:pt x="0" y="270"/>
                    </a:lnTo>
                    <a:lnTo>
                      <a:pt x="0" y="420"/>
                    </a:lnTo>
                    <a:lnTo>
                      <a:pt x="120" y="330"/>
                    </a:lnTo>
                    <a:lnTo>
                      <a:pt x="269" y="210"/>
                    </a:lnTo>
                    <a:lnTo>
                      <a:pt x="239" y="60"/>
                    </a:lnTo>
                    <a:lnTo>
                      <a:pt x="120" y="0"/>
                    </a:lnTo>
                    <a:lnTo>
                      <a:pt x="3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8" name="Line 2507">
                <a:extLst>
                  <a:ext uri="{FF2B5EF4-FFF2-40B4-BE49-F238E27FC236}">
                    <a16:creationId xmlns:a16="http://schemas.microsoft.com/office/drawing/2014/main" xmlns="" id="{286A39A2-8C80-4F5F-B812-F740D4C5DA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4" y="159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9" name="Freeform 2508">
                <a:extLst>
                  <a:ext uri="{FF2B5EF4-FFF2-40B4-BE49-F238E27FC236}">
                    <a16:creationId xmlns:a16="http://schemas.microsoft.com/office/drawing/2014/main" xmlns="" id="{89DA4A61-5A79-48B2-B6E1-B422E48145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" y="1740"/>
                <a:ext cx="659" cy="423"/>
              </a:xfrm>
              <a:custGeom>
                <a:avLst/>
                <a:gdLst>
                  <a:gd name="T0" fmla="*/ 300 w 659"/>
                  <a:gd name="T1" fmla="*/ 303 h 423"/>
                  <a:gd name="T2" fmla="*/ 299 w 659"/>
                  <a:gd name="T3" fmla="*/ 150 h 423"/>
                  <a:gd name="T4" fmla="*/ 451 w 659"/>
                  <a:gd name="T5" fmla="*/ 423 h 423"/>
                  <a:gd name="T6" fmla="*/ 483 w 659"/>
                  <a:gd name="T7" fmla="*/ 213 h 423"/>
                  <a:gd name="T8" fmla="*/ 659 w 659"/>
                  <a:gd name="T9" fmla="*/ 300 h 423"/>
                  <a:gd name="T10" fmla="*/ 419 w 659"/>
                  <a:gd name="T11" fmla="*/ 60 h 423"/>
                  <a:gd name="T12" fmla="*/ 479 w 659"/>
                  <a:gd name="T13" fmla="*/ 210 h 423"/>
                  <a:gd name="T14" fmla="*/ 299 w 659"/>
                  <a:gd name="T15" fmla="*/ 0 h 423"/>
                  <a:gd name="T16" fmla="*/ 150 w 659"/>
                  <a:gd name="T17" fmla="*/ 150 h 423"/>
                  <a:gd name="T18" fmla="*/ 0 w 659"/>
                  <a:gd name="T19" fmla="*/ 90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9" h="423">
                    <a:moveTo>
                      <a:pt x="300" y="303"/>
                    </a:moveTo>
                    <a:lnTo>
                      <a:pt x="299" y="150"/>
                    </a:lnTo>
                    <a:lnTo>
                      <a:pt x="451" y="423"/>
                    </a:lnTo>
                    <a:lnTo>
                      <a:pt x="483" y="213"/>
                    </a:lnTo>
                    <a:lnTo>
                      <a:pt x="659" y="300"/>
                    </a:lnTo>
                    <a:lnTo>
                      <a:pt x="419" y="60"/>
                    </a:lnTo>
                    <a:lnTo>
                      <a:pt x="479" y="210"/>
                    </a:lnTo>
                    <a:lnTo>
                      <a:pt x="299" y="0"/>
                    </a:lnTo>
                    <a:lnTo>
                      <a:pt x="150" y="150"/>
                    </a:lnTo>
                    <a:lnTo>
                      <a:pt x="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0" name="Freeform 2509">
                <a:extLst>
                  <a:ext uri="{FF2B5EF4-FFF2-40B4-BE49-F238E27FC236}">
                    <a16:creationId xmlns:a16="http://schemas.microsoft.com/office/drawing/2014/main" xmlns="" id="{389B0C02-E0F1-4BB9-8B6A-A41CA1C9E3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1860"/>
                <a:ext cx="393" cy="123"/>
              </a:xfrm>
              <a:custGeom>
                <a:avLst/>
                <a:gdLst>
                  <a:gd name="T0" fmla="*/ 393 w 393"/>
                  <a:gd name="T1" fmla="*/ 123 h 123"/>
                  <a:gd name="T2" fmla="*/ 90 w 393"/>
                  <a:gd name="T3" fmla="*/ 60 h 123"/>
                  <a:gd name="T4" fmla="*/ 0 w 393"/>
                  <a:gd name="T5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3" h="123">
                    <a:moveTo>
                      <a:pt x="393" y="123"/>
                    </a:moveTo>
                    <a:lnTo>
                      <a:pt x="9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1" name="Freeform 2510">
                <a:extLst>
                  <a:ext uri="{FF2B5EF4-FFF2-40B4-BE49-F238E27FC236}">
                    <a16:creationId xmlns:a16="http://schemas.microsoft.com/office/drawing/2014/main" xmlns="" id="{7F013949-2F1A-43CC-84B7-66C8E611A5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60"/>
                <a:ext cx="690" cy="600"/>
              </a:xfrm>
              <a:custGeom>
                <a:avLst/>
                <a:gdLst>
                  <a:gd name="T0" fmla="*/ 690 w 690"/>
                  <a:gd name="T1" fmla="*/ 600 h 600"/>
                  <a:gd name="T2" fmla="*/ 630 w 690"/>
                  <a:gd name="T3" fmla="*/ 450 h 600"/>
                  <a:gd name="T4" fmla="*/ 480 w 690"/>
                  <a:gd name="T5" fmla="*/ 210 h 600"/>
                  <a:gd name="T6" fmla="*/ 330 w 690"/>
                  <a:gd name="T7" fmla="*/ 0 h 600"/>
                  <a:gd name="T8" fmla="*/ 150 w 690"/>
                  <a:gd name="T9" fmla="*/ 90 h 600"/>
                  <a:gd name="T10" fmla="*/ 60 w 690"/>
                  <a:gd name="T11" fmla="*/ 210 h 600"/>
                  <a:gd name="T12" fmla="*/ 300 w 690"/>
                  <a:gd name="T13" fmla="*/ 210 h 600"/>
                  <a:gd name="T14" fmla="*/ 330 w 690"/>
                  <a:gd name="T15" fmla="*/ 0 h 600"/>
                  <a:gd name="T16" fmla="*/ 0 w 690"/>
                  <a:gd name="T17" fmla="*/ 60 h 600"/>
                  <a:gd name="T18" fmla="*/ 150 w 690"/>
                  <a:gd name="T19" fmla="*/ 90 h 600"/>
                  <a:gd name="T20" fmla="*/ 180 w 690"/>
                  <a:gd name="T21" fmla="*/ 240 h 600"/>
                  <a:gd name="T22" fmla="*/ 60 w 690"/>
                  <a:gd name="T23" fmla="*/ 210 h 600"/>
                  <a:gd name="T24" fmla="*/ 30 w 690"/>
                  <a:gd name="T25" fmla="*/ 360 h 600"/>
                  <a:gd name="T26" fmla="*/ 60 w 690"/>
                  <a:gd name="T27" fmla="*/ 51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90" h="600">
                    <a:moveTo>
                      <a:pt x="690" y="600"/>
                    </a:moveTo>
                    <a:lnTo>
                      <a:pt x="630" y="450"/>
                    </a:lnTo>
                    <a:lnTo>
                      <a:pt x="480" y="210"/>
                    </a:lnTo>
                    <a:lnTo>
                      <a:pt x="330" y="0"/>
                    </a:lnTo>
                    <a:lnTo>
                      <a:pt x="150" y="90"/>
                    </a:lnTo>
                    <a:lnTo>
                      <a:pt x="60" y="210"/>
                    </a:lnTo>
                    <a:lnTo>
                      <a:pt x="300" y="210"/>
                    </a:lnTo>
                    <a:lnTo>
                      <a:pt x="330" y="0"/>
                    </a:lnTo>
                    <a:lnTo>
                      <a:pt x="0" y="60"/>
                    </a:lnTo>
                    <a:lnTo>
                      <a:pt x="150" y="90"/>
                    </a:lnTo>
                    <a:lnTo>
                      <a:pt x="180" y="240"/>
                    </a:lnTo>
                    <a:lnTo>
                      <a:pt x="60" y="210"/>
                    </a:lnTo>
                    <a:lnTo>
                      <a:pt x="30" y="360"/>
                    </a:lnTo>
                    <a:lnTo>
                      <a:pt x="60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2" name="Freeform 2511">
                <a:extLst>
                  <a:ext uri="{FF2B5EF4-FFF2-40B4-BE49-F238E27FC236}">
                    <a16:creationId xmlns:a16="http://schemas.microsoft.com/office/drawing/2014/main" xmlns="" id="{55AC3E09-B6A8-4771-9E4C-520D4D70C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2700"/>
                <a:ext cx="600" cy="510"/>
              </a:xfrm>
              <a:custGeom>
                <a:avLst/>
                <a:gdLst>
                  <a:gd name="T0" fmla="*/ 540 w 600"/>
                  <a:gd name="T1" fmla="*/ 90 h 510"/>
                  <a:gd name="T2" fmla="*/ 600 w 600"/>
                  <a:gd name="T3" fmla="*/ 270 h 510"/>
                  <a:gd name="T4" fmla="*/ 480 w 600"/>
                  <a:gd name="T5" fmla="*/ 270 h 510"/>
                  <a:gd name="T6" fmla="*/ 570 w 600"/>
                  <a:gd name="T7" fmla="*/ 420 h 510"/>
                  <a:gd name="T8" fmla="*/ 510 w 600"/>
                  <a:gd name="T9" fmla="*/ 510 h 510"/>
                  <a:gd name="T10" fmla="*/ 420 w 600"/>
                  <a:gd name="T11" fmla="*/ 360 h 510"/>
                  <a:gd name="T12" fmla="*/ 240 w 600"/>
                  <a:gd name="T13" fmla="*/ 450 h 510"/>
                  <a:gd name="T14" fmla="*/ 300 w 600"/>
                  <a:gd name="T15" fmla="*/ 270 h 510"/>
                  <a:gd name="T16" fmla="*/ 150 w 600"/>
                  <a:gd name="T17" fmla="*/ 420 h 510"/>
                  <a:gd name="T18" fmla="*/ 180 w 600"/>
                  <a:gd name="T19" fmla="*/ 300 h 510"/>
                  <a:gd name="T20" fmla="*/ 30 w 600"/>
                  <a:gd name="T21" fmla="*/ 360 h 510"/>
                  <a:gd name="T22" fmla="*/ 0 w 600"/>
                  <a:gd name="T23" fmla="*/ 510 h 510"/>
                  <a:gd name="T24" fmla="*/ 180 w 600"/>
                  <a:gd name="T25" fmla="*/ 210 h 510"/>
                  <a:gd name="T26" fmla="*/ 60 w 600"/>
                  <a:gd name="T27" fmla="*/ 120 h 510"/>
                  <a:gd name="T28" fmla="*/ 0 w 600"/>
                  <a:gd name="T29" fmla="*/ 210 h 510"/>
                  <a:gd name="T30" fmla="*/ 0 w 600"/>
                  <a:gd name="T31" fmla="*/ 0 h 510"/>
                  <a:gd name="T32" fmla="*/ 180 w 600"/>
                  <a:gd name="T33" fmla="*/ 30 h 510"/>
                  <a:gd name="T34" fmla="*/ 270 w 600"/>
                  <a:gd name="T35" fmla="*/ 120 h 510"/>
                  <a:gd name="T36" fmla="*/ 390 w 600"/>
                  <a:gd name="T37" fmla="*/ 150 h 510"/>
                  <a:gd name="T38" fmla="*/ 540 w 600"/>
                  <a:gd name="T39" fmla="*/ 9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00" h="510">
                    <a:moveTo>
                      <a:pt x="540" y="90"/>
                    </a:moveTo>
                    <a:lnTo>
                      <a:pt x="600" y="270"/>
                    </a:lnTo>
                    <a:lnTo>
                      <a:pt x="480" y="270"/>
                    </a:lnTo>
                    <a:lnTo>
                      <a:pt x="570" y="420"/>
                    </a:lnTo>
                    <a:lnTo>
                      <a:pt x="510" y="510"/>
                    </a:lnTo>
                    <a:lnTo>
                      <a:pt x="420" y="360"/>
                    </a:lnTo>
                    <a:lnTo>
                      <a:pt x="240" y="450"/>
                    </a:lnTo>
                    <a:lnTo>
                      <a:pt x="300" y="270"/>
                    </a:lnTo>
                    <a:lnTo>
                      <a:pt x="150" y="420"/>
                    </a:lnTo>
                    <a:lnTo>
                      <a:pt x="180" y="300"/>
                    </a:lnTo>
                    <a:lnTo>
                      <a:pt x="30" y="360"/>
                    </a:lnTo>
                    <a:lnTo>
                      <a:pt x="0" y="510"/>
                    </a:lnTo>
                    <a:lnTo>
                      <a:pt x="180" y="210"/>
                    </a:lnTo>
                    <a:lnTo>
                      <a:pt x="60" y="120"/>
                    </a:lnTo>
                    <a:lnTo>
                      <a:pt x="0" y="210"/>
                    </a:lnTo>
                    <a:lnTo>
                      <a:pt x="0" y="0"/>
                    </a:lnTo>
                    <a:lnTo>
                      <a:pt x="180" y="30"/>
                    </a:lnTo>
                    <a:lnTo>
                      <a:pt x="270" y="120"/>
                    </a:lnTo>
                    <a:lnTo>
                      <a:pt x="390" y="150"/>
                    </a:lnTo>
                    <a:lnTo>
                      <a:pt x="540" y="9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3" name="Freeform 2512">
                <a:extLst>
                  <a:ext uri="{FF2B5EF4-FFF2-40B4-BE49-F238E27FC236}">
                    <a16:creationId xmlns:a16="http://schemas.microsoft.com/office/drawing/2014/main" xmlns="" id="{BFE34CC8-D34E-4EA3-BC20-57CB1B7559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6" y="2700"/>
                <a:ext cx="539" cy="360"/>
              </a:xfrm>
              <a:custGeom>
                <a:avLst/>
                <a:gdLst>
                  <a:gd name="T0" fmla="*/ 90 w 539"/>
                  <a:gd name="T1" fmla="*/ 360 h 360"/>
                  <a:gd name="T2" fmla="*/ 60 w 539"/>
                  <a:gd name="T3" fmla="*/ 150 h 360"/>
                  <a:gd name="T4" fmla="*/ 0 w 539"/>
                  <a:gd name="T5" fmla="*/ 0 h 360"/>
                  <a:gd name="T6" fmla="*/ 210 w 539"/>
                  <a:gd name="T7" fmla="*/ 90 h 360"/>
                  <a:gd name="T8" fmla="*/ 360 w 539"/>
                  <a:gd name="T9" fmla="*/ 180 h 360"/>
                  <a:gd name="T10" fmla="*/ 270 w 539"/>
                  <a:gd name="T11" fmla="*/ 270 h 360"/>
                  <a:gd name="T12" fmla="*/ 450 w 539"/>
                  <a:gd name="T13" fmla="*/ 330 h 360"/>
                  <a:gd name="T14" fmla="*/ 509 w 539"/>
                  <a:gd name="T15" fmla="*/ 210 h 360"/>
                  <a:gd name="T16" fmla="*/ 360 w 539"/>
                  <a:gd name="T17" fmla="*/ 60 h 360"/>
                  <a:gd name="T18" fmla="*/ 539 w 539"/>
                  <a:gd name="T19" fmla="*/ 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9" h="360">
                    <a:moveTo>
                      <a:pt x="90" y="360"/>
                    </a:moveTo>
                    <a:lnTo>
                      <a:pt x="60" y="150"/>
                    </a:lnTo>
                    <a:lnTo>
                      <a:pt x="0" y="0"/>
                    </a:lnTo>
                    <a:lnTo>
                      <a:pt x="210" y="90"/>
                    </a:lnTo>
                    <a:lnTo>
                      <a:pt x="360" y="180"/>
                    </a:lnTo>
                    <a:lnTo>
                      <a:pt x="270" y="270"/>
                    </a:lnTo>
                    <a:lnTo>
                      <a:pt x="450" y="330"/>
                    </a:lnTo>
                    <a:lnTo>
                      <a:pt x="509" y="210"/>
                    </a:lnTo>
                    <a:lnTo>
                      <a:pt x="360" y="60"/>
                    </a:lnTo>
                    <a:lnTo>
                      <a:pt x="53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4" name="Freeform 2513">
                <a:extLst>
                  <a:ext uri="{FF2B5EF4-FFF2-40B4-BE49-F238E27FC236}">
                    <a16:creationId xmlns:a16="http://schemas.microsoft.com/office/drawing/2014/main" xmlns="" id="{B7FE7D6A-C07A-4C29-8501-7526109E26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6" y="3120"/>
                <a:ext cx="360" cy="90"/>
              </a:xfrm>
              <a:custGeom>
                <a:avLst/>
                <a:gdLst>
                  <a:gd name="T0" fmla="*/ 360 w 360"/>
                  <a:gd name="T1" fmla="*/ 90 h 90"/>
                  <a:gd name="T2" fmla="*/ 90 w 360"/>
                  <a:gd name="T3" fmla="*/ 30 h 90"/>
                  <a:gd name="T4" fmla="*/ 0 w 360"/>
                  <a:gd name="T5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90">
                    <a:moveTo>
                      <a:pt x="360" y="90"/>
                    </a:moveTo>
                    <a:lnTo>
                      <a:pt x="9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5" name="Freeform 2514">
                <a:extLst>
                  <a:ext uri="{FF2B5EF4-FFF2-40B4-BE49-F238E27FC236}">
                    <a16:creationId xmlns:a16="http://schemas.microsoft.com/office/drawing/2014/main" xmlns="" id="{AD7F05CC-6F18-499D-8B88-DAA8A4AE69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2820"/>
                <a:ext cx="270" cy="240"/>
              </a:xfrm>
              <a:custGeom>
                <a:avLst/>
                <a:gdLst>
                  <a:gd name="T0" fmla="*/ 30 w 270"/>
                  <a:gd name="T1" fmla="*/ 240 h 240"/>
                  <a:gd name="T2" fmla="*/ 0 w 270"/>
                  <a:gd name="T3" fmla="*/ 90 h 240"/>
                  <a:gd name="T4" fmla="*/ 270 w 270"/>
                  <a:gd name="T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240">
                    <a:moveTo>
                      <a:pt x="30" y="240"/>
                    </a:moveTo>
                    <a:lnTo>
                      <a:pt x="0" y="90"/>
                    </a:lnTo>
                    <a:lnTo>
                      <a:pt x="27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6" name="Freeform 2515">
                <a:extLst>
                  <a:ext uri="{FF2B5EF4-FFF2-40B4-BE49-F238E27FC236}">
                    <a16:creationId xmlns:a16="http://schemas.microsoft.com/office/drawing/2014/main" xmlns="" id="{D56011FC-231A-4F65-893E-058D81B552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90"/>
                <a:ext cx="210" cy="240"/>
              </a:xfrm>
              <a:custGeom>
                <a:avLst/>
                <a:gdLst>
                  <a:gd name="T0" fmla="*/ 0 w 210"/>
                  <a:gd name="T1" fmla="*/ 240 h 240"/>
                  <a:gd name="T2" fmla="*/ 150 w 210"/>
                  <a:gd name="T3" fmla="*/ 210 h 240"/>
                  <a:gd name="T4" fmla="*/ 120 w 210"/>
                  <a:gd name="T5" fmla="*/ 0 h 240"/>
                  <a:gd name="T6" fmla="*/ 210 w 210"/>
                  <a:gd name="T7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0" h="240">
                    <a:moveTo>
                      <a:pt x="0" y="240"/>
                    </a:moveTo>
                    <a:lnTo>
                      <a:pt x="150" y="210"/>
                    </a:lnTo>
                    <a:lnTo>
                      <a:pt x="120" y="0"/>
                    </a:lnTo>
                    <a:lnTo>
                      <a:pt x="21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7" name="Freeform 2516">
                <a:extLst>
                  <a:ext uri="{FF2B5EF4-FFF2-40B4-BE49-F238E27FC236}">
                    <a16:creationId xmlns:a16="http://schemas.microsoft.com/office/drawing/2014/main" xmlns="" id="{F408D078-7200-44BE-B12B-F70593C6D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2190"/>
                <a:ext cx="510" cy="630"/>
              </a:xfrm>
              <a:custGeom>
                <a:avLst/>
                <a:gdLst>
                  <a:gd name="T0" fmla="*/ 270 w 510"/>
                  <a:gd name="T1" fmla="*/ 450 h 630"/>
                  <a:gd name="T2" fmla="*/ 0 w 510"/>
                  <a:gd name="T3" fmla="*/ 390 h 630"/>
                  <a:gd name="T4" fmla="*/ 30 w 510"/>
                  <a:gd name="T5" fmla="*/ 300 h 630"/>
                  <a:gd name="T6" fmla="*/ 210 w 510"/>
                  <a:gd name="T7" fmla="*/ 330 h 630"/>
                  <a:gd name="T8" fmla="*/ 150 w 510"/>
                  <a:gd name="T9" fmla="*/ 120 h 630"/>
                  <a:gd name="T10" fmla="*/ 90 w 510"/>
                  <a:gd name="T11" fmla="*/ 210 h 630"/>
                  <a:gd name="T12" fmla="*/ 60 w 510"/>
                  <a:gd name="T13" fmla="*/ 120 h 630"/>
                  <a:gd name="T14" fmla="*/ 180 w 510"/>
                  <a:gd name="T15" fmla="*/ 0 h 630"/>
                  <a:gd name="T16" fmla="*/ 300 w 510"/>
                  <a:gd name="T17" fmla="*/ 120 h 630"/>
                  <a:gd name="T18" fmla="*/ 510 w 510"/>
                  <a:gd name="T19" fmla="*/ 150 h 630"/>
                  <a:gd name="T20" fmla="*/ 330 w 510"/>
                  <a:gd name="T21" fmla="*/ 300 h 630"/>
                  <a:gd name="T22" fmla="*/ 270 w 510"/>
                  <a:gd name="T23" fmla="*/ 450 h 630"/>
                  <a:gd name="T24" fmla="*/ 30 w 510"/>
                  <a:gd name="T25" fmla="*/ 510 h 630"/>
                  <a:gd name="T26" fmla="*/ 300 w 510"/>
                  <a:gd name="T27" fmla="*/ 120 h 630"/>
                  <a:gd name="T28" fmla="*/ 30 w 510"/>
                  <a:gd name="T29" fmla="*/ 300 h 630"/>
                  <a:gd name="T30" fmla="*/ 90 w 510"/>
                  <a:gd name="T31" fmla="*/ 210 h 630"/>
                  <a:gd name="T32" fmla="*/ 330 w 510"/>
                  <a:gd name="T33" fmla="*/ 300 h 630"/>
                  <a:gd name="T34" fmla="*/ 210 w 510"/>
                  <a:gd name="T35" fmla="*/ 330 h 630"/>
                  <a:gd name="T36" fmla="*/ 270 w 510"/>
                  <a:gd name="T37" fmla="*/ 450 h 630"/>
                  <a:gd name="T38" fmla="*/ 210 w 510"/>
                  <a:gd name="T39" fmla="*/ 540 h 630"/>
                  <a:gd name="T40" fmla="*/ 90 w 510"/>
                  <a:gd name="T41" fmla="*/ 63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0" h="630">
                    <a:moveTo>
                      <a:pt x="270" y="450"/>
                    </a:moveTo>
                    <a:lnTo>
                      <a:pt x="0" y="390"/>
                    </a:lnTo>
                    <a:lnTo>
                      <a:pt x="30" y="300"/>
                    </a:lnTo>
                    <a:lnTo>
                      <a:pt x="210" y="330"/>
                    </a:lnTo>
                    <a:lnTo>
                      <a:pt x="150" y="120"/>
                    </a:lnTo>
                    <a:lnTo>
                      <a:pt x="90" y="210"/>
                    </a:lnTo>
                    <a:lnTo>
                      <a:pt x="60" y="120"/>
                    </a:lnTo>
                    <a:lnTo>
                      <a:pt x="180" y="0"/>
                    </a:lnTo>
                    <a:lnTo>
                      <a:pt x="300" y="120"/>
                    </a:lnTo>
                    <a:lnTo>
                      <a:pt x="510" y="150"/>
                    </a:lnTo>
                    <a:lnTo>
                      <a:pt x="330" y="300"/>
                    </a:lnTo>
                    <a:lnTo>
                      <a:pt x="270" y="450"/>
                    </a:lnTo>
                    <a:lnTo>
                      <a:pt x="30" y="510"/>
                    </a:lnTo>
                    <a:lnTo>
                      <a:pt x="300" y="120"/>
                    </a:lnTo>
                    <a:lnTo>
                      <a:pt x="30" y="300"/>
                    </a:lnTo>
                    <a:lnTo>
                      <a:pt x="90" y="210"/>
                    </a:lnTo>
                    <a:lnTo>
                      <a:pt x="330" y="300"/>
                    </a:lnTo>
                    <a:lnTo>
                      <a:pt x="210" y="330"/>
                    </a:lnTo>
                    <a:lnTo>
                      <a:pt x="270" y="450"/>
                    </a:lnTo>
                    <a:lnTo>
                      <a:pt x="210" y="540"/>
                    </a:lnTo>
                    <a:lnTo>
                      <a:pt x="90" y="6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8" name="Freeform 2517">
                <a:extLst>
                  <a:ext uri="{FF2B5EF4-FFF2-40B4-BE49-F238E27FC236}">
                    <a16:creationId xmlns:a16="http://schemas.microsoft.com/office/drawing/2014/main" xmlns="" id="{5709CBE7-662C-4D12-AE0B-F37BE4E15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2190"/>
                <a:ext cx="420" cy="480"/>
              </a:xfrm>
              <a:custGeom>
                <a:avLst/>
                <a:gdLst>
                  <a:gd name="T0" fmla="*/ 420 w 420"/>
                  <a:gd name="T1" fmla="*/ 150 h 480"/>
                  <a:gd name="T2" fmla="*/ 120 w 420"/>
                  <a:gd name="T3" fmla="*/ 0 h 480"/>
                  <a:gd name="T4" fmla="*/ 0 w 420"/>
                  <a:gd name="T5" fmla="*/ 120 h 480"/>
                  <a:gd name="T6" fmla="*/ 240 w 420"/>
                  <a:gd name="T7" fmla="*/ 300 h 480"/>
                  <a:gd name="T8" fmla="*/ 120 w 420"/>
                  <a:gd name="T9" fmla="*/ 360 h 480"/>
                  <a:gd name="T10" fmla="*/ 210 w 420"/>
                  <a:gd name="T11" fmla="*/ 48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0" h="480">
                    <a:moveTo>
                      <a:pt x="420" y="150"/>
                    </a:moveTo>
                    <a:lnTo>
                      <a:pt x="120" y="0"/>
                    </a:lnTo>
                    <a:lnTo>
                      <a:pt x="0" y="120"/>
                    </a:lnTo>
                    <a:lnTo>
                      <a:pt x="240" y="300"/>
                    </a:lnTo>
                    <a:lnTo>
                      <a:pt x="120" y="360"/>
                    </a:lnTo>
                    <a:lnTo>
                      <a:pt x="210" y="4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9" name="Freeform 2518">
                <a:extLst>
                  <a:ext uri="{FF2B5EF4-FFF2-40B4-BE49-F238E27FC236}">
                    <a16:creationId xmlns:a16="http://schemas.microsoft.com/office/drawing/2014/main" xmlns="" id="{354420E3-99C4-4AFE-80BA-483FA3699A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1620"/>
                <a:ext cx="420" cy="690"/>
              </a:xfrm>
              <a:custGeom>
                <a:avLst/>
                <a:gdLst>
                  <a:gd name="T0" fmla="*/ 240 w 420"/>
                  <a:gd name="T1" fmla="*/ 690 h 690"/>
                  <a:gd name="T2" fmla="*/ 210 w 420"/>
                  <a:gd name="T3" fmla="*/ 540 h 690"/>
                  <a:gd name="T4" fmla="*/ 150 w 420"/>
                  <a:gd name="T5" fmla="*/ 270 h 690"/>
                  <a:gd name="T6" fmla="*/ 60 w 420"/>
                  <a:gd name="T7" fmla="*/ 0 h 690"/>
                  <a:gd name="T8" fmla="*/ 0 w 420"/>
                  <a:gd name="T9" fmla="*/ 180 h 690"/>
                  <a:gd name="T10" fmla="*/ 150 w 420"/>
                  <a:gd name="T11" fmla="*/ 270 h 690"/>
                  <a:gd name="T12" fmla="*/ 330 w 420"/>
                  <a:gd name="T13" fmla="*/ 390 h 690"/>
                  <a:gd name="T14" fmla="*/ 270 w 420"/>
                  <a:gd name="T15" fmla="*/ 180 h 690"/>
                  <a:gd name="T16" fmla="*/ 420 w 420"/>
                  <a:gd name="T17" fmla="*/ 300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690">
                    <a:moveTo>
                      <a:pt x="240" y="690"/>
                    </a:moveTo>
                    <a:lnTo>
                      <a:pt x="210" y="540"/>
                    </a:lnTo>
                    <a:lnTo>
                      <a:pt x="150" y="270"/>
                    </a:lnTo>
                    <a:lnTo>
                      <a:pt x="60" y="0"/>
                    </a:lnTo>
                    <a:lnTo>
                      <a:pt x="0" y="180"/>
                    </a:lnTo>
                    <a:lnTo>
                      <a:pt x="150" y="270"/>
                    </a:lnTo>
                    <a:lnTo>
                      <a:pt x="330" y="390"/>
                    </a:lnTo>
                    <a:lnTo>
                      <a:pt x="270" y="180"/>
                    </a:lnTo>
                    <a:lnTo>
                      <a:pt x="42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0" name="Freeform 2519">
                <a:extLst>
                  <a:ext uri="{FF2B5EF4-FFF2-40B4-BE49-F238E27FC236}">
                    <a16:creationId xmlns:a16="http://schemas.microsoft.com/office/drawing/2014/main" xmlns="" id="{37A4CDDC-561B-4CD3-8A04-09AA347C13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6" y="2010"/>
                <a:ext cx="420" cy="180"/>
              </a:xfrm>
              <a:custGeom>
                <a:avLst/>
                <a:gdLst>
                  <a:gd name="T0" fmla="*/ 210 w 420"/>
                  <a:gd name="T1" fmla="*/ 150 h 180"/>
                  <a:gd name="T2" fmla="*/ 0 w 420"/>
                  <a:gd name="T3" fmla="*/ 0 h 180"/>
                  <a:gd name="T4" fmla="*/ 30 w 420"/>
                  <a:gd name="T5" fmla="*/ 180 h 180"/>
                  <a:gd name="T6" fmla="*/ 243 w 420"/>
                  <a:gd name="T7" fmla="*/ 3 h 180"/>
                  <a:gd name="T8" fmla="*/ 390 w 420"/>
                  <a:gd name="T9" fmla="*/ 120 h 180"/>
                  <a:gd name="T10" fmla="*/ 420 w 420"/>
                  <a:gd name="T11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0" h="180">
                    <a:moveTo>
                      <a:pt x="210" y="150"/>
                    </a:moveTo>
                    <a:lnTo>
                      <a:pt x="0" y="0"/>
                    </a:lnTo>
                    <a:lnTo>
                      <a:pt x="30" y="180"/>
                    </a:lnTo>
                    <a:lnTo>
                      <a:pt x="243" y="3"/>
                    </a:lnTo>
                    <a:lnTo>
                      <a:pt x="390" y="120"/>
                    </a:lnTo>
                    <a:lnTo>
                      <a:pt x="42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1" name="Line 2520">
                <a:extLst>
                  <a:ext uri="{FF2B5EF4-FFF2-40B4-BE49-F238E27FC236}">
                    <a16:creationId xmlns:a16="http://schemas.microsoft.com/office/drawing/2014/main" xmlns="" id="{55D3A273-7976-4321-ADC2-6CC1D1432F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96" y="2190"/>
                <a:ext cx="0" cy="3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2" name="Line 2521">
                <a:extLst>
                  <a:ext uri="{FF2B5EF4-FFF2-40B4-BE49-F238E27FC236}">
                    <a16:creationId xmlns:a16="http://schemas.microsoft.com/office/drawing/2014/main" xmlns="" id="{9D4F8BA0-7ABB-4CBD-9424-051A138A15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426" y="2310"/>
                <a:ext cx="39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3" name="Freeform 2522">
                <a:extLst>
                  <a:ext uri="{FF2B5EF4-FFF2-40B4-BE49-F238E27FC236}">
                    <a16:creationId xmlns:a16="http://schemas.microsoft.com/office/drawing/2014/main" xmlns="" id="{633F8ACE-7940-42AB-B798-5DC9B87987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950"/>
                <a:ext cx="180" cy="360"/>
              </a:xfrm>
              <a:custGeom>
                <a:avLst/>
                <a:gdLst>
                  <a:gd name="T0" fmla="*/ 180 w 180"/>
                  <a:gd name="T1" fmla="*/ 240 h 360"/>
                  <a:gd name="T2" fmla="*/ 0 w 180"/>
                  <a:gd name="T3" fmla="*/ 210 h 360"/>
                  <a:gd name="T4" fmla="*/ 60 w 180"/>
                  <a:gd name="T5" fmla="*/ 360 h 360"/>
                  <a:gd name="T6" fmla="*/ 180 w 180"/>
                  <a:gd name="T7" fmla="*/ 90 h 360"/>
                  <a:gd name="T8" fmla="*/ 90 w 180"/>
                  <a:gd name="T9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360">
                    <a:moveTo>
                      <a:pt x="180" y="240"/>
                    </a:moveTo>
                    <a:lnTo>
                      <a:pt x="0" y="210"/>
                    </a:lnTo>
                    <a:lnTo>
                      <a:pt x="60" y="360"/>
                    </a:lnTo>
                    <a:lnTo>
                      <a:pt x="180" y="90"/>
                    </a:lnTo>
                    <a:lnTo>
                      <a:pt x="9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4" name="Line 2523">
                <a:extLst>
                  <a:ext uri="{FF2B5EF4-FFF2-40B4-BE49-F238E27FC236}">
                    <a16:creationId xmlns:a16="http://schemas.microsoft.com/office/drawing/2014/main" xmlns="" id="{FAE5ED8C-2B67-4AA2-8187-9F9EFE2125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276" y="2040"/>
                <a:ext cx="18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5" name="Freeform 2524">
                <a:extLst>
                  <a:ext uri="{FF2B5EF4-FFF2-40B4-BE49-F238E27FC236}">
                    <a16:creationId xmlns:a16="http://schemas.microsoft.com/office/drawing/2014/main" xmlns="" id="{7C4482DA-292E-4F59-81E8-299CCFFCD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6" y="1260"/>
                <a:ext cx="180" cy="330"/>
              </a:xfrm>
              <a:custGeom>
                <a:avLst/>
                <a:gdLst>
                  <a:gd name="T0" fmla="*/ 60 w 180"/>
                  <a:gd name="T1" fmla="*/ 0 h 330"/>
                  <a:gd name="T2" fmla="*/ 180 w 180"/>
                  <a:gd name="T3" fmla="*/ 30 h 330"/>
                  <a:gd name="T4" fmla="*/ 0 w 180"/>
                  <a:gd name="T5" fmla="*/ 120 h 330"/>
                  <a:gd name="T6" fmla="*/ 180 w 180"/>
                  <a:gd name="T7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60" y="0"/>
                    </a:moveTo>
                    <a:lnTo>
                      <a:pt x="180" y="30"/>
                    </a:lnTo>
                    <a:lnTo>
                      <a:pt x="0" y="120"/>
                    </a:lnTo>
                    <a:lnTo>
                      <a:pt x="18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6" name="Freeform 2525">
                <a:extLst>
                  <a:ext uri="{FF2B5EF4-FFF2-40B4-BE49-F238E27FC236}">
                    <a16:creationId xmlns:a16="http://schemas.microsoft.com/office/drawing/2014/main" xmlns="" id="{941F5C55-B82E-4F18-87A6-0F7B0F830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1530"/>
                <a:ext cx="180" cy="150"/>
              </a:xfrm>
              <a:custGeom>
                <a:avLst/>
                <a:gdLst>
                  <a:gd name="T0" fmla="*/ 60 w 180"/>
                  <a:gd name="T1" fmla="*/ 0 h 150"/>
                  <a:gd name="T2" fmla="*/ 180 w 180"/>
                  <a:gd name="T3" fmla="*/ 150 h 150"/>
                  <a:gd name="T4" fmla="*/ 0 w 180"/>
                  <a:gd name="T5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60" y="0"/>
                    </a:moveTo>
                    <a:lnTo>
                      <a:pt x="180" y="150"/>
                    </a:lnTo>
                    <a:lnTo>
                      <a:pt x="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7" name="Freeform 2526">
                <a:extLst>
                  <a:ext uri="{FF2B5EF4-FFF2-40B4-BE49-F238E27FC236}">
                    <a16:creationId xmlns:a16="http://schemas.microsoft.com/office/drawing/2014/main" xmlns="" id="{4568AD27-4896-4288-9782-2E93684E6A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110"/>
                <a:ext cx="690" cy="300"/>
              </a:xfrm>
              <a:custGeom>
                <a:avLst/>
                <a:gdLst>
                  <a:gd name="T0" fmla="*/ 330 w 690"/>
                  <a:gd name="T1" fmla="*/ 270 h 300"/>
                  <a:gd name="T2" fmla="*/ 240 w 690"/>
                  <a:gd name="T3" fmla="*/ 150 h 300"/>
                  <a:gd name="T4" fmla="*/ 180 w 690"/>
                  <a:gd name="T5" fmla="*/ 300 h 300"/>
                  <a:gd name="T6" fmla="*/ 0 w 690"/>
                  <a:gd name="T7" fmla="*/ 210 h 300"/>
                  <a:gd name="T8" fmla="*/ 60 w 690"/>
                  <a:gd name="T9" fmla="*/ 90 h 300"/>
                  <a:gd name="T10" fmla="*/ 240 w 690"/>
                  <a:gd name="T11" fmla="*/ 150 h 300"/>
                  <a:gd name="T12" fmla="*/ 360 w 690"/>
                  <a:gd name="T13" fmla="*/ 30 h 300"/>
                  <a:gd name="T14" fmla="*/ 390 w 690"/>
                  <a:gd name="T15" fmla="*/ 150 h 300"/>
                  <a:gd name="T16" fmla="*/ 480 w 690"/>
                  <a:gd name="T17" fmla="*/ 30 h 300"/>
                  <a:gd name="T18" fmla="*/ 690 w 690"/>
                  <a:gd name="T19" fmla="*/ 120 h 300"/>
                  <a:gd name="T20" fmla="*/ 600 w 690"/>
                  <a:gd name="T21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0" h="300">
                    <a:moveTo>
                      <a:pt x="330" y="270"/>
                    </a:moveTo>
                    <a:lnTo>
                      <a:pt x="240" y="150"/>
                    </a:lnTo>
                    <a:lnTo>
                      <a:pt x="180" y="300"/>
                    </a:lnTo>
                    <a:lnTo>
                      <a:pt x="0" y="210"/>
                    </a:lnTo>
                    <a:lnTo>
                      <a:pt x="60" y="90"/>
                    </a:lnTo>
                    <a:lnTo>
                      <a:pt x="240" y="150"/>
                    </a:lnTo>
                    <a:lnTo>
                      <a:pt x="360" y="30"/>
                    </a:lnTo>
                    <a:lnTo>
                      <a:pt x="390" y="150"/>
                    </a:lnTo>
                    <a:lnTo>
                      <a:pt x="480" y="30"/>
                    </a:lnTo>
                    <a:lnTo>
                      <a:pt x="690" y="120"/>
                    </a:lnTo>
                    <a:lnTo>
                      <a:pt x="60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8" name="Freeform 2527">
                <a:extLst>
                  <a:ext uri="{FF2B5EF4-FFF2-40B4-BE49-F238E27FC236}">
                    <a16:creationId xmlns:a16="http://schemas.microsoft.com/office/drawing/2014/main" xmlns="" id="{25847310-7E94-4C50-9437-764091E5C7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600"/>
                <a:ext cx="480" cy="600"/>
              </a:xfrm>
              <a:custGeom>
                <a:avLst/>
                <a:gdLst>
                  <a:gd name="T0" fmla="*/ 60 w 480"/>
                  <a:gd name="T1" fmla="*/ 480 h 600"/>
                  <a:gd name="T2" fmla="*/ 180 w 480"/>
                  <a:gd name="T3" fmla="*/ 540 h 600"/>
                  <a:gd name="T4" fmla="*/ 300 w 480"/>
                  <a:gd name="T5" fmla="*/ 420 h 600"/>
                  <a:gd name="T6" fmla="*/ 330 w 480"/>
                  <a:gd name="T7" fmla="*/ 180 h 600"/>
                  <a:gd name="T8" fmla="*/ 390 w 480"/>
                  <a:gd name="T9" fmla="*/ 300 h 600"/>
                  <a:gd name="T10" fmla="*/ 480 w 480"/>
                  <a:gd name="T11" fmla="*/ 210 h 600"/>
                  <a:gd name="T12" fmla="*/ 420 w 480"/>
                  <a:gd name="T13" fmla="*/ 60 h 600"/>
                  <a:gd name="T14" fmla="*/ 300 w 480"/>
                  <a:gd name="T15" fmla="*/ 60 h 600"/>
                  <a:gd name="T16" fmla="*/ 210 w 480"/>
                  <a:gd name="T17" fmla="*/ 0 h 600"/>
                  <a:gd name="T18" fmla="*/ 150 w 480"/>
                  <a:gd name="T19" fmla="*/ 90 h 600"/>
                  <a:gd name="T20" fmla="*/ 180 w 480"/>
                  <a:gd name="T21" fmla="*/ 270 h 600"/>
                  <a:gd name="T22" fmla="*/ 30 w 480"/>
                  <a:gd name="T23" fmla="*/ 150 h 600"/>
                  <a:gd name="T24" fmla="*/ 0 w 480"/>
                  <a:gd name="T25" fmla="*/ 300 h 600"/>
                  <a:gd name="T26" fmla="*/ 120 w 480"/>
                  <a:gd name="T27" fmla="*/ 390 h 600"/>
                  <a:gd name="T28" fmla="*/ 60 w 480"/>
                  <a:gd name="T29" fmla="*/ 480 h 600"/>
                  <a:gd name="T30" fmla="*/ 60 w 480"/>
                  <a:gd name="T31" fmla="*/ 60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0" h="600">
                    <a:moveTo>
                      <a:pt x="60" y="480"/>
                    </a:moveTo>
                    <a:lnTo>
                      <a:pt x="180" y="540"/>
                    </a:lnTo>
                    <a:lnTo>
                      <a:pt x="300" y="420"/>
                    </a:lnTo>
                    <a:lnTo>
                      <a:pt x="330" y="180"/>
                    </a:lnTo>
                    <a:lnTo>
                      <a:pt x="390" y="300"/>
                    </a:lnTo>
                    <a:lnTo>
                      <a:pt x="480" y="210"/>
                    </a:lnTo>
                    <a:lnTo>
                      <a:pt x="420" y="60"/>
                    </a:lnTo>
                    <a:lnTo>
                      <a:pt x="300" y="60"/>
                    </a:lnTo>
                    <a:lnTo>
                      <a:pt x="210" y="0"/>
                    </a:lnTo>
                    <a:lnTo>
                      <a:pt x="150" y="90"/>
                    </a:lnTo>
                    <a:lnTo>
                      <a:pt x="180" y="270"/>
                    </a:lnTo>
                    <a:lnTo>
                      <a:pt x="30" y="150"/>
                    </a:lnTo>
                    <a:lnTo>
                      <a:pt x="0" y="300"/>
                    </a:lnTo>
                    <a:lnTo>
                      <a:pt x="120" y="390"/>
                    </a:lnTo>
                    <a:lnTo>
                      <a:pt x="60" y="480"/>
                    </a:lnTo>
                    <a:lnTo>
                      <a:pt x="60" y="6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9" name="Freeform 2528">
                <a:extLst>
                  <a:ext uri="{FF2B5EF4-FFF2-40B4-BE49-F238E27FC236}">
                    <a16:creationId xmlns:a16="http://schemas.microsoft.com/office/drawing/2014/main" xmlns="" id="{A7545D2F-E4DF-4F0C-AD9B-28321A7E07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450"/>
                <a:ext cx="90" cy="240"/>
              </a:xfrm>
              <a:custGeom>
                <a:avLst/>
                <a:gdLst>
                  <a:gd name="T0" fmla="*/ 0 w 90"/>
                  <a:gd name="T1" fmla="*/ 120 h 240"/>
                  <a:gd name="T2" fmla="*/ 90 w 90"/>
                  <a:gd name="T3" fmla="*/ 240 h 240"/>
                  <a:gd name="T4" fmla="*/ 60 w 90"/>
                  <a:gd name="T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240">
                    <a:moveTo>
                      <a:pt x="0" y="120"/>
                    </a:moveTo>
                    <a:lnTo>
                      <a:pt x="90" y="240"/>
                    </a:lnTo>
                    <a:lnTo>
                      <a:pt x="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0" name="Freeform 2529">
                <a:extLst>
                  <a:ext uri="{FF2B5EF4-FFF2-40B4-BE49-F238E27FC236}">
                    <a16:creationId xmlns:a16="http://schemas.microsoft.com/office/drawing/2014/main" xmlns="" id="{099591AD-98FA-4887-B4E4-2B9758E6B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6" y="690"/>
                <a:ext cx="180" cy="330"/>
              </a:xfrm>
              <a:custGeom>
                <a:avLst/>
                <a:gdLst>
                  <a:gd name="T0" fmla="*/ 180 w 180"/>
                  <a:gd name="T1" fmla="*/ 90 h 330"/>
                  <a:gd name="T2" fmla="*/ 30 w 180"/>
                  <a:gd name="T3" fmla="*/ 180 h 330"/>
                  <a:gd name="T4" fmla="*/ 150 w 180"/>
                  <a:gd name="T5" fmla="*/ 330 h 330"/>
                  <a:gd name="T6" fmla="*/ 0 w 180"/>
                  <a:gd name="T7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180" y="90"/>
                    </a:moveTo>
                    <a:lnTo>
                      <a:pt x="30" y="180"/>
                    </a:lnTo>
                    <a:lnTo>
                      <a:pt x="150" y="3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1" name="Freeform 2530">
                <a:extLst>
                  <a:ext uri="{FF2B5EF4-FFF2-40B4-BE49-F238E27FC236}">
                    <a16:creationId xmlns:a16="http://schemas.microsoft.com/office/drawing/2014/main" xmlns="" id="{73D51C8C-7161-4667-B936-D9E287074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900"/>
                <a:ext cx="210" cy="240"/>
              </a:xfrm>
              <a:custGeom>
                <a:avLst/>
                <a:gdLst>
                  <a:gd name="T0" fmla="*/ 90 w 210"/>
                  <a:gd name="T1" fmla="*/ 0 h 240"/>
                  <a:gd name="T2" fmla="*/ 60 w 210"/>
                  <a:gd name="T3" fmla="*/ 240 h 240"/>
                  <a:gd name="T4" fmla="*/ 0 w 210"/>
                  <a:gd name="T5" fmla="*/ 120 h 240"/>
                  <a:gd name="T6" fmla="*/ 180 w 210"/>
                  <a:gd name="T7" fmla="*/ 240 h 240"/>
                  <a:gd name="T8" fmla="*/ 210 w 210"/>
                  <a:gd name="T9" fmla="*/ 60 h 240"/>
                  <a:gd name="T10" fmla="*/ 90 w 210"/>
                  <a:gd name="T11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0" h="240">
                    <a:moveTo>
                      <a:pt x="90" y="0"/>
                    </a:moveTo>
                    <a:lnTo>
                      <a:pt x="60" y="240"/>
                    </a:lnTo>
                    <a:lnTo>
                      <a:pt x="0" y="120"/>
                    </a:lnTo>
                    <a:lnTo>
                      <a:pt x="180" y="240"/>
                    </a:lnTo>
                    <a:lnTo>
                      <a:pt x="210" y="60"/>
                    </a:lnTo>
                    <a:lnTo>
                      <a:pt x="9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2" name="Line 2531">
                <a:extLst>
                  <a:ext uri="{FF2B5EF4-FFF2-40B4-BE49-F238E27FC236}">
                    <a16:creationId xmlns:a16="http://schemas.microsoft.com/office/drawing/2014/main" xmlns="" id="{9E32CCDD-2F31-4FB0-B95B-44FC3119C8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576" y="960"/>
                <a:ext cx="21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3" name="Freeform 2532">
                <a:extLst>
                  <a:ext uri="{FF2B5EF4-FFF2-40B4-BE49-F238E27FC236}">
                    <a16:creationId xmlns:a16="http://schemas.microsoft.com/office/drawing/2014/main" xmlns="" id="{0CC01CF7-743A-4172-AC29-D247F576C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990"/>
                <a:ext cx="360" cy="330"/>
              </a:xfrm>
              <a:custGeom>
                <a:avLst/>
                <a:gdLst>
                  <a:gd name="T0" fmla="*/ 120 w 360"/>
                  <a:gd name="T1" fmla="*/ 0 h 330"/>
                  <a:gd name="T2" fmla="*/ 360 w 360"/>
                  <a:gd name="T3" fmla="*/ 150 h 330"/>
                  <a:gd name="T4" fmla="*/ 180 w 360"/>
                  <a:gd name="T5" fmla="*/ 150 h 330"/>
                  <a:gd name="T6" fmla="*/ 240 w 360"/>
                  <a:gd name="T7" fmla="*/ 270 h 330"/>
                  <a:gd name="T8" fmla="*/ 0 w 360"/>
                  <a:gd name="T9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0" h="330">
                    <a:moveTo>
                      <a:pt x="120" y="0"/>
                    </a:moveTo>
                    <a:lnTo>
                      <a:pt x="360" y="150"/>
                    </a:lnTo>
                    <a:lnTo>
                      <a:pt x="180" y="150"/>
                    </a:lnTo>
                    <a:lnTo>
                      <a:pt x="240" y="270"/>
                    </a:lnTo>
                    <a:lnTo>
                      <a:pt x="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4" name="Line 2533">
                <a:extLst>
                  <a:ext uri="{FF2B5EF4-FFF2-40B4-BE49-F238E27FC236}">
                    <a16:creationId xmlns:a16="http://schemas.microsoft.com/office/drawing/2014/main" xmlns="" id="{2831E7E2-6F39-47E2-AAC0-5284361BA2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336" y="1140"/>
                <a:ext cx="120" cy="3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5" name="Freeform 2534">
                <a:extLst>
                  <a:ext uri="{FF2B5EF4-FFF2-40B4-BE49-F238E27FC236}">
                    <a16:creationId xmlns:a16="http://schemas.microsoft.com/office/drawing/2014/main" xmlns="" id="{4501E274-7DE6-4D23-B3BB-9C5AEF520A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1290"/>
                <a:ext cx="450" cy="600"/>
              </a:xfrm>
              <a:custGeom>
                <a:avLst/>
                <a:gdLst>
                  <a:gd name="T0" fmla="*/ 270 w 450"/>
                  <a:gd name="T1" fmla="*/ 510 h 600"/>
                  <a:gd name="T2" fmla="*/ 150 w 450"/>
                  <a:gd name="T3" fmla="*/ 600 h 600"/>
                  <a:gd name="T4" fmla="*/ 270 w 450"/>
                  <a:gd name="T5" fmla="*/ 90 h 600"/>
                  <a:gd name="T6" fmla="*/ 60 w 450"/>
                  <a:gd name="T7" fmla="*/ 330 h 600"/>
                  <a:gd name="T8" fmla="*/ 0 w 450"/>
                  <a:gd name="T9" fmla="*/ 210 h 600"/>
                  <a:gd name="T10" fmla="*/ 120 w 450"/>
                  <a:gd name="T11" fmla="*/ 120 h 600"/>
                  <a:gd name="T12" fmla="*/ 240 w 450"/>
                  <a:gd name="T13" fmla="*/ 390 h 600"/>
                  <a:gd name="T14" fmla="*/ 300 w 450"/>
                  <a:gd name="T15" fmla="*/ 240 h 600"/>
                  <a:gd name="T16" fmla="*/ 450 w 450"/>
                  <a:gd name="T17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0" h="600">
                    <a:moveTo>
                      <a:pt x="270" y="510"/>
                    </a:moveTo>
                    <a:lnTo>
                      <a:pt x="150" y="600"/>
                    </a:lnTo>
                    <a:lnTo>
                      <a:pt x="270" y="90"/>
                    </a:lnTo>
                    <a:lnTo>
                      <a:pt x="60" y="330"/>
                    </a:lnTo>
                    <a:lnTo>
                      <a:pt x="0" y="210"/>
                    </a:lnTo>
                    <a:lnTo>
                      <a:pt x="120" y="120"/>
                    </a:lnTo>
                    <a:lnTo>
                      <a:pt x="240" y="390"/>
                    </a:lnTo>
                    <a:lnTo>
                      <a:pt x="300" y="240"/>
                    </a:lnTo>
                    <a:lnTo>
                      <a:pt x="4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6" name="Freeform 2535">
                <a:extLst>
                  <a:ext uri="{FF2B5EF4-FFF2-40B4-BE49-F238E27FC236}">
                    <a16:creationId xmlns:a16="http://schemas.microsoft.com/office/drawing/2014/main" xmlns="" id="{65855E69-BFAC-4CA9-9B86-ABE93CAA15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60"/>
                <a:ext cx="390" cy="540"/>
              </a:xfrm>
              <a:custGeom>
                <a:avLst/>
                <a:gdLst>
                  <a:gd name="T0" fmla="*/ 90 w 390"/>
                  <a:gd name="T1" fmla="*/ 210 h 540"/>
                  <a:gd name="T2" fmla="*/ 270 w 390"/>
                  <a:gd name="T3" fmla="*/ 0 h 540"/>
                  <a:gd name="T4" fmla="*/ 390 w 390"/>
                  <a:gd name="T5" fmla="*/ 90 h 540"/>
                  <a:gd name="T6" fmla="*/ 360 w 390"/>
                  <a:gd name="T7" fmla="*/ 240 h 540"/>
                  <a:gd name="T8" fmla="*/ 270 w 390"/>
                  <a:gd name="T9" fmla="*/ 210 h 540"/>
                  <a:gd name="T10" fmla="*/ 60 w 390"/>
                  <a:gd name="T11" fmla="*/ 360 h 540"/>
                  <a:gd name="T12" fmla="*/ 90 w 390"/>
                  <a:gd name="T13" fmla="*/ 210 h 540"/>
                  <a:gd name="T14" fmla="*/ 240 w 390"/>
                  <a:gd name="T15" fmla="*/ 300 h 540"/>
                  <a:gd name="T16" fmla="*/ 0 w 390"/>
                  <a:gd name="T17" fmla="*/ 54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0" h="540">
                    <a:moveTo>
                      <a:pt x="90" y="210"/>
                    </a:moveTo>
                    <a:lnTo>
                      <a:pt x="270" y="0"/>
                    </a:lnTo>
                    <a:lnTo>
                      <a:pt x="390" y="90"/>
                    </a:lnTo>
                    <a:lnTo>
                      <a:pt x="360" y="240"/>
                    </a:lnTo>
                    <a:lnTo>
                      <a:pt x="270" y="210"/>
                    </a:lnTo>
                    <a:lnTo>
                      <a:pt x="60" y="360"/>
                    </a:lnTo>
                    <a:lnTo>
                      <a:pt x="90" y="210"/>
                    </a:lnTo>
                    <a:lnTo>
                      <a:pt x="240" y="300"/>
                    </a:lnTo>
                    <a:lnTo>
                      <a:pt x="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7" name="Line 2536">
                <a:extLst>
                  <a:ext uri="{FF2B5EF4-FFF2-40B4-BE49-F238E27FC236}">
                    <a16:creationId xmlns:a16="http://schemas.microsoft.com/office/drawing/2014/main" xmlns="" id="{9070869B-C1E4-4AC6-B5EF-F6CC723729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76" y="120"/>
                <a:ext cx="6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8" name="Freeform 2537">
                <a:extLst>
                  <a:ext uri="{FF2B5EF4-FFF2-40B4-BE49-F238E27FC236}">
                    <a16:creationId xmlns:a16="http://schemas.microsoft.com/office/drawing/2014/main" xmlns="" id="{61CFEBAB-E174-48BF-ABBF-F21C43910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420"/>
                <a:ext cx="300" cy="570"/>
              </a:xfrm>
              <a:custGeom>
                <a:avLst/>
                <a:gdLst>
                  <a:gd name="T0" fmla="*/ 90 w 300"/>
                  <a:gd name="T1" fmla="*/ 30 h 570"/>
                  <a:gd name="T2" fmla="*/ 240 w 300"/>
                  <a:gd name="T3" fmla="*/ 0 h 570"/>
                  <a:gd name="T4" fmla="*/ 180 w 300"/>
                  <a:gd name="T5" fmla="*/ 180 h 570"/>
                  <a:gd name="T6" fmla="*/ 90 w 300"/>
                  <a:gd name="T7" fmla="*/ 30 h 570"/>
                  <a:gd name="T8" fmla="*/ 30 w 300"/>
                  <a:gd name="T9" fmla="*/ 150 h 570"/>
                  <a:gd name="T10" fmla="*/ 0 w 300"/>
                  <a:gd name="T11" fmla="*/ 330 h 570"/>
                  <a:gd name="T12" fmla="*/ 90 w 300"/>
                  <a:gd name="T13" fmla="*/ 570 h 570"/>
                  <a:gd name="T14" fmla="*/ 150 w 300"/>
                  <a:gd name="T15" fmla="*/ 450 h 570"/>
                  <a:gd name="T16" fmla="*/ 270 w 300"/>
                  <a:gd name="T17" fmla="*/ 240 h 570"/>
                  <a:gd name="T18" fmla="*/ 300 w 300"/>
                  <a:gd name="T19" fmla="*/ 120 h 570"/>
                  <a:gd name="T20" fmla="*/ 240 w 300"/>
                  <a:gd name="T21" fmla="*/ 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0" h="570">
                    <a:moveTo>
                      <a:pt x="90" y="30"/>
                    </a:moveTo>
                    <a:lnTo>
                      <a:pt x="240" y="0"/>
                    </a:lnTo>
                    <a:lnTo>
                      <a:pt x="180" y="180"/>
                    </a:lnTo>
                    <a:lnTo>
                      <a:pt x="90" y="30"/>
                    </a:lnTo>
                    <a:lnTo>
                      <a:pt x="30" y="150"/>
                    </a:lnTo>
                    <a:lnTo>
                      <a:pt x="0" y="330"/>
                    </a:lnTo>
                    <a:lnTo>
                      <a:pt x="90" y="570"/>
                    </a:lnTo>
                    <a:lnTo>
                      <a:pt x="150" y="450"/>
                    </a:lnTo>
                    <a:lnTo>
                      <a:pt x="270" y="240"/>
                    </a:lnTo>
                    <a:lnTo>
                      <a:pt x="300" y="120"/>
                    </a:lnTo>
                    <a:lnTo>
                      <a:pt x="24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9" name="Freeform 2538">
                <a:extLst>
                  <a:ext uri="{FF2B5EF4-FFF2-40B4-BE49-F238E27FC236}">
                    <a16:creationId xmlns:a16="http://schemas.microsoft.com/office/drawing/2014/main" xmlns="" id="{B301EB76-9BA0-4DB0-ACEC-8A77286E0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300"/>
                <a:ext cx="150" cy="360"/>
              </a:xfrm>
              <a:custGeom>
                <a:avLst/>
                <a:gdLst>
                  <a:gd name="T0" fmla="*/ 0 w 150"/>
                  <a:gd name="T1" fmla="*/ 360 h 360"/>
                  <a:gd name="T2" fmla="*/ 30 w 150"/>
                  <a:gd name="T3" fmla="*/ 180 h 360"/>
                  <a:gd name="T4" fmla="*/ 150 w 150"/>
                  <a:gd name="T5" fmla="*/ 0 h 360"/>
                  <a:gd name="T6" fmla="*/ 30 w 150"/>
                  <a:gd name="T7" fmla="*/ 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0" h="360">
                    <a:moveTo>
                      <a:pt x="0" y="360"/>
                    </a:moveTo>
                    <a:lnTo>
                      <a:pt x="30" y="180"/>
                    </a:lnTo>
                    <a:lnTo>
                      <a:pt x="150" y="0"/>
                    </a:lnTo>
                    <a:lnTo>
                      <a:pt x="3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0" name="Freeform 2539">
                <a:extLst>
                  <a:ext uri="{FF2B5EF4-FFF2-40B4-BE49-F238E27FC236}">
                    <a16:creationId xmlns:a16="http://schemas.microsoft.com/office/drawing/2014/main" xmlns="" id="{9040ABAE-77D7-43E4-914D-22CB4376F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6" y="60"/>
                <a:ext cx="390" cy="240"/>
              </a:xfrm>
              <a:custGeom>
                <a:avLst/>
                <a:gdLst>
                  <a:gd name="T0" fmla="*/ 390 w 390"/>
                  <a:gd name="T1" fmla="*/ 210 h 240"/>
                  <a:gd name="T2" fmla="*/ 300 w 390"/>
                  <a:gd name="T3" fmla="*/ 0 h 240"/>
                  <a:gd name="T4" fmla="*/ 0 w 390"/>
                  <a:gd name="T5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0" h="240">
                    <a:moveTo>
                      <a:pt x="390" y="210"/>
                    </a:moveTo>
                    <a:lnTo>
                      <a:pt x="300" y="0"/>
                    </a:lnTo>
                    <a:lnTo>
                      <a:pt x="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1" name="Freeform 2540">
                <a:extLst>
                  <a:ext uri="{FF2B5EF4-FFF2-40B4-BE49-F238E27FC236}">
                    <a16:creationId xmlns:a16="http://schemas.microsoft.com/office/drawing/2014/main" xmlns="" id="{E327E3B3-81E0-4A20-918C-55CA9D4A3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2700"/>
                <a:ext cx="480" cy="360"/>
              </a:xfrm>
              <a:custGeom>
                <a:avLst/>
                <a:gdLst>
                  <a:gd name="T0" fmla="*/ 0 w 480"/>
                  <a:gd name="T1" fmla="*/ 300 h 360"/>
                  <a:gd name="T2" fmla="*/ 30 w 480"/>
                  <a:gd name="T3" fmla="*/ 150 h 360"/>
                  <a:gd name="T4" fmla="*/ 180 w 480"/>
                  <a:gd name="T5" fmla="*/ 360 h 360"/>
                  <a:gd name="T6" fmla="*/ 330 w 480"/>
                  <a:gd name="T7" fmla="*/ 300 h 360"/>
                  <a:gd name="T8" fmla="*/ 330 w 480"/>
                  <a:gd name="T9" fmla="*/ 210 h 360"/>
                  <a:gd name="T10" fmla="*/ 150 w 480"/>
                  <a:gd name="T11" fmla="*/ 210 h 360"/>
                  <a:gd name="T12" fmla="*/ 420 w 480"/>
                  <a:gd name="T13" fmla="*/ 120 h 360"/>
                  <a:gd name="T14" fmla="*/ 450 w 480"/>
                  <a:gd name="T15" fmla="*/ 270 h 360"/>
                  <a:gd name="T16" fmla="*/ 480 w 480"/>
                  <a:gd name="T1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0" h="360">
                    <a:moveTo>
                      <a:pt x="0" y="300"/>
                    </a:moveTo>
                    <a:lnTo>
                      <a:pt x="30" y="150"/>
                    </a:lnTo>
                    <a:lnTo>
                      <a:pt x="180" y="360"/>
                    </a:lnTo>
                    <a:lnTo>
                      <a:pt x="330" y="300"/>
                    </a:lnTo>
                    <a:lnTo>
                      <a:pt x="330" y="210"/>
                    </a:lnTo>
                    <a:lnTo>
                      <a:pt x="150" y="210"/>
                    </a:lnTo>
                    <a:lnTo>
                      <a:pt x="420" y="120"/>
                    </a:lnTo>
                    <a:lnTo>
                      <a:pt x="450" y="270"/>
                    </a:lnTo>
                    <a:lnTo>
                      <a:pt x="4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2" name="Freeform 2541">
                <a:extLst>
                  <a:ext uri="{FF2B5EF4-FFF2-40B4-BE49-F238E27FC236}">
                    <a16:creationId xmlns:a16="http://schemas.microsoft.com/office/drawing/2014/main" xmlns="" id="{E7902DDA-BD61-43E0-B090-59FE11167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1950"/>
                <a:ext cx="570" cy="1260"/>
              </a:xfrm>
              <a:custGeom>
                <a:avLst/>
                <a:gdLst>
                  <a:gd name="T0" fmla="*/ 540 w 570"/>
                  <a:gd name="T1" fmla="*/ 1200 h 1260"/>
                  <a:gd name="T2" fmla="*/ 300 w 570"/>
                  <a:gd name="T3" fmla="*/ 1260 h 1260"/>
                  <a:gd name="T4" fmla="*/ 210 w 570"/>
                  <a:gd name="T5" fmla="*/ 1170 h 1260"/>
                  <a:gd name="T6" fmla="*/ 90 w 570"/>
                  <a:gd name="T7" fmla="*/ 1140 h 1260"/>
                  <a:gd name="T8" fmla="*/ 0 w 570"/>
                  <a:gd name="T9" fmla="*/ 990 h 1260"/>
                  <a:gd name="T10" fmla="*/ 180 w 570"/>
                  <a:gd name="T11" fmla="*/ 900 h 1260"/>
                  <a:gd name="T12" fmla="*/ 180 w 570"/>
                  <a:gd name="T13" fmla="*/ 720 h 1260"/>
                  <a:gd name="T14" fmla="*/ 300 w 570"/>
                  <a:gd name="T15" fmla="*/ 960 h 1260"/>
                  <a:gd name="T16" fmla="*/ 300 w 570"/>
                  <a:gd name="T17" fmla="*/ 750 h 1260"/>
                  <a:gd name="T18" fmla="*/ 480 w 570"/>
                  <a:gd name="T19" fmla="*/ 570 h 1260"/>
                  <a:gd name="T20" fmla="*/ 270 w 570"/>
                  <a:gd name="T21" fmla="*/ 630 h 1260"/>
                  <a:gd name="T22" fmla="*/ 150 w 570"/>
                  <a:gd name="T23" fmla="*/ 600 h 1260"/>
                  <a:gd name="T24" fmla="*/ 360 w 570"/>
                  <a:gd name="T25" fmla="*/ 450 h 1260"/>
                  <a:gd name="T26" fmla="*/ 240 w 570"/>
                  <a:gd name="T27" fmla="*/ 300 h 1260"/>
                  <a:gd name="T28" fmla="*/ 120 w 570"/>
                  <a:gd name="T29" fmla="*/ 360 h 1260"/>
                  <a:gd name="T30" fmla="*/ 360 w 570"/>
                  <a:gd name="T31" fmla="*/ 0 h 1260"/>
                  <a:gd name="T32" fmla="*/ 450 w 570"/>
                  <a:gd name="T33" fmla="*/ 210 h 1260"/>
                  <a:gd name="T34" fmla="*/ 570 w 570"/>
                  <a:gd name="T35" fmla="*/ 60 h 1260"/>
                  <a:gd name="T36" fmla="*/ 540 w 570"/>
                  <a:gd name="T37" fmla="*/ 420 h 1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0" h="1260">
                    <a:moveTo>
                      <a:pt x="540" y="1200"/>
                    </a:moveTo>
                    <a:lnTo>
                      <a:pt x="300" y="1260"/>
                    </a:lnTo>
                    <a:lnTo>
                      <a:pt x="210" y="1170"/>
                    </a:lnTo>
                    <a:lnTo>
                      <a:pt x="90" y="1140"/>
                    </a:lnTo>
                    <a:lnTo>
                      <a:pt x="0" y="990"/>
                    </a:lnTo>
                    <a:lnTo>
                      <a:pt x="180" y="900"/>
                    </a:lnTo>
                    <a:lnTo>
                      <a:pt x="180" y="720"/>
                    </a:lnTo>
                    <a:lnTo>
                      <a:pt x="300" y="960"/>
                    </a:lnTo>
                    <a:lnTo>
                      <a:pt x="300" y="750"/>
                    </a:lnTo>
                    <a:lnTo>
                      <a:pt x="480" y="570"/>
                    </a:lnTo>
                    <a:lnTo>
                      <a:pt x="270" y="630"/>
                    </a:lnTo>
                    <a:lnTo>
                      <a:pt x="150" y="600"/>
                    </a:lnTo>
                    <a:lnTo>
                      <a:pt x="360" y="450"/>
                    </a:lnTo>
                    <a:lnTo>
                      <a:pt x="240" y="300"/>
                    </a:lnTo>
                    <a:lnTo>
                      <a:pt x="120" y="360"/>
                    </a:lnTo>
                    <a:lnTo>
                      <a:pt x="360" y="0"/>
                    </a:lnTo>
                    <a:lnTo>
                      <a:pt x="450" y="210"/>
                    </a:lnTo>
                    <a:lnTo>
                      <a:pt x="570" y="60"/>
                    </a:lnTo>
                    <a:lnTo>
                      <a:pt x="540" y="4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3" name="Freeform 2542">
                <a:extLst>
                  <a:ext uri="{FF2B5EF4-FFF2-40B4-BE49-F238E27FC236}">
                    <a16:creationId xmlns:a16="http://schemas.microsoft.com/office/drawing/2014/main" xmlns="" id="{07C9424A-BA75-4A52-AE7C-5C3A0C714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1890"/>
                <a:ext cx="869" cy="1320"/>
              </a:xfrm>
              <a:custGeom>
                <a:avLst/>
                <a:gdLst>
                  <a:gd name="T0" fmla="*/ 869 w 869"/>
                  <a:gd name="T1" fmla="*/ 660 h 1320"/>
                  <a:gd name="T2" fmla="*/ 839 w 869"/>
                  <a:gd name="T3" fmla="*/ 300 h 1320"/>
                  <a:gd name="T4" fmla="*/ 809 w 869"/>
                  <a:gd name="T5" fmla="*/ 120 h 1320"/>
                  <a:gd name="T6" fmla="*/ 719 w 869"/>
                  <a:gd name="T7" fmla="*/ 0 h 1320"/>
                  <a:gd name="T8" fmla="*/ 599 w 869"/>
                  <a:gd name="T9" fmla="*/ 60 h 1320"/>
                  <a:gd name="T10" fmla="*/ 599 w 869"/>
                  <a:gd name="T11" fmla="*/ 150 h 1320"/>
                  <a:gd name="T12" fmla="*/ 509 w 869"/>
                  <a:gd name="T13" fmla="*/ 270 h 1320"/>
                  <a:gd name="T14" fmla="*/ 479 w 869"/>
                  <a:gd name="T15" fmla="*/ 360 h 1320"/>
                  <a:gd name="T16" fmla="*/ 599 w 869"/>
                  <a:gd name="T17" fmla="*/ 300 h 1320"/>
                  <a:gd name="T18" fmla="*/ 689 w 869"/>
                  <a:gd name="T19" fmla="*/ 270 h 1320"/>
                  <a:gd name="T20" fmla="*/ 659 w 869"/>
                  <a:gd name="T21" fmla="*/ 420 h 1320"/>
                  <a:gd name="T22" fmla="*/ 779 w 869"/>
                  <a:gd name="T23" fmla="*/ 480 h 1320"/>
                  <a:gd name="T24" fmla="*/ 869 w 869"/>
                  <a:gd name="T25" fmla="*/ 660 h 1320"/>
                  <a:gd name="T26" fmla="*/ 719 w 869"/>
                  <a:gd name="T27" fmla="*/ 630 h 1320"/>
                  <a:gd name="T28" fmla="*/ 599 w 869"/>
                  <a:gd name="T29" fmla="*/ 510 h 1320"/>
                  <a:gd name="T30" fmla="*/ 539 w 869"/>
                  <a:gd name="T31" fmla="*/ 600 h 1320"/>
                  <a:gd name="T32" fmla="*/ 509 w 869"/>
                  <a:gd name="T33" fmla="*/ 690 h 1320"/>
                  <a:gd name="T34" fmla="*/ 539 w 869"/>
                  <a:gd name="T35" fmla="*/ 810 h 1320"/>
                  <a:gd name="T36" fmla="*/ 269 w 869"/>
                  <a:gd name="T37" fmla="*/ 870 h 1320"/>
                  <a:gd name="T38" fmla="*/ 419 w 869"/>
                  <a:gd name="T39" fmla="*/ 960 h 1320"/>
                  <a:gd name="T40" fmla="*/ 539 w 869"/>
                  <a:gd name="T41" fmla="*/ 1020 h 1320"/>
                  <a:gd name="T42" fmla="*/ 599 w 869"/>
                  <a:gd name="T43" fmla="*/ 930 h 1320"/>
                  <a:gd name="T44" fmla="*/ 719 w 869"/>
                  <a:gd name="T45" fmla="*/ 840 h 1320"/>
                  <a:gd name="T46" fmla="*/ 779 w 869"/>
                  <a:gd name="T47" fmla="*/ 750 h 1320"/>
                  <a:gd name="T48" fmla="*/ 869 w 869"/>
                  <a:gd name="T49" fmla="*/ 810 h 1320"/>
                  <a:gd name="T50" fmla="*/ 809 w 869"/>
                  <a:gd name="T51" fmla="*/ 930 h 1320"/>
                  <a:gd name="T52" fmla="*/ 719 w 869"/>
                  <a:gd name="T53" fmla="*/ 1020 h 1320"/>
                  <a:gd name="T54" fmla="*/ 839 w 869"/>
                  <a:gd name="T55" fmla="*/ 1080 h 1320"/>
                  <a:gd name="T56" fmla="*/ 719 w 869"/>
                  <a:gd name="T57" fmla="*/ 1110 h 1320"/>
                  <a:gd name="T58" fmla="*/ 779 w 869"/>
                  <a:gd name="T59" fmla="*/ 1260 h 1320"/>
                  <a:gd name="T60" fmla="*/ 689 w 869"/>
                  <a:gd name="T61" fmla="*/ 1230 h 1320"/>
                  <a:gd name="T62" fmla="*/ 539 w 869"/>
                  <a:gd name="T63" fmla="*/ 1320 h 1320"/>
                  <a:gd name="T64" fmla="*/ 569 w 869"/>
                  <a:gd name="T65" fmla="*/ 1170 h 1320"/>
                  <a:gd name="T66" fmla="*/ 449 w 869"/>
                  <a:gd name="T67" fmla="*/ 1230 h 1320"/>
                  <a:gd name="T68" fmla="*/ 389 w 869"/>
                  <a:gd name="T69" fmla="*/ 1110 h 1320"/>
                  <a:gd name="T70" fmla="*/ 329 w 869"/>
                  <a:gd name="T71" fmla="*/ 1200 h 1320"/>
                  <a:gd name="T72" fmla="*/ 299 w 869"/>
                  <a:gd name="T73" fmla="*/ 960 h 1320"/>
                  <a:gd name="T74" fmla="*/ 239 w 869"/>
                  <a:gd name="T75" fmla="*/ 1050 h 1320"/>
                  <a:gd name="T76" fmla="*/ 269 w 869"/>
                  <a:gd name="T77" fmla="*/ 870 h 1320"/>
                  <a:gd name="T78" fmla="*/ 419 w 869"/>
                  <a:gd name="T79" fmla="*/ 780 h 1320"/>
                  <a:gd name="T80" fmla="*/ 239 w 869"/>
                  <a:gd name="T81" fmla="*/ 690 h 1320"/>
                  <a:gd name="T82" fmla="*/ 269 w 869"/>
                  <a:gd name="T83" fmla="*/ 870 h 1320"/>
                  <a:gd name="T84" fmla="*/ 389 w 869"/>
                  <a:gd name="T85" fmla="*/ 660 h 1320"/>
                  <a:gd name="T86" fmla="*/ 419 w 869"/>
                  <a:gd name="T87" fmla="*/ 540 h 1320"/>
                  <a:gd name="T88" fmla="*/ 359 w 869"/>
                  <a:gd name="T89" fmla="*/ 420 h 1320"/>
                  <a:gd name="T90" fmla="*/ 389 w 869"/>
                  <a:gd name="T91" fmla="*/ 270 h 1320"/>
                  <a:gd name="T92" fmla="*/ 239 w 869"/>
                  <a:gd name="T93" fmla="*/ 150 h 1320"/>
                  <a:gd name="T94" fmla="*/ 150 w 869"/>
                  <a:gd name="T95" fmla="*/ 270 h 1320"/>
                  <a:gd name="T96" fmla="*/ 0 w 869"/>
                  <a:gd name="T97" fmla="*/ 360 h 1320"/>
                  <a:gd name="T98" fmla="*/ 0 w 869"/>
                  <a:gd name="T99" fmla="*/ 510 h 1320"/>
                  <a:gd name="T100" fmla="*/ 120 w 869"/>
                  <a:gd name="T101" fmla="*/ 420 h 1320"/>
                  <a:gd name="T102" fmla="*/ 269 w 869"/>
                  <a:gd name="T103" fmla="*/ 300 h 1320"/>
                  <a:gd name="T104" fmla="*/ 239 w 869"/>
                  <a:gd name="T105" fmla="*/ 150 h 1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69" h="1320">
                    <a:moveTo>
                      <a:pt x="869" y="660"/>
                    </a:moveTo>
                    <a:lnTo>
                      <a:pt x="839" y="300"/>
                    </a:lnTo>
                    <a:lnTo>
                      <a:pt x="809" y="120"/>
                    </a:lnTo>
                    <a:lnTo>
                      <a:pt x="719" y="0"/>
                    </a:lnTo>
                    <a:lnTo>
                      <a:pt x="599" y="60"/>
                    </a:lnTo>
                    <a:lnTo>
                      <a:pt x="599" y="150"/>
                    </a:lnTo>
                    <a:lnTo>
                      <a:pt x="509" y="270"/>
                    </a:lnTo>
                    <a:lnTo>
                      <a:pt x="479" y="360"/>
                    </a:lnTo>
                    <a:lnTo>
                      <a:pt x="599" y="300"/>
                    </a:lnTo>
                    <a:lnTo>
                      <a:pt x="689" y="270"/>
                    </a:lnTo>
                    <a:lnTo>
                      <a:pt x="659" y="420"/>
                    </a:lnTo>
                    <a:lnTo>
                      <a:pt x="779" y="480"/>
                    </a:lnTo>
                    <a:lnTo>
                      <a:pt x="869" y="660"/>
                    </a:lnTo>
                    <a:lnTo>
                      <a:pt x="719" y="630"/>
                    </a:lnTo>
                    <a:lnTo>
                      <a:pt x="599" y="510"/>
                    </a:lnTo>
                    <a:lnTo>
                      <a:pt x="539" y="600"/>
                    </a:lnTo>
                    <a:lnTo>
                      <a:pt x="509" y="690"/>
                    </a:lnTo>
                    <a:lnTo>
                      <a:pt x="539" y="810"/>
                    </a:lnTo>
                    <a:lnTo>
                      <a:pt x="269" y="870"/>
                    </a:lnTo>
                    <a:lnTo>
                      <a:pt x="419" y="960"/>
                    </a:lnTo>
                    <a:lnTo>
                      <a:pt x="539" y="1020"/>
                    </a:lnTo>
                    <a:lnTo>
                      <a:pt x="599" y="930"/>
                    </a:lnTo>
                    <a:lnTo>
                      <a:pt x="719" y="840"/>
                    </a:lnTo>
                    <a:lnTo>
                      <a:pt x="779" y="750"/>
                    </a:lnTo>
                    <a:lnTo>
                      <a:pt x="869" y="810"/>
                    </a:lnTo>
                    <a:lnTo>
                      <a:pt x="809" y="930"/>
                    </a:lnTo>
                    <a:lnTo>
                      <a:pt x="719" y="1020"/>
                    </a:lnTo>
                    <a:lnTo>
                      <a:pt x="839" y="1080"/>
                    </a:lnTo>
                    <a:lnTo>
                      <a:pt x="719" y="1110"/>
                    </a:lnTo>
                    <a:lnTo>
                      <a:pt x="779" y="1260"/>
                    </a:lnTo>
                    <a:lnTo>
                      <a:pt x="689" y="1230"/>
                    </a:lnTo>
                    <a:lnTo>
                      <a:pt x="539" y="1320"/>
                    </a:lnTo>
                    <a:lnTo>
                      <a:pt x="569" y="1170"/>
                    </a:lnTo>
                    <a:lnTo>
                      <a:pt x="449" y="1230"/>
                    </a:lnTo>
                    <a:lnTo>
                      <a:pt x="389" y="1110"/>
                    </a:lnTo>
                    <a:lnTo>
                      <a:pt x="329" y="1200"/>
                    </a:lnTo>
                    <a:lnTo>
                      <a:pt x="299" y="960"/>
                    </a:lnTo>
                    <a:lnTo>
                      <a:pt x="239" y="1050"/>
                    </a:lnTo>
                    <a:lnTo>
                      <a:pt x="269" y="870"/>
                    </a:lnTo>
                    <a:lnTo>
                      <a:pt x="419" y="780"/>
                    </a:lnTo>
                    <a:lnTo>
                      <a:pt x="239" y="690"/>
                    </a:lnTo>
                    <a:lnTo>
                      <a:pt x="269" y="870"/>
                    </a:lnTo>
                    <a:lnTo>
                      <a:pt x="389" y="660"/>
                    </a:lnTo>
                    <a:lnTo>
                      <a:pt x="419" y="540"/>
                    </a:lnTo>
                    <a:lnTo>
                      <a:pt x="359" y="420"/>
                    </a:lnTo>
                    <a:lnTo>
                      <a:pt x="389" y="270"/>
                    </a:lnTo>
                    <a:lnTo>
                      <a:pt x="239" y="150"/>
                    </a:lnTo>
                    <a:lnTo>
                      <a:pt x="150" y="270"/>
                    </a:lnTo>
                    <a:lnTo>
                      <a:pt x="0" y="360"/>
                    </a:lnTo>
                    <a:lnTo>
                      <a:pt x="0" y="510"/>
                    </a:lnTo>
                    <a:lnTo>
                      <a:pt x="120" y="420"/>
                    </a:lnTo>
                    <a:lnTo>
                      <a:pt x="269" y="300"/>
                    </a:lnTo>
                    <a:lnTo>
                      <a:pt x="239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4" name="Freeform 2543">
                <a:extLst>
                  <a:ext uri="{FF2B5EF4-FFF2-40B4-BE49-F238E27FC236}">
                    <a16:creationId xmlns:a16="http://schemas.microsoft.com/office/drawing/2014/main" xmlns="" id="{9F714CCA-0BAA-4F3E-BC3D-22DAB60A90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2250"/>
                <a:ext cx="390" cy="570"/>
              </a:xfrm>
              <a:custGeom>
                <a:avLst/>
                <a:gdLst>
                  <a:gd name="T0" fmla="*/ 120 w 390"/>
                  <a:gd name="T1" fmla="*/ 450 h 570"/>
                  <a:gd name="T2" fmla="*/ 300 w 390"/>
                  <a:gd name="T3" fmla="*/ 480 h 570"/>
                  <a:gd name="T4" fmla="*/ 390 w 390"/>
                  <a:gd name="T5" fmla="*/ 570 h 570"/>
                  <a:gd name="T6" fmla="*/ 180 w 390"/>
                  <a:gd name="T7" fmla="*/ 570 h 570"/>
                  <a:gd name="T8" fmla="*/ 300 w 390"/>
                  <a:gd name="T9" fmla="*/ 270 h 570"/>
                  <a:gd name="T10" fmla="*/ 300 w 390"/>
                  <a:gd name="T11" fmla="*/ 480 h 570"/>
                  <a:gd name="T12" fmla="*/ 120 w 390"/>
                  <a:gd name="T13" fmla="*/ 240 h 570"/>
                  <a:gd name="T14" fmla="*/ 60 w 390"/>
                  <a:gd name="T15" fmla="*/ 0 h 570"/>
                  <a:gd name="T16" fmla="*/ 0 w 390"/>
                  <a:gd name="T17" fmla="*/ 18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0" h="570">
                    <a:moveTo>
                      <a:pt x="120" y="450"/>
                    </a:moveTo>
                    <a:lnTo>
                      <a:pt x="300" y="480"/>
                    </a:lnTo>
                    <a:lnTo>
                      <a:pt x="390" y="570"/>
                    </a:lnTo>
                    <a:lnTo>
                      <a:pt x="180" y="570"/>
                    </a:lnTo>
                    <a:lnTo>
                      <a:pt x="300" y="270"/>
                    </a:lnTo>
                    <a:lnTo>
                      <a:pt x="300" y="480"/>
                    </a:lnTo>
                    <a:lnTo>
                      <a:pt x="120" y="240"/>
                    </a:lnTo>
                    <a:lnTo>
                      <a:pt x="60" y="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5" name="Freeform 2544">
                <a:extLst>
                  <a:ext uri="{FF2B5EF4-FFF2-40B4-BE49-F238E27FC236}">
                    <a16:creationId xmlns:a16="http://schemas.microsoft.com/office/drawing/2014/main" xmlns="" id="{CF3D1A4B-6A7C-48CA-8070-CD0E5056A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2850"/>
                <a:ext cx="420" cy="210"/>
              </a:xfrm>
              <a:custGeom>
                <a:avLst/>
                <a:gdLst>
                  <a:gd name="T0" fmla="*/ 0 w 420"/>
                  <a:gd name="T1" fmla="*/ 0 h 210"/>
                  <a:gd name="T2" fmla="*/ 90 w 420"/>
                  <a:gd name="T3" fmla="*/ 150 h 210"/>
                  <a:gd name="T4" fmla="*/ 270 w 420"/>
                  <a:gd name="T5" fmla="*/ 210 h 210"/>
                  <a:gd name="T6" fmla="*/ 420 w 420"/>
                  <a:gd name="T7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0" h="210">
                    <a:moveTo>
                      <a:pt x="0" y="0"/>
                    </a:moveTo>
                    <a:lnTo>
                      <a:pt x="90" y="150"/>
                    </a:lnTo>
                    <a:lnTo>
                      <a:pt x="270" y="210"/>
                    </a:lnTo>
                    <a:lnTo>
                      <a:pt x="42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6" name="Freeform 2545">
                <a:extLst>
                  <a:ext uri="{FF2B5EF4-FFF2-40B4-BE49-F238E27FC236}">
                    <a16:creationId xmlns:a16="http://schemas.microsoft.com/office/drawing/2014/main" xmlns="" id="{2AE60525-0B02-44B1-8504-4B75C72BC5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" y="2910"/>
                <a:ext cx="180" cy="210"/>
              </a:xfrm>
              <a:custGeom>
                <a:avLst/>
                <a:gdLst>
                  <a:gd name="T0" fmla="*/ 150 w 180"/>
                  <a:gd name="T1" fmla="*/ 210 h 210"/>
                  <a:gd name="T2" fmla="*/ 30 w 180"/>
                  <a:gd name="T3" fmla="*/ 150 h 210"/>
                  <a:gd name="T4" fmla="*/ 0 w 180"/>
                  <a:gd name="T5" fmla="*/ 0 h 210"/>
                  <a:gd name="T6" fmla="*/ 180 w 180"/>
                  <a:gd name="T7" fmla="*/ 9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210">
                    <a:moveTo>
                      <a:pt x="150" y="210"/>
                    </a:moveTo>
                    <a:lnTo>
                      <a:pt x="30" y="150"/>
                    </a:lnTo>
                    <a:lnTo>
                      <a:pt x="0" y="0"/>
                    </a:lnTo>
                    <a:lnTo>
                      <a:pt x="1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7" name="Line 2546">
                <a:extLst>
                  <a:ext uri="{FF2B5EF4-FFF2-40B4-BE49-F238E27FC236}">
                    <a16:creationId xmlns:a16="http://schemas.microsoft.com/office/drawing/2014/main" xmlns="" id="{AE0763DA-79B2-4B34-B118-81E6169BB6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364" y="297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8" name="Freeform 2547">
                <a:extLst>
                  <a:ext uri="{FF2B5EF4-FFF2-40B4-BE49-F238E27FC236}">
                    <a16:creationId xmlns:a16="http://schemas.microsoft.com/office/drawing/2014/main" xmlns="" id="{E2360472-4FE6-4A39-B433-A4C188A50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4" y="2160"/>
                <a:ext cx="300" cy="150"/>
              </a:xfrm>
              <a:custGeom>
                <a:avLst/>
                <a:gdLst>
                  <a:gd name="T0" fmla="*/ 0 w 300"/>
                  <a:gd name="T1" fmla="*/ 150 h 150"/>
                  <a:gd name="T2" fmla="*/ 300 w 300"/>
                  <a:gd name="T3" fmla="*/ 150 h 150"/>
                  <a:gd name="T4" fmla="*/ 240 w 300"/>
                  <a:gd name="T5" fmla="*/ 30 h 150"/>
                  <a:gd name="T6" fmla="*/ 150 w 300"/>
                  <a:gd name="T7" fmla="*/ 0 h 150"/>
                  <a:gd name="T8" fmla="*/ 30 w 300"/>
                  <a:gd name="T9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0" h="150">
                    <a:moveTo>
                      <a:pt x="0" y="150"/>
                    </a:moveTo>
                    <a:lnTo>
                      <a:pt x="300" y="150"/>
                    </a:lnTo>
                    <a:lnTo>
                      <a:pt x="240" y="30"/>
                    </a:lnTo>
                    <a:lnTo>
                      <a:pt x="150" y="0"/>
                    </a:lnTo>
                    <a:lnTo>
                      <a:pt x="3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9" name="Freeform 2548">
                <a:extLst>
                  <a:ext uri="{FF2B5EF4-FFF2-40B4-BE49-F238E27FC236}">
                    <a16:creationId xmlns:a16="http://schemas.microsoft.com/office/drawing/2014/main" xmlns="" id="{6C228944-98FE-4B07-84A0-DB0AFDC852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4" y="510"/>
                <a:ext cx="180" cy="390"/>
              </a:xfrm>
              <a:custGeom>
                <a:avLst/>
                <a:gdLst>
                  <a:gd name="T0" fmla="*/ 0 w 180"/>
                  <a:gd name="T1" fmla="*/ 270 h 390"/>
                  <a:gd name="T2" fmla="*/ 180 w 180"/>
                  <a:gd name="T3" fmla="*/ 390 h 390"/>
                  <a:gd name="T4" fmla="*/ 30 w 180"/>
                  <a:gd name="T5" fmla="*/ 120 h 390"/>
                  <a:gd name="T6" fmla="*/ 150 w 180"/>
                  <a:gd name="T7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90">
                    <a:moveTo>
                      <a:pt x="0" y="270"/>
                    </a:moveTo>
                    <a:lnTo>
                      <a:pt x="180" y="390"/>
                    </a:lnTo>
                    <a:lnTo>
                      <a:pt x="30" y="12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0" name="Freeform 2549">
                <a:extLst>
                  <a:ext uri="{FF2B5EF4-FFF2-40B4-BE49-F238E27FC236}">
                    <a16:creationId xmlns:a16="http://schemas.microsoft.com/office/drawing/2014/main" xmlns="" id="{C201AA5C-8BE3-455A-BCC1-0AC4154D6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870"/>
                <a:ext cx="300" cy="330"/>
              </a:xfrm>
              <a:custGeom>
                <a:avLst/>
                <a:gdLst>
                  <a:gd name="T0" fmla="*/ 300 w 300"/>
                  <a:gd name="T1" fmla="*/ 0 h 330"/>
                  <a:gd name="T2" fmla="*/ 240 w 300"/>
                  <a:gd name="T3" fmla="*/ 120 h 330"/>
                  <a:gd name="T4" fmla="*/ 180 w 300"/>
                  <a:gd name="T5" fmla="*/ 330 h 330"/>
                  <a:gd name="T6" fmla="*/ 0 w 300"/>
                  <a:gd name="T7" fmla="*/ 27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0" h="330">
                    <a:moveTo>
                      <a:pt x="300" y="0"/>
                    </a:moveTo>
                    <a:lnTo>
                      <a:pt x="240" y="120"/>
                    </a:lnTo>
                    <a:lnTo>
                      <a:pt x="180" y="33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1" name="Freeform 2550">
                <a:extLst>
                  <a:ext uri="{FF2B5EF4-FFF2-40B4-BE49-F238E27FC236}">
                    <a16:creationId xmlns:a16="http://schemas.microsoft.com/office/drawing/2014/main" xmlns="" id="{64B2EC25-3FDE-49CC-A99B-C9F9729E2D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1050"/>
                <a:ext cx="600" cy="750"/>
              </a:xfrm>
              <a:custGeom>
                <a:avLst/>
                <a:gdLst>
                  <a:gd name="T0" fmla="*/ 600 w 600"/>
                  <a:gd name="T1" fmla="*/ 750 h 750"/>
                  <a:gd name="T2" fmla="*/ 570 w 600"/>
                  <a:gd name="T3" fmla="*/ 630 h 750"/>
                  <a:gd name="T4" fmla="*/ 330 w 600"/>
                  <a:gd name="T5" fmla="*/ 750 h 750"/>
                  <a:gd name="T6" fmla="*/ 270 w 600"/>
                  <a:gd name="T7" fmla="*/ 660 h 750"/>
                  <a:gd name="T8" fmla="*/ 180 w 600"/>
                  <a:gd name="T9" fmla="*/ 540 h 750"/>
                  <a:gd name="T10" fmla="*/ 150 w 600"/>
                  <a:gd name="T11" fmla="*/ 90 h 750"/>
                  <a:gd name="T12" fmla="*/ 0 w 600"/>
                  <a:gd name="T13" fmla="*/ 180 h 750"/>
                  <a:gd name="T14" fmla="*/ 210 w 600"/>
                  <a:gd name="T15" fmla="*/ 300 h 750"/>
                  <a:gd name="T16" fmla="*/ 240 w 600"/>
                  <a:gd name="T17" fmla="*/ 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0" h="750">
                    <a:moveTo>
                      <a:pt x="600" y="750"/>
                    </a:moveTo>
                    <a:lnTo>
                      <a:pt x="570" y="630"/>
                    </a:lnTo>
                    <a:lnTo>
                      <a:pt x="330" y="750"/>
                    </a:lnTo>
                    <a:lnTo>
                      <a:pt x="270" y="660"/>
                    </a:lnTo>
                    <a:lnTo>
                      <a:pt x="180" y="540"/>
                    </a:lnTo>
                    <a:lnTo>
                      <a:pt x="150" y="90"/>
                    </a:lnTo>
                    <a:lnTo>
                      <a:pt x="0" y="180"/>
                    </a:lnTo>
                    <a:lnTo>
                      <a:pt x="210" y="300"/>
                    </a:lnTo>
                    <a:lnTo>
                      <a:pt x="24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2" name="Freeform 2551">
                <a:extLst>
                  <a:ext uri="{FF2B5EF4-FFF2-40B4-BE49-F238E27FC236}">
                    <a16:creationId xmlns:a16="http://schemas.microsoft.com/office/drawing/2014/main" xmlns="" id="{91902815-383A-491D-AF05-7C9C7F679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1530"/>
                <a:ext cx="450" cy="420"/>
              </a:xfrm>
              <a:custGeom>
                <a:avLst/>
                <a:gdLst>
                  <a:gd name="T0" fmla="*/ 270 w 450"/>
                  <a:gd name="T1" fmla="*/ 270 h 420"/>
                  <a:gd name="T2" fmla="*/ 60 w 450"/>
                  <a:gd name="T3" fmla="*/ 270 h 420"/>
                  <a:gd name="T4" fmla="*/ 120 w 450"/>
                  <a:gd name="T5" fmla="*/ 60 h 420"/>
                  <a:gd name="T6" fmla="*/ 0 w 450"/>
                  <a:gd name="T7" fmla="*/ 0 h 420"/>
                  <a:gd name="T8" fmla="*/ 300 w 450"/>
                  <a:gd name="T9" fmla="*/ 420 h 420"/>
                  <a:gd name="T10" fmla="*/ 450 w 450"/>
                  <a:gd name="T11" fmla="*/ 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0" h="420">
                    <a:moveTo>
                      <a:pt x="270" y="270"/>
                    </a:moveTo>
                    <a:lnTo>
                      <a:pt x="60" y="270"/>
                    </a:lnTo>
                    <a:lnTo>
                      <a:pt x="120" y="60"/>
                    </a:lnTo>
                    <a:lnTo>
                      <a:pt x="0" y="0"/>
                    </a:lnTo>
                    <a:lnTo>
                      <a:pt x="300" y="420"/>
                    </a:lnTo>
                    <a:lnTo>
                      <a:pt x="4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3" name="Freeform 2552">
                <a:extLst>
                  <a:ext uri="{FF2B5EF4-FFF2-40B4-BE49-F238E27FC236}">
                    <a16:creationId xmlns:a16="http://schemas.microsoft.com/office/drawing/2014/main" xmlns="" id="{339F0E6C-98B3-4BC6-8E1B-116367BB7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1410"/>
                <a:ext cx="210" cy="210"/>
              </a:xfrm>
              <a:custGeom>
                <a:avLst/>
                <a:gdLst>
                  <a:gd name="T0" fmla="*/ 0 w 210"/>
                  <a:gd name="T1" fmla="*/ 180 h 210"/>
                  <a:gd name="T2" fmla="*/ 150 w 210"/>
                  <a:gd name="T3" fmla="*/ 0 h 210"/>
                  <a:gd name="T4" fmla="*/ 210 w 210"/>
                  <a:gd name="T5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210">
                    <a:moveTo>
                      <a:pt x="0" y="180"/>
                    </a:moveTo>
                    <a:lnTo>
                      <a:pt x="150" y="0"/>
                    </a:lnTo>
                    <a:lnTo>
                      <a:pt x="21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4" name="Freeform 2553">
                <a:extLst>
                  <a:ext uri="{FF2B5EF4-FFF2-40B4-BE49-F238E27FC236}">
                    <a16:creationId xmlns:a16="http://schemas.microsoft.com/office/drawing/2014/main" xmlns="" id="{C976AEB4-B06E-45BE-AF57-18F0F03475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1710"/>
                <a:ext cx="90" cy="450"/>
              </a:xfrm>
              <a:custGeom>
                <a:avLst/>
                <a:gdLst>
                  <a:gd name="T0" fmla="*/ 90 w 90"/>
                  <a:gd name="T1" fmla="*/ 0 h 450"/>
                  <a:gd name="T2" fmla="*/ 0 w 90"/>
                  <a:gd name="T3" fmla="*/ 240 h 450"/>
                  <a:gd name="T4" fmla="*/ 90 w 90"/>
                  <a:gd name="T5" fmla="*/ 450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450">
                    <a:moveTo>
                      <a:pt x="90" y="0"/>
                    </a:moveTo>
                    <a:lnTo>
                      <a:pt x="0" y="240"/>
                    </a:lnTo>
                    <a:lnTo>
                      <a:pt x="90" y="4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5" name="Freeform 2554">
                <a:extLst>
                  <a:ext uri="{FF2B5EF4-FFF2-40B4-BE49-F238E27FC236}">
                    <a16:creationId xmlns:a16="http://schemas.microsoft.com/office/drawing/2014/main" xmlns="" id="{E4A5CEBC-8DD2-4552-8714-D73A0145AF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4" y="2190"/>
                <a:ext cx="180" cy="330"/>
              </a:xfrm>
              <a:custGeom>
                <a:avLst/>
                <a:gdLst>
                  <a:gd name="T0" fmla="*/ 120 w 180"/>
                  <a:gd name="T1" fmla="*/ 330 h 330"/>
                  <a:gd name="T2" fmla="*/ 180 w 180"/>
                  <a:gd name="T3" fmla="*/ 180 h 330"/>
                  <a:gd name="T4" fmla="*/ 0 w 180"/>
                  <a:gd name="T5" fmla="*/ 210 h 330"/>
                  <a:gd name="T6" fmla="*/ 0 w 180"/>
                  <a:gd name="T7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120" y="330"/>
                    </a:moveTo>
                    <a:lnTo>
                      <a:pt x="180" y="180"/>
                    </a:lnTo>
                    <a:lnTo>
                      <a:pt x="0" y="21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6" name="Line 2555">
                <a:extLst>
                  <a:ext uri="{FF2B5EF4-FFF2-40B4-BE49-F238E27FC236}">
                    <a16:creationId xmlns:a16="http://schemas.microsoft.com/office/drawing/2014/main" xmlns="" id="{93B0AE6E-F2A4-4FFF-8090-0C9101FDC5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4" y="2670"/>
                <a:ext cx="18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7" name="Freeform 2556">
                <a:extLst>
                  <a:ext uri="{FF2B5EF4-FFF2-40B4-BE49-F238E27FC236}">
                    <a16:creationId xmlns:a16="http://schemas.microsoft.com/office/drawing/2014/main" xmlns="" id="{9E5C24BE-6636-4B2E-AA12-CBE1940FD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2010"/>
                <a:ext cx="180" cy="300"/>
              </a:xfrm>
              <a:custGeom>
                <a:avLst/>
                <a:gdLst>
                  <a:gd name="T0" fmla="*/ 180 w 180"/>
                  <a:gd name="T1" fmla="*/ 180 h 300"/>
                  <a:gd name="T2" fmla="*/ 0 w 180"/>
                  <a:gd name="T3" fmla="*/ 300 h 300"/>
                  <a:gd name="T4" fmla="*/ 150 w 180"/>
                  <a:gd name="T5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300">
                    <a:moveTo>
                      <a:pt x="180" y="180"/>
                    </a:moveTo>
                    <a:lnTo>
                      <a:pt x="0" y="30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8" name="Freeform 2557">
                <a:extLst>
                  <a:ext uri="{FF2B5EF4-FFF2-40B4-BE49-F238E27FC236}">
                    <a16:creationId xmlns:a16="http://schemas.microsoft.com/office/drawing/2014/main" xmlns="" id="{A35673CD-33EF-4139-9F7F-4DDBCD7120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1140"/>
                <a:ext cx="180" cy="270"/>
              </a:xfrm>
              <a:custGeom>
                <a:avLst/>
                <a:gdLst>
                  <a:gd name="T0" fmla="*/ 0 w 180"/>
                  <a:gd name="T1" fmla="*/ 0 h 270"/>
                  <a:gd name="T2" fmla="*/ 180 w 180"/>
                  <a:gd name="T3" fmla="*/ 270 h 270"/>
                  <a:gd name="T4" fmla="*/ 180 w 180"/>
                  <a:gd name="T5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70">
                    <a:moveTo>
                      <a:pt x="0" y="0"/>
                    </a:moveTo>
                    <a:lnTo>
                      <a:pt x="180" y="270"/>
                    </a:lnTo>
                    <a:lnTo>
                      <a:pt x="18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9" name="Freeform 2558">
                <a:extLst>
                  <a:ext uri="{FF2B5EF4-FFF2-40B4-BE49-F238E27FC236}">
                    <a16:creationId xmlns:a16="http://schemas.microsoft.com/office/drawing/2014/main" xmlns="" id="{B6913935-7187-42B0-AE79-3886536E94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60"/>
                <a:ext cx="540" cy="1830"/>
              </a:xfrm>
              <a:custGeom>
                <a:avLst/>
                <a:gdLst>
                  <a:gd name="T0" fmla="*/ 180 w 540"/>
                  <a:gd name="T1" fmla="*/ 990 h 1830"/>
                  <a:gd name="T2" fmla="*/ 330 w 540"/>
                  <a:gd name="T3" fmla="*/ 930 h 1830"/>
                  <a:gd name="T4" fmla="*/ 330 w 540"/>
                  <a:gd name="T5" fmla="*/ 1560 h 1830"/>
                  <a:gd name="T6" fmla="*/ 270 w 540"/>
                  <a:gd name="T7" fmla="*/ 1350 h 1830"/>
                  <a:gd name="T8" fmla="*/ 540 w 540"/>
                  <a:gd name="T9" fmla="*/ 1740 h 1830"/>
                  <a:gd name="T10" fmla="*/ 330 w 540"/>
                  <a:gd name="T11" fmla="*/ 1560 h 1830"/>
                  <a:gd name="T12" fmla="*/ 450 w 540"/>
                  <a:gd name="T13" fmla="*/ 1470 h 1830"/>
                  <a:gd name="T14" fmla="*/ 480 w 540"/>
                  <a:gd name="T15" fmla="*/ 1200 h 1830"/>
                  <a:gd name="T16" fmla="*/ 150 w 540"/>
                  <a:gd name="T17" fmla="*/ 1290 h 1830"/>
                  <a:gd name="T18" fmla="*/ 270 w 540"/>
                  <a:gd name="T19" fmla="*/ 1140 h 1830"/>
                  <a:gd name="T20" fmla="*/ 510 w 540"/>
                  <a:gd name="T21" fmla="*/ 960 h 1830"/>
                  <a:gd name="T22" fmla="*/ 180 w 540"/>
                  <a:gd name="T23" fmla="*/ 990 h 1830"/>
                  <a:gd name="T24" fmla="*/ 390 w 540"/>
                  <a:gd name="T25" fmla="*/ 810 h 1830"/>
                  <a:gd name="T26" fmla="*/ 360 w 540"/>
                  <a:gd name="T27" fmla="*/ 630 h 1830"/>
                  <a:gd name="T28" fmla="*/ 150 w 540"/>
                  <a:gd name="T29" fmla="*/ 630 h 1830"/>
                  <a:gd name="T30" fmla="*/ 270 w 540"/>
                  <a:gd name="T31" fmla="*/ 510 h 1830"/>
                  <a:gd name="T32" fmla="*/ 510 w 540"/>
                  <a:gd name="T33" fmla="*/ 600 h 1830"/>
                  <a:gd name="T34" fmla="*/ 480 w 540"/>
                  <a:gd name="T35" fmla="*/ 360 h 1830"/>
                  <a:gd name="T36" fmla="*/ 240 w 540"/>
                  <a:gd name="T37" fmla="*/ 360 h 1830"/>
                  <a:gd name="T38" fmla="*/ 60 w 540"/>
                  <a:gd name="T39" fmla="*/ 300 h 1830"/>
                  <a:gd name="T40" fmla="*/ 270 w 540"/>
                  <a:gd name="T41" fmla="*/ 210 h 1830"/>
                  <a:gd name="T42" fmla="*/ 90 w 540"/>
                  <a:gd name="T43" fmla="*/ 0 h 1830"/>
                  <a:gd name="T44" fmla="*/ 210 w 540"/>
                  <a:gd name="T45" fmla="*/ 60 h 1830"/>
                  <a:gd name="T46" fmla="*/ 510 w 540"/>
                  <a:gd name="T47" fmla="*/ 210 h 1830"/>
                  <a:gd name="T48" fmla="*/ 390 w 540"/>
                  <a:gd name="T49" fmla="*/ 240 h 1830"/>
                  <a:gd name="T50" fmla="*/ 270 w 540"/>
                  <a:gd name="T51" fmla="*/ 210 h 1830"/>
                  <a:gd name="T52" fmla="*/ 180 w 540"/>
                  <a:gd name="T53" fmla="*/ 240 h 1830"/>
                  <a:gd name="T54" fmla="*/ 60 w 540"/>
                  <a:gd name="T55" fmla="*/ 300 h 1830"/>
                  <a:gd name="T56" fmla="*/ 330 w 540"/>
                  <a:gd name="T57" fmla="*/ 390 h 1830"/>
                  <a:gd name="T58" fmla="*/ 480 w 540"/>
                  <a:gd name="T59" fmla="*/ 360 h 1830"/>
                  <a:gd name="T60" fmla="*/ 360 w 540"/>
                  <a:gd name="T61" fmla="*/ 630 h 1830"/>
                  <a:gd name="T62" fmla="*/ 90 w 540"/>
                  <a:gd name="T63" fmla="*/ 840 h 18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40" h="1830">
                    <a:moveTo>
                      <a:pt x="60" y="960"/>
                    </a:moveTo>
                    <a:lnTo>
                      <a:pt x="180" y="990"/>
                    </a:lnTo>
                    <a:lnTo>
                      <a:pt x="390" y="1080"/>
                    </a:lnTo>
                    <a:lnTo>
                      <a:pt x="330" y="930"/>
                    </a:lnTo>
                    <a:lnTo>
                      <a:pt x="0" y="1320"/>
                    </a:lnTo>
                    <a:lnTo>
                      <a:pt x="330" y="1560"/>
                    </a:lnTo>
                    <a:lnTo>
                      <a:pt x="450" y="1470"/>
                    </a:lnTo>
                    <a:lnTo>
                      <a:pt x="270" y="1350"/>
                    </a:lnTo>
                    <a:lnTo>
                      <a:pt x="210" y="1650"/>
                    </a:lnTo>
                    <a:lnTo>
                      <a:pt x="540" y="1740"/>
                    </a:lnTo>
                    <a:lnTo>
                      <a:pt x="420" y="1830"/>
                    </a:lnTo>
                    <a:lnTo>
                      <a:pt x="330" y="1560"/>
                    </a:lnTo>
                    <a:lnTo>
                      <a:pt x="510" y="1620"/>
                    </a:lnTo>
                    <a:lnTo>
                      <a:pt x="450" y="1470"/>
                    </a:lnTo>
                    <a:lnTo>
                      <a:pt x="420" y="1320"/>
                    </a:lnTo>
                    <a:lnTo>
                      <a:pt x="480" y="1200"/>
                    </a:lnTo>
                    <a:lnTo>
                      <a:pt x="270" y="1350"/>
                    </a:lnTo>
                    <a:lnTo>
                      <a:pt x="150" y="1290"/>
                    </a:lnTo>
                    <a:lnTo>
                      <a:pt x="330" y="1200"/>
                    </a:lnTo>
                    <a:lnTo>
                      <a:pt x="270" y="1140"/>
                    </a:lnTo>
                    <a:lnTo>
                      <a:pt x="390" y="1080"/>
                    </a:lnTo>
                    <a:lnTo>
                      <a:pt x="510" y="960"/>
                    </a:lnTo>
                    <a:lnTo>
                      <a:pt x="330" y="930"/>
                    </a:lnTo>
                    <a:lnTo>
                      <a:pt x="180" y="990"/>
                    </a:lnTo>
                    <a:lnTo>
                      <a:pt x="210" y="840"/>
                    </a:lnTo>
                    <a:lnTo>
                      <a:pt x="390" y="810"/>
                    </a:lnTo>
                    <a:lnTo>
                      <a:pt x="540" y="720"/>
                    </a:lnTo>
                    <a:lnTo>
                      <a:pt x="360" y="630"/>
                    </a:lnTo>
                    <a:lnTo>
                      <a:pt x="240" y="690"/>
                    </a:lnTo>
                    <a:lnTo>
                      <a:pt x="150" y="630"/>
                    </a:lnTo>
                    <a:lnTo>
                      <a:pt x="180" y="450"/>
                    </a:lnTo>
                    <a:lnTo>
                      <a:pt x="270" y="510"/>
                    </a:lnTo>
                    <a:lnTo>
                      <a:pt x="420" y="540"/>
                    </a:lnTo>
                    <a:lnTo>
                      <a:pt x="510" y="600"/>
                    </a:lnTo>
                    <a:lnTo>
                      <a:pt x="540" y="480"/>
                    </a:lnTo>
                    <a:lnTo>
                      <a:pt x="480" y="360"/>
                    </a:lnTo>
                    <a:lnTo>
                      <a:pt x="330" y="390"/>
                    </a:lnTo>
                    <a:lnTo>
                      <a:pt x="240" y="360"/>
                    </a:lnTo>
                    <a:lnTo>
                      <a:pt x="60" y="420"/>
                    </a:lnTo>
                    <a:lnTo>
                      <a:pt x="60" y="300"/>
                    </a:lnTo>
                    <a:lnTo>
                      <a:pt x="180" y="240"/>
                    </a:lnTo>
                    <a:lnTo>
                      <a:pt x="270" y="210"/>
                    </a:lnTo>
                    <a:lnTo>
                      <a:pt x="210" y="60"/>
                    </a:lnTo>
                    <a:lnTo>
                      <a:pt x="90" y="0"/>
                    </a:lnTo>
                    <a:lnTo>
                      <a:pt x="540" y="0"/>
                    </a:lnTo>
                    <a:lnTo>
                      <a:pt x="210" y="60"/>
                    </a:lnTo>
                    <a:lnTo>
                      <a:pt x="360" y="90"/>
                    </a:lnTo>
                    <a:lnTo>
                      <a:pt x="510" y="210"/>
                    </a:lnTo>
                    <a:lnTo>
                      <a:pt x="480" y="360"/>
                    </a:lnTo>
                    <a:lnTo>
                      <a:pt x="390" y="240"/>
                    </a:lnTo>
                    <a:lnTo>
                      <a:pt x="330" y="390"/>
                    </a:lnTo>
                    <a:lnTo>
                      <a:pt x="270" y="210"/>
                    </a:lnTo>
                    <a:lnTo>
                      <a:pt x="240" y="360"/>
                    </a:lnTo>
                    <a:lnTo>
                      <a:pt x="180" y="240"/>
                    </a:lnTo>
                    <a:lnTo>
                      <a:pt x="90" y="210"/>
                    </a:lnTo>
                    <a:lnTo>
                      <a:pt x="60" y="300"/>
                    </a:lnTo>
                    <a:lnTo>
                      <a:pt x="180" y="450"/>
                    </a:lnTo>
                    <a:lnTo>
                      <a:pt x="330" y="390"/>
                    </a:lnTo>
                    <a:lnTo>
                      <a:pt x="420" y="540"/>
                    </a:lnTo>
                    <a:lnTo>
                      <a:pt x="480" y="360"/>
                    </a:lnTo>
                    <a:lnTo>
                      <a:pt x="270" y="510"/>
                    </a:lnTo>
                    <a:lnTo>
                      <a:pt x="360" y="630"/>
                    </a:lnTo>
                    <a:lnTo>
                      <a:pt x="150" y="630"/>
                    </a:lnTo>
                    <a:lnTo>
                      <a:pt x="90" y="840"/>
                    </a:lnTo>
                    <a:lnTo>
                      <a:pt x="330" y="9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0" name="Freeform 2559">
                <a:extLst>
                  <a:ext uri="{FF2B5EF4-FFF2-40B4-BE49-F238E27FC236}">
                    <a16:creationId xmlns:a16="http://schemas.microsoft.com/office/drawing/2014/main" xmlns="" id="{5E52BFFC-5467-43BA-95A9-C2CA6B82EF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600"/>
                <a:ext cx="150" cy="420"/>
              </a:xfrm>
              <a:custGeom>
                <a:avLst/>
                <a:gdLst>
                  <a:gd name="T0" fmla="*/ 30 w 150"/>
                  <a:gd name="T1" fmla="*/ 270 h 420"/>
                  <a:gd name="T2" fmla="*/ 150 w 150"/>
                  <a:gd name="T3" fmla="*/ 420 h 420"/>
                  <a:gd name="T4" fmla="*/ 60 w 150"/>
                  <a:gd name="T5" fmla="*/ 0 h 420"/>
                  <a:gd name="T6" fmla="*/ 0 w 150"/>
                  <a:gd name="T7" fmla="*/ 90 h 420"/>
                  <a:gd name="T8" fmla="*/ 30 w 150"/>
                  <a:gd name="T9" fmla="*/ 27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420">
                    <a:moveTo>
                      <a:pt x="30" y="270"/>
                    </a:moveTo>
                    <a:lnTo>
                      <a:pt x="150" y="420"/>
                    </a:lnTo>
                    <a:lnTo>
                      <a:pt x="60" y="0"/>
                    </a:lnTo>
                    <a:lnTo>
                      <a:pt x="0" y="90"/>
                    </a:lnTo>
                    <a:lnTo>
                      <a:pt x="30" y="27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1" name="Freeform 2560">
                <a:extLst>
                  <a:ext uri="{FF2B5EF4-FFF2-40B4-BE49-F238E27FC236}">
                    <a16:creationId xmlns:a16="http://schemas.microsoft.com/office/drawing/2014/main" xmlns="" id="{6A5145CE-C936-467B-8592-377281CA5B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4" y="570"/>
                <a:ext cx="180" cy="420"/>
              </a:xfrm>
              <a:custGeom>
                <a:avLst/>
                <a:gdLst>
                  <a:gd name="T0" fmla="*/ 180 w 180"/>
                  <a:gd name="T1" fmla="*/ 300 h 420"/>
                  <a:gd name="T2" fmla="*/ 30 w 180"/>
                  <a:gd name="T3" fmla="*/ 180 h 420"/>
                  <a:gd name="T4" fmla="*/ 0 w 180"/>
                  <a:gd name="T5" fmla="*/ 330 h 420"/>
                  <a:gd name="T6" fmla="*/ 120 w 180"/>
                  <a:gd name="T7" fmla="*/ 420 h 420"/>
                  <a:gd name="T8" fmla="*/ 60 w 180"/>
                  <a:gd name="T9" fmla="*/ 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420">
                    <a:moveTo>
                      <a:pt x="180" y="300"/>
                    </a:moveTo>
                    <a:lnTo>
                      <a:pt x="30" y="180"/>
                    </a:lnTo>
                    <a:lnTo>
                      <a:pt x="0" y="330"/>
                    </a:lnTo>
                    <a:lnTo>
                      <a:pt x="120" y="420"/>
                    </a:lnTo>
                    <a:lnTo>
                      <a:pt x="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2" name="Freeform 2561">
                <a:extLst>
                  <a:ext uri="{FF2B5EF4-FFF2-40B4-BE49-F238E27FC236}">
                    <a16:creationId xmlns:a16="http://schemas.microsoft.com/office/drawing/2014/main" xmlns="" id="{EB3D75FA-1D70-4E4F-947F-C210370B2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60"/>
                <a:ext cx="180" cy="240"/>
              </a:xfrm>
              <a:custGeom>
                <a:avLst/>
                <a:gdLst>
                  <a:gd name="T0" fmla="*/ 30 w 180"/>
                  <a:gd name="T1" fmla="*/ 240 h 240"/>
                  <a:gd name="T2" fmla="*/ 0 w 180"/>
                  <a:gd name="T3" fmla="*/ 90 h 240"/>
                  <a:gd name="T4" fmla="*/ 180 w 180"/>
                  <a:gd name="T5" fmla="*/ 0 h 240"/>
                  <a:gd name="T6" fmla="*/ 150 w 180"/>
                  <a:gd name="T7" fmla="*/ 210 h 240"/>
                  <a:gd name="T8" fmla="*/ 30 w 180"/>
                  <a:gd name="T9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240">
                    <a:moveTo>
                      <a:pt x="30" y="240"/>
                    </a:moveTo>
                    <a:lnTo>
                      <a:pt x="0" y="90"/>
                    </a:lnTo>
                    <a:lnTo>
                      <a:pt x="180" y="0"/>
                    </a:lnTo>
                    <a:lnTo>
                      <a:pt x="150" y="210"/>
                    </a:lnTo>
                    <a:lnTo>
                      <a:pt x="3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3" name="Line 2562">
                <a:extLst>
                  <a:ext uri="{FF2B5EF4-FFF2-40B4-BE49-F238E27FC236}">
                    <a16:creationId xmlns:a16="http://schemas.microsoft.com/office/drawing/2014/main" xmlns="" id="{DD6018AD-168D-4C85-BC07-8FB628C1DD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04" y="54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4" name="Freeform 2563">
                <a:extLst>
                  <a:ext uri="{FF2B5EF4-FFF2-40B4-BE49-F238E27FC236}">
                    <a16:creationId xmlns:a16="http://schemas.microsoft.com/office/drawing/2014/main" xmlns="" id="{5B7BE2A3-83D4-4830-824B-960D39008E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5" y="330"/>
                <a:ext cx="120" cy="210"/>
              </a:xfrm>
              <a:custGeom>
                <a:avLst/>
                <a:gdLst>
                  <a:gd name="T0" fmla="*/ 90 w 120"/>
                  <a:gd name="T1" fmla="*/ 0 h 210"/>
                  <a:gd name="T2" fmla="*/ 0 w 120"/>
                  <a:gd name="T3" fmla="*/ 210 h 210"/>
                  <a:gd name="T4" fmla="*/ 120 w 120"/>
                  <a:gd name="T5" fmla="*/ 180 h 210"/>
                  <a:gd name="T6" fmla="*/ 90 w 120"/>
                  <a:gd name="T7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0">
                    <a:moveTo>
                      <a:pt x="90" y="0"/>
                    </a:moveTo>
                    <a:lnTo>
                      <a:pt x="0" y="210"/>
                    </a:lnTo>
                    <a:lnTo>
                      <a:pt x="120" y="180"/>
                    </a:lnTo>
                    <a:lnTo>
                      <a:pt x="9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5" name="Freeform 2564">
                <a:extLst>
                  <a:ext uri="{FF2B5EF4-FFF2-40B4-BE49-F238E27FC236}">
                    <a16:creationId xmlns:a16="http://schemas.microsoft.com/office/drawing/2014/main" xmlns="" id="{BD658872-8E15-41ED-B928-62F507830F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240"/>
                <a:ext cx="480" cy="270"/>
              </a:xfrm>
              <a:custGeom>
                <a:avLst/>
                <a:gdLst>
                  <a:gd name="T0" fmla="*/ 0 w 480"/>
                  <a:gd name="T1" fmla="*/ 0 h 270"/>
                  <a:gd name="T2" fmla="*/ 90 w 480"/>
                  <a:gd name="T3" fmla="*/ 240 h 270"/>
                  <a:gd name="T4" fmla="*/ 300 w 480"/>
                  <a:gd name="T5" fmla="*/ 150 h 270"/>
                  <a:gd name="T6" fmla="*/ 480 w 480"/>
                  <a:gd name="T7" fmla="*/ 210 h 270"/>
                  <a:gd name="T8" fmla="*/ 270 w 480"/>
                  <a:gd name="T9" fmla="*/ 270 h 270"/>
                  <a:gd name="T10" fmla="*/ 120 w 480"/>
                  <a:gd name="T11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0" h="270">
                    <a:moveTo>
                      <a:pt x="0" y="0"/>
                    </a:moveTo>
                    <a:lnTo>
                      <a:pt x="90" y="240"/>
                    </a:lnTo>
                    <a:lnTo>
                      <a:pt x="300" y="150"/>
                    </a:lnTo>
                    <a:lnTo>
                      <a:pt x="480" y="210"/>
                    </a:lnTo>
                    <a:lnTo>
                      <a:pt x="270" y="270"/>
                    </a:lnTo>
                    <a:lnTo>
                      <a:pt x="12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6" name="Freeform 2565">
                <a:extLst>
                  <a:ext uri="{FF2B5EF4-FFF2-40B4-BE49-F238E27FC236}">
                    <a16:creationId xmlns:a16="http://schemas.microsoft.com/office/drawing/2014/main" xmlns="" id="{9A6B4293-4CF4-4B8C-AA07-D4912B8A7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60"/>
                <a:ext cx="1289" cy="300"/>
              </a:xfrm>
              <a:custGeom>
                <a:avLst/>
                <a:gdLst>
                  <a:gd name="T0" fmla="*/ 1169 w 1289"/>
                  <a:gd name="T1" fmla="*/ 210 h 300"/>
                  <a:gd name="T2" fmla="*/ 1169 w 1289"/>
                  <a:gd name="T3" fmla="*/ 0 h 300"/>
                  <a:gd name="T4" fmla="*/ 1049 w 1289"/>
                  <a:gd name="T5" fmla="*/ 90 h 300"/>
                  <a:gd name="T6" fmla="*/ 1169 w 1289"/>
                  <a:gd name="T7" fmla="*/ 210 h 300"/>
                  <a:gd name="T8" fmla="*/ 1289 w 1289"/>
                  <a:gd name="T9" fmla="*/ 60 h 300"/>
                  <a:gd name="T10" fmla="*/ 1259 w 1289"/>
                  <a:gd name="T11" fmla="*/ 240 h 300"/>
                  <a:gd name="T12" fmla="*/ 1169 w 1289"/>
                  <a:gd name="T13" fmla="*/ 0 h 300"/>
                  <a:gd name="T14" fmla="*/ 870 w 1289"/>
                  <a:gd name="T15" fmla="*/ 30 h 300"/>
                  <a:gd name="T16" fmla="*/ 780 w 1289"/>
                  <a:gd name="T17" fmla="*/ 240 h 300"/>
                  <a:gd name="T18" fmla="*/ 660 w 1289"/>
                  <a:gd name="T19" fmla="*/ 90 h 300"/>
                  <a:gd name="T20" fmla="*/ 450 w 1289"/>
                  <a:gd name="T21" fmla="*/ 90 h 300"/>
                  <a:gd name="T22" fmla="*/ 630 w 1289"/>
                  <a:gd name="T23" fmla="*/ 210 h 300"/>
                  <a:gd name="T24" fmla="*/ 390 w 1289"/>
                  <a:gd name="T25" fmla="*/ 180 h 300"/>
                  <a:gd name="T26" fmla="*/ 270 w 1289"/>
                  <a:gd name="T27" fmla="*/ 30 h 300"/>
                  <a:gd name="T28" fmla="*/ 210 w 1289"/>
                  <a:gd name="T29" fmla="*/ 150 h 300"/>
                  <a:gd name="T30" fmla="*/ 90 w 1289"/>
                  <a:gd name="T31" fmla="*/ 210 h 300"/>
                  <a:gd name="T32" fmla="*/ 0 w 1289"/>
                  <a:gd name="T33" fmla="*/ 60 h 300"/>
                  <a:gd name="T34" fmla="*/ 150 w 1289"/>
                  <a:gd name="T35" fmla="*/ 30 h 300"/>
                  <a:gd name="T36" fmla="*/ 150 w 1289"/>
                  <a:gd name="T37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89" h="300">
                    <a:moveTo>
                      <a:pt x="1169" y="210"/>
                    </a:moveTo>
                    <a:lnTo>
                      <a:pt x="1169" y="0"/>
                    </a:lnTo>
                    <a:lnTo>
                      <a:pt x="1049" y="90"/>
                    </a:lnTo>
                    <a:lnTo>
                      <a:pt x="1169" y="210"/>
                    </a:lnTo>
                    <a:lnTo>
                      <a:pt x="1289" y="60"/>
                    </a:lnTo>
                    <a:lnTo>
                      <a:pt x="1259" y="240"/>
                    </a:lnTo>
                    <a:lnTo>
                      <a:pt x="1169" y="0"/>
                    </a:lnTo>
                    <a:lnTo>
                      <a:pt x="870" y="30"/>
                    </a:lnTo>
                    <a:lnTo>
                      <a:pt x="780" y="240"/>
                    </a:lnTo>
                    <a:lnTo>
                      <a:pt x="660" y="90"/>
                    </a:lnTo>
                    <a:lnTo>
                      <a:pt x="450" y="90"/>
                    </a:lnTo>
                    <a:lnTo>
                      <a:pt x="630" y="210"/>
                    </a:lnTo>
                    <a:lnTo>
                      <a:pt x="390" y="180"/>
                    </a:lnTo>
                    <a:lnTo>
                      <a:pt x="270" y="30"/>
                    </a:lnTo>
                    <a:lnTo>
                      <a:pt x="210" y="150"/>
                    </a:lnTo>
                    <a:lnTo>
                      <a:pt x="90" y="210"/>
                    </a:lnTo>
                    <a:lnTo>
                      <a:pt x="0" y="60"/>
                    </a:lnTo>
                    <a:lnTo>
                      <a:pt x="150" y="30"/>
                    </a:lnTo>
                    <a:lnTo>
                      <a:pt x="15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7" name="Freeform 2566">
                <a:extLst>
                  <a:ext uri="{FF2B5EF4-FFF2-40B4-BE49-F238E27FC236}">
                    <a16:creationId xmlns:a16="http://schemas.microsoft.com/office/drawing/2014/main" xmlns="" id="{12EA988E-9BC0-48A9-9EAB-60C7550070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90"/>
                <a:ext cx="269" cy="270"/>
              </a:xfrm>
              <a:custGeom>
                <a:avLst/>
                <a:gdLst>
                  <a:gd name="T0" fmla="*/ 0 w 269"/>
                  <a:gd name="T1" fmla="*/ 0 h 270"/>
                  <a:gd name="T2" fmla="*/ 179 w 269"/>
                  <a:gd name="T3" fmla="*/ 60 h 270"/>
                  <a:gd name="T4" fmla="*/ 269 w 269"/>
                  <a:gd name="T5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69" h="270">
                    <a:moveTo>
                      <a:pt x="0" y="0"/>
                    </a:moveTo>
                    <a:lnTo>
                      <a:pt x="179" y="60"/>
                    </a:lnTo>
                    <a:lnTo>
                      <a:pt x="26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8" name="Freeform 2567">
                <a:extLst>
                  <a:ext uri="{FF2B5EF4-FFF2-40B4-BE49-F238E27FC236}">
                    <a16:creationId xmlns:a16="http://schemas.microsoft.com/office/drawing/2014/main" xmlns="" id="{AB8595E3-056D-4173-A70C-FAC903A16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30"/>
                <a:ext cx="360" cy="60"/>
              </a:xfrm>
              <a:custGeom>
                <a:avLst/>
                <a:gdLst>
                  <a:gd name="T0" fmla="*/ 360 w 360"/>
                  <a:gd name="T1" fmla="*/ 0 h 60"/>
                  <a:gd name="T2" fmla="*/ 150 w 360"/>
                  <a:gd name="T3" fmla="*/ 60 h 60"/>
                  <a:gd name="T4" fmla="*/ 0 w 360"/>
                  <a:gd name="T5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60">
                    <a:moveTo>
                      <a:pt x="360" y="0"/>
                    </a:moveTo>
                    <a:lnTo>
                      <a:pt x="15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9" name="Freeform 2568">
                <a:extLst>
                  <a:ext uri="{FF2B5EF4-FFF2-40B4-BE49-F238E27FC236}">
                    <a16:creationId xmlns:a16="http://schemas.microsoft.com/office/drawing/2014/main" xmlns="" id="{8C75A92E-C945-4E61-9166-3D532CED7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6" y="210"/>
                <a:ext cx="389" cy="300"/>
              </a:xfrm>
              <a:custGeom>
                <a:avLst/>
                <a:gdLst>
                  <a:gd name="T0" fmla="*/ 120 w 389"/>
                  <a:gd name="T1" fmla="*/ 150 h 300"/>
                  <a:gd name="T2" fmla="*/ 0 w 389"/>
                  <a:gd name="T3" fmla="*/ 90 h 300"/>
                  <a:gd name="T4" fmla="*/ 60 w 389"/>
                  <a:gd name="T5" fmla="*/ 300 h 300"/>
                  <a:gd name="T6" fmla="*/ 269 w 389"/>
                  <a:gd name="T7" fmla="*/ 120 h 300"/>
                  <a:gd name="T8" fmla="*/ 389 w 389"/>
                  <a:gd name="T9" fmla="*/ 180 h 300"/>
                  <a:gd name="T10" fmla="*/ 210 w 389"/>
                  <a:gd name="T11" fmla="*/ 0 h 300"/>
                  <a:gd name="T12" fmla="*/ 0 w 389"/>
                  <a:gd name="T13" fmla="*/ 9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9" h="300">
                    <a:moveTo>
                      <a:pt x="120" y="150"/>
                    </a:moveTo>
                    <a:lnTo>
                      <a:pt x="0" y="90"/>
                    </a:lnTo>
                    <a:lnTo>
                      <a:pt x="60" y="300"/>
                    </a:lnTo>
                    <a:lnTo>
                      <a:pt x="269" y="120"/>
                    </a:lnTo>
                    <a:lnTo>
                      <a:pt x="389" y="180"/>
                    </a:lnTo>
                    <a:lnTo>
                      <a:pt x="210" y="0"/>
                    </a:lnTo>
                    <a:lnTo>
                      <a:pt x="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0" name="Freeform 2569">
                <a:extLst>
                  <a:ext uri="{FF2B5EF4-FFF2-40B4-BE49-F238E27FC236}">
                    <a16:creationId xmlns:a16="http://schemas.microsoft.com/office/drawing/2014/main" xmlns="" id="{20E2414F-4B98-49AD-B172-A93047461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6" y="60"/>
                <a:ext cx="149" cy="150"/>
              </a:xfrm>
              <a:custGeom>
                <a:avLst/>
                <a:gdLst>
                  <a:gd name="T0" fmla="*/ 0 w 149"/>
                  <a:gd name="T1" fmla="*/ 0 h 150"/>
                  <a:gd name="T2" fmla="*/ 90 w 149"/>
                  <a:gd name="T3" fmla="*/ 150 h 150"/>
                  <a:gd name="T4" fmla="*/ 149 w 149"/>
                  <a:gd name="T5" fmla="*/ 3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0"/>
                    </a:moveTo>
                    <a:lnTo>
                      <a:pt x="90" y="150"/>
                    </a:lnTo>
                    <a:lnTo>
                      <a:pt x="14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1" name="Freeform 2570">
                <a:extLst>
                  <a:ext uri="{FF2B5EF4-FFF2-40B4-BE49-F238E27FC236}">
                    <a16:creationId xmlns:a16="http://schemas.microsoft.com/office/drawing/2014/main" xmlns="" id="{B760BAE8-C52B-4A17-A6A1-4E02DCEFC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210"/>
                <a:ext cx="1649" cy="1050"/>
              </a:xfrm>
              <a:custGeom>
                <a:avLst/>
                <a:gdLst>
                  <a:gd name="T0" fmla="*/ 0 w 1649"/>
                  <a:gd name="T1" fmla="*/ 0 h 1050"/>
                  <a:gd name="T2" fmla="*/ 179 w 1649"/>
                  <a:gd name="T3" fmla="*/ 30 h 1050"/>
                  <a:gd name="T4" fmla="*/ 299 w 1649"/>
                  <a:gd name="T5" fmla="*/ 120 h 1050"/>
                  <a:gd name="T6" fmla="*/ 269 w 1649"/>
                  <a:gd name="T7" fmla="*/ 240 h 1050"/>
                  <a:gd name="T8" fmla="*/ 479 w 1649"/>
                  <a:gd name="T9" fmla="*/ 180 h 1050"/>
                  <a:gd name="T10" fmla="*/ 449 w 1649"/>
                  <a:gd name="T11" fmla="*/ 300 h 1050"/>
                  <a:gd name="T12" fmla="*/ 269 w 1649"/>
                  <a:gd name="T13" fmla="*/ 240 h 1050"/>
                  <a:gd name="T14" fmla="*/ 359 w 1649"/>
                  <a:gd name="T15" fmla="*/ 360 h 1050"/>
                  <a:gd name="T16" fmla="*/ 449 w 1649"/>
                  <a:gd name="T17" fmla="*/ 300 h 1050"/>
                  <a:gd name="T18" fmla="*/ 839 w 1649"/>
                  <a:gd name="T19" fmla="*/ 240 h 1050"/>
                  <a:gd name="T20" fmla="*/ 749 w 1649"/>
                  <a:gd name="T21" fmla="*/ 330 h 1050"/>
                  <a:gd name="T22" fmla="*/ 689 w 1649"/>
                  <a:gd name="T23" fmla="*/ 420 h 1050"/>
                  <a:gd name="T24" fmla="*/ 539 w 1649"/>
                  <a:gd name="T25" fmla="*/ 510 h 1050"/>
                  <a:gd name="T26" fmla="*/ 539 w 1649"/>
                  <a:gd name="T27" fmla="*/ 660 h 1050"/>
                  <a:gd name="T28" fmla="*/ 659 w 1649"/>
                  <a:gd name="T29" fmla="*/ 570 h 1050"/>
                  <a:gd name="T30" fmla="*/ 809 w 1649"/>
                  <a:gd name="T31" fmla="*/ 450 h 1050"/>
                  <a:gd name="T32" fmla="*/ 1049 w 1649"/>
                  <a:gd name="T33" fmla="*/ 300 h 1050"/>
                  <a:gd name="T34" fmla="*/ 1139 w 1649"/>
                  <a:gd name="T35" fmla="*/ 360 h 1050"/>
                  <a:gd name="T36" fmla="*/ 1229 w 1649"/>
                  <a:gd name="T37" fmla="*/ 480 h 1050"/>
                  <a:gd name="T38" fmla="*/ 1319 w 1649"/>
                  <a:gd name="T39" fmla="*/ 360 h 1050"/>
                  <a:gd name="T40" fmla="*/ 1139 w 1649"/>
                  <a:gd name="T41" fmla="*/ 360 h 1050"/>
                  <a:gd name="T42" fmla="*/ 1139 w 1649"/>
                  <a:gd name="T43" fmla="*/ 511 h 1050"/>
                  <a:gd name="T44" fmla="*/ 1049 w 1649"/>
                  <a:gd name="T45" fmla="*/ 480 h 1050"/>
                  <a:gd name="T46" fmla="*/ 1019 w 1649"/>
                  <a:gd name="T47" fmla="*/ 570 h 1050"/>
                  <a:gd name="T48" fmla="*/ 1019 w 1649"/>
                  <a:gd name="T49" fmla="*/ 810 h 1050"/>
                  <a:gd name="T50" fmla="*/ 1139 w 1649"/>
                  <a:gd name="T51" fmla="*/ 720 h 1050"/>
                  <a:gd name="T52" fmla="*/ 1227 w 1649"/>
                  <a:gd name="T53" fmla="*/ 812 h 1050"/>
                  <a:gd name="T54" fmla="*/ 1199 w 1649"/>
                  <a:gd name="T55" fmla="*/ 630 h 1050"/>
                  <a:gd name="T56" fmla="*/ 1289 w 1649"/>
                  <a:gd name="T57" fmla="*/ 570 h 1050"/>
                  <a:gd name="T58" fmla="*/ 1409 w 1649"/>
                  <a:gd name="T59" fmla="*/ 630 h 1050"/>
                  <a:gd name="T60" fmla="*/ 1289 w 1649"/>
                  <a:gd name="T61" fmla="*/ 690 h 1050"/>
                  <a:gd name="T62" fmla="*/ 1379 w 1649"/>
                  <a:gd name="T63" fmla="*/ 750 h 1050"/>
                  <a:gd name="T64" fmla="*/ 1649 w 1649"/>
                  <a:gd name="T65" fmla="*/ 720 h 1050"/>
                  <a:gd name="T66" fmla="*/ 1529 w 1649"/>
                  <a:gd name="T67" fmla="*/ 780 h 1050"/>
                  <a:gd name="T68" fmla="*/ 1559 w 1649"/>
                  <a:gd name="T69" fmla="*/ 1050 h 1050"/>
                  <a:gd name="T70" fmla="*/ 1349 w 1649"/>
                  <a:gd name="T71" fmla="*/ 870 h 10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649" h="1050">
                    <a:moveTo>
                      <a:pt x="0" y="0"/>
                    </a:moveTo>
                    <a:lnTo>
                      <a:pt x="179" y="30"/>
                    </a:lnTo>
                    <a:lnTo>
                      <a:pt x="299" y="120"/>
                    </a:lnTo>
                    <a:lnTo>
                      <a:pt x="269" y="240"/>
                    </a:lnTo>
                    <a:lnTo>
                      <a:pt x="479" y="180"/>
                    </a:lnTo>
                    <a:lnTo>
                      <a:pt x="449" y="300"/>
                    </a:lnTo>
                    <a:lnTo>
                      <a:pt x="269" y="240"/>
                    </a:lnTo>
                    <a:lnTo>
                      <a:pt x="359" y="360"/>
                    </a:lnTo>
                    <a:lnTo>
                      <a:pt x="449" y="300"/>
                    </a:lnTo>
                    <a:lnTo>
                      <a:pt x="839" y="240"/>
                    </a:lnTo>
                    <a:lnTo>
                      <a:pt x="749" y="330"/>
                    </a:lnTo>
                    <a:lnTo>
                      <a:pt x="689" y="420"/>
                    </a:lnTo>
                    <a:lnTo>
                      <a:pt x="539" y="510"/>
                    </a:lnTo>
                    <a:lnTo>
                      <a:pt x="539" y="660"/>
                    </a:lnTo>
                    <a:lnTo>
                      <a:pt x="659" y="570"/>
                    </a:lnTo>
                    <a:lnTo>
                      <a:pt x="809" y="450"/>
                    </a:lnTo>
                    <a:lnTo>
                      <a:pt x="1049" y="300"/>
                    </a:lnTo>
                    <a:lnTo>
                      <a:pt x="1139" y="360"/>
                    </a:lnTo>
                    <a:lnTo>
                      <a:pt x="1229" y="480"/>
                    </a:lnTo>
                    <a:lnTo>
                      <a:pt x="1319" y="360"/>
                    </a:lnTo>
                    <a:lnTo>
                      <a:pt x="1139" y="360"/>
                    </a:lnTo>
                    <a:lnTo>
                      <a:pt x="1139" y="511"/>
                    </a:lnTo>
                    <a:lnTo>
                      <a:pt x="1049" y="480"/>
                    </a:lnTo>
                    <a:lnTo>
                      <a:pt x="1019" y="570"/>
                    </a:lnTo>
                    <a:lnTo>
                      <a:pt x="1019" y="810"/>
                    </a:lnTo>
                    <a:lnTo>
                      <a:pt x="1139" y="720"/>
                    </a:lnTo>
                    <a:lnTo>
                      <a:pt x="1227" y="812"/>
                    </a:lnTo>
                    <a:lnTo>
                      <a:pt x="1199" y="630"/>
                    </a:lnTo>
                    <a:lnTo>
                      <a:pt x="1289" y="570"/>
                    </a:lnTo>
                    <a:lnTo>
                      <a:pt x="1409" y="630"/>
                    </a:lnTo>
                    <a:lnTo>
                      <a:pt x="1289" y="690"/>
                    </a:lnTo>
                    <a:lnTo>
                      <a:pt x="1379" y="750"/>
                    </a:lnTo>
                    <a:lnTo>
                      <a:pt x="1649" y="720"/>
                    </a:lnTo>
                    <a:lnTo>
                      <a:pt x="1529" y="780"/>
                    </a:lnTo>
                    <a:lnTo>
                      <a:pt x="1559" y="1050"/>
                    </a:lnTo>
                    <a:lnTo>
                      <a:pt x="1349" y="8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2" name="Freeform 2571">
                <a:extLst>
                  <a:ext uri="{FF2B5EF4-FFF2-40B4-BE49-F238E27FC236}">
                    <a16:creationId xmlns:a16="http://schemas.microsoft.com/office/drawing/2014/main" xmlns="" id="{F5ECA01B-A71B-4838-898C-7FA4AAC48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5" y="300"/>
                <a:ext cx="270" cy="210"/>
              </a:xfrm>
              <a:custGeom>
                <a:avLst/>
                <a:gdLst>
                  <a:gd name="T0" fmla="*/ 120 w 270"/>
                  <a:gd name="T1" fmla="*/ 0 h 210"/>
                  <a:gd name="T2" fmla="*/ 270 w 270"/>
                  <a:gd name="T3" fmla="*/ 60 h 210"/>
                  <a:gd name="T4" fmla="*/ 0 w 270"/>
                  <a:gd name="T5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210">
                    <a:moveTo>
                      <a:pt x="120" y="0"/>
                    </a:moveTo>
                    <a:lnTo>
                      <a:pt x="270" y="6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3" name="Freeform 2572">
                <a:extLst>
                  <a:ext uri="{FF2B5EF4-FFF2-40B4-BE49-F238E27FC236}">
                    <a16:creationId xmlns:a16="http://schemas.microsoft.com/office/drawing/2014/main" xmlns="" id="{491EBD2A-E5CE-484B-9965-9138AB4B35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5" y="360"/>
                <a:ext cx="180" cy="90"/>
              </a:xfrm>
              <a:custGeom>
                <a:avLst/>
                <a:gdLst>
                  <a:gd name="T0" fmla="*/ 120 w 180"/>
                  <a:gd name="T1" fmla="*/ 90 h 90"/>
                  <a:gd name="T2" fmla="*/ 0 w 180"/>
                  <a:gd name="T3" fmla="*/ 0 h 90"/>
                  <a:gd name="T4" fmla="*/ 180 w 180"/>
                  <a:gd name="T5" fmla="*/ 0 h 90"/>
                  <a:gd name="T6" fmla="*/ 120 w 180"/>
                  <a:gd name="T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90">
                    <a:moveTo>
                      <a:pt x="120" y="90"/>
                    </a:moveTo>
                    <a:lnTo>
                      <a:pt x="0" y="0"/>
                    </a:lnTo>
                    <a:lnTo>
                      <a:pt x="180" y="0"/>
                    </a:lnTo>
                    <a:lnTo>
                      <a:pt x="120" y="9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4" name="Freeform 2573">
                <a:extLst>
                  <a:ext uri="{FF2B5EF4-FFF2-40B4-BE49-F238E27FC236}">
                    <a16:creationId xmlns:a16="http://schemas.microsoft.com/office/drawing/2014/main" xmlns="" id="{80C0CC92-850E-42D6-ABF4-DC988BC6FE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5" y="30"/>
                <a:ext cx="210" cy="150"/>
              </a:xfrm>
              <a:custGeom>
                <a:avLst/>
                <a:gdLst>
                  <a:gd name="T0" fmla="*/ 120 w 210"/>
                  <a:gd name="T1" fmla="*/ 60 h 150"/>
                  <a:gd name="T2" fmla="*/ 210 w 210"/>
                  <a:gd name="T3" fmla="*/ 90 h 150"/>
                  <a:gd name="T4" fmla="*/ 0 w 210"/>
                  <a:gd name="T5" fmla="*/ 150 h 150"/>
                  <a:gd name="T6" fmla="*/ 0 w 210"/>
                  <a:gd name="T7" fmla="*/ 0 h 150"/>
                  <a:gd name="T8" fmla="*/ 120 w 210"/>
                  <a:gd name="T9" fmla="*/ 6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0" h="150">
                    <a:moveTo>
                      <a:pt x="120" y="60"/>
                    </a:moveTo>
                    <a:lnTo>
                      <a:pt x="210" y="90"/>
                    </a:lnTo>
                    <a:lnTo>
                      <a:pt x="0" y="150"/>
                    </a:lnTo>
                    <a:lnTo>
                      <a:pt x="0" y="0"/>
                    </a:lnTo>
                    <a:lnTo>
                      <a:pt x="120" y="6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5" name="Line 2574">
                <a:extLst>
                  <a:ext uri="{FF2B5EF4-FFF2-40B4-BE49-F238E27FC236}">
                    <a16:creationId xmlns:a16="http://schemas.microsoft.com/office/drawing/2014/main" xmlns="" id="{E7EF79C8-28F4-4FBE-87AB-BADAB398C1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385" y="15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6" name="Freeform 2575">
                <a:extLst>
                  <a:ext uri="{FF2B5EF4-FFF2-40B4-BE49-F238E27FC236}">
                    <a16:creationId xmlns:a16="http://schemas.microsoft.com/office/drawing/2014/main" xmlns="" id="{017E3464-3FE4-4F2E-9EF7-BD8E66D07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30"/>
                <a:ext cx="2398" cy="390"/>
              </a:xfrm>
              <a:custGeom>
                <a:avLst/>
                <a:gdLst>
                  <a:gd name="T0" fmla="*/ 509 w 2398"/>
                  <a:gd name="T1" fmla="*/ 60 h 390"/>
                  <a:gd name="T2" fmla="*/ 419 w 2398"/>
                  <a:gd name="T3" fmla="*/ 120 h 390"/>
                  <a:gd name="T4" fmla="*/ 239 w 2398"/>
                  <a:gd name="T5" fmla="*/ 60 h 390"/>
                  <a:gd name="T6" fmla="*/ 90 w 2398"/>
                  <a:gd name="T7" fmla="*/ 30 h 390"/>
                  <a:gd name="T8" fmla="*/ 0 w 2398"/>
                  <a:gd name="T9" fmla="*/ 120 h 390"/>
                  <a:gd name="T10" fmla="*/ 180 w 2398"/>
                  <a:gd name="T11" fmla="*/ 180 h 390"/>
                  <a:gd name="T12" fmla="*/ 90 w 2398"/>
                  <a:gd name="T13" fmla="*/ 330 h 390"/>
                  <a:gd name="T14" fmla="*/ 239 w 2398"/>
                  <a:gd name="T15" fmla="*/ 300 h 390"/>
                  <a:gd name="T16" fmla="*/ 239 w 2398"/>
                  <a:gd name="T17" fmla="*/ 60 h 390"/>
                  <a:gd name="T18" fmla="*/ 359 w 2398"/>
                  <a:gd name="T19" fmla="*/ 210 h 390"/>
                  <a:gd name="T20" fmla="*/ 359 w 2398"/>
                  <a:gd name="T21" fmla="*/ 360 h 390"/>
                  <a:gd name="T22" fmla="*/ 479 w 2398"/>
                  <a:gd name="T23" fmla="*/ 300 h 390"/>
                  <a:gd name="T24" fmla="*/ 419 w 2398"/>
                  <a:gd name="T25" fmla="*/ 120 h 390"/>
                  <a:gd name="T26" fmla="*/ 509 w 2398"/>
                  <a:gd name="T27" fmla="*/ 180 h 390"/>
                  <a:gd name="T28" fmla="*/ 509 w 2398"/>
                  <a:gd name="T29" fmla="*/ 60 h 390"/>
                  <a:gd name="T30" fmla="*/ 629 w 2398"/>
                  <a:gd name="T31" fmla="*/ 30 h 390"/>
                  <a:gd name="T32" fmla="*/ 719 w 2398"/>
                  <a:gd name="T33" fmla="*/ 0 h 390"/>
                  <a:gd name="T34" fmla="*/ 629 w 2398"/>
                  <a:gd name="T35" fmla="*/ 120 h 390"/>
                  <a:gd name="T36" fmla="*/ 719 w 2398"/>
                  <a:gd name="T37" fmla="*/ 150 h 390"/>
                  <a:gd name="T38" fmla="*/ 599 w 2398"/>
                  <a:gd name="T39" fmla="*/ 240 h 390"/>
                  <a:gd name="T40" fmla="*/ 659 w 2398"/>
                  <a:gd name="T41" fmla="*/ 360 h 390"/>
                  <a:gd name="T42" fmla="*/ 749 w 2398"/>
                  <a:gd name="T43" fmla="*/ 270 h 390"/>
                  <a:gd name="T44" fmla="*/ 839 w 2398"/>
                  <a:gd name="T45" fmla="*/ 60 h 390"/>
                  <a:gd name="T46" fmla="*/ 869 w 2398"/>
                  <a:gd name="T47" fmla="*/ 210 h 390"/>
                  <a:gd name="T48" fmla="*/ 929 w 2398"/>
                  <a:gd name="T49" fmla="*/ 90 h 390"/>
                  <a:gd name="T50" fmla="*/ 899 w 2398"/>
                  <a:gd name="T51" fmla="*/ 330 h 390"/>
                  <a:gd name="T52" fmla="*/ 1019 w 2398"/>
                  <a:gd name="T53" fmla="*/ 240 h 390"/>
                  <a:gd name="T54" fmla="*/ 1079 w 2398"/>
                  <a:gd name="T55" fmla="*/ 330 h 390"/>
                  <a:gd name="T56" fmla="*/ 1139 w 2398"/>
                  <a:gd name="T57" fmla="*/ 180 h 390"/>
                  <a:gd name="T58" fmla="*/ 1079 w 2398"/>
                  <a:gd name="T59" fmla="*/ 60 h 390"/>
                  <a:gd name="T60" fmla="*/ 1199 w 2398"/>
                  <a:gd name="T61" fmla="*/ 60 h 390"/>
                  <a:gd name="T62" fmla="*/ 1319 w 2398"/>
                  <a:gd name="T63" fmla="*/ 0 h 390"/>
                  <a:gd name="T64" fmla="*/ 1319 w 2398"/>
                  <a:gd name="T65" fmla="*/ 210 h 390"/>
                  <a:gd name="T66" fmla="*/ 1199 w 2398"/>
                  <a:gd name="T67" fmla="*/ 300 h 390"/>
                  <a:gd name="T68" fmla="*/ 1319 w 2398"/>
                  <a:gd name="T69" fmla="*/ 360 h 390"/>
                  <a:gd name="T70" fmla="*/ 1439 w 2398"/>
                  <a:gd name="T71" fmla="*/ 270 h 390"/>
                  <a:gd name="T72" fmla="*/ 1379 w 2398"/>
                  <a:gd name="T73" fmla="*/ 120 h 390"/>
                  <a:gd name="T74" fmla="*/ 1469 w 2398"/>
                  <a:gd name="T75" fmla="*/ 60 h 390"/>
                  <a:gd name="T76" fmla="*/ 1589 w 2398"/>
                  <a:gd name="T77" fmla="*/ 120 h 390"/>
                  <a:gd name="T78" fmla="*/ 1559 w 2398"/>
                  <a:gd name="T79" fmla="*/ 240 h 390"/>
                  <a:gd name="T80" fmla="*/ 1619 w 2398"/>
                  <a:gd name="T81" fmla="*/ 360 h 390"/>
                  <a:gd name="T82" fmla="*/ 1709 w 2398"/>
                  <a:gd name="T83" fmla="*/ 270 h 390"/>
                  <a:gd name="T84" fmla="*/ 1679 w 2398"/>
                  <a:gd name="T85" fmla="*/ 150 h 390"/>
                  <a:gd name="T86" fmla="*/ 1679 w 2398"/>
                  <a:gd name="T87" fmla="*/ 0 h 390"/>
                  <a:gd name="T88" fmla="*/ 1799 w 2398"/>
                  <a:gd name="T89" fmla="*/ 60 h 390"/>
                  <a:gd name="T90" fmla="*/ 1829 w 2398"/>
                  <a:gd name="T91" fmla="*/ 210 h 390"/>
                  <a:gd name="T92" fmla="*/ 1978 w 2398"/>
                  <a:gd name="T93" fmla="*/ 120 h 390"/>
                  <a:gd name="T94" fmla="*/ 1948 w 2398"/>
                  <a:gd name="T95" fmla="*/ 240 h 390"/>
                  <a:gd name="T96" fmla="*/ 1888 w 2398"/>
                  <a:gd name="T97" fmla="*/ 360 h 390"/>
                  <a:gd name="T98" fmla="*/ 2068 w 2398"/>
                  <a:gd name="T99" fmla="*/ 330 h 390"/>
                  <a:gd name="T100" fmla="*/ 2248 w 2398"/>
                  <a:gd name="T101" fmla="*/ 390 h 390"/>
                  <a:gd name="T102" fmla="*/ 2398 w 2398"/>
                  <a:gd name="T103" fmla="*/ 270 h 390"/>
                  <a:gd name="T104" fmla="*/ 2278 w 2398"/>
                  <a:gd name="T105" fmla="*/ 240 h 390"/>
                  <a:gd name="T106" fmla="*/ 2368 w 2398"/>
                  <a:gd name="T107" fmla="*/ 12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98" h="390">
                    <a:moveTo>
                      <a:pt x="509" y="60"/>
                    </a:moveTo>
                    <a:lnTo>
                      <a:pt x="419" y="120"/>
                    </a:lnTo>
                    <a:lnTo>
                      <a:pt x="239" y="60"/>
                    </a:lnTo>
                    <a:lnTo>
                      <a:pt x="90" y="30"/>
                    </a:lnTo>
                    <a:lnTo>
                      <a:pt x="0" y="120"/>
                    </a:lnTo>
                    <a:lnTo>
                      <a:pt x="180" y="180"/>
                    </a:lnTo>
                    <a:lnTo>
                      <a:pt x="90" y="330"/>
                    </a:lnTo>
                    <a:lnTo>
                      <a:pt x="239" y="300"/>
                    </a:lnTo>
                    <a:lnTo>
                      <a:pt x="239" y="60"/>
                    </a:lnTo>
                    <a:lnTo>
                      <a:pt x="359" y="210"/>
                    </a:lnTo>
                    <a:lnTo>
                      <a:pt x="359" y="360"/>
                    </a:lnTo>
                    <a:lnTo>
                      <a:pt x="479" y="300"/>
                    </a:lnTo>
                    <a:lnTo>
                      <a:pt x="419" y="120"/>
                    </a:lnTo>
                    <a:lnTo>
                      <a:pt x="509" y="180"/>
                    </a:lnTo>
                    <a:lnTo>
                      <a:pt x="509" y="60"/>
                    </a:lnTo>
                    <a:lnTo>
                      <a:pt x="629" y="30"/>
                    </a:lnTo>
                    <a:lnTo>
                      <a:pt x="719" y="0"/>
                    </a:lnTo>
                    <a:lnTo>
                      <a:pt x="629" y="120"/>
                    </a:lnTo>
                    <a:lnTo>
                      <a:pt x="719" y="150"/>
                    </a:lnTo>
                    <a:lnTo>
                      <a:pt x="599" y="240"/>
                    </a:lnTo>
                    <a:lnTo>
                      <a:pt x="659" y="360"/>
                    </a:lnTo>
                    <a:lnTo>
                      <a:pt x="749" y="270"/>
                    </a:lnTo>
                    <a:lnTo>
                      <a:pt x="839" y="60"/>
                    </a:lnTo>
                    <a:lnTo>
                      <a:pt x="869" y="210"/>
                    </a:lnTo>
                    <a:lnTo>
                      <a:pt x="929" y="90"/>
                    </a:lnTo>
                    <a:lnTo>
                      <a:pt x="899" y="330"/>
                    </a:lnTo>
                    <a:lnTo>
                      <a:pt x="1019" y="240"/>
                    </a:lnTo>
                    <a:lnTo>
                      <a:pt x="1079" y="330"/>
                    </a:lnTo>
                    <a:lnTo>
                      <a:pt x="1139" y="180"/>
                    </a:lnTo>
                    <a:lnTo>
                      <a:pt x="1079" y="60"/>
                    </a:lnTo>
                    <a:lnTo>
                      <a:pt x="1199" y="60"/>
                    </a:lnTo>
                    <a:lnTo>
                      <a:pt x="1319" y="0"/>
                    </a:lnTo>
                    <a:lnTo>
                      <a:pt x="1319" y="210"/>
                    </a:lnTo>
                    <a:lnTo>
                      <a:pt x="1199" y="300"/>
                    </a:lnTo>
                    <a:lnTo>
                      <a:pt x="1319" y="360"/>
                    </a:lnTo>
                    <a:lnTo>
                      <a:pt x="1439" y="270"/>
                    </a:lnTo>
                    <a:lnTo>
                      <a:pt x="1379" y="120"/>
                    </a:lnTo>
                    <a:lnTo>
                      <a:pt x="1469" y="60"/>
                    </a:lnTo>
                    <a:lnTo>
                      <a:pt x="1589" y="120"/>
                    </a:lnTo>
                    <a:lnTo>
                      <a:pt x="1559" y="240"/>
                    </a:lnTo>
                    <a:lnTo>
                      <a:pt x="1619" y="360"/>
                    </a:lnTo>
                    <a:lnTo>
                      <a:pt x="1709" y="270"/>
                    </a:lnTo>
                    <a:lnTo>
                      <a:pt x="1679" y="150"/>
                    </a:lnTo>
                    <a:lnTo>
                      <a:pt x="1679" y="0"/>
                    </a:lnTo>
                    <a:lnTo>
                      <a:pt x="1799" y="60"/>
                    </a:lnTo>
                    <a:lnTo>
                      <a:pt x="1829" y="210"/>
                    </a:lnTo>
                    <a:lnTo>
                      <a:pt x="1978" y="120"/>
                    </a:lnTo>
                    <a:lnTo>
                      <a:pt x="1948" y="240"/>
                    </a:lnTo>
                    <a:lnTo>
                      <a:pt x="1888" y="360"/>
                    </a:lnTo>
                    <a:lnTo>
                      <a:pt x="2068" y="330"/>
                    </a:lnTo>
                    <a:lnTo>
                      <a:pt x="2248" y="390"/>
                    </a:lnTo>
                    <a:lnTo>
                      <a:pt x="2398" y="270"/>
                    </a:lnTo>
                    <a:lnTo>
                      <a:pt x="2278" y="240"/>
                    </a:lnTo>
                    <a:lnTo>
                      <a:pt x="2368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7" name="Line 2576">
                <a:extLst>
                  <a:ext uri="{FF2B5EF4-FFF2-40B4-BE49-F238E27FC236}">
                    <a16:creationId xmlns:a16="http://schemas.microsoft.com/office/drawing/2014/main" xmlns="" id="{8DBF2DF5-1590-440E-A50F-C4126532EE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35" y="150"/>
                <a:ext cx="60" cy="9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8" name="Freeform 2577">
                <a:extLst>
                  <a:ext uri="{FF2B5EF4-FFF2-40B4-BE49-F238E27FC236}">
                    <a16:creationId xmlns:a16="http://schemas.microsoft.com/office/drawing/2014/main" xmlns="" id="{C65A8C78-B657-4918-82D9-4BF9B381C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210"/>
                <a:ext cx="180" cy="360"/>
              </a:xfrm>
              <a:custGeom>
                <a:avLst/>
                <a:gdLst>
                  <a:gd name="T0" fmla="*/ 180 w 180"/>
                  <a:gd name="T1" fmla="*/ 180 h 360"/>
                  <a:gd name="T2" fmla="*/ 0 w 180"/>
                  <a:gd name="T3" fmla="*/ 120 h 360"/>
                  <a:gd name="T4" fmla="*/ 30 w 180"/>
                  <a:gd name="T5" fmla="*/ 0 h 360"/>
                  <a:gd name="T6" fmla="*/ 120 w 180"/>
                  <a:gd name="T7" fmla="*/ 60 h 360"/>
                  <a:gd name="T8" fmla="*/ 60 w 180"/>
                  <a:gd name="T9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360">
                    <a:moveTo>
                      <a:pt x="180" y="180"/>
                    </a:moveTo>
                    <a:lnTo>
                      <a:pt x="0" y="120"/>
                    </a:lnTo>
                    <a:lnTo>
                      <a:pt x="30" y="0"/>
                    </a:lnTo>
                    <a:lnTo>
                      <a:pt x="120" y="60"/>
                    </a:lnTo>
                    <a:lnTo>
                      <a:pt x="60" y="3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9" name="Line 2578">
                <a:extLst>
                  <a:ext uri="{FF2B5EF4-FFF2-40B4-BE49-F238E27FC236}">
                    <a16:creationId xmlns:a16="http://schemas.microsoft.com/office/drawing/2014/main" xmlns="" id="{41AD668A-7D9D-45E3-AE5B-9C587F264E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35" y="390"/>
                <a:ext cx="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0" name="Freeform 2579">
                <a:extLst>
                  <a:ext uri="{FF2B5EF4-FFF2-40B4-BE49-F238E27FC236}">
                    <a16:creationId xmlns:a16="http://schemas.microsoft.com/office/drawing/2014/main" xmlns="" id="{FE0ED69F-107E-45EA-9B41-DB628022BB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300"/>
                <a:ext cx="180" cy="330"/>
              </a:xfrm>
              <a:custGeom>
                <a:avLst/>
                <a:gdLst>
                  <a:gd name="T0" fmla="*/ 180 w 180"/>
                  <a:gd name="T1" fmla="*/ 240 h 330"/>
                  <a:gd name="T2" fmla="*/ 0 w 180"/>
                  <a:gd name="T3" fmla="*/ 0 h 330"/>
                  <a:gd name="T4" fmla="*/ 120 w 180"/>
                  <a:gd name="T5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330">
                    <a:moveTo>
                      <a:pt x="180" y="240"/>
                    </a:moveTo>
                    <a:lnTo>
                      <a:pt x="0" y="0"/>
                    </a:lnTo>
                    <a:lnTo>
                      <a:pt x="12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1" name="Line 2580">
                <a:extLst>
                  <a:ext uri="{FF2B5EF4-FFF2-40B4-BE49-F238E27FC236}">
                    <a16:creationId xmlns:a16="http://schemas.microsoft.com/office/drawing/2014/main" xmlns="" id="{9B4AE8E5-A80D-4ACB-A0D3-298B880940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80"/>
                <a:ext cx="3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605" name="Group 2782">
              <a:extLst>
                <a:ext uri="{FF2B5EF4-FFF2-40B4-BE49-F238E27FC236}">
                  <a16:creationId xmlns:a16="http://schemas.microsoft.com/office/drawing/2014/main" xmlns="" id="{A556337D-0371-43B3-996A-8EDCA23E7E4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46" y="0"/>
              <a:ext cx="3268" cy="3210"/>
              <a:chOff x="1246" y="0"/>
              <a:chExt cx="3268" cy="3210"/>
            </a:xfrm>
          </p:grpSpPr>
          <p:sp>
            <p:nvSpPr>
              <p:cNvPr id="2992" name="Freeform 2582">
                <a:extLst>
                  <a:ext uri="{FF2B5EF4-FFF2-40B4-BE49-F238E27FC236}">
                    <a16:creationId xmlns:a16="http://schemas.microsoft.com/office/drawing/2014/main" xmlns="" id="{11A3552C-3620-4963-A46F-DE2C924C5D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90"/>
                <a:ext cx="180" cy="240"/>
              </a:xfrm>
              <a:custGeom>
                <a:avLst/>
                <a:gdLst>
                  <a:gd name="T0" fmla="*/ 180 w 180"/>
                  <a:gd name="T1" fmla="*/ 0 h 240"/>
                  <a:gd name="T2" fmla="*/ 180 w 180"/>
                  <a:gd name="T3" fmla="*/ 240 h 240"/>
                  <a:gd name="T4" fmla="*/ 0 w 180"/>
                  <a:gd name="T5" fmla="*/ 18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40">
                    <a:moveTo>
                      <a:pt x="180" y="0"/>
                    </a:moveTo>
                    <a:lnTo>
                      <a:pt x="180" y="24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3" name="Freeform 2583">
                <a:extLst>
                  <a:ext uri="{FF2B5EF4-FFF2-40B4-BE49-F238E27FC236}">
                    <a16:creationId xmlns:a16="http://schemas.microsoft.com/office/drawing/2014/main" xmlns="" id="{36185F14-2C67-45D8-88A4-FA649636A9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20"/>
                <a:ext cx="450" cy="90"/>
              </a:xfrm>
              <a:custGeom>
                <a:avLst/>
                <a:gdLst>
                  <a:gd name="T0" fmla="*/ 0 w 450"/>
                  <a:gd name="T1" fmla="*/ 0 h 90"/>
                  <a:gd name="T2" fmla="*/ 210 w 450"/>
                  <a:gd name="T3" fmla="*/ 90 h 90"/>
                  <a:gd name="T4" fmla="*/ 450 w 450"/>
                  <a:gd name="T5" fmla="*/ 3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50" h="90">
                    <a:moveTo>
                      <a:pt x="0" y="0"/>
                    </a:moveTo>
                    <a:lnTo>
                      <a:pt x="210" y="90"/>
                    </a:lnTo>
                    <a:lnTo>
                      <a:pt x="45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4" name="Freeform 2584">
                <a:extLst>
                  <a:ext uri="{FF2B5EF4-FFF2-40B4-BE49-F238E27FC236}">
                    <a16:creationId xmlns:a16="http://schemas.microsoft.com/office/drawing/2014/main" xmlns="" id="{0386EE2F-5186-4568-9CBE-E9FD42A954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270"/>
                <a:ext cx="480" cy="240"/>
              </a:xfrm>
              <a:custGeom>
                <a:avLst/>
                <a:gdLst>
                  <a:gd name="T0" fmla="*/ 480 w 480"/>
                  <a:gd name="T1" fmla="*/ 0 h 240"/>
                  <a:gd name="T2" fmla="*/ 330 w 480"/>
                  <a:gd name="T3" fmla="*/ 210 h 240"/>
                  <a:gd name="T4" fmla="*/ 0 w 480"/>
                  <a:gd name="T5" fmla="*/ 90 h 240"/>
                  <a:gd name="T6" fmla="*/ 150 w 480"/>
                  <a:gd name="T7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0" h="240">
                    <a:moveTo>
                      <a:pt x="480" y="0"/>
                    </a:moveTo>
                    <a:lnTo>
                      <a:pt x="330" y="210"/>
                    </a:lnTo>
                    <a:lnTo>
                      <a:pt x="0" y="90"/>
                    </a:lnTo>
                    <a:lnTo>
                      <a:pt x="15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5" name="Line 2585">
                <a:extLst>
                  <a:ext uri="{FF2B5EF4-FFF2-40B4-BE49-F238E27FC236}">
                    <a16:creationId xmlns:a16="http://schemas.microsoft.com/office/drawing/2014/main" xmlns="" id="{AB9ED66E-AFF3-471F-BCE5-DD2EC76B8E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465" y="390"/>
                <a:ext cx="3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6" name="Freeform 2586">
                <a:extLst>
                  <a:ext uri="{FF2B5EF4-FFF2-40B4-BE49-F238E27FC236}">
                    <a16:creationId xmlns:a16="http://schemas.microsoft.com/office/drawing/2014/main" xmlns="" id="{CA91E15D-D39D-4B3C-894C-6F6E654CB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240"/>
                <a:ext cx="209" cy="270"/>
              </a:xfrm>
              <a:custGeom>
                <a:avLst/>
                <a:gdLst>
                  <a:gd name="T0" fmla="*/ 0 w 209"/>
                  <a:gd name="T1" fmla="*/ 60 h 270"/>
                  <a:gd name="T2" fmla="*/ 90 w 209"/>
                  <a:gd name="T3" fmla="*/ 210 h 270"/>
                  <a:gd name="T4" fmla="*/ 120 w 209"/>
                  <a:gd name="T5" fmla="*/ 0 h 270"/>
                  <a:gd name="T6" fmla="*/ 179 w 209"/>
                  <a:gd name="T7" fmla="*/ 150 h 270"/>
                  <a:gd name="T8" fmla="*/ 209 w 209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270">
                    <a:moveTo>
                      <a:pt x="0" y="60"/>
                    </a:moveTo>
                    <a:lnTo>
                      <a:pt x="90" y="210"/>
                    </a:lnTo>
                    <a:lnTo>
                      <a:pt x="120" y="0"/>
                    </a:lnTo>
                    <a:lnTo>
                      <a:pt x="179" y="150"/>
                    </a:lnTo>
                    <a:lnTo>
                      <a:pt x="20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7" name="Freeform 2587">
                <a:extLst>
                  <a:ext uri="{FF2B5EF4-FFF2-40B4-BE49-F238E27FC236}">
                    <a16:creationId xmlns:a16="http://schemas.microsoft.com/office/drawing/2014/main" xmlns="" id="{14509826-1DA0-4F79-AD17-92ACC9BC17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5" y="90"/>
                <a:ext cx="389" cy="270"/>
              </a:xfrm>
              <a:custGeom>
                <a:avLst/>
                <a:gdLst>
                  <a:gd name="T0" fmla="*/ 150 w 389"/>
                  <a:gd name="T1" fmla="*/ 150 h 270"/>
                  <a:gd name="T2" fmla="*/ 0 w 389"/>
                  <a:gd name="T3" fmla="*/ 90 h 270"/>
                  <a:gd name="T4" fmla="*/ 120 w 389"/>
                  <a:gd name="T5" fmla="*/ 0 h 270"/>
                  <a:gd name="T6" fmla="*/ 269 w 389"/>
                  <a:gd name="T7" fmla="*/ 180 h 270"/>
                  <a:gd name="T8" fmla="*/ 389 w 389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9" h="270">
                    <a:moveTo>
                      <a:pt x="150" y="150"/>
                    </a:moveTo>
                    <a:lnTo>
                      <a:pt x="0" y="90"/>
                    </a:lnTo>
                    <a:lnTo>
                      <a:pt x="120" y="0"/>
                    </a:lnTo>
                    <a:lnTo>
                      <a:pt x="269" y="180"/>
                    </a:lnTo>
                    <a:lnTo>
                      <a:pt x="38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8" name="Freeform 2588">
                <a:extLst>
                  <a:ext uri="{FF2B5EF4-FFF2-40B4-BE49-F238E27FC236}">
                    <a16:creationId xmlns:a16="http://schemas.microsoft.com/office/drawing/2014/main" xmlns="" id="{26BDDB77-C01D-4AE1-9CE0-7A51CDB294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390"/>
                <a:ext cx="360" cy="360"/>
              </a:xfrm>
              <a:custGeom>
                <a:avLst/>
                <a:gdLst>
                  <a:gd name="T0" fmla="*/ 0 w 360"/>
                  <a:gd name="T1" fmla="*/ 0 h 360"/>
                  <a:gd name="T2" fmla="*/ 180 w 360"/>
                  <a:gd name="T3" fmla="*/ 90 h 360"/>
                  <a:gd name="T4" fmla="*/ 360 w 360"/>
                  <a:gd name="T5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360">
                    <a:moveTo>
                      <a:pt x="0" y="0"/>
                    </a:moveTo>
                    <a:lnTo>
                      <a:pt x="180" y="90"/>
                    </a:lnTo>
                    <a:lnTo>
                      <a:pt x="360" y="3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9" name="Freeform 2589">
                <a:extLst>
                  <a:ext uri="{FF2B5EF4-FFF2-40B4-BE49-F238E27FC236}">
                    <a16:creationId xmlns:a16="http://schemas.microsoft.com/office/drawing/2014/main" xmlns="" id="{2661C854-7E6A-4D6A-BEA5-303BE20BE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60"/>
                <a:ext cx="600" cy="240"/>
              </a:xfrm>
              <a:custGeom>
                <a:avLst/>
                <a:gdLst>
                  <a:gd name="T0" fmla="*/ 600 w 600"/>
                  <a:gd name="T1" fmla="*/ 0 h 240"/>
                  <a:gd name="T2" fmla="*/ 450 w 600"/>
                  <a:gd name="T3" fmla="*/ 240 h 240"/>
                  <a:gd name="T4" fmla="*/ 270 w 600"/>
                  <a:gd name="T5" fmla="*/ 60 h 240"/>
                  <a:gd name="T6" fmla="*/ 0 w 600"/>
                  <a:gd name="T7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0" h="240">
                    <a:moveTo>
                      <a:pt x="600" y="0"/>
                    </a:moveTo>
                    <a:lnTo>
                      <a:pt x="450" y="240"/>
                    </a:lnTo>
                    <a:lnTo>
                      <a:pt x="270" y="6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0" name="Freeform 2590">
                <a:extLst>
                  <a:ext uri="{FF2B5EF4-FFF2-40B4-BE49-F238E27FC236}">
                    <a16:creationId xmlns:a16="http://schemas.microsoft.com/office/drawing/2014/main" xmlns="" id="{199825CB-C6C4-48FD-B2B7-BD2B664A67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2550"/>
                <a:ext cx="2338" cy="660"/>
              </a:xfrm>
              <a:custGeom>
                <a:avLst/>
                <a:gdLst>
                  <a:gd name="T0" fmla="*/ 30 w 2338"/>
                  <a:gd name="T1" fmla="*/ 420 h 660"/>
                  <a:gd name="T2" fmla="*/ 0 w 2338"/>
                  <a:gd name="T3" fmla="*/ 270 h 660"/>
                  <a:gd name="T4" fmla="*/ 150 w 2338"/>
                  <a:gd name="T5" fmla="*/ 510 h 660"/>
                  <a:gd name="T6" fmla="*/ 210 w 2338"/>
                  <a:gd name="T7" fmla="*/ 420 h 660"/>
                  <a:gd name="T8" fmla="*/ 210 w 2338"/>
                  <a:gd name="T9" fmla="*/ 120 h 660"/>
                  <a:gd name="T10" fmla="*/ 60 w 2338"/>
                  <a:gd name="T11" fmla="*/ 150 h 660"/>
                  <a:gd name="T12" fmla="*/ 120 w 2338"/>
                  <a:gd name="T13" fmla="*/ 0 h 660"/>
                  <a:gd name="T14" fmla="*/ 330 w 2338"/>
                  <a:gd name="T15" fmla="*/ 90 h 660"/>
                  <a:gd name="T16" fmla="*/ 420 w 2338"/>
                  <a:gd name="T17" fmla="*/ 210 h 660"/>
                  <a:gd name="T18" fmla="*/ 210 w 2338"/>
                  <a:gd name="T19" fmla="*/ 120 h 660"/>
                  <a:gd name="T20" fmla="*/ 270 w 2338"/>
                  <a:gd name="T21" fmla="*/ 240 h 660"/>
                  <a:gd name="T22" fmla="*/ 420 w 2338"/>
                  <a:gd name="T23" fmla="*/ 210 h 660"/>
                  <a:gd name="T24" fmla="*/ 510 w 2338"/>
                  <a:gd name="T25" fmla="*/ 120 h 660"/>
                  <a:gd name="T26" fmla="*/ 599 w 2338"/>
                  <a:gd name="T27" fmla="*/ 210 h 660"/>
                  <a:gd name="T28" fmla="*/ 809 w 2338"/>
                  <a:gd name="T29" fmla="*/ 150 h 660"/>
                  <a:gd name="T30" fmla="*/ 719 w 2338"/>
                  <a:gd name="T31" fmla="*/ 240 h 660"/>
                  <a:gd name="T32" fmla="*/ 510 w 2338"/>
                  <a:gd name="T33" fmla="*/ 480 h 660"/>
                  <a:gd name="T34" fmla="*/ 689 w 2338"/>
                  <a:gd name="T35" fmla="*/ 510 h 660"/>
                  <a:gd name="T36" fmla="*/ 689 w 2338"/>
                  <a:gd name="T37" fmla="*/ 660 h 660"/>
                  <a:gd name="T38" fmla="*/ 569 w 2338"/>
                  <a:gd name="T39" fmla="*/ 600 h 660"/>
                  <a:gd name="T40" fmla="*/ 300 w 2338"/>
                  <a:gd name="T41" fmla="*/ 570 h 660"/>
                  <a:gd name="T42" fmla="*/ 420 w 2338"/>
                  <a:gd name="T43" fmla="*/ 330 h 660"/>
                  <a:gd name="T44" fmla="*/ 569 w 2338"/>
                  <a:gd name="T45" fmla="*/ 360 h 660"/>
                  <a:gd name="T46" fmla="*/ 599 w 2338"/>
                  <a:gd name="T47" fmla="*/ 210 h 660"/>
                  <a:gd name="T48" fmla="*/ 749 w 2338"/>
                  <a:gd name="T49" fmla="*/ 420 h 660"/>
                  <a:gd name="T50" fmla="*/ 689 w 2338"/>
                  <a:gd name="T51" fmla="*/ 510 h 660"/>
                  <a:gd name="T52" fmla="*/ 809 w 2338"/>
                  <a:gd name="T53" fmla="*/ 600 h 660"/>
                  <a:gd name="T54" fmla="*/ 929 w 2338"/>
                  <a:gd name="T55" fmla="*/ 540 h 660"/>
                  <a:gd name="T56" fmla="*/ 1079 w 2338"/>
                  <a:gd name="T57" fmla="*/ 570 h 660"/>
                  <a:gd name="T58" fmla="*/ 1049 w 2338"/>
                  <a:gd name="T59" fmla="*/ 450 h 660"/>
                  <a:gd name="T60" fmla="*/ 959 w 2338"/>
                  <a:gd name="T61" fmla="*/ 420 h 660"/>
                  <a:gd name="T62" fmla="*/ 1049 w 2338"/>
                  <a:gd name="T63" fmla="*/ 300 h 660"/>
                  <a:gd name="T64" fmla="*/ 1169 w 2338"/>
                  <a:gd name="T65" fmla="*/ 360 h 660"/>
                  <a:gd name="T66" fmla="*/ 1259 w 2338"/>
                  <a:gd name="T67" fmla="*/ 390 h 660"/>
                  <a:gd name="T68" fmla="*/ 1199 w 2338"/>
                  <a:gd name="T69" fmla="*/ 510 h 660"/>
                  <a:gd name="T70" fmla="*/ 1349 w 2338"/>
                  <a:gd name="T71" fmla="*/ 540 h 660"/>
                  <a:gd name="T72" fmla="*/ 1409 w 2338"/>
                  <a:gd name="T73" fmla="*/ 360 h 660"/>
                  <a:gd name="T74" fmla="*/ 1469 w 2338"/>
                  <a:gd name="T75" fmla="*/ 480 h 660"/>
                  <a:gd name="T76" fmla="*/ 1529 w 2338"/>
                  <a:gd name="T77" fmla="*/ 360 h 660"/>
                  <a:gd name="T78" fmla="*/ 1529 w 2338"/>
                  <a:gd name="T79" fmla="*/ 600 h 660"/>
                  <a:gd name="T80" fmla="*/ 1409 w 2338"/>
                  <a:gd name="T81" fmla="*/ 630 h 660"/>
                  <a:gd name="T82" fmla="*/ 1649 w 2338"/>
                  <a:gd name="T83" fmla="*/ 300 h 660"/>
                  <a:gd name="T84" fmla="*/ 1649 w 2338"/>
                  <a:gd name="T85" fmla="*/ 510 h 660"/>
                  <a:gd name="T86" fmla="*/ 1709 w 2338"/>
                  <a:gd name="T87" fmla="*/ 420 h 660"/>
                  <a:gd name="T88" fmla="*/ 1799 w 2338"/>
                  <a:gd name="T89" fmla="*/ 360 h 660"/>
                  <a:gd name="T90" fmla="*/ 1799 w 2338"/>
                  <a:gd name="T91" fmla="*/ 480 h 660"/>
                  <a:gd name="T92" fmla="*/ 1739 w 2338"/>
                  <a:gd name="T93" fmla="*/ 600 h 660"/>
                  <a:gd name="T94" fmla="*/ 1889 w 2338"/>
                  <a:gd name="T95" fmla="*/ 540 h 660"/>
                  <a:gd name="T96" fmla="*/ 1949 w 2338"/>
                  <a:gd name="T97" fmla="*/ 660 h 660"/>
                  <a:gd name="T98" fmla="*/ 2039 w 2338"/>
                  <a:gd name="T99" fmla="*/ 570 h 660"/>
                  <a:gd name="T100" fmla="*/ 2009 w 2338"/>
                  <a:gd name="T101" fmla="*/ 450 h 660"/>
                  <a:gd name="T102" fmla="*/ 1919 w 2338"/>
                  <a:gd name="T103" fmla="*/ 420 h 660"/>
                  <a:gd name="T104" fmla="*/ 2009 w 2338"/>
                  <a:gd name="T105" fmla="*/ 300 h 660"/>
                  <a:gd name="T106" fmla="*/ 2129 w 2338"/>
                  <a:gd name="T107" fmla="*/ 360 h 660"/>
                  <a:gd name="T108" fmla="*/ 2159 w 2338"/>
                  <a:gd name="T109" fmla="*/ 510 h 660"/>
                  <a:gd name="T110" fmla="*/ 2338 w 2338"/>
                  <a:gd name="T111" fmla="*/ 540 h 660"/>
                  <a:gd name="T112" fmla="*/ 2218 w 2338"/>
                  <a:gd name="T113" fmla="*/ 660 h 660"/>
                  <a:gd name="T114" fmla="*/ 2248 w 2338"/>
                  <a:gd name="T115" fmla="*/ 390 h 660"/>
                  <a:gd name="T116" fmla="*/ 2069 w 2338"/>
                  <a:gd name="T117" fmla="*/ 24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38" h="660">
                    <a:moveTo>
                      <a:pt x="30" y="420"/>
                    </a:moveTo>
                    <a:lnTo>
                      <a:pt x="0" y="270"/>
                    </a:lnTo>
                    <a:lnTo>
                      <a:pt x="150" y="510"/>
                    </a:lnTo>
                    <a:lnTo>
                      <a:pt x="210" y="420"/>
                    </a:lnTo>
                    <a:lnTo>
                      <a:pt x="210" y="120"/>
                    </a:lnTo>
                    <a:lnTo>
                      <a:pt x="60" y="150"/>
                    </a:lnTo>
                    <a:lnTo>
                      <a:pt x="120" y="0"/>
                    </a:lnTo>
                    <a:lnTo>
                      <a:pt x="330" y="90"/>
                    </a:lnTo>
                    <a:lnTo>
                      <a:pt x="420" y="210"/>
                    </a:lnTo>
                    <a:lnTo>
                      <a:pt x="210" y="120"/>
                    </a:lnTo>
                    <a:lnTo>
                      <a:pt x="270" y="240"/>
                    </a:lnTo>
                    <a:lnTo>
                      <a:pt x="420" y="210"/>
                    </a:lnTo>
                    <a:lnTo>
                      <a:pt x="510" y="120"/>
                    </a:lnTo>
                    <a:lnTo>
                      <a:pt x="599" y="210"/>
                    </a:lnTo>
                    <a:lnTo>
                      <a:pt x="809" y="150"/>
                    </a:lnTo>
                    <a:lnTo>
                      <a:pt x="719" y="240"/>
                    </a:lnTo>
                    <a:lnTo>
                      <a:pt x="510" y="480"/>
                    </a:lnTo>
                    <a:lnTo>
                      <a:pt x="689" y="510"/>
                    </a:lnTo>
                    <a:lnTo>
                      <a:pt x="689" y="660"/>
                    </a:lnTo>
                    <a:lnTo>
                      <a:pt x="569" y="600"/>
                    </a:lnTo>
                    <a:lnTo>
                      <a:pt x="300" y="570"/>
                    </a:lnTo>
                    <a:lnTo>
                      <a:pt x="420" y="330"/>
                    </a:lnTo>
                    <a:lnTo>
                      <a:pt x="569" y="360"/>
                    </a:lnTo>
                    <a:lnTo>
                      <a:pt x="599" y="210"/>
                    </a:lnTo>
                    <a:lnTo>
                      <a:pt x="749" y="420"/>
                    </a:lnTo>
                    <a:lnTo>
                      <a:pt x="689" y="510"/>
                    </a:lnTo>
                    <a:lnTo>
                      <a:pt x="809" y="600"/>
                    </a:lnTo>
                    <a:lnTo>
                      <a:pt x="929" y="540"/>
                    </a:lnTo>
                    <a:lnTo>
                      <a:pt x="1079" y="570"/>
                    </a:lnTo>
                    <a:lnTo>
                      <a:pt x="1049" y="450"/>
                    </a:lnTo>
                    <a:lnTo>
                      <a:pt x="959" y="420"/>
                    </a:lnTo>
                    <a:lnTo>
                      <a:pt x="1049" y="300"/>
                    </a:lnTo>
                    <a:lnTo>
                      <a:pt x="1169" y="360"/>
                    </a:lnTo>
                    <a:lnTo>
                      <a:pt x="1259" y="390"/>
                    </a:lnTo>
                    <a:lnTo>
                      <a:pt x="1199" y="510"/>
                    </a:lnTo>
                    <a:lnTo>
                      <a:pt x="1349" y="540"/>
                    </a:lnTo>
                    <a:lnTo>
                      <a:pt x="1409" y="360"/>
                    </a:lnTo>
                    <a:lnTo>
                      <a:pt x="1469" y="480"/>
                    </a:lnTo>
                    <a:lnTo>
                      <a:pt x="1529" y="360"/>
                    </a:lnTo>
                    <a:lnTo>
                      <a:pt x="1529" y="600"/>
                    </a:lnTo>
                    <a:lnTo>
                      <a:pt x="1409" y="630"/>
                    </a:lnTo>
                    <a:lnTo>
                      <a:pt x="1649" y="300"/>
                    </a:lnTo>
                    <a:lnTo>
                      <a:pt x="1649" y="510"/>
                    </a:lnTo>
                    <a:lnTo>
                      <a:pt x="1709" y="420"/>
                    </a:lnTo>
                    <a:lnTo>
                      <a:pt x="1799" y="360"/>
                    </a:lnTo>
                    <a:lnTo>
                      <a:pt x="1799" y="480"/>
                    </a:lnTo>
                    <a:lnTo>
                      <a:pt x="1739" y="600"/>
                    </a:lnTo>
                    <a:lnTo>
                      <a:pt x="1889" y="540"/>
                    </a:lnTo>
                    <a:lnTo>
                      <a:pt x="1949" y="660"/>
                    </a:lnTo>
                    <a:lnTo>
                      <a:pt x="2039" y="570"/>
                    </a:lnTo>
                    <a:lnTo>
                      <a:pt x="2009" y="450"/>
                    </a:lnTo>
                    <a:lnTo>
                      <a:pt x="1919" y="420"/>
                    </a:lnTo>
                    <a:lnTo>
                      <a:pt x="2009" y="300"/>
                    </a:lnTo>
                    <a:lnTo>
                      <a:pt x="2129" y="360"/>
                    </a:lnTo>
                    <a:lnTo>
                      <a:pt x="2159" y="510"/>
                    </a:lnTo>
                    <a:lnTo>
                      <a:pt x="2338" y="540"/>
                    </a:lnTo>
                    <a:lnTo>
                      <a:pt x="2218" y="660"/>
                    </a:lnTo>
                    <a:lnTo>
                      <a:pt x="2248" y="390"/>
                    </a:lnTo>
                    <a:lnTo>
                      <a:pt x="2069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1" name="Freeform 2591">
                <a:extLst>
                  <a:ext uri="{FF2B5EF4-FFF2-40B4-BE49-F238E27FC236}">
                    <a16:creationId xmlns:a16="http://schemas.microsoft.com/office/drawing/2014/main" xmlns="" id="{6CF449F6-A821-45CC-9658-C228D2577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2760"/>
                <a:ext cx="269" cy="300"/>
              </a:xfrm>
              <a:custGeom>
                <a:avLst/>
                <a:gdLst>
                  <a:gd name="T0" fmla="*/ 269 w 269"/>
                  <a:gd name="T1" fmla="*/ 0 h 300"/>
                  <a:gd name="T2" fmla="*/ 120 w 269"/>
                  <a:gd name="T3" fmla="*/ 150 h 300"/>
                  <a:gd name="T4" fmla="*/ 0 w 269"/>
                  <a:gd name="T5" fmla="*/ 240 h 300"/>
                  <a:gd name="T6" fmla="*/ 150 w 269"/>
                  <a:gd name="T7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9" h="300">
                    <a:moveTo>
                      <a:pt x="269" y="0"/>
                    </a:moveTo>
                    <a:lnTo>
                      <a:pt x="120" y="150"/>
                    </a:lnTo>
                    <a:lnTo>
                      <a:pt x="0" y="240"/>
                    </a:lnTo>
                    <a:lnTo>
                      <a:pt x="15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2" name="Freeform 2592">
                <a:extLst>
                  <a:ext uri="{FF2B5EF4-FFF2-40B4-BE49-F238E27FC236}">
                    <a16:creationId xmlns:a16="http://schemas.microsoft.com/office/drawing/2014/main" xmlns="" id="{6BB7F0A7-0F82-457D-BB07-74F64BF68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2790"/>
                <a:ext cx="1289" cy="420"/>
              </a:xfrm>
              <a:custGeom>
                <a:avLst/>
                <a:gdLst>
                  <a:gd name="T0" fmla="*/ 210 w 1289"/>
                  <a:gd name="T1" fmla="*/ 240 h 420"/>
                  <a:gd name="T2" fmla="*/ 150 w 1289"/>
                  <a:gd name="T3" fmla="*/ 390 h 420"/>
                  <a:gd name="T4" fmla="*/ 90 w 1289"/>
                  <a:gd name="T5" fmla="*/ 300 h 420"/>
                  <a:gd name="T6" fmla="*/ 0 w 1289"/>
                  <a:gd name="T7" fmla="*/ 150 h 420"/>
                  <a:gd name="T8" fmla="*/ 150 w 1289"/>
                  <a:gd name="T9" fmla="*/ 120 h 420"/>
                  <a:gd name="T10" fmla="*/ 300 w 1289"/>
                  <a:gd name="T11" fmla="*/ 30 h 420"/>
                  <a:gd name="T12" fmla="*/ 390 w 1289"/>
                  <a:gd name="T13" fmla="*/ 60 h 420"/>
                  <a:gd name="T14" fmla="*/ 450 w 1289"/>
                  <a:gd name="T15" fmla="*/ 180 h 420"/>
                  <a:gd name="T16" fmla="*/ 480 w 1289"/>
                  <a:gd name="T17" fmla="*/ 30 h 420"/>
                  <a:gd name="T18" fmla="*/ 600 w 1289"/>
                  <a:gd name="T19" fmla="*/ 0 h 420"/>
                  <a:gd name="T20" fmla="*/ 540 w 1289"/>
                  <a:gd name="T21" fmla="*/ 120 h 420"/>
                  <a:gd name="T22" fmla="*/ 660 w 1289"/>
                  <a:gd name="T23" fmla="*/ 180 h 420"/>
                  <a:gd name="T24" fmla="*/ 630 w 1289"/>
                  <a:gd name="T25" fmla="*/ 300 h 420"/>
                  <a:gd name="T26" fmla="*/ 780 w 1289"/>
                  <a:gd name="T27" fmla="*/ 330 h 420"/>
                  <a:gd name="T28" fmla="*/ 959 w 1289"/>
                  <a:gd name="T29" fmla="*/ 420 h 420"/>
                  <a:gd name="T30" fmla="*/ 1289 w 1289"/>
                  <a:gd name="T31" fmla="*/ 42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89" h="420">
                    <a:moveTo>
                      <a:pt x="210" y="240"/>
                    </a:moveTo>
                    <a:lnTo>
                      <a:pt x="150" y="390"/>
                    </a:lnTo>
                    <a:lnTo>
                      <a:pt x="90" y="300"/>
                    </a:lnTo>
                    <a:lnTo>
                      <a:pt x="0" y="150"/>
                    </a:lnTo>
                    <a:lnTo>
                      <a:pt x="150" y="120"/>
                    </a:lnTo>
                    <a:lnTo>
                      <a:pt x="300" y="30"/>
                    </a:lnTo>
                    <a:lnTo>
                      <a:pt x="390" y="60"/>
                    </a:lnTo>
                    <a:lnTo>
                      <a:pt x="450" y="180"/>
                    </a:lnTo>
                    <a:lnTo>
                      <a:pt x="480" y="30"/>
                    </a:lnTo>
                    <a:lnTo>
                      <a:pt x="600" y="0"/>
                    </a:lnTo>
                    <a:lnTo>
                      <a:pt x="540" y="120"/>
                    </a:lnTo>
                    <a:lnTo>
                      <a:pt x="660" y="180"/>
                    </a:lnTo>
                    <a:lnTo>
                      <a:pt x="630" y="300"/>
                    </a:lnTo>
                    <a:lnTo>
                      <a:pt x="780" y="330"/>
                    </a:lnTo>
                    <a:lnTo>
                      <a:pt x="959" y="420"/>
                    </a:lnTo>
                    <a:lnTo>
                      <a:pt x="1289" y="4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3" name="Freeform 2593">
                <a:extLst>
                  <a:ext uri="{FF2B5EF4-FFF2-40B4-BE49-F238E27FC236}">
                    <a16:creationId xmlns:a16="http://schemas.microsoft.com/office/drawing/2014/main" xmlns="" id="{70F71936-7E99-4FCF-B968-21B474C10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6" y="2130"/>
                <a:ext cx="629" cy="720"/>
              </a:xfrm>
              <a:custGeom>
                <a:avLst/>
                <a:gdLst>
                  <a:gd name="T0" fmla="*/ 629 w 629"/>
                  <a:gd name="T1" fmla="*/ 720 h 720"/>
                  <a:gd name="T2" fmla="*/ 479 w 629"/>
                  <a:gd name="T3" fmla="*/ 690 h 720"/>
                  <a:gd name="T4" fmla="*/ 599 w 629"/>
                  <a:gd name="T5" fmla="*/ 510 h 720"/>
                  <a:gd name="T6" fmla="*/ 389 w 629"/>
                  <a:gd name="T7" fmla="*/ 570 h 720"/>
                  <a:gd name="T8" fmla="*/ 269 w 629"/>
                  <a:gd name="T9" fmla="*/ 510 h 720"/>
                  <a:gd name="T10" fmla="*/ 90 w 629"/>
                  <a:gd name="T11" fmla="*/ 540 h 720"/>
                  <a:gd name="T12" fmla="*/ 0 w 629"/>
                  <a:gd name="T13" fmla="*/ 390 h 720"/>
                  <a:gd name="T14" fmla="*/ 0 w 629"/>
                  <a:gd name="T15" fmla="*/ 630 h 720"/>
                  <a:gd name="T16" fmla="*/ 90 w 629"/>
                  <a:gd name="T17" fmla="*/ 300 h 720"/>
                  <a:gd name="T18" fmla="*/ 0 w 629"/>
                  <a:gd name="T19" fmla="*/ 210 h 720"/>
                  <a:gd name="T20" fmla="*/ 0 w 629"/>
                  <a:gd name="T21" fmla="*/ 60 h 720"/>
                  <a:gd name="T22" fmla="*/ 60 w 629"/>
                  <a:gd name="T23" fmla="*/ 0 h 720"/>
                  <a:gd name="T24" fmla="*/ 149 w 629"/>
                  <a:gd name="T25" fmla="*/ 180 h 720"/>
                  <a:gd name="T26" fmla="*/ 329 w 629"/>
                  <a:gd name="T27" fmla="*/ 240 h 720"/>
                  <a:gd name="T28" fmla="*/ 359 w 629"/>
                  <a:gd name="T29" fmla="*/ 9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29" h="720">
                    <a:moveTo>
                      <a:pt x="629" y="720"/>
                    </a:moveTo>
                    <a:lnTo>
                      <a:pt x="479" y="690"/>
                    </a:lnTo>
                    <a:lnTo>
                      <a:pt x="599" y="510"/>
                    </a:lnTo>
                    <a:lnTo>
                      <a:pt x="389" y="570"/>
                    </a:lnTo>
                    <a:lnTo>
                      <a:pt x="269" y="510"/>
                    </a:lnTo>
                    <a:lnTo>
                      <a:pt x="90" y="540"/>
                    </a:lnTo>
                    <a:lnTo>
                      <a:pt x="0" y="390"/>
                    </a:lnTo>
                    <a:lnTo>
                      <a:pt x="0" y="630"/>
                    </a:lnTo>
                    <a:lnTo>
                      <a:pt x="90" y="300"/>
                    </a:lnTo>
                    <a:lnTo>
                      <a:pt x="0" y="210"/>
                    </a:lnTo>
                    <a:lnTo>
                      <a:pt x="0" y="60"/>
                    </a:lnTo>
                    <a:lnTo>
                      <a:pt x="60" y="0"/>
                    </a:lnTo>
                    <a:lnTo>
                      <a:pt x="149" y="180"/>
                    </a:lnTo>
                    <a:lnTo>
                      <a:pt x="329" y="240"/>
                    </a:lnTo>
                    <a:lnTo>
                      <a:pt x="359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4" name="Freeform 2594">
                <a:extLst>
                  <a:ext uri="{FF2B5EF4-FFF2-40B4-BE49-F238E27FC236}">
                    <a16:creationId xmlns:a16="http://schemas.microsoft.com/office/drawing/2014/main" xmlns="" id="{BCABA6C8-6824-4965-9B6A-FC52BD6D0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5" y="2640"/>
                <a:ext cx="780" cy="480"/>
              </a:xfrm>
              <a:custGeom>
                <a:avLst/>
                <a:gdLst>
                  <a:gd name="T0" fmla="*/ 330 w 780"/>
                  <a:gd name="T1" fmla="*/ 360 h 480"/>
                  <a:gd name="T2" fmla="*/ 210 w 780"/>
                  <a:gd name="T3" fmla="*/ 450 h 480"/>
                  <a:gd name="T4" fmla="*/ 120 w 780"/>
                  <a:gd name="T5" fmla="*/ 390 h 480"/>
                  <a:gd name="T6" fmla="*/ 120 w 780"/>
                  <a:gd name="T7" fmla="*/ 270 h 480"/>
                  <a:gd name="T8" fmla="*/ 180 w 780"/>
                  <a:gd name="T9" fmla="*/ 180 h 480"/>
                  <a:gd name="T10" fmla="*/ 0 w 780"/>
                  <a:gd name="T11" fmla="*/ 150 h 480"/>
                  <a:gd name="T12" fmla="*/ 30 w 780"/>
                  <a:gd name="T13" fmla="*/ 330 h 480"/>
                  <a:gd name="T14" fmla="*/ 120 w 780"/>
                  <a:gd name="T15" fmla="*/ 270 h 480"/>
                  <a:gd name="T16" fmla="*/ 240 w 780"/>
                  <a:gd name="T17" fmla="*/ 330 h 480"/>
                  <a:gd name="T18" fmla="*/ 360 w 780"/>
                  <a:gd name="T19" fmla="*/ 480 h 480"/>
                  <a:gd name="T20" fmla="*/ 480 w 780"/>
                  <a:gd name="T21" fmla="*/ 420 h 480"/>
                  <a:gd name="T22" fmla="*/ 330 w 780"/>
                  <a:gd name="T23" fmla="*/ 360 h 480"/>
                  <a:gd name="T24" fmla="*/ 450 w 780"/>
                  <a:gd name="T25" fmla="*/ 270 h 480"/>
                  <a:gd name="T26" fmla="*/ 510 w 780"/>
                  <a:gd name="T27" fmla="*/ 90 h 480"/>
                  <a:gd name="T28" fmla="*/ 690 w 780"/>
                  <a:gd name="T29" fmla="*/ 0 h 480"/>
                  <a:gd name="T30" fmla="*/ 450 w 780"/>
                  <a:gd name="T31" fmla="*/ 0 h 480"/>
                  <a:gd name="T32" fmla="*/ 780 w 780"/>
                  <a:gd name="T33" fmla="*/ 9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80" h="480">
                    <a:moveTo>
                      <a:pt x="330" y="360"/>
                    </a:moveTo>
                    <a:lnTo>
                      <a:pt x="210" y="450"/>
                    </a:lnTo>
                    <a:lnTo>
                      <a:pt x="120" y="390"/>
                    </a:lnTo>
                    <a:lnTo>
                      <a:pt x="120" y="270"/>
                    </a:lnTo>
                    <a:lnTo>
                      <a:pt x="180" y="180"/>
                    </a:lnTo>
                    <a:lnTo>
                      <a:pt x="0" y="150"/>
                    </a:lnTo>
                    <a:lnTo>
                      <a:pt x="30" y="330"/>
                    </a:lnTo>
                    <a:lnTo>
                      <a:pt x="120" y="270"/>
                    </a:lnTo>
                    <a:lnTo>
                      <a:pt x="240" y="330"/>
                    </a:lnTo>
                    <a:lnTo>
                      <a:pt x="360" y="480"/>
                    </a:lnTo>
                    <a:lnTo>
                      <a:pt x="480" y="420"/>
                    </a:lnTo>
                    <a:lnTo>
                      <a:pt x="330" y="360"/>
                    </a:lnTo>
                    <a:lnTo>
                      <a:pt x="450" y="270"/>
                    </a:lnTo>
                    <a:lnTo>
                      <a:pt x="510" y="90"/>
                    </a:lnTo>
                    <a:lnTo>
                      <a:pt x="690" y="0"/>
                    </a:lnTo>
                    <a:lnTo>
                      <a:pt x="450" y="0"/>
                    </a:lnTo>
                    <a:lnTo>
                      <a:pt x="7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5" name="Line 2595">
                <a:extLst>
                  <a:ext uri="{FF2B5EF4-FFF2-40B4-BE49-F238E27FC236}">
                    <a16:creationId xmlns:a16="http://schemas.microsoft.com/office/drawing/2014/main" xmlns="" id="{CEB6E236-D662-41DC-A6E7-02A5C700235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325" y="297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6" name="Freeform 2596">
                <a:extLst>
                  <a:ext uri="{FF2B5EF4-FFF2-40B4-BE49-F238E27FC236}">
                    <a16:creationId xmlns:a16="http://schemas.microsoft.com/office/drawing/2014/main" xmlns="" id="{08236DA8-477E-42FA-8FE9-720CCC4FE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2820"/>
                <a:ext cx="449" cy="390"/>
              </a:xfrm>
              <a:custGeom>
                <a:avLst/>
                <a:gdLst>
                  <a:gd name="T0" fmla="*/ 179 w 449"/>
                  <a:gd name="T1" fmla="*/ 390 h 390"/>
                  <a:gd name="T2" fmla="*/ 329 w 449"/>
                  <a:gd name="T3" fmla="*/ 210 h 390"/>
                  <a:gd name="T4" fmla="*/ 449 w 449"/>
                  <a:gd name="T5" fmla="*/ 150 h 390"/>
                  <a:gd name="T6" fmla="*/ 389 w 449"/>
                  <a:gd name="T7" fmla="*/ 0 h 390"/>
                  <a:gd name="T8" fmla="*/ 0 w 449"/>
                  <a:gd name="T9" fmla="*/ 21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9" h="390">
                    <a:moveTo>
                      <a:pt x="179" y="390"/>
                    </a:moveTo>
                    <a:lnTo>
                      <a:pt x="329" y="210"/>
                    </a:lnTo>
                    <a:lnTo>
                      <a:pt x="449" y="150"/>
                    </a:lnTo>
                    <a:lnTo>
                      <a:pt x="389" y="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7" name="Freeform 2597">
                <a:extLst>
                  <a:ext uri="{FF2B5EF4-FFF2-40B4-BE49-F238E27FC236}">
                    <a16:creationId xmlns:a16="http://schemas.microsoft.com/office/drawing/2014/main" xmlns="" id="{42E0A9FD-A2D7-4CC6-9D1F-06C5FFB66A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5" y="2310"/>
                <a:ext cx="870" cy="600"/>
              </a:xfrm>
              <a:custGeom>
                <a:avLst/>
                <a:gdLst>
                  <a:gd name="T0" fmla="*/ 0 w 870"/>
                  <a:gd name="T1" fmla="*/ 480 h 600"/>
                  <a:gd name="T2" fmla="*/ 60 w 870"/>
                  <a:gd name="T3" fmla="*/ 600 h 600"/>
                  <a:gd name="T4" fmla="*/ 270 w 870"/>
                  <a:gd name="T5" fmla="*/ 480 h 600"/>
                  <a:gd name="T6" fmla="*/ 390 w 870"/>
                  <a:gd name="T7" fmla="*/ 420 h 600"/>
                  <a:gd name="T8" fmla="*/ 540 w 870"/>
                  <a:gd name="T9" fmla="*/ 420 h 600"/>
                  <a:gd name="T10" fmla="*/ 750 w 870"/>
                  <a:gd name="T11" fmla="*/ 480 h 600"/>
                  <a:gd name="T12" fmla="*/ 870 w 870"/>
                  <a:gd name="T13" fmla="*/ 330 h 600"/>
                  <a:gd name="T14" fmla="*/ 660 w 870"/>
                  <a:gd name="T15" fmla="*/ 390 h 600"/>
                  <a:gd name="T16" fmla="*/ 540 w 870"/>
                  <a:gd name="T17" fmla="*/ 330 h 600"/>
                  <a:gd name="T18" fmla="*/ 420 w 870"/>
                  <a:gd name="T19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70" h="600">
                    <a:moveTo>
                      <a:pt x="0" y="480"/>
                    </a:moveTo>
                    <a:lnTo>
                      <a:pt x="60" y="600"/>
                    </a:lnTo>
                    <a:lnTo>
                      <a:pt x="270" y="480"/>
                    </a:lnTo>
                    <a:lnTo>
                      <a:pt x="390" y="420"/>
                    </a:lnTo>
                    <a:lnTo>
                      <a:pt x="540" y="420"/>
                    </a:lnTo>
                    <a:lnTo>
                      <a:pt x="750" y="480"/>
                    </a:lnTo>
                    <a:lnTo>
                      <a:pt x="870" y="330"/>
                    </a:lnTo>
                    <a:lnTo>
                      <a:pt x="660" y="390"/>
                    </a:lnTo>
                    <a:lnTo>
                      <a:pt x="540" y="330"/>
                    </a:lnTo>
                    <a:lnTo>
                      <a:pt x="42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8" name="Line 2598">
                <a:extLst>
                  <a:ext uri="{FF2B5EF4-FFF2-40B4-BE49-F238E27FC236}">
                    <a16:creationId xmlns:a16="http://schemas.microsoft.com/office/drawing/2014/main" xmlns="" id="{9640FB84-59F0-4FB1-A2E8-323290DF3FE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745" y="2910"/>
                <a:ext cx="3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9" name="Freeform 2599">
                <a:extLst>
                  <a:ext uri="{FF2B5EF4-FFF2-40B4-BE49-F238E27FC236}">
                    <a16:creationId xmlns:a16="http://schemas.microsoft.com/office/drawing/2014/main" xmlns="" id="{4CAAD0DC-EBF5-48B6-86C4-02DF29F50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3060"/>
                <a:ext cx="210" cy="90"/>
              </a:xfrm>
              <a:custGeom>
                <a:avLst/>
                <a:gdLst>
                  <a:gd name="T0" fmla="*/ 0 w 210"/>
                  <a:gd name="T1" fmla="*/ 90 h 90"/>
                  <a:gd name="T2" fmla="*/ 120 w 210"/>
                  <a:gd name="T3" fmla="*/ 0 h 90"/>
                  <a:gd name="T4" fmla="*/ 210 w 210"/>
                  <a:gd name="T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90">
                    <a:moveTo>
                      <a:pt x="0" y="90"/>
                    </a:moveTo>
                    <a:lnTo>
                      <a:pt x="120" y="0"/>
                    </a:lnTo>
                    <a:lnTo>
                      <a:pt x="21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0" name="Line 2600">
                <a:extLst>
                  <a:ext uri="{FF2B5EF4-FFF2-40B4-BE49-F238E27FC236}">
                    <a16:creationId xmlns:a16="http://schemas.microsoft.com/office/drawing/2014/main" xmlns="" id="{4DE8794E-B5B8-4E02-BC95-71B303CEB5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805" y="2730"/>
                <a:ext cx="30" cy="21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1" name="Freeform 2601">
                <a:extLst>
                  <a:ext uri="{FF2B5EF4-FFF2-40B4-BE49-F238E27FC236}">
                    <a16:creationId xmlns:a16="http://schemas.microsoft.com/office/drawing/2014/main" xmlns="" id="{EC0282BB-8456-4F25-A34B-3570822D2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5" y="2730"/>
                <a:ext cx="90" cy="120"/>
              </a:xfrm>
              <a:custGeom>
                <a:avLst/>
                <a:gdLst>
                  <a:gd name="T0" fmla="*/ 0 w 90"/>
                  <a:gd name="T1" fmla="*/ 0 h 120"/>
                  <a:gd name="T2" fmla="*/ 90 w 90"/>
                  <a:gd name="T3" fmla="*/ 90 h 120"/>
                  <a:gd name="T4" fmla="*/ 0 w 90"/>
                  <a:gd name="T5" fmla="*/ 120 h 120"/>
                  <a:gd name="T6" fmla="*/ 0 w 90"/>
                  <a:gd name="T7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120">
                    <a:moveTo>
                      <a:pt x="0" y="0"/>
                    </a:moveTo>
                    <a:lnTo>
                      <a:pt x="90" y="90"/>
                    </a:lnTo>
                    <a:lnTo>
                      <a:pt x="0" y="1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2" name="Freeform 2602">
                <a:extLst>
                  <a:ext uri="{FF2B5EF4-FFF2-40B4-BE49-F238E27FC236}">
                    <a16:creationId xmlns:a16="http://schemas.microsoft.com/office/drawing/2014/main" xmlns="" id="{C92778BF-2A79-43BE-A847-AFF9DB4CD6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2820"/>
                <a:ext cx="270" cy="90"/>
              </a:xfrm>
              <a:custGeom>
                <a:avLst/>
                <a:gdLst>
                  <a:gd name="T0" fmla="*/ 60 w 270"/>
                  <a:gd name="T1" fmla="*/ 90 h 90"/>
                  <a:gd name="T2" fmla="*/ 0 w 270"/>
                  <a:gd name="T3" fmla="*/ 0 h 90"/>
                  <a:gd name="T4" fmla="*/ 270 w 270"/>
                  <a:gd name="T5" fmla="*/ 3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90">
                    <a:moveTo>
                      <a:pt x="60" y="90"/>
                    </a:moveTo>
                    <a:lnTo>
                      <a:pt x="0" y="0"/>
                    </a:lnTo>
                    <a:lnTo>
                      <a:pt x="27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3" name="Freeform 2603">
                <a:extLst>
                  <a:ext uri="{FF2B5EF4-FFF2-40B4-BE49-F238E27FC236}">
                    <a16:creationId xmlns:a16="http://schemas.microsoft.com/office/drawing/2014/main" xmlns="" id="{29D76AD4-1C22-4F8C-9386-3A4BCF370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2730"/>
                <a:ext cx="540" cy="330"/>
              </a:xfrm>
              <a:custGeom>
                <a:avLst/>
                <a:gdLst>
                  <a:gd name="T0" fmla="*/ 540 w 540"/>
                  <a:gd name="T1" fmla="*/ 240 h 330"/>
                  <a:gd name="T2" fmla="*/ 420 w 540"/>
                  <a:gd name="T3" fmla="*/ 300 h 330"/>
                  <a:gd name="T4" fmla="*/ 270 w 540"/>
                  <a:gd name="T5" fmla="*/ 330 h 330"/>
                  <a:gd name="T6" fmla="*/ 150 w 540"/>
                  <a:gd name="T7" fmla="*/ 180 h 330"/>
                  <a:gd name="T8" fmla="*/ 180 w 540"/>
                  <a:gd name="T9" fmla="*/ 90 h 330"/>
                  <a:gd name="T10" fmla="*/ 120 w 540"/>
                  <a:gd name="T11" fmla="*/ 0 h 330"/>
                  <a:gd name="T12" fmla="*/ 30 w 540"/>
                  <a:gd name="T13" fmla="*/ 180 h 330"/>
                  <a:gd name="T14" fmla="*/ 0 w 540"/>
                  <a:gd name="T15" fmla="*/ 6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0" h="330">
                    <a:moveTo>
                      <a:pt x="540" y="240"/>
                    </a:moveTo>
                    <a:lnTo>
                      <a:pt x="420" y="300"/>
                    </a:lnTo>
                    <a:lnTo>
                      <a:pt x="270" y="330"/>
                    </a:lnTo>
                    <a:lnTo>
                      <a:pt x="150" y="180"/>
                    </a:lnTo>
                    <a:lnTo>
                      <a:pt x="180" y="90"/>
                    </a:lnTo>
                    <a:lnTo>
                      <a:pt x="120" y="0"/>
                    </a:lnTo>
                    <a:lnTo>
                      <a:pt x="30" y="18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4" name="Line 2604">
                <a:extLst>
                  <a:ext uri="{FF2B5EF4-FFF2-40B4-BE49-F238E27FC236}">
                    <a16:creationId xmlns:a16="http://schemas.microsoft.com/office/drawing/2014/main" xmlns="" id="{9AB400F5-307F-4DEF-989C-79F846EAEC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95" y="153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5" name="Freeform 2605">
                <a:extLst>
                  <a:ext uri="{FF2B5EF4-FFF2-40B4-BE49-F238E27FC236}">
                    <a16:creationId xmlns:a16="http://schemas.microsoft.com/office/drawing/2014/main" xmlns="" id="{B2C89CC1-2810-4E61-9D8E-FFC3385A7A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5" y="1620"/>
                <a:ext cx="180" cy="150"/>
              </a:xfrm>
              <a:custGeom>
                <a:avLst/>
                <a:gdLst>
                  <a:gd name="T0" fmla="*/ 0 w 180"/>
                  <a:gd name="T1" fmla="*/ 0 h 150"/>
                  <a:gd name="T2" fmla="*/ 180 w 180"/>
                  <a:gd name="T3" fmla="*/ 150 h 150"/>
                  <a:gd name="T4" fmla="*/ 120 w 180"/>
                  <a:gd name="T5" fmla="*/ 3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0" y="0"/>
                    </a:moveTo>
                    <a:lnTo>
                      <a:pt x="180" y="150"/>
                    </a:lnTo>
                    <a:lnTo>
                      <a:pt x="12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6" name="Line 2606">
                <a:extLst>
                  <a:ext uri="{FF2B5EF4-FFF2-40B4-BE49-F238E27FC236}">
                    <a16:creationId xmlns:a16="http://schemas.microsoft.com/office/drawing/2014/main" xmlns="" id="{37346514-AA4F-4C60-8FAE-A786B693B0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985" y="165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7" name="Line 2607">
                <a:extLst>
                  <a:ext uri="{FF2B5EF4-FFF2-40B4-BE49-F238E27FC236}">
                    <a16:creationId xmlns:a16="http://schemas.microsoft.com/office/drawing/2014/main" xmlns="" id="{1186D136-84DD-4CAF-9EC7-2A1007C137E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15" y="159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8" name="Line 2608">
                <a:extLst>
                  <a:ext uri="{FF2B5EF4-FFF2-40B4-BE49-F238E27FC236}">
                    <a16:creationId xmlns:a16="http://schemas.microsoft.com/office/drawing/2014/main" xmlns="" id="{8F32698A-EB22-4B97-98B6-3A5FDCF7E1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85" y="150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9" name="Freeform 2609">
                <a:extLst>
                  <a:ext uri="{FF2B5EF4-FFF2-40B4-BE49-F238E27FC236}">
                    <a16:creationId xmlns:a16="http://schemas.microsoft.com/office/drawing/2014/main" xmlns="" id="{2F6A8FDD-5833-4B06-B59D-E0587B533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470"/>
                <a:ext cx="330" cy="210"/>
              </a:xfrm>
              <a:custGeom>
                <a:avLst/>
                <a:gdLst>
                  <a:gd name="T0" fmla="*/ 0 w 330"/>
                  <a:gd name="T1" fmla="*/ 150 h 210"/>
                  <a:gd name="T2" fmla="*/ 60 w 330"/>
                  <a:gd name="T3" fmla="*/ 210 h 210"/>
                  <a:gd name="T4" fmla="*/ 150 w 330"/>
                  <a:gd name="T5" fmla="*/ 150 h 210"/>
                  <a:gd name="T6" fmla="*/ 210 w 330"/>
                  <a:gd name="T7" fmla="*/ 60 h 210"/>
                  <a:gd name="T8" fmla="*/ 330 w 330"/>
                  <a:gd name="T9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0" h="210">
                    <a:moveTo>
                      <a:pt x="0" y="150"/>
                    </a:moveTo>
                    <a:lnTo>
                      <a:pt x="60" y="210"/>
                    </a:lnTo>
                    <a:lnTo>
                      <a:pt x="150" y="150"/>
                    </a:lnTo>
                    <a:lnTo>
                      <a:pt x="210" y="60"/>
                    </a:lnTo>
                    <a:lnTo>
                      <a:pt x="33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0" name="Freeform 2610">
                <a:extLst>
                  <a:ext uri="{FF2B5EF4-FFF2-40B4-BE49-F238E27FC236}">
                    <a16:creationId xmlns:a16="http://schemas.microsoft.com/office/drawing/2014/main" xmlns="" id="{B7831F3E-2ADE-4C7E-892E-036F48A115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1500"/>
                <a:ext cx="270" cy="150"/>
              </a:xfrm>
              <a:custGeom>
                <a:avLst/>
                <a:gdLst>
                  <a:gd name="T0" fmla="*/ 270 w 270"/>
                  <a:gd name="T1" fmla="*/ 90 h 150"/>
                  <a:gd name="T2" fmla="*/ 150 w 270"/>
                  <a:gd name="T3" fmla="*/ 150 h 150"/>
                  <a:gd name="T4" fmla="*/ 30 w 270"/>
                  <a:gd name="T5" fmla="*/ 120 h 150"/>
                  <a:gd name="T6" fmla="*/ 0 w 270"/>
                  <a:gd name="T7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0" h="150">
                    <a:moveTo>
                      <a:pt x="270" y="90"/>
                    </a:moveTo>
                    <a:lnTo>
                      <a:pt x="150" y="150"/>
                    </a:lnTo>
                    <a:lnTo>
                      <a:pt x="30" y="12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1" name="Line 2611">
                <a:extLst>
                  <a:ext uri="{FF2B5EF4-FFF2-40B4-BE49-F238E27FC236}">
                    <a16:creationId xmlns:a16="http://schemas.microsoft.com/office/drawing/2014/main" xmlns="" id="{672F47E1-254D-450A-B333-D663E2916D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47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2" name="Line 2612">
                <a:extLst>
                  <a:ext uri="{FF2B5EF4-FFF2-40B4-BE49-F238E27FC236}">
                    <a16:creationId xmlns:a16="http://schemas.microsoft.com/office/drawing/2014/main" xmlns="" id="{2D57A2CA-D306-4731-ABCE-F4218B5F90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75" y="1410"/>
                <a:ext cx="60" cy="9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3" name="Line 2613">
                <a:extLst>
                  <a:ext uri="{FF2B5EF4-FFF2-40B4-BE49-F238E27FC236}">
                    <a16:creationId xmlns:a16="http://schemas.microsoft.com/office/drawing/2014/main" xmlns="" id="{447AACF8-56F8-48D6-B0B6-BA37037E01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65" y="15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4" name="Freeform 2614">
                <a:extLst>
                  <a:ext uri="{FF2B5EF4-FFF2-40B4-BE49-F238E27FC236}">
                    <a16:creationId xmlns:a16="http://schemas.microsoft.com/office/drawing/2014/main" xmlns="" id="{D5230537-3937-4D5B-A036-5FC4DD5B3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5" y="1500"/>
                <a:ext cx="180" cy="120"/>
              </a:xfrm>
              <a:custGeom>
                <a:avLst/>
                <a:gdLst>
                  <a:gd name="T0" fmla="*/ 150 w 180"/>
                  <a:gd name="T1" fmla="*/ 0 h 120"/>
                  <a:gd name="T2" fmla="*/ 0 w 180"/>
                  <a:gd name="T3" fmla="*/ 0 h 120"/>
                  <a:gd name="T4" fmla="*/ 30 w 180"/>
                  <a:gd name="T5" fmla="*/ 120 h 120"/>
                  <a:gd name="T6" fmla="*/ 180 w 180"/>
                  <a:gd name="T7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120">
                    <a:moveTo>
                      <a:pt x="150" y="0"/>
                    </a:moveTo>
                    <a:lnTo>
                      <a:pt x="0" y="0"/>
                    </a:lnTo>
                    <a:lnTo>
                      <a:pt x="30" y="120"/>
                    </a:lnTo>
                    <a:lnTo>
                      <a:pt x="180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5" name="Freeform 2615">
                <a:extLst>
                  <a:ext uri="{FF2B5EF4-FFF2-40B4-BE49-F238E27FC236}">
                    <a16:creationId xmlns:a16="http://schemas.microsoft.com/office/drawing/2014/main" xmlns="" id="{186E4826-6C5D-4BB3-9336-5F870F7847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4" y="125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6" name="Freeform 2616">
                <a:extLst>
                  <a:ext uri="{FF2B5EF4-FFF2-40B4-BE49-F238E27FC236}">
                    <a16:creationId xmlns:a16="http://schemas.microsoft.com/office/drawing/2014/main" xmlns="" id="{C391CB45-9C8F-4C7B-B441-0F9D361A36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4" y="206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7" name="Freeform 2617">
                <a:extLst>
                  <a:ext uri="{FF2B5EF4-FFF2-40B4-BE49-F238E27FC236}">
                    <a16:creationId xmlns:a16="http://schemas.microsoft.com/office/drawing/2014/main" xmlns="" id="{89D46438-51F6-4F28-B1AE-86F690732B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" y="206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8" name="Freeform 2618">
                <a:extLst>
                  <a:ext uri="{FF2B5EF4-FFF2-40B4-BE49-F238E27FC236}">
                    <a16:creationId xmlns:a16="http://schemas.microsoft.com/office/drawing/2014/main" xmlns="" id="{C65614BE-7849-44CF-ABFF-BD36FA37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4" y="53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9" name="Freeform 2619">
                <a:extLst>
                  <a:ext uri="{FF2B5EF4-FFF2-40B4-BE49-F238E27FC236}">
                    <a16:creationId xmlns:a16="http://schemas.microsoft.com/office/drawing/2014/main" xmlns="" id="{7F66261F-B6AB-4DE7-8D2E-0EB94C1775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3" y="53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0" name="Oval 2620">
                <a:extLst>
                  <a:ext uri="{FF2B5EF4-FFF2-40B4-BE49-F238E27FC236}">
                    <a16:creationId xmlns:a16="http://schemas.microsoft.com/office/drawing/2014/main" xmlns="" id="{7D5AA986-53FA-4BDF-9D06-A34318F8EE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1" name="Oval 2621">
                <a:extLst>
                  <a:ext uri="{FF2B5EF4-FFF2-40B4-BE49-F238E27FC236}">
                    <a16:creationId xmlns:a16="http://schemas.microsoft.com/office/drawing/2014/main" xmlns="" id="{0017B849-E83B-4EEC-AAC3-FCF881455A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2" name="Oval 2622">
                <a:extLst>
                  <a:ext uri="{FF2B5EF4-FFF2-40B4-BE49-F238E27FC236}">
                    <a16:creationId xmlns:a16="http://schemas.microsoft.com/office/drawing/2014/main" xmlns="" id="{3840FCEA-BA07-48A6-8628-E0530CA4C6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3" name="Oval 2623">
                <a:extLst>
                  <a:ext uri="{FF2B5EF4-FFF2-40B4-BE49-F238E27FC236}">
                    <a16:creationId xmlns:a16="http://schemas.microsoft.com/office/drawing/2014/main" xmlns="" id="{8517C6AB-78DA-4EA2-ACC3-DB70EB9D63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4" name="Oval 2624">
                <a:extLst>
                  <a:ext uri="{FF2B5EF4-FFF2-40B4-BE49-F238E27FC236}">
                    <a16:creationId xmlns:a16="http://schemas.microsoft.com/office/drawing/2014/main" xmlns="" id="{151474C7-4BA3-4526-8789-3F588F2756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4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5" name="Oval 2625">
                <a:extLst>
                  <a:ext uri="{FF2B5EF4-FFF2-40B4-BE49-F238E27FC236}">
                    <a16:creationId xmlns:a16="http://schemas.microsoft.com/office/drawing/2014/main" xmlns="" id="{637A3E53-B5F7-4D2B-9D6F-D26428ADEC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4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6" name="Oval 2626">
                <a:extLst>
                  <a:ext uri="{FF2B5EF4-FFF2-40B4-BE49-F238E27FC236}">
                    <a16:creationId xmlns:a16="http://schemas.microsoft.com/office/drawing/2014/main" xmlns="" id="{BE75D479-27A3-4C86-B393-C2C6DBBF63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4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7" name="Oval 2627">
                <a:extLst>
                  <a:ext uri="{FF2B5EF4-FFF2-40B4-BE49-F238E27FC236}">
                    <a16:creationId xmlns:a16="http://schemas.microsoft.com/office/drawing/2014/main" xmlns="" id="{25FF4F16-B447-4F77-A242-12E9C26807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8" name="Oval 2628">
                <a:extLst>
                  <a:ext uri="{FF2B5EF4-FFF2-40B4-BE49-F238E27FC236}">
                    <a16:creationId xmlns:a16="http://schemas.microsoft.com/office/drawing/2014/main" xmlns="" id="{B5D1B9AD-6869-407C-80A8-FD31F9F73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9" name="Oval 2629">
                <a:extLst>
                  <a:ext uri="{FF2B5EF4-FFF2-40B4-BE49-F238E27FC236}">
                    <a16:creationId xmlns:a16="http://schemas.microsoft.com/office/drawing/2014/main" xmlns="" id="{45171956-4028-4070-B968-3152716A16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4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0" name="Oval 2630">
                <a:extLst>
                  <a:ext uri="{FF2B5EF4-FFF2-40B4-BE49-F238E27FC236}">
                    <a16:creationId xmlns:a16="http://schemas.microsoft.com/office/drawing/2014/main" xmlns="" id="{C1141C36-7341-4522-8B29-6748769B44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1" name="Oval 2631">
                <a:extLst>
                  <a:ext uri="{FF2B5EF4-FFF2-40B4-BE49-F238E27FC236}">
                    <a16:creationId xmlns:a16="http://schemas.microsoft.com/office/drawing/2014/main" xmlns="" id="{91584CD1-C5EF-46AE-8C88-49E9CB02FC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4" y="26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2" name="Oval 2632">
                <a:extLst>
                  <a:ext uri="{FF2B5EF4-FFF2-40B4-BE49-F238E27FC236}">
                    <a16:creationId xmlns:a16="http://schemas.microsoft.com/office/drawing/2014/main" xmlns="" id="{E9BDD82E-503D-4EAF-9953-37AF36E075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4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3" name="Oval 2633">
                <a:extLst>
                  <a:ext uri="{FF2B5EF4-FFF2-40B4-BE49-F238E27FC236}">
                    <a16:creationId xmlns:a16="http://schemas.microsoft.com/office/drawing/2014/main" xmlns="" id="{5B6431FE-D37E-4069-BF8D-3D01FB5339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4" name="Oval 2634">
                <a:extLst>
                  <a:ext uri="{FF2B5EF4-FFF2-40B4-BE49-F238E27FC236}">
                    <a16:creationId xmlns:a16="http://schemas.microsoft.com/office/drawing/2014/main" xmlns="" id="{BA825897-6B4B-4030-A1A2-7AA30656BB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5" name="Oval 2635">
                <a:extLst>
                  <a:ext uri="{FF2B5EF4-FFF2-40B4-BE49-F238E27FC236}">
                    <a16:creationId xmlns:a16="http://schemas.microsoft.com/office/drawing/2014/main" xmlns="" id="{B1A1C359-E6F2-4727-8D79-3D12BDD77C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6" name="Oval 2636">
                <a:extLst>
                  <a:ext uri="{FF2B5EF4-FFF2-40B4-BE49-F238E27FC236}">
                    <a16:creationId xmlns:a16="http://schemas.microsoft.com/office/drawing/2014/main" xmlns="" id="{741D9434-FA10-4A3F-92AF-C1B0E7D9A6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7" name="Oval 2637">
                <a:extLst>
                  <a:ext uri="{FF2B5EF4-FFF2-40B4-BE49-F238E27FC236}">
                    <a16:creationId xmlns:a16="http://schemas.microsoft.com/office/drawing/2014/main" xmlns="" id="{3DA66931-F40B-4EED-86FE-7A252A8974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4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8" name="Oval 2638">
                <a:extLst>
                  <a:ext uri="{FF2B5EF4-FFF2-40B4-BE49-F238E27FC236}">
                    <a16:creationId xmlns:a16="http://schemas.microsoft.com/office/drawing/2014/main" xmlns="" id="{3C22C594-1BE9-4FD9-B0E4-6FCDFDB591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9" name="Oval 2639">
                <a:extLst>
                  <a:ext uri="{FF2B5EF4-FFF2-40B4-BE49-F238E27FC236}">
                    <a16:creationId xmlns:a16="http://schemas.microsoft.com/office/drawing/2014/main" xmlns="" id="{F5FE1887-5518-465C-80B3-108151ADCC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0" name="Oval 2640">
                <a:extLst>
                  <a:ext uri="{FF2B5EF4-FFF2-40B4-BE49-F238E27FC236}">
                    <a16:creationId xmlns:a16="http://schemas.microsoft.com/office/drawing/2014/main" xmlns="" id="{2B7C877B-4647-4AB8-83B1-F58FA6863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1" name="Oval 2641">
                <a:extLst>
                  <a:ext uri="{FF2B5EF4-FFF2-40B4-BE49-F238E27FC236}">
                    <a16:creationId xmlns:a16="http://schemas.microsoft.com/office/drawing/2014/main" xmlns="" id="{EBCAA00A-78BC-45EB-B158-3A5DA8224E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4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2" name="Oval 2642">
                <a:extLst>
                  <a:ext uri="{FF2B5EF4-FFF2-40B4-BE49-F238E27FC236}">
                    <a16:creationId xmlns:a16="http://schemas.microsoft.com/office/drawing/2014/main" xmlns="" id="{495F5092-9079-4B2A-A0F7-8182E30DF5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3" name="Oval 2643">
                <a:extLst>
                  <a:ext uri="{FF2B5EF4-FFF2-40B4-BE49-F238E27FC236}">
                    <a16:creationId xmlns:a16="http://schemas.microsoft.com/office/drawing/2014/main" xmlns="" id="{8C20932A-E594-4D00-9F68-B0101A2F04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4" name="Oval 2644">
                <a:extLst>
                  <a:ext uri="{FF2B5EF4-FFF2-40B4-BE49-F238E27FC236}">
                    <a16:creationId xmlns:a16="http://schemas.microsoft.com/office/drawing/2014/main" xmlns="" id="{BB7F1A50-0074-4369-B07E-06F15C5387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04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5" name="Oval 2645">
                <a:extLst>
                  <a:ext uri="{FF2B5EF4-FFF2-40B4-BE49-F238E27FC236}">
                    <a16:creationId xmlns:a16="http://schemas.microsoft.com/office/drawing/2014/main" xmlns="" id="{7F8812FE-24EF-4904-BDA7-BC9DE4C74D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13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6" name="Oval 2646">
                <a:extLst>
                  <a:ext uri="{FF2B5EF4-FFF2-40B4-BE49-F238E27FC236}">
                    <a16:creationId xmlns:a16="http://schemas.microsoft.com/office/drawing/2014/main" xmlns="" id="{B13DEA20-F35F-4359-A1A4-633C9B722B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7" name="Oval 2647">
                <a:extLst>
                  <a:ext uri="{FF2B5EF4-FFF2-40B4-BE49-F238E27FC236}">
                    <a16:creationId xmlns:a16="http://schemas.microsoft.com/office/drawing/2014/main" xmlns="" id="{BDC5020D-B699-44AF-8737-E950DE8BA5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4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8" name="Oval 2648">
                <a:extLst>
                  <a:ext uri="{FF2B5EF4-FFF2-40B4-BE49-F238E27FC236}">
                    <a16:creationId xmlns:a16="http://schemas.microsoft.com/office/drawing/2014/main" xmlns="" id="{5AE417E4-66A6-4247-8C60-C1D60C76B9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9" name="Oval 2649">
                <a:extLst>
                  <a:ext uri="{FF2B5EF4-FFF2-40B4-BE49-F238E27FC236}">
                    <a16:creationId xmlns:a16="http://schemas.microsoft.com/office/drawing/2014/main" xmlns="" id="{AA9D20CC-F7B7-4AAF-805F-23F3A8CCB1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0" name="Oval 2650">
                <a:extLst>
                  <a:ext uri="{FF2B5EF4-FFF2-40B4-BE49-F238E27FC236}">
                    <a16:creationId xmlns:a16="http://schemas.microsoft.com/office/drawing/2014/main" xmlns="" id="{3F04D762-EC50-471C-BF02-B34545D0F4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4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1" name="Oval 2651">
                <a:extLst>
                  <a:ext uri="{FF2B5EF4-FFF2-40B4-BE49-F238E27FC236}">
                    <a16:creationId xmlns:a16="http://schemas.microsoft.com/office/drawing/2014/main" xmlns="" id="{D03537D8-0B86-4936-A6EE-7BF6FDFF63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2" name="Oval 2652">
                <a:extLst>
                  <a:ext uri="{FF2B5EF4-FFF2-40B4-BE49-F238E27FC236}">
                    <a16:creationId xmlns:a16="http://schemas.microsoft.com/office/drawing/2014/main" xmlns="" id="{FD2E68EB-D294-4846-9D99-2759059857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3" name="Oval 2653">
                <a:extLst>
                  <a:ext uri="{FF2B5EF4-FFF2-40B4-BE49-F238E27FC236}">
                    <a16:creationId xmlns:a16="http://schemas.microsoft.com/office/drawing/2014/main" xmlns="" id="{4FDC08F2-B7CF-4762-9E55-51243FA28A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4" name="Oval 2654">
                <a:extLst>
                  <a:ext uri="{FF2B5EF4-FFF2-40B4-BE49-F238E27FC236}">
                    <a16:creationId xmlns:a16="http://schemas.microsoft.com/office/drawing/2014/main" xmlns="" id="{0D504A83-0C88-4FBC-BAB4-19FA5E5AFC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5" name="Oval 2655">
                <a:extLst>
                  <a:ext uri="{FF2B5EF4-FFF2-40B4-BE49-F238E27FC236}">
                    <a16:creationId xmlns:a16="http://schemas.microsoft.com/office/drawing/2014/main" xmlns="" id="{60B827BD-7EAB-47B5-9B94-F2027A863C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6" name="Oval 2656">
                <a:extLst>
                  <a:ext uri="{FF2B5EF4-FFF2-40B4-BE49-F238E27FC236}">
                    <a16:creationId xmlns:a16="http://schemas.microsoft.com/office/drawing/2014/main" xmlns="" id="{209F3275-34A0-409C-B35E-F3F39A16FA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7" name="Oval 2657">
                <a:extLst>
                  <a:ext uri="{FF2B5EF4-FFF2-40B4-BE49-F238E27FC236}">
                    <a16:creationId xmlns:a16="http://schemas.microsoft.com/office/drawing/2014/main" xmlns="" id="{4B220A02-F739-4766-967A-C0D8693F1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8" name="Oval 2658">
                <a:extLst>
                  <a:ext uri="{FF2B5EF4-FFF2-40B4-BE49-F238E27FC236}">
                    <a16:creationId xmlns:a16="http://schemas.microsoft.com/office/drawing/2014/main" xmlns="" id="{8656B4CD-A562-4E52-95AF-9A4A064410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14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9" name="Oval 2659">
                <a:extLst>
                  <a:ext uri="{FF2B5EF4-FFF2-40B4-BE49-F238E27FC236}">
                    <a16:creationId xmlns:a16="http://schemas.microsoft.com/office/drawing/2014/main" xmlns="" id="{F9B50E16-AC90-4702-A2B0-1CF07FCE2A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0" name="Oval 2660">
                <a:extLst>
                  <a:ext uri="{FF2B5EF4-FFF2-40B4-BE49-F238E27FC236}">
                    <a16:creationId xmlns:a16="http://schemas.microsoft.com/office/drawing/2014/main" xmlns="" id="{2A42687A-7FC7-4936-B9A7-BB3F72A714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1" name="Oval 2661">
                <a:extLst>
                  <a:ext uri="{FF2B5EF4-FFF2-40B4-BE49-F238E27FC236}">
                    <a16:creationId xmlns:a16="http://schemas.microsoft.com/office/drawing/2014/main" xmlns="" id="{A1D30381-3ABE-4656-A0A5-14B3342D28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2" name="Oval 2662">
                <a:extLst>
                  <a:ext uri="{FF2B5EF4-FFF2-40B4-BE49-F238E27FC236}">
                    <a16:creationId xmlns:a16="http://schemas.microsoft.com/office/drawing/2014/main" xmlns="" id="{7903DEAB-164A-4F5C-BFD0-DC9291899F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3" name="Oval 2663">
                <a:extLst>
                  <a:ext uri="{FF2B5EF4-FFF2-40B4-BE49-F238E27FC236}">
                    <a16:creationId xmlns:a16="http://schemas.microsoft.com/office/drawing/2014/main" xmlns="" id="{DC511BCB-AF2C-4B34-B87E-A6D4A6B459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34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4" name="Oval 2664">
                <a:extLst>
                  <a:ext uri="{FF2B5EF4-FFF2-40B4-BE49-F238E27FC236}">
                    <a16:creationId xmlns:a16="http://schemas.microsoft.com/office/drawing/2014/main" xmlns="" id="{080E606A-C7A6-476E-85AE-6A8C50CCAC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4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5" name="Oval 2665">
                <a:extLst>
                  <a:ext uri="{FF2B5EF4-FFF2-40B4-BE49-F238E27FC236}">
                    <a16:creationId xmlns:a16="http://schemas.microsoft.com/office/drawing/2014/main" xmlns="" id="{21623BEC-FC00-4378-9263-4322CD2C35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4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6" name="Oval 2666">
                <a:extLst>
                  <a:ext uri="{FF2B5EF4-FFF2-40B4-BE49-F238E27FC236}">
                    <a16:creationId xmlns:a16="http://schemas.microsoft.com/office/drawing/2014/main" xmlns="" id="{D84F49A1-396E-45B9-B4E0-401FF6E9F2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4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7" name="Oval 2667">
                <a:extLst>
                  <a:ext uri="{FF2B5EF4-FFF2-40B4-BE49-F238E27FC236}">
                    <a16:creationId xmlns:a16="http://schemas.microsoft.com/office/drawing/2014/main" xmlns="" id="{60E73FD3-7058-40CE-BB0C-44E1ADEEF2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8" name="Oval 2668">
                <a:extLst>
                  <a:ext uri="{FF2B5EF4-FFF2-40B4-BE49-F238E27FC236}">
                    <a16:creationId xmlns:a16="http://schemas.microsoft.com/office/drawing/2014/main" xmlns="" id="{26A07F9E-3012-4F03-AB25-5ED984DF0A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9" name="Oval 2669">
                <a:extLst>
                  <a:ext uri="{FF2B5EF4-FFF2-40B4-BE49-F238E27FC236}">
                    <a16:creationId xmlns:a16="http://schemas.microsoft.com/office/drawing/2014/main" xmlns="" id="{A3DF7859-55F5-4B18-9FCC-F5DD563253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0" name="Oval 2670">
                <a:extLst>
                  <a:ext uri="{FF2B5EF4-FFF2-40B4-BE49-F238E27FC236}">
                    <a16:creationId xmlns:a16="http://schemas.microsoft.com/office/drawing/2014/main" xmlns="" id="{F5CE45F5-9A75-414D-980F-01C215706D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5" y="36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1" name="Oval 2671">
                <a:extLst>
                  <a:ext uri="{FF2B5EF4-FFF2-40B4-BE49-F238E27FC236}">
                    <a16:creationId xmlns:a16="http://schemas.microsoft.com/office/drawing/2014/main" xmlns="" id="{F46F04BB-5693-467C-BAD9-A6BB54CA54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4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2" name="Oval 2672">
                <a:extLst>
                  <a:ext uri="{FF2B5EF4-FFF2-40B4-BE49-F238E27FC236}">
                    <a16:creationId xmlns:a16="http://schemas.microsoft.com/office/drawing/2014/main" xmlns="" id="{0BB9E677-68C3-48E8-AE28-62CD1B695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3" name="Oval 2673">
                <a:extLst>
                  <a:ext uri="{FF2B5EF4-FFF2-40B4-BE49-F238E27FC236}">
                    <a16:creationId xmlns:a16="http://schemas.microsoft.com/office/drawing/2014/main" xmlns="" id="{E3D7340E-A0CA-4428-8751-562A0D8FF3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5" y="78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4" name="Oval 2674">
                <a:extLst>
                  <a:ext uri="{FF2B5EF4-FFF2-40B4-BE49-F238E27FC236}">
                    <a16:creationId xmlns:a16="http://schemas.microsoft.com/office/drawing/2014/main" xmlns="" id="{D6560FF2-8BF4-4037-94A2-82543D1D2A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5" name="Oval 2675">
                <a:extLst>
                  <a:ext uri="{FF2B5EF4-FFF2-40B4-BE49-F238E27FC236}">
                    <a16:creationId xmlns:a16="http://schemas.microsoft.com/office/drawing/2014/main" xmlns="" id="{D05B4ADF-A837-415C-8AD8-CE0D147BB3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6" name="Oval 2676">
                <a:extLst>
                  <a:ext uri="{FF2B5EF4-FFF2-40B4-BE49-F238E27FC236}">
                    <a16:creationId xmlns:a16="http://schemas.microsoft.com/office/drawing/2014/main" xmlns="" id="{7778E4F6-96FE-44BA-9B42-04D03C9D37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7" name="Oval 2677">
                <a:extLst>
                  <a:ext uri="{FF2B5EF4-FFF2-40B4-BE49-F238E27FC236}">
                    <a16:creationId xmlns:a16="http://schemas.microsoft.com/office/drawing/2014/main" xmlns="" id="{60316479-79A0-44A8-B232-BDA9D5D192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1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8" name="Oval 2678">
                <a:extLst>
                  <a:ext uri="{FF2B5EF4-FFF2-40B4-BE49-F238E27FC236}">
                    <a16:creationId xmlns:a16="http://schemas.microsoft.com/office/drawing/2014/main" xmlns="" id="{CD05EBF5-D554-4EA3-98D5-E26C301145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5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9" name="Oval 2679">
                <a:extLst>
                  <a:ext uri="{FF2B5EF4-FFF2-40B4-BE49-F238E27FC236}">
                    <a16:creationId xmlns:a16="http://schemas.microsoft.com/office/drawing/2014/main" xmlns="" id="{77ACF15D-A01F-4843-BBC9-B366E91347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0" name="Oval 2680">
                <a:extLst>
                  <a:ext uri="{FF2B5EF4-FFF2-40B4-BE49-F238E27FC236}">
                    <a16:creationId xmlns:a16="http://schemas.microsoft.com/office/drawing/2014/main" xmlns="" id="{06AC55C3-5040-426E-ABF9-325D81F8F1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5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1" name="Oval 2681">
                <a:extLst>
                  <a:ext uri="{FF2B5EF4-FFF2-40B4-BE49-F238E27FC236}">
                    <a16:creationId xmlns:a16="http://schemas.microsoft.com/office/drawing/2014/main" xmlns="" id="{68A2CC6C-1E64-4601-A15D-FBCD531279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5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2" name="Oval 2682">
                <a:extLst>
                  <a:ext uri="{FF2B5EF4-FFF2-40B4-BE49-F238E27FC236}">
                    <a16:creationId xmlns:a16="http://schemas.microsoft.com/office/drawing/2014/main" xmlns="" id="{F683C56B-3054-4C7E-853C-E5DC694ECD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3" name="Oval 2683">
                <a:extLst>
                  <a:ext uri="{FF2B5EF4-FFF2-40B4-BE49-F238E27FC236}">
                    <a16:creationId xmlns:a16="http://schemas.microsoft.com/office/drawing/2014/main" xmlns="" id="{2C5584A2-A521-4B91-B6DA-857A3FC49A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4" name="Oval 2684">
                <a:extLst>
                  <a:ext uri="{FF2B5EF4-FFF2-40B4-BE49-F238E27FC236}">
                    <a16:creationId xmlns:a16="http://schemas.microsoft.com/office/drawing/2014/main" xmlns="" id="{CB8ABF81-4790-4849-81AF-6A4C3766A4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5" name="Oval 2685">
                <a:extLst>
                  <a:ext uri="{FF2B5EF4-FFF2-40B4-BE49-F238E27FC236}">
                    <a16:creationId xmlns:a16="http://schemas.microsoft.com/office/drawing/2014/main" xmlns="" id="{446DE32C-08E9-4CCC-A723-A7A37B12D8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5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6" name="Oval 2686">
                <a:extLst>
                  <a:ext uri="{FF2B5EF4-FFF2-40B4-BE49-F238E27FC236}">
                    <a16:creationId xmlns:a16="http://schemas.microsoft.com/office/drawing/2014/main" xmlns="" id="{910FCAC9-DB9F-4660-B7E4-8CA59C4B2B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7" name="Oval 2687">
                <a:extLst>
                  <a:ext uri="{FF2B5EF4-FFF2-40B4-BE49-F238E27FC236}">
                    <a16:creationId xmlns:a16="http://schemas.microsoft.com/office/drawing/2014/main" xmlns="" id="{943D6649-3DFB-4883-8D4F-878EAC4CAC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8" name="Oval 2688">
                <a:extLst>
                  <a:ext uri="{FF2B5EF4-FFF2-40B4-BE49-F238E27FC236}">
                    <a16:creationId xmlns:a16="http://schemas.microsoft.com/office/drawing/2014/main" xmlns="" id="{21657494-DDB5-415B-BB35-2E0774436A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3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9" name="Oval 2689">
                <a:extLst>
                  <a:ext uri="{FF2B5EF4-FFF2-40B4-BE49-F238E27FC236}">
                    <a16:creationId xmlns:a16="http://schemas.microsoft.com/office/drawing/2014/main" xmlns="" id="{0112293C-561F-49E7-93EE-CFCE0B8A4D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0" name="Oval 2690">
                <a:extLst>
                  <a:ext uri="{FF2B5EF4-FFF2-40B4-BE49-F238E27FC236}">
                    <a16:creationId xmlns:a16="http://schemas.microsoft.com/office/drawing/2014/main" xmlns="" id="{8E5A77F9-1ACD-49B2-A12A-492ACFC523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1" name="Oval 2691">
                <a:extLst>
                  <a:ext uri="{FF2B5EF4-FFF2-40B4-BE49-F238E27FC236}">
                    <a16:creationId xmlns:a16="http://schemas.microsoft.com/office/drawing/2014/main" xmlns="" id="{FF17AD6B-9F6D-4F1E-AA03-ADE70A3575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2" name="Oval 2692">
                <a:extLst>
                  <a:ext uri="{FF2B5EF4-FFF2-40B4-BE49-F238E27FC236}">
                    <a16:creationId xmlns:a16="http://schemas.microsoft.com/office/drawing/2014/main" xmlns="" id="{49DE2702-D92F-4EE9-9F8A-23B564032D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4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3" name="Oval 2693">
                <a:extLst>
                  <a:ext uri="{FF2B5EF4-FFF2-40B4-BE49-F238E27FC236}">
                    <a16:creationId xmlns:a16="http://schemas.microsoft.com/office/drawing/2014/main" xmlns="" id="{1D7256C6-5486-4072-887D-A6532826DA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4" name="Oval 2694">
                <a:extLst>
                  <a:ext uri="{FF2B5EF4-FFF2-40B4-BE49-F238E27FC236}">
                    <a16:creationId xmlns:a16="http://schemas.microsoft.com/office/drawing/2014/main" xmlns="" id="{451C7BF0-BA39-4F01-A0B4-0D128BBF73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5" name="Oval 2695">
                <a:extLst>
                  <a:ext uri="{FF2B5EF4-FFF2-40B4-BE49-F238E27FC236}">
                    <a16:creationId xmlns:a16="http://schemas.microsoft.com/office/drawing/2014/main" xmlns="" id="{86ECAB5E-51BD-4FBC-B0D7-0098773882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6" name="Oval 2696">
                <a:extLst>
                  <a:ext uri="{FF2B5EF4-FFF2-40B4-BE49-F238E27FC236}">
                    <a16:creationId xmlns:a16="http://schemas.microsoft.com/office/drawing/2014/main" xmlns="" id="{6D986BE1-C7A1-4D07-958C-B4C1055B2C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7" name="Oval 2697">
                <a:extLst>
                  <a:ext uri="{FF2B5EF4-FFF2-40B4-BE49-F238E27FC236}">
                    <a16:creationId xmlns:a16="http://schemas.microsoft.com/office/drawing/2014/main" xmlns="" id="{1B20F3AC-1660-475F-A4EF-B4923B45C9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8" name="Oval 2698">
                <a:extLst>
                  <a:ext uri="{FF2B5EF4-FFF2-40B4-BE49-F238E27FC236}">
                    <a16:creationId xmlns:a16="http://schemas.microsoft.com/office/drawing/2014/main" xmlns="" id="{DD26C94B-36CF-4FBD-9C1D-B2456BF3A9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9" name="Oval 2699">
                <a:extLst>
                  <a:ext uri="{FF2B5EF4-FFF2-40B4-BE49-F238E27FC236}">
                    <a16:creationId xmlns:a16="http://schemas.microsoft.com/office/drawing/2014/main" xmlns="" id="{5A84D512-EFA8-4F97-873E-07070CFEEB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0" name="Oval 2700">
                <a:extLst>
                  <a:ext uri="{FF2B5EF4-FFF2-40B4-BE49-F238E27FC236}">
                    <a16:creationId xmlns:a16="http://schemas.microsoft.com/office/drawing/2014/main" xmlns="" id="{8D32CF99-1D10-419D-AB15-BADA616E17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1" name="Oval 2701">
                <a:extLst>
                  <a:ext uri="{FF2B5EF4-FFF2-40B4-BE49-F238E27FC236}">
                    <a16:creationId xmlns:a16="http://schemas.microsoft.com/office/drawing/2014/main" xmlns="" id="{A109D0F7-4B75-4F8B-96DA-59CAD206A8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2" name="Oval 2702">
                <a:extLst>
                  <a:ext uri="{FF2B5EF4-FFF2-40B4-BE49-F238E27FC236}">
                    <a16:creationId xmlns:a16="http://schemas.microsoft.com/office/drawing/2014/main" xmlns="" id="{EDF558AF-25C5-47BB-A7D0-3F3DA26282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15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3" name="Oval 2703">
                <a:extLst>
                  <a:ext uri="{FF2B5EF4-FFF2-40B4-BE49-F238E27FC236}">
                    <a16:creationId xmlns:a16="http://schemas.microsoft.com/office/drawing/2014/main" xmlns="" id="{1132C05F-2222-4348-ABA0-C33BB62987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4" name="Oval 2704">
                <a:extLst>
                  <a:ext uri="{FF2B5EF4-FFF2-40B4-BE49-F238E27FC236}">
                    <a16:creationId xmlns:a16="http://schemas.microsoft.com/office/drawing/2014/main" xmlns="" id="{9C96B3DA-6976-465A-83B1-2D43FA9760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5" name="Oval 2705">
                <a:extLst>
                  <a:ext uri="{FF2B5EF4-FFF2-40B4-BE49-F238E27FC236}">
                    <a16:creationId xmlns:a16="http://schemas.microsoft.com/office/drawing/2014/main" xmlns="" id="{E8637EC7-FC83-449E-B35E-A48F4E94BB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6" name="Oval 2706">
                <a:extLst>
                  <a:ext uri="{FF2B5EF4-FFF2-40B4-BE49-F238E27FC236}">
                    <a16:creationId xmlns:a16="http://schemas.microsoft.com/office/drawing/2014/main" xmlns="" id="{AF18984A-5140-4DF7-8B08-ABDE10473B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7" name="Oval 2707">
                <a:extLst>
                  <a:ext uri="{FF2B5EF4-FFF2-40B4-BE49-F238E27FC236}">
                    <a16:creationId xmlns:a16="http://schemas.microsoft.com/office/drawing/2014/main" xmlns="" id="{B8AC8FCF-4456-462B-B0C0-14A9244CC5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10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8" name="Oval 2708">
                <a:extLst>
                  <a:ext uri="{FF2B5EF4-FFF2-40B4-BE49-F238E27FC236}">
                    <a16:creationId xmlns:a16="http://schemas.microsoft.com/office/drawing/2014/main" xmlns="" id="{736FB248-8A0C-4017-A971-A060567253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9" name="Oval 2709">
                <a:extLst>
                  <a:ext uri="{FF2B5EF4-FFF2-40B4-BE49-F238E27FC236}">
                    <a16:creationId xmlns:a16="http://schemas.microsoft.com/office/drawing/2014/main" xmlns="" id="{F389423D-2FE8-4DB2-9284-BD04D78F6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0" name="Oval 2710">
                <a:extLst>
                  <a:ext uri="{FF2B5EF4-FFF2-40B4-BE49-F238E27FC236}">
                    <a16:creationId xmlns:a16="http://schemas.microsoft.com/office/drawing/2014/main" xmlns="" id="{63F7FADE-7E3F-427F-A206-EBAC1E2CBE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1" name="Oval 2711">
                <a:extLst>
                  <a:ext uri="{FF2B5EF4-FFF2-40B4-BE49-F238E27FC236}">
                    <a16:creationId xmlns:a16="http://schemas.microsoft.com/office/drawing/2014/main" xmlns="" id="{FD345648-B9DC-489A-8614-982BED7689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2" name="Oval 2712">
                <a:extLst>
                  <a:ext uri="{FF2B5EF4-FFF2-40B4-BE49-F238E27FC236}">
                    <a16:creationId xmlns:a16="http://schemas.microsoft.com/office/drawing/2014/main" xmlns="" id="{A5BE3984-DE21-4625-B11A-15D495CC38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3" name="Oval 2713">
                <a:extLst>
                  <a:ext uri="{FF2B5EF4-FFF2-40B4-BE49-F238E27FC236}">
                    <a16:creationId xmlns:a16="http://schemas.microsoft.com/office/drawing/2014/main" xmlns="" id="{357E5CC3-A010-4400-BC1C-0CA954A136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4" name="Oval 2714">
                <a:extLst>
                  <a:ext uri="{FF2B5EF4-FFF2-40B4-BE49-F238E27FC236}">
                    <a16:creationId xmlns:a16="http://schemas.microsoft.com/office/drawing/2014/main" xmlns="" id="{F02EE3A0-43DB-4000-8335-C0568CB097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1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5" name="Oval 2715">
                <a:extLst>
                  <a:ext uri="{FF2B5EF4-FFF2-40B4-BE49-F238E27FC236}">
                    <a16:creationId xmlns:a16="http://schemas.microsoft.com/office/drawing/2014/main" xmlns="" id="{D022DCDE-7ACF-4CC7-9A53-B1632919EA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6" name="Oval 2716">
                <a:extLst>
                  <a:ext uri="{FF2B5EF4-FFF2-40B4-BE49-F238E27FC236}">
                    <a16:creationId xmlns:a16="http://schemas.microsoft.com/office/drawing/2014/main" xmlns="" id="{FD5212BA-CB10-46E2-AE10-378896581A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7" name="Oval 2717">
                <a:extLst>
                  <a:ext uri="{FF2B5EF4-FFF2-40B4-BE49-F238E27FC236}">
                    <a16:creationId xmlns:a16="http://schemas.microsoft.com/office/drawing/2014/main" xmlns="" id="{6122A88E-D886-4B51-9F85-89967668EE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8" name="Oval 2718">
                <a:extLst>
                  <a:ext uri="{FF2B5EF4-FFF2-40B4-BE49-F238E27FC236}">
                    <a16:creationId xmlns:a16="http://schemas.microsoft.com/office/drawing/2014/main" xmlns="" id="{A43094B7-2E51-4596-99BD-7F567D4AD8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9" name="Oval 2719">
                <a:extLst>
                  <a:ext uri="{FF2B5EF4-FFF2-40B4-BE49-F238E27FC236}">
                    <a16:creationId xmlns:a16="http://schemas.microsoft.com/office/drawing/2014/main" xmlns="" id="{1CA2DECB-8761-4F56-950A-2D73E5231C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0" name="Oval 2720">
                <a:extLst>
                  <a:ext uri="{FF2B5EF4-FFF2-40B4-BE49-F238E27FC236}">
                    <a16:creationId xmlns:a16="http://schemas.microsoft.com/office/drawing/2014/main" xmlns="" id="{80C12790-C7A5-4DF0-AB85-A0DBC7F3B0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1" name="Oval 2721">
                <a:extLst>
                  <a:ext uri="{FF2B5EF4-FFF2-40B4-BE49-F238E27FC236}">
                    <a16:creationId xmlns:a16="http://schemas.microsoft.com/office/drawing/2014/main" xmlns="" id="{1A58D89D-1A19-4BA9-BFEF-830A0D569F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2" name="Oval 2722">
                <a:extLst>
                  <a:ext uri="{FF2B5EF4-FFF2-40B4-BE49-F238E27FC236}">
                    <a16:creationId xmlns:a16="http://schemas.microsoft.com/office/drawing/2014/main" xmlns="" id="{4F3BEDFD-89C6-4C30-91D0-BD31B3C90F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3" name="Oval 2723">
                <a:extLst>
                  <a:ext uri="{FF2B5EF4-FFF2-40B4-BE49-F238E27FC236}">
                    <a16:creationId xmlns:a16="http://schemas.microsoft.com/office/drawing/2014/main" xmlns="" id="{FC59098B-80F6-4858-984D-90AA991622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4" name="Oval 2724">
                <a:extLst>
                  <a:ext uri="{FF2B5EF4-FFF2-40B4-BE49-F238E27FC236}">
                    <a16:creationId xmlns:a16="http://schemas.microsoft.com/office/drawing/2014/main" xmlns="" id="{1F861820-FD06-42AB-BE24-1E4485E1E8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5" name="Oval 2725">
                <a:extLst>
                  <a:ext uri="{FF2B5EF4-FFF2-40B4-BE49-F238E27FC236}">
                    <a16:creationId xmlns:a16="http://schemas.microsoft.com/office/drawing/2014/main" xmlns="" id="{2A081706-3ED1-412C-B142-C8C2D67EA2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6" name="Oval 2726">
                <a:extLst>
                  <a:ext uri="{FF2B5EF4-FFF2-40B4-BE49-F238E27FC236}">
                    <a16:creationId xmlns:a16="http://schemas.microsoft.com/office/drawing/2014/main" xmlns="" id="{BDA03BDF-4CD8-4D07-BC62-0938C6F1D3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7" name="Oval 2727">
                <a:extLst>
                  <a:ext uri="{FF2B5EF4-FFF2-40B4-BE49-F238E27FC236}">
                    <a16:creationId xmlns:a16="http://schemas.microsoft.com/office/drawing/2014/main" xmlns="" id="{CA602E85-B624-4A06-AC46-AEC6BEDA23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8" name="Oval 2728">
                <a:extLst>
                  <a:ext uri="{FF2B5EF4-FFF2-40B4-BE49-F238E27FC236}">
                    <a16:creationId xmlns:a16="http://schemas.microsoft.com/office/drawing/2014/main" xmlns="" id="{4F1250A6-3752-4183-B4D9-5300A4536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9" name="Oval 2729">
                <a:extLst>
                  <a:ext uri="{FF2B5EF4-FFF2-40B4-BE49-F238E27FC236}">
                    <a16:creationId xmlns:a16="http://schemas.microsoft.com/office/drawing/2014/main" xmlns="" id="{DED79C39-0757-4EF4-82BD-D87B7BBB2C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0" name="Oval 2730">
                <a:extLst>
                  <a:ext uri="{FF2B5EF4-FFF2-40B4-BE49-F238E27FC236}">
                    <a16:creationId xmlns:a16="http://schemas.microsoft.com/office/drawing/2014/main" xmlns="" id="{D9DF39CB-E626-43AF-AA6E-5F457DC3D3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1" name="Oval 2731">
                <a:extLst>
                  <a:ext uri="{FF2B5EF4-FFF2-40B4-BE49-F238E27FC236}">
                    <a16:creationId xmlns:a16="http://schemas.microsoft.com/office/drawing/2014/main" xmlns="" id="{CE8E430F-0566-44E0-A831-A618E87492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2" name="Oval 2732">
                <a:extLst>
                  <a:ext uri="{FF2B5EF4-FFF2-40B4-BE49-F238E27FC236}">
                    <a16:creationId xmlns:a16="http://schemas.microsoft.com/office/drawing/2014/main" xmlns="" id="{04D3182D-3F11-4CB6-8C21-B1E15336D6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3" name="Oval 2733">
                <a:extLst>
                  <a:ext uri="{FF2B5EF4-FFF2-40B4-BE49-F238E27FC236}">
                    <a16:creationId xmlns:a16="http://schemas.microsoft.com/office/drawing/2014/main" xmlns="" id="{D93C89EE-F466-4458-B25E-D0FD17E887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4" name="Oval 2734">
                <a:extLst>
                  <a:ext uri="{FF2B5EF4-FFF2-40B4-BE49-F238E27FC236}">
                    <a16:creationId xmlns:a16="http://schemas.microsoft.com/office/drawing/2014/main" xmlns="" id="{88701911-5AF5-4905-8C8F-A68D937CEC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5" name="Oval 2735">
                <a:extLst>
                  <a:ext uri="{FF2B5EF4-FFF2-40B4-BE49-F238E27FC236}">
                    <a16:creationId xmlns:a16="http://schemas.microsoft.com/office/drawing/2014/main" xmlns="" id="{13AFC4E8-9765-44FA-9075-D1ACE32BF3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6" name="Oval 2736">
                <a:extLst>
                  <a:ext uri="{FF2B5EF4-FFF2-40B4-BE49-F238E27FC236}">
                    <a16:creationId xmlns:a16="http://schemas.microsoft.com/office/drawing/2014/main" xmlns="" id="{FE9C3BE2-C0BB-4E84-A617-6D78892021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7" name="Oval 2737">
                <a:extLst>
                  <a:ext uri="{FF2B5EF4-FFF2-40B4-BE49-F238E27FC236}">
                    <a16:creationId xmlns:a16="http://schemas.microsoft.com/office/drawing/2014/main" xmlns="" id="{0E21BB0F-784F-4BCF-88A9-801E0F2F13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8" name="Oval 2738">
                <a:extLst>
                  <a:ext uri="{FF2B5EF4-FFF2-40B4-BE49-F238E27FC236}">
                    <a16:creationId xmlns:a16="http://schemas.microsoft.com/office/drawing/2014/main" xmlns="" id="{89565C82-67C4-43E1-9A08-EE552666B0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9" name="Oval 2739">
                <a:extLst>
                  <a:ext uri="{FF2B5EF4-FFF2-40B4-BE49-F238E27FC236}">
                    <a16:creationId xmlns:a16="http://schemas.microsoft.com/office/drawing/2014/main" xmlns="" id="{B39F0999-C685-47F6-BEC8-F5D03355FC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0" name="Oval 2740">
                <a:extLst>
                  <a:ext uri="{FF2B5EF4-FFF2-40B4-BE49-F238E27FC236}">
                    <a16:creationId xmlns:a16="http://schemas.microsoft.com/office/drawing/2014/main" xmlns="" id="{6B49215F-0DBA-4E4B-A0E4-6E8F412E6B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1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1" name="Oval 2741">
                <a:extLst>
                  <a:ext uri="{FF2B5EF4-FFF2-40B4-BE49-F238E27FC236}">
                    <a16:creationId xmlns:a16="http://schemas.microsoft.com/office/drawing/2014/main" xmlns="" id="{36CA39AB-8BF4-4DB7-AA4F-45DA2F5C76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2" name="Oval 2742">
                <a:extLst>
                  <a:ext uri="{FF2B5EF4-FFF2-40B4-BE49-F238E27FC236}">
                    <a16:creationId xmlns:a16="http://schemas.microsoft.com/office/drawing/2014/main" xmlns="" id="{C54D577F-BB37-4669-8B81-9ACA2D4104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3" name="Oval 2743">
                <a:extLst>
                  <a:ext uri="{FF2B5EF4-FFF2-40B4-BE49-F238E27FC236}">
                    <a16:creationId xmlns:a16="http://schemas.microsoft.com/office/drawing/2014/main" xmlns="" id="{5C8A0734-252E-4ABC-B5DF-FCCA0C4F44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4" name="Oval 2744">
                <a:extLst>
                  <a:ext uri="{FF2B5EF4-FFF2-40B4-BE49-F238E27FC236}">
                    <a16:creationId xmlns:a16="http://schemas.microsoft.com/office/drawing/2014/main" xmlns="" id="{B62FDB66-6213-493A-BF7E-9FB5B504EF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5" name="Oval 2745">
                <a:extLst>
                  <a:ext uri="{FF2B5EF4-FFF2-40B4-BE49-F238E27FC236}">
                    <a16:creationId xmlns:a16="http://schemas.microsoft.com/office/drawing/2014/main" xmlns="" id="{0410AA02-A4E7-4569-AC79-C60FDB3D59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99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6" name="Oval 2746">
                <a:extLst>
                  <a:ext uri="{FF2B5EF4-FFF2-40B4-BE49-F238E27FC236}">
                    <a16:creationId xmlns:a16="http://schemas.microsoft.com/office/drawing/2014/main" xmlns="" id="{6D69BCB2-A536-445B-BE8D-000C9548B7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7" name="Oval 2747">
                <a:extLst>
                  <a:ext uri="{FF2B5EF4-FFF2-40B4-BE49-F238E27FC236}">
                    <a16:creationId xmlns:a16="http://schemas.microsoft.com/office/drawing/2014/main" xmlns="" id="{78C68E1F-29E7-43A9-95F5-491ED00E82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8" name="Oval 2748">
                <a:extLst>
                  <a:ext uri="{FF2B5EF4-FFF2-40B4-BE49-F238E27FC236}">
                    <a16:creationId xmlns:a16="http://schemas.microsoft.com/office/drawing/2014/main" xmlns="" id="{0D703754-AC39-467E-A8BE-DCE818EBFF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9" name="Oval 2749">
                <a:extLst>
                  <a:ext uri="{FF2B5EF4-FFF2-40B4-BE49-F238E27FC236}">
                    <a16:creationId xmlns:a16="http://schemas.microsoft.com/office/drawing/2014/main" xmlns="" id="{75C696DB-E599-49A6-8FE4-6B24C4BDE5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0" name="Oval 2750">
                <a:extLst>
                  <a:ext uri="{FF2B5EF4-FFF2-40B4-BE49-F238E27FC236}">
                    <a16:creationId xmlns:a16="http://schemas.microsoft.com/office/drawing/2014/main" xmlns="" id="{B69F038A-97A9-429C-BBEA-60CB85DD17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45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1" name="Oval 2751">
                <a:extLst>
                  <a:ext uri="{FF2B5EF4-FFF2-40B4-BE49-F238E27FC236}">
                    <a16:creationId xmlns:a16="http://schemas.microsoft.com/office/drawing/2014/main" xmlns="" id="{72528DD1-FA07-4C69-87E0-D739B00818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3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2" name="Oval 2752">
                <a:extLst>
                  <a:ext uri="{FF2B5EF4-FFF2-40B4-BE49-F238E27FC236}">
                    <a16:creationId xmlns:a16="http://schemas.microsoft.com/office/drawing/2014/main" xmlns="" id="{8DD67A1F-CB3E-4886-A558-F8FF7CD2F5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3" name="Oval 2753">
                <a:extLst>
                  <a:ext uri="{FF2B5EF4-FFF2-40B4-BE49-F238E27FC236}">
                    <a16:creationId xmlns:a16="http://schemas.microsoft.com/office/drawing/2014/main" xmlns="" id="{ED81BB88-3C40-4372-97D2-2ABEA677C3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4" name="Oval 2754">
                <a:extLst>
                  <a:ext uri="{FF2B5EF4-FFF2-40B4-BE49-F238E27FC236}">
                    <a16:creationId xmlns:a16="http://schemas.microsoft.com/office/drawing/2014/main" xmlns="" id="{77CACFD9-90F3-422C-9BF3-6667FA3568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6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5" name="Oval 2755">
                <a:extLst>
                  <a:ext uri="{FF2B5EF4-FFF2-40B4-BE49-F238E27FC236}">
                    <a16:creationId xmlns:a16="http://schemas.microsoft.com/office/drawing/2014/main" xmlns="" id="{336062DC-B4A7-41ED-8041-DF3A261E3E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6" name="Oval 2756">
                <a:extLst>
                  <a:ext uri="{FF2B5EF4-FFF2-40B4-BE49-F238E27FC236}">
                    <a16:creationId xmlns:a16="http://schemas.microsoft.com/office/drawing/2014/main" xmlns="" id="{65F1C575-0C77-4054-8F46-2E38B071FD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7" name="Oval 2757">
                <a:extLst>
                  <a:ext uri="{FF2B5EF4-FFF2-40B4-BE49-F238E27FC236}">
                    <a16:creationId xmlns:a16="http://schemas.microsoft.com/office/drawing/2014/main" xmlns="" id="{B0BCDA78-2793-4A81-8574-B90E706B2B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8" name="Oval 2758">
                <a:extLst>
                  <a:ext uri="{FF2B5EF4-FFF2-40B4-BE49-F238E27FC236}">
                    <a16:creationId xmlns:a16="http://schemas.microsoft.com/office/drawing/2014/main" xmlns="" id="{1786878B-CCF3-4B87-8DA0-21440914F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9" name="Oval 2759">
                <a:extLst>
                  <a:ext uri="{FF2B5EF4-FFF2-40B4-BE49-F238E27FC236}">
                    <a16:creationId xmlns:a16="http://schemas.microsoft.com/office/drawing/2014/main" xmlns="" id="{9CA1D9B3-E7C7-4C64-A880-7228DDEC2E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0" name="Oval 2760">
                <a:extLst>
                  <a:ext uri="{FF2B5EF4-FFF2-40B4-BE49-F238E27FC236}">
                    <a16:creationId xmlns:a16="http://schemas.microsoft.com/office/drawing/2014/main" xmlns="" id="{62B8C270-3B81-4563-A6F5-64268454E2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1" name="Oval 2761">
                <a:extLst>
                  <a:ext uri="{FF2B5EF4-FFF2-40B4-BE49-F238E27FC236}">
                    <a16:creationId xmlns:a16="http://schemas.microsoft.com/office/drawing/2014/main" xmlns="" id="{6EF8C317-1700-44E8-96E0-0EDBB16F78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2" name="Oval 2762">
                <a:extLst>
                  <a:ext uri="{FF2B5EF4-FFF2-40B4-BE49-F238E27FC236}">
                    <a16:creationId xmlns:a16="http://schemas.microsoft.com/office/drawing/2014/main" xmlns="" id="{1F2C46FC-4275-4454-A274-6C659A2A5B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3" name="Oval 2763">
                <a:extLst>
                  <a:ext uri="{FF2B5EF4-FFF2-40B4-BE49-F238E27FC236}">
                    <a16:creationId xmlns:a16="http://schemas.microsoft.com/office/drawing/2014/main" xmlns="" id="{9D8C38EC-92D3-4FA3-A4DE-2496C3C236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4" name="Oval 2764">
                <a:extLst>
                  <a:ext uri="{FF2B5EF4-FFF2-40B4-BE49-F238E27FC236}">
                    <a16:creationId xmlns:a16="http://schemas.microsoft.com/office/drawing/2014/main" xmlns="" id="{424BC905-3B9C-44C2-9ACA-7487D15E95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5" name="Oval 2765">
                <a:extLst>
                  <a:ext uri="{FF2B5EF4-FFF2-40B4-BE49-F238E27FC236}">
                    <a16:creationId xmlns:a16="http://schemas.microsoft.com/office/drawing/2014/main" xmlns="" id="{DA8A04D8-CEF9-4FFA-9FC7-4D9D89D341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4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6" name="Oval 2766">
                <a:extLst>
                  <a:ext uri="{FF2B5EF4-FFF2-40B4-BE49-F238E27FC236}">
                    <a16:creationId xmlns:a16="http://schemas.microsoft.com/office/drawing/2014/main" xmlns="" id="{2DB2FD82-82AD-4376-971F-8FDBD44D5E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7" name="Oval 2767">
                <a:extLst>
                  <a:ext uri="{FF2B5EF4-FFF2-40B4-BE49-F238E27FC236}">
                    <a16:creationId xmlns:a16="http://schemas.microsoft.com/office/drawing/2014/main" xmlns="" id="{C2B9C4DC-AD22-492B-8212-FF8DD98A1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8" name="Oval 2768">
                <a:extLst>
                  <a:ext uri="{FF2B5EF4-FFF2-40B4-BE49-F238E27FC236}">
                    <a16:creationId xmlns:a16="http://schemas.microsoft.com/office/drawing/2014/main" xmlns="" id="{29B415E0-CC5D-4160-BF54-4C5AAE6CC2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9" name="Oval 2769">
                <a:extLst>
                  <a:ext uri="{FF2B5EF4-FFF2-40B4-BE49-F238E27FC236}">
                    <a16:creationId xmlns:a16="http://schemas.microsoft.com/office/drawing/2014/main" xmlns="" id="{889F0758-F4D2-48E6-9CB7-17BBA3439F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0" name="Oval 2770">
                <a:extLst>
                  <a:ext uri="{FF2B5EF4-FFF2-40B4-BE49-F238E27FC236}">
                    <a16:creationId xmlns:a16="http://schemas.microsoft.com/office/drawing/2014/main" xmlns="" id="{D661B9DA-28D8-4CAE-8396-EAE1CFE585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1" name="Oval 2771">
                <a:extLst>
                  <a:ext uri="{FF2B5EF4-FFF2-40B4-BE49-F238E27FC236}">
                    <a16:creationId xmlns:a16="http://schemas.microsoft.com/office/drawing/2014/main" xmlns="" id="{ED260909-BAD8-400F-AA13-5E7F669008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2" name="Oval 2772">
                <a:extLst>
                  <a:ext uri="{FF2B5EF4-FFF2-40B4-BE49-F238E27FC236}">
                    <a16:creationId xmlns:a16="http://schemas.microsoft.com/office/drawing/2014/main" xmlns="" id="{8660C176-9321-4B70-85C2-5986117710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3" name="Oval 2773">
                <a:extLst>
                  <a:ext uri="{FF2B5EF4-FFF2-40B4-BE49-F238E27FC236}">
                    <a16:creationId xmlns:a16="http://schemas.microsoft.com/office/drawing/2014/main" xmlns="" id="{405BCF63-53AF-4FFC-A73F-2D0776247D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4" name="Oval 2774">
                <a:extLst>
                  <a:ext uri="{FF2B5EF4-FFF2-40B4-BE49-F238E27FC236}">
                    <a16:creationId xmlns:a16="http://schemas.microsoft.com/office/drawing/2014/main" xmlns="" id="{6F5AA934-4F34-49C6-BE79-D335C041E4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5" name="Oval 2775">
                <a:extLst>
                  <a:ext uri="{FF2B5EF4-FFF2-40B4-BE49-F238E27FC236}">
                    <a16:creationId xmlns:a16="http://schemas.microsoft.com/office/drawing/2014/main" xmlns="" id="{E362C7F4-9373-4BE6-AD8A-930E45AD85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6" name="Oval 2776">
                <a:extLst>
                  <a:ext uri="{FF2B5EF4-FFF2-40B4-BE49-F238E27FC236}">
                    <a16:creationId xmlns:a16="http://schemas.microsoft.com/office/drawing/2014/main" xmlns="" id="{435B7E98-9856-444E-B541-162CB16797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7" name="Oval 2777">
                <a:extLst>
                  <a:ext uri="{FF2B5EF4-FFF2-40B4-BE49-F238E27FC236}">
                    <a16:creationId xmlns:a16="http://schemas.microsoft.com/office/drawing/2014/main" xmlns="" id="{4186FA8C-CF2E-4D32-A4A4-3603C39B0B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8" name="Oval 2778">
                <a:extLst>
                  <a:ext uri="{FF2B5EF4-FFF2-40B4-BE49-F238E27FC236}">
                    <a16:creationId xmlns:a16="http://schemas.microsoft.com/office/drawing/2014/main" xmlns="" id="{034127AE-3E9A-472B-93F6-103E1325CD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6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9" name="Oval 2779">
                <a:extLst>
                  <a:ext uri="{FF2B5EF4-FFF2-40B4-BE49-F238E27FC236}">
                    <a16:creationId xmlns:a16="http://schemas.microsoft.com/office/drawing/2014/main" xmlns="" id="{8B4862D2-2A20-49E1-A3E9-E81F980A27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12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0" name="Oval 2780">
                <a:extLst>
                  <a:ext uri="{FF2B5EF4-FFF2-40B4-BE49-F238E27FC236}">
                    <a16:creationId xmlns:a16="http://schemas.microsoft.com/office/drawing/2014/main" xmlns="" id="{ABF13899-165B-4373-8753-8F42F6857B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0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1" name="Oval 2781">
                <a:extLst>
                  <a:ext uri="{FF2B5EF4-FFF2-40B4-BE49-F238E27FC236}">
                    <a16:creationId xmlns:a16="http://schemas.microsoft.com/office/drawing/2014/main" xmlns="" id="{198F927F-9885-4D2C-AA3F-5666115234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606" name="Group 2983">
              <a:extLst>
                <a:ext uri="{FF2B5EF4-FFF2-40B4-BE49-F238E27FC236}">
                  <a16:creationId xmlns:a16="http://schemas.microsoft.com/office/drawing/2014/main" xmlns="" id="{61AA66A9-2F9C-41CA-9900-9A1767E4DA1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46" y="120"/>
              <a:ext cx="1979" cy="3120"/>
              <a:chOff x="1246" y="120"/>
              <a:chExt cx="1979" cy="3120"/>
            </a:xfrm>
          </p:grpSpPr>
          <p:sp>
            <p:nvSpPr>
              <p:cNvPr id="2792" name="Oval 2783">
                <a:extLst>
                  <a:ext uri="{FF2B5EF4-FFF2-40B4-BE49-F238E27FC236}">
                    <a16:creationId xmlns:a16="http://schemas.microsoft.com/office/drawing/2014/main" xmlns="" id="{0D772049-A969-4853-A807-C5221EC6E4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3" name="Oval 2784">
                <a:extLst>
                  <a:ext uri="{FF2B5EF4-FFF2-40B4-BE49-F238E27FC236}">
                    <a16:creationId xmlns:a16="http://schemas.microsoft.com/office/drawing/2014/main" xmlns="" id="{1FE068D8-3803-4AB8-AD39-4A9CE09267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4" name="Oval 2785">
                <a:extLst>
                  <a:ext uri="{FF2B5EF4-FFF2-40B4-BE49-F238E27FC236}">
                    <a16:creationId xmlns:a16="http://schemas.microsoft.com/office/drawing/2014/main" xmlns="" id="{57B0ACF4-FD32-4FDE-8841-09DB22C412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5" name="Oval 2786">
                <a:extLst>
                  <a:ext uri="{FF2B5EF4-FFF2-40B4-BE49-F238E27FC236}">
                    <a16:creationId xmlns:a16="http://schemas.microsoft.com/office/drawing/2014/main" xmlns="" id="{DD132A6D-0D8E-4CFC-AF98-AC4E5C12D0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6" name="Oval 2787">
                <a:extLst>
                  <a:ext uri="{FF2B5EF4-FFF2-40B4-BE49-F238E27FC236}">
                    <a16:creationId xmlns:a16="http://schemas.microsoft.com/office/drawing/2014/main" xmlns="" id="{A2A33441-277D-4349-B43A-ECFF67CB14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7" name="Oval 2788">
                <a:extLst>
                  <a:ext uri="{FF2B5EF4-FFF2-40B4-BE49-F238E27FC236}">
                    <a16:creationId xmlns:a16="http://schemas.microsoft.com/office/drawing/2014/main" xmlns="" id="{5B671F36-904D-40B2-8D86-C45FDCEE24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8" name="Oval 2789">
                <a:extLst>
                  <a:ext uri="{FF2B5EF4-FFF2-40B4-BE49-F238E27FC236}">
                    <a16:creationId xmlns:a16="http://schemas.microsoft.com/office/drawing/2014/main" xmlns="" id="{0A2B99D6-F833-4E06-BB34-D585896EA8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7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9" name="Oval 2790">
                <a:extLst>
                  <a:ext uri="{FF2B5EF4-FFF2-40B4-BE49-F238E27FC236}">
                    <a16:creationId xmlns:a16="http://schemas.microsoft.com/office/drawing/2014/main" xmlns="" id="{85EB187E-E9FF-470D-85B0-870D18B55D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0" name="Oval 2791">
                <a:extLst>
                  <a:ext uri="{FF2B5EF4-FFF2-40B4-BE49-F238E27FC236}">
                    <a16:creationId xmlns:a16="http://schemas.microsoft.com/office/drawing/2014/main" xmlns="" id="{4D9AF970-C3CA-4AFD-AC14-1348D9C6C2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1" name="Oval 2792">
                <a:extLst>
                  <a:ext uri="{FF2B5EF4-FFF2-40B4-BE49-F238E27FC236}">
                    <a16:creationId xmlns:a16="http://schemas.microsoft.com/office/drawing/2014/main" xmlns="" id="{A364CE03-A0E6-4CB1-85D4-7E85F50DF9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13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2" name="Oval 2793">
                <a:extLst>
                  <a:ext uri="{FF2B5EF4-FFF2-40B4-BE49-F238E27FC236}">
                    <a16:creationId xmlns:a16="http://schemas.microsoft.com/office/drawing/2014/main" xmlns="" id="{8F676246-2784-4A65-9966-E756CCF896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3" name="Oval 2794">
                <a:extLst>
                  <a:ext uri="{FF2B5EF4-FFF2-40B4-BE49-F238E27FC236}">
                    <a16:creationId xmlns:a16="http://schemas.microsoft.com/office/drawing/2014/main" xmlns="" id="{1331C03A-277A-445E-BC67-A1BC3E2726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15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4" name="Oval 2795">
                <a:extLst>
                  <a:ext uri="{FF2B5EF4-FFF2-40B4-BE49-F238E27FC236}">
                    <a16:creationId xmlns:a16="http://schemas.microsoft.com/office/drawing/2014/main" xmlns="" id="{76657A6B-3E94-4F03-A696-D12049C026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5" name="Oval 2796">
                <a:extLst>
                  <a:ext uri="{FF2B5EF4-FFF2-40B4-BE49-F238E27FC236}">
                    <a16:creationId xmlns:a16="http://schemas.microsoft.com/office/drawing/2014/main" xmlns="" id="{516E9942-EC58-42C6-AD5A-3F00135498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6" name="Oval 2797">
                <a:extLst>
                  <a:ext uri="{FF2B5EF4-FFF2-40B4-BE49-F238E27FC236}">
                    <a16:creationId xmlns:a16="http://schemas.microsoft.com/office/drawing/2014/main" xmlns="" id="{EC52A1F4-DC9E-4F04-AA05-FFDB7F2FEB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7" name="Oval 2798">
                <a:extLst>
                  <a:ext uri="{FF2B5EF4-FFF2-40B4-BE49-F238E27FC236}">
                    <a16:creationId xmlns:a16="http://schemas.microsoft.com/office/drawing/2014/main" xmlns="" id="{9EC7A489-408D-4A5F-94D5-2A55CEC2B7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8" name="Oval 2799">
                <a:extLst>
                  <a:ext uri="{FF2B5EF4-FFF2-40B4-BE49-F238E27FC236}">
                    <a16:creationId xmlns:a16="http://schemas.microsoft.com/office/drawing/2014/main" xmlns="" id="{95659B63-CB82-426F-9176-16E13149F0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9" name="Oval 2800">
                <a:extLst>
                  <a:ext uri="{FF2B5EF4-FFF2-40B4-BE49-F238E27FC236}">
                    <a16:creationId xmlns:a16="http://schemas.microsoft.com/office/drawing/2014/main" xmlns="" id="{03BB9CC8-D3BB-4F9B-BCB6-DCF93FFF43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0" name="Oval 2801">
                <a:extLst>
                  <a:ext uri="{FF2B5EF4-FFF2-40B4-BE49-F238E27FC236}">
                    <a16:creationId xmlns:a16="http://schemas.microsoft.com/office/drawing/2014/main" xmlns="" id="{9F1EEA1D-01C6-4834-98D7-E70590F34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1" name="Oval 2802">
                <a:extLst>
                  <a:ext uri="{FF2B5EF4-FFF2-40B4-BE49-F238E27FC236}">
                    <a16:creationId xmlns:a16="http://schemas.microsoft.com/office/drawing/2014/main" xmlns="" id="{CDD88DF9-910C-4929-A29A-3D526EF048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2" name="Oval 2803">
                <a:extLst>
                  <a:ext uri="{FF2B5EF4-FFF2-40B4-BE49-F238E27FC236}">
                    <a16:creationId xmlns:a16="http://schemas.microsoft.com/office/drawing/2014/main" xmlns="" id="{0695A538-8399-48BB-BE53-2E68B7F3C0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8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3" name="Oval 2804">
                <a:extLst>
                  <a:ext uri="{FF2B5EF4-FFF2-40B4-BE49-F238E27FC236}">
                    <a16:creationId xmlns:a16="http://schemas.microsoft.com/office/drawing/2014/main" xmlns="" id="{96849FD4-DE1F-4D37-A9F8-5D24B1A266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4" name="Oval 2805">
                <a:extLst>
                  <a:ext uri="{FF2B5EF4-FFF2-40B4-BE49-F238E27FC236}">
                    <a16:creationId xmlns:a16="http://schemas.microsoft.com/office/drawing/2014/main" xmlns="" id="{2061F435-8C91-4936-8470-0949F73622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5" name="Oval 2806">
                <a:extLst>
                  <a:ext uri="{FF2B5EF4-FFF2-40B4-BE49-F238E27FC236}">
                    <a16:creationId xmlns:a16="http://schemas.microsoft.com/office/drawing/2014/main" xmlns="" id="{7067F547-A8DB-46AA-B5C1-9DEAF3F95C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6" name="Oval 2807">
                <a:extLst>
                  <a:ext uri="{FF2B5EF4-FFF2-40B4-BE49-F238E27FC236}">
                    <a16:creationId xmlns:a16="http://schemas.microsoft.com/office/drawing/2014/main" xmlns="" id="{88D60458-D445-4712-9E24-292E8731D6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7" name="Oval 2808">
                <a:extLst>
                  <a:ext uri="{FF2B5EF4-FFF2-40B4-BE49-F238E27FC236}">
                    <a16:creationId xmlns:a16="http://schemas.microsoft.com/office/drawing/2014/main" xmlns="" id="{1310FDAD-2CCA-43B1-BBA3-204CBD8A9C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8" name="Oval 2809">
                <a:extLst>
                  <a:ext uri="{FF2B5EF4-FFF2-40B4-BE49-F238E27FC236}">
                    <a16:creationId xmlns:a16="http://schemas.microsoft.com/office/drawing/2014/main" xmlns="" id="{0E5D87A0-1C1C-4195-839B-CCF1E5B11C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9" name="Oval 2810">
                <a:extLst>
                  <a:ext uri="{FF2B5EF4-FFF2-40B4-BE49-F238E27FC236}">
                    <a16:creationId xmlns:a16="http://schemas.microsoft.com/office/drawing/2014/main" xmlns="" id="{2E066F40-3C7F-42C0-A109-5ABA40E389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0" name="Oval 2811">
                <a:extLst>
                  <a:ext uri="{FF2B5EF4-FFF2-40B4-BE49-F238E27FC236}">
                    <a16:creationId xmlns:a16="http://schemas.microsoft.com/office/drawing/2014/main" xmlns="" id="{478CF495-B5CD-4A0E-B1B1-43BBD7D1FE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1" name="Oval 2812">
                <a:extLst>
                  <a:ext uri="{FF2B5EF4-FFF2-40B4-BE49-F238E27FC236}">
                    <a16:creationId xmlns:a16="http://schemas.microsoft.com/office/drawing/2014/main" xmlns="" id="{BE01D9F8-749F-4BCB-A9A1-2AAD769580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2" name="Oval 2813">
                <a:extLst>
                  <a:ext uri="{FF2B5EF4-FFF2-40B4-BE49-F238E27FC236}">
                    <a16:creationId xmlns:a16="http://schemas.microsoft.com/office/drawing/2014/main" xmlns="" id="{E728FD31-8C2D-4667-82BB-D94B7B41B3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3" name="Oval 2814">
                <a:extLst>
                  <a:ext uri="{FF2B5EF4-FFF2-40B4-BE49-F238E27FC236}">
                    <a16:creationId xmlns:a16="http://schemas.microsoft.com/office/drawing/2014/main" xmlns="" id="{4853CF3C-758C-476F-88E9-1EA572A9FE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4" name="Oval 2815">
                <a:extLst>
                  <a:ext uri="{FF2B5EF4-FFF2-40B4-BE49-F238E27FC236}">
                    <a16:creationId xmlns:a16="http://schemas.microsoft.com/office/drawing/2014/main" xmlns="" id="{51FDDDDB-99AC-4F6C-B15D-388060854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5" name="Oval 2816">
                <a:extLst>
                  <a:ext uri="{FF2B5EF4-FFF2-40B4-BE49-F238E27FC236}">
                    <a16:creationId xmlns:a16="http://schemas.microsoft.com/office/drawing/2014/main" xmlns="" id="{903B6DBA-2BA0-4670-BB0E-44DC95ADFE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6" name="Oval 2817">
                <a:extLst>
                  <a:ext uri="{FF2B5EF4-FFF2-40B4-BE49-F238E27FC236}">
                    <a16:creationId xmlns:a16="http://schemas.microsoft.com/office/drawing/2014/main" xmlns="" id="{D23B8104-9D8A-40AF-806E-6F1B0468E0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7" name="Oval 2818">
                <a:extLst>
                  <a:ext uri="{FF2B5EF4-FFF2-40B4-BE49-F238E27FC236}">
                    <a16:creationId xmlns:a16="http://schemas.microsoft.com/office/drawing/2014/main" xmlns="" id="{9E588A3B-6E2F-4233-B5CC-20E16AFB1F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8" name="Oval 2819">
                <a:extLst>
                  <a:ext uri="{FF2B5EF4-FFF2-40B4-BE49-F238E27FC236}">
                    <a16:creationId xmlns:a16="http://schemas.microsoft.com/office/drawing/2014/main" xmlns="" id="{4F94432C-1D3B-4A36-9753-7446CD37E8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6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9" name="Oval 2820">
                <a:extLst>
                  <a:ext uri="{FF2B5EF4-FFF2-40B4-BE49-F238E27FC236}">
                    <a16:creationId xmlns:a16="http://schemas.microsoft.com/office/drawing/2014/main" xmlns="" id="{26F439E5-D21A-434A-A4EC-C3B499415A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0" name="Oval 2821">
                <a:extLst>
                  <a:ext uri="{FF2B5EF4-FFF2-40B4-BE49-F238E27FC236}">
                    <a16:creationId xmlns:a16="http://schemas.microsoft.com/office/drawing/2014/main" xmlns="" id="{868176EB-7958-4ED6-874C-1771E515E6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1" name="Oval 2822">
                <a:extLst>
                  <a:ext uri="{FF2B5EF4-FFF2-40B4-BE49-F238E27FC236}">
                    <a16:creationId xmlns:a16="http://schemas.microsoft.com/office/drawing/2014/main" xmlns="" id="{0CCEA681-107D-4125-B4C3-9FB74A2C44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2" name="Oval 2823">
                <a:extLst>
                  <a:ext uri="{FF2B5EF4-FFF2-40B4-BE49-F238E27FC236}">
                    <a16:creationId xmlns:a16="http://schemas.microsoft.com/office/drawing/2014/main" xmlns="" id="{32A05AA8-4FF1-4EDC-8D1F-F1359639B8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3" name="Oval 2824">
                <a:extLst>
                  <a:ext uri="{FF2B5EF4-FFF2-40B4-BE49-F238E27FC236}">
                    <a16:creationId xmlns:a16="http://schemas.microsoft.com/office/drawing/2014/main" xmlns="" id="{27433B23-A21E-42B8-9064-1FD9FEAC78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4" name="Oval 2825">
                <a:extLst>
                  <a:ext uri="{FF2B5EF4-FFF2-40B4-BE49-F238E27FC236}">
                    <a16:creationId xmlns:a16="http://schemas.microsoft.com/office/drawing/2014/main" xmlns="" id="{44426377-7A96-4582-9FE1-2B8DFC18E4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5" name="Oval 2826">
                <a:extLst>
                  <a:ext uri="{FF2B5EF4-FFF2-40B4-BE49-F238E27FC236}">
                    <a16:creationId xmlns:a16="http://schemas.microsoft.com/office/drawing/2014/main" xmlns="" id="{00AE6228-EFE2-4F48-9047-DC8FE170CB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6" name="Oval 2827">
                <a:extLst>
                  <a:ext uri="{FF2B5EF4-FFF2-40B4-BE49-F238E27FC236}">
                    <a16:creationId xmlns:a16="http://schemas.microsoft.com/office/drawing/2014/main" xmlns="" id="{3FF9B01F-7EFF-4DE6-B215-353182D599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7" name="Oval 2828">
                <a:extLst>
                  <a:ext uri="{FF2B5EF4-FFF2-40B4-BE49-F238E27FC236}">
                    <a16:creationId xmlns:a16="http://schemas.microsoft.com/office/drawing/2014/main" xmlns="" id="{CFDC902C-7C0E-4B37-9183-816542FD7B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8" name="Oval 2829">
                <a:extLst>
                  <a:ext uri="{FF2B5EF4-FFF2-40B4-BE49-F238E27FC236}">
                    <a16:creationId xmlns:a16="http://schemas.microsoft.com/office/drawing/2014/main" xmlns="" id="{B2A5CCE5-AC50-4AAC-BD6E-214644643C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0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9" name="Oval 2830">
                <a:extLst>
                  <a:ext uri="{FF2B5EF4-FFF2-40B4-BE49-F238E27FC236}">
                    <a16:creationId xmlns:a16="http://schemas.microsoft.com/office/drawing/2014/main" xmlns="" id="{8D2EBB3B-0AC1-48FB-840A-A0E95D1EF6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0" name="Oval 2831">
                <a:extLst>
                  <a:ext uri="{FF2B5EF4-FFF2-40B4-BE49-F238E27FC236}">
                    <a16:creationId xmlns:a16="http://schemas.microsoft.com/office/drawing/2014/main" xmlns="" id="{FCEB5FE0-CB81-4D46-8AF7-1E89D43F31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1" name="Oval 2832">
                <a:extLst>
                  <a:ext uri="{FF2B5EF4-FFF2-40B4-BE49-F238E27FC236}">
                    <a16:creationId xmlns:a16="http://schemas.microsoft.com/office/drawing/2014/main" xmlns="" id="{D8265628-6521-42F6-875E-7ACE23B41A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2" name="Oval 2833">
                <a:extLst>
                  <a:ext uri="{FF2B5EF4-FFF2-40B4-BE49-F238E27FC236}">
                    <a16:creationId xmlns:a16="http://schemas.microsoft.com/office/drawing/2014/main" xmlns="" id="{E23769AB-85BA-4573-8D27-9C9992791E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3" name="Oval 2834">
                <a:extLst>
                  <a:ext uri="{FF2B5EF4-FFF2-40B4-BE49-F238E27FC236}">
                    <a16:creationId xmlns:a16="http://schemas.microsoft.com/office/drawing/2014/main" xmlns="" id="{9827C4B2-38A1-4DFF-93F1-87658EF11F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4" name="Oval 2835">
                <a:extLst>
                  <a:ext uri="{FF2B5EF4-FFF2-40B4-BE49-F238E27FC236}">
                    <a16:creationId xmlns:a16="http://schemas.microsoft.com/office/drawing/2014/main" xmlns="" id="{81B71D78-0F15-406C-BC60-6FDE98E18B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5" name="Oval 2836">
                <a:extLst>
                  <a:ext uri="{FF2B5EF4-FFF2-40B4-BE49-F238E27FC236}">
                    <a16:creationId xmlns:a16="http://schemas.microsoft.com/office/drawing/2014/main" xmlns="" id="{581F50A6-68EA-442B-A814-79BDC1B78D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6" name="Oval 2837">
                <a:extLst>
                  <a:ext uri="{FF2B5EF4-FFF2-40B4-BE49-F238E27FC236}">
                    <a16:creationId xmlns:a16="http://schemas.microsoft.com/office/drawing/2014/main" xmlns="" id="{7D4E501C-D9A9-4909-918F-F098ADFB8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7" name="Oval 2838">
                <a:extLst>
                  <a:ext uri="{FF2B5EF4-FFF2-40B4-BE49-F238E27FC236}">
                    <a16:creationId xmlns:a16="http://schemas.microsoft.com/office/drawing/2014/main" xmlns="" id="{92DE0C6A-5EC2-4E98-A1F2-7995010FFF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8" name="Oval 2839">
                <a:extLst>
                  <a:ext uri="{FF2B5EF4-FFF2-40B4-BE49-F238E27FC236}">
                    <a16:creationId xmlns:a16="http://schemas.microsoft.com/office/drawing/2014/main" xmlns="" id="{0A3AFEFC-1E87-461E-BCBB-6D0BABF56C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9" name="Oval 2840">
                <a:extLst>
                  <a:ext uri="{FF2B5EF4-FFF2-40B4-BE49-F238E27FC236}">
                    <a16:creationId xmlns:a16="http://schemas.microsoft.com/office/drawing/2014/main" xmlns="" id="{F7BB7845-B6C3-495B-84DB-6868353856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0" name="Oval 2841">
                <a:extLst>
                  <a:ext uri="{FF2B5EF4-FFF2-40B4-BE49-F238E27FC236}">
                    <a16:creationId xmlns:a16="http://schemas.microsoft.com/office/drawing/2014/main" xmlns="" id="{F0CCACB5-A3F0-48B4-A2EC-7D715AD496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1" name="Oval 2842">
                <a:extLst>
                  <a:ext uri="{FF2B5EF4-FFF2-40B4-BE49-F238E27FC236}">
                    <a16:creationId xmlns:a16="http://schemas.microsoft.com/office/drawing/2014/main" xmlns="" id="{7C32428E-47B1-4189-A299-75B8DBCD2F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2" name="Oval 2843">
                <a:extLst>
                  <a:ext uri="{FF2B5EF4-FFF2-40B4-BE49-F238E27FC236}">
                    <a16:creationId xmlns:a16="http://schemas.microsoft.com/office/drawing/2014/main" xmlns="" id="{228DAD51-D8FF-4B6F-B61B-21F193F455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3" name="Oval 2844">
                <a:extLst>
                  <a:ext uri="{FF2B5EF4-FFF2-40B4-BE49-F238E27FC236}">
                    <a16:creationId xmlns:a16="http://schemas.microsoft.com/office/drawing/2014/main" xmlns="" id="{D29FE72A-37A4-49D6-B65A-16DA28ADD7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4" name="Oval 2845">
                <a:extLst>
                  <a:ext uri="{FF2B5EF4-FFF2-40B4-BE49-F238E27FC236}">
                    <a16:creationId xmlns:a16="http://schemas.microsoft.com/office/drawing/2014/main" xmlns="" id="{1EB23FB0-45BE-4129-8BAC-898AFF2594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75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5" name="Oval 2846">
                <a:extLst>
                  <a:ext uri="{FF2B5EF4-FFF2-40B4-BE49-F238E27FC236}">
                    <a16:creationId xmlns:a16="http://schemas.microsoft.com/office/drawing/2014/main" xmlns="" id="{2BF66118-7851-4988-BF7C-B33CD5B7DF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6" name="Oval 2847">
                <a:extLst>
                  <a:ext uri="{FF2B5EF4-FFF2-40B4-BE49-F238E27FC236}">
                    <a16:creationId xmlns:a16="http://schemas.microsoft.com/office/drawing/2014/main" xmlns="" id="{64D79C42-65F9-4B26-992D-E179ABDB5F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6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7" name="Oval 2848">
                <a:extLst>
                  <a:ext uri="{FF2B5EF4-FFF2-40B4-BE49-F238E27FC236}">
                    <a16:creationId xmlns:a16="http://schemas.microsoft.com/office/drawing/2014/main" xmlns="" id="{C3517A56-BAF8-40B6-8B3C-28980746EE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8" name="Oval 2849">
                <a:extLst>
                  <a:ext uri="{FF2B5EF4-FFF2-40B4-BE49-F238E27FC236}">
                    <a16:creationId xmlns:a16="http://schemas.microsoft.com/office/drawing/2014/main" xmlns="" id="{F6D235F7-CE4E-4B56-8662-42117E9466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9" name="Oval 2850">
                <a:extLst>
                  <a:ext uri="{FF2B5EF4-FFF2-40B4-BE49-F238E27FC236}">
                    <a16:creationId xmlns:a16="http://schemas.microsoft.com/office/drawing/2014/main" xmlns="" id="{4F21C202-78A8-48EA-8DDB-45CE186FF7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0" name="Oval 2851">
                <a:extLst>
                  <a:ext uri="{FF2B5EF4-FFF2-40B4-BE49-F238E27FC236}">
                    <a16:creationId xmlns:a16="http://schemas.microsoft.com/office/drawing/2014/main" xmlns="" id="{61FDF714-3093-4CF8-8976-5CA615EFEE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10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1" name="Oval 2852">
                <a:extLst>
                  <a:ext uri="{FF2B5EF4-FFF2-40B4-BE49-F238E27FC236}">
                    <a16:creationId xmlns:a16="http://schemas.microsoft.com/office/drawing/2014/main" xmlns="" id="{BC0E7A67-7122-44E0-BA9A-85C3A5CD5E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2" name="Oval 2853">
                <a:extLst>
                  <a:ext uri="{FF2B5EF4-FFF2-40B4-BE49-F238E27FC236}">
                    <a16:creationId xmlns:a16="http://schemas.microsoft.com/office/drawing/2014/main" xmlns="" id="{59199D29-4D75-4A8A-A983-22C1EBC217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3" name="Oval 2854">
                <a:extLst>
                  <a:ext uri="{FF2B5EF4-FFF2-40B4-BE49-F238E27FC236}">
                    <a16:creationId xmlns:a16="http://schemas.microsoft.com/office/drawing/2014/main" xmlns="" id="{C8A70D15-F98C-4B57-AE92-4B06D1E347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5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4" name="Oval 2855">
                <a:extLst>
                  <a:ext uri="{FF2B5EF4-FFF2-40B4-BE49-F238E27FC236}">
                    <a16:creationId xmlns:a16="http://schemas.microsoft.com/office/drawing/2014/main" xmlns="" id="{AC013C42-2619-4E47-BAF8-DE17C5AE8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5" name="Oval 2856">
                <a:extLst>
                  <a:ext uri="{FF2B5EF4-FFF2-40B4-BE49-F238E27FC236}">
                    <a16:creationId xmlns:a16="http://schemas.microsoft.com/office/drawing/2014/main" xmlns="" id="{9A174792-39AA-47BA-9E53-96A4E7D93D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6" name="Oval 2857">
                <a:extLst>
                  <a:ext uri="{FF2B5EF4-FFF2-40B4-BE49-F238E27FC236}">
                    <a16:creationId xmlns:a16="http://schemas.microsoft.com/office/drawing/2014/main" xmlns="" id="{21C0AAC1-1F6F-4017-90C9-8C050E0FC7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3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7" name="Oval 2858">
                <a:extLst>
                  <a:ext uri="{FF2B5EF4-FFF2-40B4-BE49-F238E27FC236}">
                    <a16:creationId xmlns:a16="http://schemas.microsoft.com/office/drawing/2014/main" xmlns="" id="{04E22DEC-658D-4261-B376-9E0C071E10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8" name="Oval 2859">
                <a:extLst>
                  <a:ext uri="{FF2B5EF4-FFF2-40B4-BE49-F238E27FC236}">
                    <a16:creationId xmlns:a16="http://schemas.microsoft.com/office/drawing/2014/main" xmlns="" id="{383CB2AB-1EAF-434C-B475-E65F999380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9" name="Oval 2860">
                <a:extLst>
                  <a:ext uri="{FF2B5EF4-FFF2-40B4-BE49-F238E27FC236}">
                    <a16:creationId xmlns:a16="http://schemas.microsoft.com/office/drawing/2014/main" xmlns="" id="{D0FF22DC-471D-41F8-AAF7-544F875203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0" name="Oval 2861">
                <a:extLst>
                  <a:ext uri="{FF2B5EF4-FFF2-40B4-BE49-F238E27FC236}">
                    <a16:creationId xmlns:a16="http://schemas.microsoft.com/office/drawing/2014/main" xmlns="" id="{7B2A3491-1A5D-4926-9F98-85BADFEFCF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1" name="Oval 2862">
                <a:extLst>
                  <a:ext uri="{FF2B5EF4-FFF2-40B4-BE49-F238E27FC236}">
                    <a16:creationId xmlns:a16="http://schemas.microsoft.com/office/drawing/2014/main" xmlns="" id="{9D23DCA7-F34F-4BA5-9BDE-DDA13547A4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2" name="Oval 2863">
                <a:extLst>
                  <a:ext uri="{FF2B5EF4-FFF2-40B4-BE49-F238E27FC236}">
                    <a16:creationId xmlns:a16="http://schemas.microsoft.com/office/drawing/2014/main" xmlns="" id="{D1E3DD51-76B1-4264-8DA4-0606F8AE58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3" name="Oval 2864">
                <a:extLst>
                  <a:ext uri="{FF2B5EF4-FFF2-40B4-BE49-F238E27FC236}">
                    <a16:creationId xmlns:a16="http://schemas.microsoft.com/office/drawing/2014/main" xmlns="" id="{226A55B7-1547-4A7B-8BF4-F95C2B4592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4" name="Oval 2865">
                <a:extLst>
                  <a:ext uri="{FF2B5EF4-FFF2-40B4-BE49-F238E27FC236}">
                    <a16:creationId xmlns:a16="http://schemas.microsoft.com/office/drawing/2014/main" xmlns="" id="{E5E59396-68BB-46FA-AEAB-31259CCAC7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5" name="Oval 2866">
                <a:extLst>
                  <a:ext uri="{FF2B5EF4-FFF2-40B4-BE49-F238E27FC236}">
                    <a16:creationId xmlns:a16="http://schemas.microsoft.com/office/drawing/2014/main" xmlns="" id="{F73EFD56-980F-46DE-A442-29174D22C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6" name="Oval 2867">
                <a:extLst>
                  <a:ext uri="{FF2B5EF4-FFF2-40B4-BE49-F238E27FC236}">
                    <a16:creationId xmlns:a16="http://schemas.microsoft.com/office/drawing/2014/main" xmlns="" id="{A7857A68-E134-497C-8B11-BC88DD293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7" name="Oval 2868">
                <a:extLst>
                  <a:ext uri="{FF2B5EF4-FFF2-40B4-BE49-F238E27FC236}">
                    <a16:creationId xmlns:a16="http://schemas.microsoft.com/office/drawing/2014/main" xmlns="" id="{680771A5-FA66-4D93-AD62-CD47FE3BEF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8" name="Oval 2869">
                <a:extLst>
                  <a:ext uri="{FF2B5EF4-FFF2-40B4-BE49-F238E27FC236}">
                    <a16:creationId xmlns:a16="http://schemas.microsoft.com/office/drawing/2014/main" xmlns="" id="{3ABE1EEA-EF8F-44A2-A119-AF7B87897D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9" name="Oval 2870">
                <a:extLst>
                  <a:ext uri="{FF2B5EF4-FFF2-40B4-BE49-F238E27FC236}">
                    <a16:creationId xmlns:a16="http://schemas.microsoft.com/office/drawing/2014/main" xmlns="" id="{BCD03EC3-CB26-4235-91EF-71AE86D2DA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0" name="Oval 2871">
                <a:extLst>
                  <a:ext uri="{FF2B5EF4-FFF2-40B4-BE49-F238E27FC236}">
                    <a16:creationId xmlns:a16="http://schemas.microsoft.com/office/drawing/2014/main" xmlns="" id="{AFEC504F-09CD-4DFD-A286-88E385037D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1" name="Oval 2872">
                <a:extLst>
                  <a:ext uri="{FF2B5EF4-FFF2-40B4-BE49-F238E27FC236}">
                    <a16:creationId xmlns:a16="http://schemas.microsoft.com/office/drawing/2014/main" xmlns="" id="{E843F484-CEFF-423A-A045-2E6A6930B4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2" name="Oval 2873">
                <a:extLst>
                  <a:ext uri="{FF2B5EF4-FFF2-40B4-BE49-F238E27FC236}">
                    <a16:creationId xmlns:a16="http://schemas.microsoft.com/office/drawing/2014/main" xmlns="" id="{8404F9E6-BF00-491D-BBDC-AB1ABD8FD2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4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3" name="Oval 2874">
                <a:extLst>
                  <a:ext uri="{FF2B5EF4-FFF2-40B4-BE49-F238E27FC236}">
                    <a16:creationId xmlns:a16="http://schemas.microsoft.com/office/drawing/2014/main" xmlns="" id="{270D8579-5715-4ABA-A31E-5AD480584F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4" name="Oval 2875">
                <a:extLst>
                  <a:ext uri="{FF2B5EF4-FFF2-40B4-BE49-F238E27FC236}">
                    <a16:creationId xmlns:a16="http://schemas.microsoft.com/office/drawing/2014/main" xmlns="" id="{15E423C9-B041-4FAA-8CC5-E1A4D16A14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5" name="Oval 2876">
                <a:extLst>
                  <a:ext uri="{FF2B5EF4-FFF2-40B4-BE49-F238E27FC236}">
                    <a16:creationId xmlns:a16="http://schemas.microsoft.com/office/drawing/2014/main" xmlns="" id="{81C7870D-2DAB-4006-BAB7-A8C820EDD8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6" name="Oval 2877">
                <a:extLst>
                  <a:ext uri="{FF2B5EF4-FFF2-40B4-BE49-F238E27FC236}">
                    <a16:creationId xmlns:a16="http://schemas.microsoft.com/office/drawing/2014/main" xmlns="" id="{38AEB002-0EDD-4FB8-A42A-9B4142578E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7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7" name="Oval 2878">
                <a:extLst>
                  <a:ext uri="{FF2B5EF4-FFF2-40B4-BE49-F238E27FC236}">
                    <a16:creationId xmlns:a16="http://schemas.microsoft.com/office/drawing/2014/main" xmlns="" id="{881DA672-3D14-41E2-B489-B18C4CF6A8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8" name="Oval 2879">
                <a:extLst>
                  <a:ext uri="{FF2B5EF4-FFF2-40B4-BE49-F238E27FC236}">
                    <a16:creationId xmlns:a16="http://schemas.microsoft.com/office/drawing/2014/main" xmlns="" id="{40DBC6A2-7C9E-444F-A020-185BBC115C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9" name="Oval 2880">
                <a:extLst>
                  <a:ext uri="{FF2B5EF4-FFF2-40B4-BE49-F238E27FC236}">
                    <a16:creationId xmlns:a16="http://schemas.microsoft.com/office/drawing/2014/main" xmlns="" id="{BC049EA0-AF2D-4044-96BB-F731C3A87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0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0" name="Oval 2881">
                <a:extLst>
                  <a:ext uri="{FF2B5EF4-FFF2-40B4-BE49-F238E27FC236}">
                    <a16:creationId xmlns:a16="http://schemas.microsoft.com/office/drawing/2014/main" xmlns="" id="{58CBE8B0-4BB5-4B81-91A6-987A2AB5B9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1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1" name="Oval 2882">
                <a:extLst>
                  <a:ext uri="{FF2B5EF4-FFF2-40B4-BE49-F238E27FC236}">
                    <a16:creationId xmlns:a16="http://schemas.microsoft.com/office/drawing/2014/main" xmlns="" id="{08F51A0B-4274-492C-BF5E-3D77E021D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2" name="Oval 2883">
                <a:extLst>
                  <a:ext uri="{FF2B5EF4-FFF2-40B4-BE49-F238E27FC236}">
                    <a16:creationId xmlns:a16="http://schemas.microsoft.com/office/drawing/2014/main" xmlns="" id="{723EAAB5-7D55-4C34-8DD1-545F93C33B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3" name="Oval 2884">
                <a:extLst>
                  <a:ext uri="{FF2B5EF4-FFF2-40B4-BE49-F238E27FC236}">
                    <a16:creationId xmlns:a16="http://schemas.microsoft.com/office/drawing/2014/main" xmlns="" id="{45DA67B8-9F7E-4022-AB7B-F6A63CD9F9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4" name="Oval 2885">
                <a:extLst>
                  <a:ext uri="{FF2B5EF4-FFF2-40B4-BE49-F238E27FC236}">
                    <a16:creationId xmlns:a16="http://schemas.microsoft.com/office/drawing/2014/main" xmlns="" id="{636C8AF7-1177-4A5C-8758-09B571BD0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5" name="Oval 2886">
                <a:extLst>
                  <a:ext uri="{FF2B5EF4-FFF2-40B4-BE49-F238E27FC236}">
                    <a16:creationId xmlns:a16="http://schemas.microsoft.com/office/drawing/2014/main" xmlns="" id="{5AC4A67F-7B55-437F-BC57-FF785E9707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6" name="Oval 2887">
                <a:extLst>
                  <a:ext uri="{FF2B5EF4-FFF2-40B4-BE49-F238E27FC236}">
                    <a16:creationId xmlns:a16="http://schemas.microsoft.com/office/drawing/2014/main" xmlns="" id="{7BCB48F4-5A1D-4263-A0A1-60F4A68688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7" name="Oval 2888">
                <a:extLst>
                  <a:ext uri="{FF2B5EF4-FFF2-40B4-BE49-F238E27FC236}">
                    <a16:creationId xmlns:a16="http://schemas.microsoft.com/office/drawing/2014/main" xmlns="" id="{88F4D7CB-A70E-4036-9358-8BF55F4D23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8" name="Oval 2889">
                <a:extLst>
                  <a:ext uri="{FF2B5EF4-FFF2-40B4-BE49-F238E27FC236}">
                    <a16:creationId xmlns:a16="http://schemas.microsoft.com/office/drawing/2014/main" xmlns="" id="{411FF6B9-008B-41AF-88B2-AB19178505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9" name="Oval 2890">
                <a:extLst>
                  <a:ext uri="{FF2B5EF4-FFF2-40B4-BE49-F238E27FC236}">
                    <a16:creationId xmlns:a16="http://schemas.microsoft.com/office/drawing/2014/main" xmlns="" id="{F731392F-6559-4288-B4EB-F5869C3179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0" name="Oval 2891">
                <a:extLst>
                  <a:ext uri="{FF2B5EF4-FFF2-40B4-BE49-F238E27FC236}">
                    <a16:creationId xmlns:a16="http://schemas.microsoft.com/office/drawing/2014/main" xmlns="" id="{45003271-6ADB-46CE-8D43-BD3532519B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24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1" name="Oval 2892">
                <a:extLst>
                  <a:ext uri="{FF2B5EF4-FFF2-40B4-BE49-F238E27FC236}">
                    <a16:creationId xmlns:a16="http://schemas.microsoft.com/office/drawing/2014/main" xmlns="" id="{F3CDD557-6677-4BE0-BE45-D17B0B7373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2" name="Oval 2893">
                <a:extLst>
                  <a:ext uri="{FF2B5EF4-FFF2-40B4-BE49-F238E27FC236}">
                    <a16:creationId xmlns:a16="http://schemas.microsoft.com/office/drawing/2014/main" xmlns="" id="{D322BF32-0FEE-411F-A9F6-E36C7A89E0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3" name="Oval 2894">
                <a:extLst>
                  <a:ext uri="{FF2B5EF4-FFF2-40B4-BE49-F238E27FC236}">
                    <a16:creationId xmlns:a16="http://schemas.microsoft.com/office/drawing/2014/main" xmlns="" id="{B95E5DC4-5246-4D8A-B364-EC50865F08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4" name="Oval 2895">
                <a:extLst>
                  <a:ext uri="{FF2B5EF4-FFF2-40B4-BE49-F238E27FC236}">
                    <a16:creationId xmlns:a16="http://schemas.microsoft.com/office/drawing/2014/main" xmlns="" id="{E1F12BC7-0953-43F7-A49C-43C956C7F7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5" name="Oval 2896">
                <a:extLst>
                  <a:ext uri="{FF2B5EF4-FFF2-40B4-BE49-F238E27FC236}">
                    <a16:creationId xmlns:a16="http://schemas.microsoft.com/office/drawing/2014/main" xmlns="" id="{E48B5825-A428-4528-8CCA-DED2D471BB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6" name="Oval 2897">
                <a:extLst>
                  <a:ext uri="{FF2B5EF4-FFF2-40B4-BE49-F238E27FC236}">
                    <a16:creationId xmlns:a16="http://schemas.microsoft.com/office/drawing/2014/main" xmlns="" id="{36C588A5-375A-4BD9-B273-011DBA7AC8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7" name="Oval 2898">
                <a:extLst>
                  <a:ext uri="{FF2B5EF4-FFF2-40B4-BE49-F238E27FC236}">
                    <a16:creationId xmlns:a16="http://schemas.microsoft.com/office/drawing/2014/main" xmlns="" id="{BBE64F6D-54AA-4AFB-B7DE-8BA153CCC9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8" name="Oval 2899">
                <a:extLst>
                  <a:ext uri="{FF2B5EF4-FFF2-40B4-BE49-F238E27FC236}">
                    <a16:creationId xmlns:a16="http://schemas.microsoft.com/office/drawing/2014/main" xmlns="" id="{D504BCAD-831B-479A-80F1-7ADBE056C1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9" name="Oval 2900">
                <a:extLst>
                  <a:ext uri="{FF2B5EF4-FFF2-40B4-BE49-F238E27FC236}">
                    <a16:creationId xmlns:a16="http://schemas.microsoft.com/office/drawing/2014/main" xmlns="" id="{2421940F-5B94-49C4-91ED-48F21D10BF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0" name="Oval 2901">
                <a:extLst>
                  <a:ext uri="{FF2B5EF4-FFF2-40B4-BE49-F238E27FC236}">
                    <a16:creationId xmlns:a16="http://schemas.microsoft.com/office/drawing/2014/main" xmlns="" id="{C8EDA3E6-0112-4EB9-88D1-A10BA6F142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24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1" name="Oval 2902">
                <a:extLst>
                  <a:ext uri="{FF2B5EF4-FFF2-40B4-BE49-F238E27FC236}">
                    <a16:creationId xmlns:a16="http://schemas.microsoft.com/office/drawing/2014/main" xmlns="" id="{86D33BFE-B9CB-4E1A-ADB0-D13B7D8A51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2" name="Oval 2903">
                <a:extLst>
                  <a:ext uri="{FF2B5EF4-FFF2-40B4-BE49-F238E27FC236}">
                    <a16:creationId xmlns:a16="http://schemas.microsoft.com/office/drawing/2014/main" xmlns="" id="{ED9FC8E5-D626-4802-971F-EDD24E6661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3" name="Oval 2904">
                <a:extLst>
                  <a:ext uri="{FF2B5EF4-FFF2-40B4-BE49-F238E27FC236}">
                    <a16:creationId xmlns:a16="http://schemas.microsoft.com/office/drawing/2014/main" xmlns="" id="{F359FB28-3542-4CB2-A167-57FF1B4586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4" name="Oval 2905">
                <a:extLst>
                  <a:ext uri="{FF2B5EF4-FFF2-40B4-BE49-F238E27FC236}">
                    <a16:creationId xmlns:a16="http://schemas.microsoft.com/office/drawing/2014/main" xmlns="" id="{908A61E3-3F4D-4A92-9966-85BB24342E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2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5" name="Oval 2906">
                <a:extLst>
                  <a:ext uri="{FF2B5EF4-FFF2-40B4-BE49-F238E27FC236}">
                    <a16:creationId xmlns:a16="http://schemas.microsoft.com/office/drawing/2014/main" xmlns="" id="{FB69BFB2-F81E-4A46-BC06-E8D832B4C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6" name="Oval 2907">
                <a:extLst>
                  <a:ext uri="{FF2B5EF4-FFF2-40B4-BE49-F238E27FC236}">
                    <a16:creationId xmlns:a16="http://schemas.microsoft.com/office/drawing/2014/main" xmlns="" id="{E10DCC3B-FA60-4916-9780-EA59DCA3E7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7" name="Oval 2908">
                <a:extLst>
                  <a:ext uri="{FF2B5EF4-FFF2-40B4-BE49-F238E27FC236}">
                    <a16:creationId xmlns:a16="http://schemas.microsoft.com/office/drawing/2014/main" xmlns="" id="{FD9AC08C-D289-45AD-BD2F-46962A0C36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5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8" name="Oval 2909">
                <a:extLst>
                  <a:ext uri="{FF2B5EF4-FFF2-40B4-BE49-F238E27FC236}">
                    <a16:creationId xmlns:a16="http://schemas.microsoft.com/office/drawing/2014/main" xmlns="" id="{C78302BA-115A-4ECE-975F-6B1049C69C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9" name="Oval 2910">
                <a:extLst>
                  <a:ext uri="{FF2B5EF4-FFF2-40B4-BE49-F238E27FC236}">
                    <a16:creationId xmlns:a16="http://schemas.microsoft.com/office/drawing/2014/main" xmlns="" id="{93EADD7A-E1AE-41CB-A954-8076593254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0" name="Oval 2911">
                <a:extLst>
                  <a:ext uri="{FF2B5EF4-FFF2-40B4-BE49-F238E27FC236}">
                    <a16:creationId xmlns:a16="http://schemas.microsoft.com/office/drawing/2014/main" xmlns="" id="{C631353E-68CD-4924-93FF-30CCC30EF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1" name="Oval 2912">
                <a:extLst>
                  <a:ext uri="{FF2B5EF4-FFF2-40B4-BE49-F238E27FC236}">
                    <a16:creationId xmlns:a16="http://schemas.microsoft.com/office/drawing/2014/main" xmlns="" id="{7BE88486-A027-4C1A-ADC2-18B0640B15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2" name="Oval 2913">
                <a:extLst>
                  <a:ext uri="{FF2B5EF4-FFF2-40B4-BE49-F238E27FC236}">
                    <a16:creationId xmlns:a16="http://schemas.microsoft.com/office/drawing/2014/main" xmlns="" id="{E87554F1-66E3-4332-A97E-076FE957A3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3" name="Oval 2914">
                <a:extLst>
                  <a:ext uri="{FF2B5EF4-FFF2-40B4-BE49-F238E27FC236}">
                    <a16:creationId xmlns:a16="http://schemas.microsoft.com/office/drawing/2014/main" xmlns="" id="{10818E67-D711-4C6C-8AEF-099DC7C4CA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8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4" name="Oval 2915">
                <a:extLst>
                  <a:ext uri="{FF2B5EF4-FFF2-40B4-BE49-F238E27FC236}">
                    <a16:creationId xmlns:a16="http://schemas.microsoft.com/office/drawing/2014/main" xmlns="" id="{AF4522B3-9628-4091-B2F8-70C96087FB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9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5" name="Oval 2916">
                <a:extLst>
                  <a:ext uri="{FF2B5EF4-FFF2-40B4-BE49-F238E27FC236}">
                    <a16:creationId xmlns:a16="http://schemas.microsoft.com/office/drawing/2014/main" xmlns="" id="{0D7519BC-0E92-4520-8241-D8F8DCE653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6" name="Oval 2917">
                <a:extLst>
                  <a:ext uri="{FF2B5EF4-FFF2-40B4-BE49-F238E27FC236}">
                    <a16:creationId xmlns:a16="http://schemas.microsoft.com/office/drawing/2014/main" xmlns="" id="{3490953F-E176-404B-B0BB-A199FB53B2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30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7" name="Oval 2918">
                <a:extLst>
                  <a:ext uri="{FF2B5EF4-FFF2-40B4-BE49-F238E27FC236}">
                    <a16:creationId xmlns:a16="http://schemas.microsoft.com/office/drawing/2014/main" xmlns="" id="{F0FB05B2-2EE8-46F4-A528-38BF6EB50B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30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8" name="Oval 2919">
                <a:extLst>
                  <a:ext uri="{FF2B5EF4-FFF2-40B4-BE49-F238E27FC236}">
                    <a16:creationId xmlns:a16="http://schemas.microsoft.com/office/drawing/2014/main" xmlns="" id="{EA2D072E-D6C6-45F3-AEEB-8406A38637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9" name="Oval 2920">
                <a:extLst>
                  <a:ext uri="{FF2B5EF4-FFF2-40B4-BE49-F238E27FC236}">
                    <a16:creationId xmlns:a16="http://schemas.microsoft.com/office/drawing/2014/main" xmlns="" id="{AA18448D-5795-4562-B98B-E5F51927A2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0" name="Oval 2921">
                <a:extLst>
                  <a:ext uri="{FF2B5EF4-FFF2-40B4-BE49-F238E27FC236}">
                    <a16:creationId xmlns:a16="http://schemas.microsoft.com/office/drawing/2014/main" xmlns="" id="{23C259ED-3D44-4063-8810-316E13C2A5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1" name="Oval 2922">
                <a:extLst>
                  <a:ext uri="{FF2B5EF4-FFF2-40B4-BE49-F238E27FC236}">
                    <a16:creationId xmlns:a16="http://schemas.microsoft.com/office/drawing/2014/main" xmlns="" id="{139CDA34-664B-44A2-A4DB-06FB08E08C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31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2" name="Oval 2923">
                <a:extLst>
                  <a:ext uri="{FF2B5EF4-FFF2-40B4-BE49-F238E27FC236}">
                    <a16:creationId xmlns:a16="http://schemas.microsoft.com/office/drawing/2014/main" xmlns="" id="{DD27D70B-7C4F-45C7-B245-C398F413D4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3" name="Oval 2924">
                <a:extLst>
                  <a:ext uri="{FF2B5EF4-FFF2-40B4-BE49-F238E27FC236}">
                    <a16:creationId xmlns:a16="http://schemas.microsoft.com/office/drawing/2014/main" xmlns="" id="{45626ADB-1F1F-40B1-B4F6-79EEEAC663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4" name="Oval 2925">
                <a:extLst>
                  <a:ext uri="{FF2B5EF4-FFF2-40B4-BE49-F238E27FC236}">
                    <a16:creationId xmlns:a16="http://schemas.microsoft.com/office/drawing/2014/main" xmlns="" id="{298B77E5-9331-4F91-9A01-95DA4D59D4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5" name="Oval 2926">
                <a:extLst>
                  <a:ext uri="{FF2B5EF4-FFF2-40B4-BE49-F238E27FC236}">
                    <a16:creationId xmlns:a16="http://schemas.microsoft.com/office/drawing/2014/main" xmlns="" id="{6F591789-3901-482E-A2B1-EC84F1477A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6" name="Oval 2927">
                <a:extLst>
                  <a:ext uri="{FF2B5EF4-FFF2-40B4-BE49-F238E27FC236}">
                    <a16:creationId xmlns:a16="http://schemas.microsoft.com/office/drawing/2014/main" xmlns="" id="{92783266-F533-43A5-8C3C-4190F0EED9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7" name="Oval 2928">
                <a:extLst>
                  <a:ext uri="{FF2B5EF4-FFF2-40B4-BE49-F238E27FC236}">
                    <a16:creationId xmlns:a16="http://schemas.microsoft.com/office/drawing/2014/main" xmlns="" id="{4DBD4FAD-4274-4084-BF1B-ACE320F8CE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8" name="Oval 2929">
                <a:extLst>
                  <a:ext uri="{FF2B5EF4-FFF2-40B4-BE49-F238E27FC236}">
                    <a16:creationId xmlns:a16="http://schemas.microsoft.com/office/drawing/2014/main" xmlns="" id="{C0A9DE48-427F-41AB-8962-EF0866E14C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3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9" name="Oval 2930">
                <a:extLst>
                  <a:ext uri="{FF2B5EF4-FFF2-40B4-BE49-F238E27FC236}">
                    <a16:creationId xmlns:a16="http://schemas.microsoft.com/office/drawing/2014/main" xmlns="" id="{F5FBC60B-B5A6-4A63-B235-C32469EB55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2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0" name="Oval 2931">
                <a:extLst>
                  <a:ext uri="{FF2B5EF4-FFF2-40B4-BE49-F238E27FC236}">
                    <a16:creationId xmlns:a16="http://schemas.microsoft.com/office/drawing/2014/main" xmlns="" id="{8580DABD-3E38-4F35-9FF5-DDB4400D48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1" name="Oval 2932">
                <a:extLst>
                  <a:ext uri="{FF2B5EF4-FFF2-40B4-BE49-F238E27FC236}">
                    <a16:creationId xmlns:a16="http://schemas.microsoft.com/office/drawing/2014/main" xmlns="" id="{3AD543BF-F288-4D35-B46A-12E60477D0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2" name="Oval 2933">
                <a:extLst>
                  <a:ext uri="{FF2B5EF4-FFF2-40B4-BE49-F238E27FC236}">
                    <a16:creationId xmlns:a16="http://schemas.microsoft.com/office/drawing/2014/main" xmlns="" id="{02A676AE-377F-42EE-BAED-23F39393CB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3" name="Oval 2934">
                <a:extLst>
                  <a:ext uri="{FF2B5EF4-FFF2-40B4-BE49-F238E27FC236}">
                    <a16:creationId xmlns:a16="http://schemas.microsoft.com/office/drawing/2014/main" xmlns="" id="{D1F1B4EE-C4C5-4A5B-86E7-BEC1CC6D51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4" name="Oval 2935">
                <a:extLst>
                  <a:ext uri="{FF2B5EF4-FFF2-40B4-BE49-F238E27FC236}">
                    <a16:creationId xmlns:a16="http://schemas.microsoft.com/office/drawing/2014/main" xmlns="" id="{6F87A672-022D-4F4F-A75A-D60F2E4895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15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5" name="Oval 2936">
                <a:extLst>
                  <a:ext uri="{FF2B5EF4-FFF2-40B4-BE49-F238E27FC236}">
                    <a16:creationId xmlns:a16="http://schemas.microsoft.com/office/drawing/2014/main" xmlns="" id="{D8984A34-68F0-41A5-B46C-D1F41D2503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6" name="Oval 2937">
                <a:extLst>
                  <a:ext uri="{FF2B5EF4-FFF2-40B4-BE49-F238E27FC236}">
                    <a16:creationId xmlns:a16="http://schemas.microsoft.com/office/drawing/2014/main" xmlns="" id="{BB40DEC9-0B76-4183-A606-711EDDEF9F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7" name="Oval 2938">
                <a:extLst>
                  <a:ext uri="{FF2B5EF4-FFF2-40B4-BE49-F238E27FC236}">
                    <a16:creationId xmlns:a16="http://schemas.microsoft.com/office/drawing/2014/main" xmlns="" id="{AC589DD6-2B2B-4565-B342-49EC62FED8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17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8" name="Oval 2939">
                <a:extLst>
                  <a:ext uri="{FF2B5EF4-FFF2-40B4-BE49-F238E27FC236}">
                    <a16:creationId xmlns:a16="http://schemas.microsoft.com/office/drawing/2014/main" xmlns="" id="{F829549F-F2BE-4BB9-8B0C-828C49D31A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18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9" name="Oval 2940">
                <a:extLst>
                  <a:ext uri="{FF2B5EF4-FFF2-40B4-BE49-F238E27FC236}">
                    <a16:creationId xmlns:a16="http://schemas.microsoft.com/office/drawing/2014/main" xmlns="" id="{4B3B6947-F4AB-4D53-BC65-92DCA034AC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9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0" name="Oval 2941">
                <a:extLst>
                  <a:ext uri="{FF2B5EF4-FFF2-40B4-BE49-F238E27FC236}">
                    <a16:creationId xmlns:a16="http://schemas.microsoft.com/office/drawing/2014/main" xmlns="" id="{75AE08F0-B66F-4659-8E4B-33663CF7ED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21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1" name="Oval 2942">
                <a:extLst>
                  <a:ext uri="{FF2B5EF4-FFF2-40B4-BE49-F238E27FC236}">
                    <a16:creationId xmlns:a16="http://schemas.microsoft.com/office/drawing/2014/main" xmlns="" id="{9BBEFD94-C246-4E4B-AFF0-CD04FB9FB7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2" name="Oval 2943">
                <a:extLst>
                  <a:ext uri="{FF2B5EF4-FFF2-40B4-BE49-F238E27FC236}">
                    <a16:creationId xmlns:a16="http://schemas.microsoft.com/office/drawing/2014/main" xmlns="" id="{5BF4AB5A-EEAD-4A78-8914-423590E777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3" name="Oval 2944">
                <a:extLst>
                  <a:ext uri="{FF2B5EF4-FFF2-40B4-BE49-F238E27FC236}">
                    <a16:creationId xmlns:a16="http://schemas.microsoft.com/office/drawing/2014/main" xmlns="" id="{E7B7B262-3A8C-43E4-BBD8-E84D7CABE4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4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4" name="Oval 2945">
                <a:extLst>
                  <a:ext uri="{FF2B5EF4-FFF2-40B4-BE49-F238E27FC236}">
                    <a16:creationId xmlns:a16="http://schemas.microsoft.com/office/drawing/2014/main" xmlns="" id="{EDB5F04B-AFDC-4419-A65D-1B5554F5E6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5" name="Oval 2946">
                <a:extLst>
                  <a:ext uri="{FF2B5EF4-FFF2-40B4-BE49-F238E27FC236}">
                    <a16:creationId xmlns:a16="http://schemas.microsoft.com/office/drawing/2014/main" xmlns="" id="{4248DD78-B065-44F8-A74C-CAB50F4124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6" name="Oval 2947">
                <a:extLst>
                  <a:ext uri="{FF2B5EF4-FFF2-40B4-BE49-F238E27FC236}">
                    <a16:creationId xmlns:a16="http://schemas.microsoft.com/office/drawing/2014/main" xmlns="" id="{2EEF27A6-421F-4D2A-A086-3CD0618C34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7" name="Oval 2948">
                <a:extLst>
                  <a:ext uri="{FF2B5EF4-FFF2-40B4-BE49-F238E27FC236}">
                    <a16:creationId xmlns:a16="http://schemas.microsoft.com/office/drawing/2014/main" xmlns="" id="{96194F9C-591C-4A2A-B9D8-3F9F61EB36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5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8" name="Oval 2949">
                <a:extLst>
                  <a:ext uri="{FF2B5EF4-FFF2-40B4-BE49-F238E27FC236}">
                    <a16:creationId xmlns:a16="http://schemas.microsoft.com/office/drawing/2014/main" xmlns="" id="{5023FF7E-BE81-4DCD-8A38-2B056F65B2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24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9" name="Oval 2950">
                <a:extLst>
                  <a:ext uri="{FF2B5EF4-FFF2-40B4-BE49-F238E27FC236}">
                    <a16:creationId xmlns:a16="http://schemas.microsoft.com/office/drawing/2014/main" xmlns="" id="{4B1E874A-AB47-48E2-B979-8133E40C1F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0" name="Oval 2951">
                <a:extLst>
                  <a:ext uri="{FF2B5EF4-FFF2-40B4-BE49-F238E27FC236}">
                    <a16:creationId xmlns:a16="http://schemas.microsoft.com/office/drawing/2014/main" xmlns="" id="{B0D0BBD4-18B2-4378-8041-C40D75EC37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1" name="Oval 2952">
                <a:extLst>
                  <a:ext uri="{FF2B5EF4-FFF2-40B4-BE49-F238E27FC236}">
                    <a16:creationId xmlns:a16="http://schemas.microsoft.com/office/drawing/2014/main" xmlns="" id="{AFAE9ABC-0507-406C-9330-B9EB354A44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2" name="Oval 2953">
                <a:extLst>
                  <a:ext uri="{FF2B5EF4-FFF2-40B4-BE49-F238E27FC236}">
                    <a16:creationId xmlns:a16="http://schemas.microsoft.com/office/drawing/2014/main" xmlns="" id="{560FDE4A-E135-4306-BAF1-278B18B6C0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3" name="Oval 2954">
                <a:extLst>
                  <a:ext uri="{FF2B5EF4-FFF2-40B4-BE49-F238E27FC236}">
                    <a16:creationId xmlns:a16="http://schemas.microsoft.com/office/drawing/2014/main" xmlns="" id="{9291E4A4-ABBC-4346-8083-E51324B02E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30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4" name="Oval 2955">
                <a:extLst>
                  <a:ext uri="{FF2B5EF4-FFF2-40B4-BE49-F238E27FC236}">
                    <a16:creationId xmlns:a16="http://schemas.microsoft.com/office/drawing/2014/main" xmlns="" id="{8C3D7A7F-921A-4743-91B6-84A97359C3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5" name="Oval 2956">
                <a:extLst>
                  <a:ext uri="{FF2B5EF4-FFF2-40B4-BE49-F238E27FC236}">
                    <a16:creationId xmlns:a16="http://schemas.microsoft.com/office/drawing/2014/main" xmlns="" id="{4248B621-6F0B-4EE2-A867-CC7F12AB66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6" name="Oval 2957">
                <a:extLst>
                  <a:ext uri="{FF2B5EF4-FFF2-40B4-BE49-F238E27FC236}">
                    <a16:creationId xmlns:a16="http://schemas.microsoft.com/office/drawing/2014/main" xmlns="" id="{EF1519CC-DA48-49C3-BDA1-B261CF84C1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7" name="Oval 2958">
                <a:extLst>
                  <a:ext uri="{FF2B5EF4-FFF2-40B4-BE49-F238E27FC236}">
                    <a16:creationId xmlns:a16="http://schemas.microsoft.com/office/drawing/2014/main" xmlns="" id="{3A65BF1B-D4A3-4695-B20F-070046F9C1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8" name="Oval 2959">
                <a:extLst>
                  <a:ext uri="{FF2B5EF4-FFF2-40B4-BE49-F238E27FC236}">
                    <a16:creationId xmlns:a16="http://schemas.microsoft.com/office/drawing/2014/main" xmlns="" id="{FAF6D771-4DA4-46DA-B8BA-B37182DFF6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9" name="Oval 2960">
                <a:extLst>
                  <a:ext uri="{FF2B5EF4-FFF2-40B4-BE49-F238E27FC236}">
                    <a16:creationId xmlns:a16="http://schemas.microsoft.com/office/drawing/2014/main" xmlns="" id="{57C175A7-63FC-423C-A3B5-A911C6954E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0" name="Oval 2961">
                <a:extLst>
                  <a:ext uri="{FF2B5EF4-FFF2-40B4-BE49-F238E27FC236}">
                    <a16:creationId xmlns:a16="http://schemas.microsoft.com/office/drawing/2014/main" xmlns="" id="{2AAD92E5-CAE6-4360-9382-FE0D004455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1" name="Oval 2962">
                <a:extLst>
                  <a:ext uri="{FF2B5EF4-FFF2-40B4-BE49-F238E27FC236}">
                    <a16:creationId xmlns:a16="http://schemas.microsoft.com/office/drawing/2014/main" xmlns="" id="{2E77C209-7EE6-468E-8785-175B3E0F7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30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2" name="Oval 2963">
                <a:extLst>
                  <a:ext uri="{FF2B5EF4-FFF2-40B4-BE49-F238E27FC236}">
                    <a16:creationId xmlns:a16="http://schemas.microsoft.com/office/drawing/2014/main" xmlns="" id="{F7402052-359B-4268-A8C2-A8FFC477B9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3" name="Oval 2964">
                <a:extLst>
                  <a:ext uri="{FF2B5EF4-FFF2-40B4-BE49-F238E27FC236}">
                    <a16:creationId xmlns:a16="http://schemas.microsoft.com/office/drawing/2014/main" xmlns="" id="{2DB17923-39CA-40B6-9A4A-4306222740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45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4" name="Oval 2965">
                <a:extLst>
                  <a:ext uri="{FF2B5EF4-FFF2-40B4-BE49-F238E27FC236}">
                    <a16:creationId xmlns:a16="http://schemas.microsoft.com/office/drawing/2014/main" xmlns="" id="{928009B1-DDE3-4AD5-A924-04DD98FD09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30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5" name="Oval 2966">
                <a:extLst>
                  <a:ext uri="{FF2B5EF4-FFF2-40B4-BE49-F238E27FC236}">
                    <a16:creationId xmlns:a16="http://schemas.microsoft.com/office/drawing/2014/main" xmlns="" id="{417302F4-2475-4E4A-B3C2-F31DB0C848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8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6" name="Oval 2967">
                <a:extLst>
                  <a:ext uri="{FF2B5EF4-FFF2-40B4-BE49-F238E27FC236}">
                    <a16:creationId xmlns:a16="http://schemas.microsoft.com/office/drawing/2014/main" xmlns="" id="{439E8F78-75DF-4D30-BE54-AC9B98F9E0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7" name="Oval 2968">
                <a:extLst>
                  <a:ext uri="{FF2B5EF4-FFF2-40B4-BE49-F238E27FC236}">
                    <a16:creationId xmlns:a16="http://schemas.microsoft.com/office/drawing/2014/main" xmlns="" id="{6CA48E93-94EF-4D7A-BCAB-C5F15F2195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264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8" name="Oval 2969">
                <a:extLst>
                  <a:ext uri="{FF2B5EF4-FFF2-40B4-BE49-F238E27FC236}">
                    <a16:creationId xmlns:a16="http://schemas.microsoft.com/office/drawing/2014/main" xmlns="" id="{34C1C4D3-D295-4BD2-84AC-C961EDE5F5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9" name="Oval 2970">
                <a:extLst>
                  <a:ext uri="{FF2B5EF4-FFF2-40B4-BE49-F238E27FC236}">
                    <a16:creationId xmlns:a16="http://schemas.microsoft.com/office/drawing/2014/main" xmlns="" id="{662EA6A7-4375-458E-87AA-4F15F87700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0" name="Oval 2971">
                <a:extLst>
                  <a:ext uri="{FF2B5EF4-FFF2-40B4-BE49-F238E27FC236}">
                    <a16:creationId xmlns:a16="http://schemas.microsoft.com/office/drawing/2014/main" xmlns="" id="{78471533-4705-47CE-A66B-A2306AC01A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24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1" name="Oval 2972">
                <a:extLst>
                  <a:ext uri="{FF2B5EF4-FFF2-40B4-BE49-F238E27FC236}">
                    <a16:creationId xmlns:a16="http://schemas.microsoft.com/office/drawing/2014/main" xmlns="" id="{9CFEDEAF-BF3D-4F52-9F00-1B75663FC3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2" name="Oval 2973">
                <a:extLst>
                  <a:ext uri="{FF2B5EF4-FFF2-40B4-BE49-F238E27FC236}">
                    <a16:creationId xmlns:a16="http://schemas.microsoft.com/office/drawing/2014/main" xmlns="" id="{A2DB9682-BBA0-4832-9C63-9FA40A04D8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3" name="Oval 2974">
                <a:extLst>
                  <a:ext uri="{FF2B5EF4-FFF2-40B4-BE49-F238E27FC236}">
                    <a16:creationId xmlns:a16="http://schemas.microsoft.com/office/drawing/2014/main" xmlns="" id="{AB09A07A-BC86-4BC4-A6A0-E14343CB7C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4" name="Oval 2975">
                <a:extLst>
                  <a:ext uri="{FF2B5EF4-FFF2-40B4-BE49-F238E27FC236}">
                    <a16:creationId xmlns:a16="http://schemas.microsoft.com/office/drawing/2014/main" xmlns="" id="{75C44ACB-D1C8-4FFB-AAC5-59796680C4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5" name="Oval 2976">
                <a:extLst>
                  <a:ext uri="{FF2B5EF4-FFF2-40B4-BE49-F238E27FC236}">
                    <a16:creationId xmlns:a16="http://schemas.microsoft.com/office/drawing/2014/main" xmlns="" id="{EF97FC4C-7F4A-498F-8EE4-E11CA9F83F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6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6" name="Oval 2977">
                <a:extLst>
                  <a:ext uri="{FF2B5EF4-FFF2-40B4-BE49-F238E27FC236}">
                    <a16:creationId xmlns:a16="http://schemas.microsoft.com/office/drawing/2014/main" xmlns="" id="{7004B5A2-4474-467F-B46A-7E4BBEDAD2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7" name="Oval 2978">
                <a:extLst>
                  <a:ext uri="{FF2B5EF4-FFF2-40B4-BE49-F238E27FC236}">
                    <a16:creationId xmlns:a16="http://schemas.microsoft.com/office/drawing/2014/main" xmlns="" id="{B3C38E0E-1651-4782-99D5-DA5A430E74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8" name="Oval 2979">
                <a:extLst>
                  <a:ext uri="{FF2B5EF4-FFF2-40B4-BE49-F238E27FC236}">
                    <a16:creationId xmlns:a16="http://schemas.microsoft.com/office/drawing/2014/main" xmlns="" id="{3982CDCF-659C-4248-BFBA-530C286176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9" name="Oval 2980">
                <a:extLst>
                  <a:ext uri="{FF2B5EF4-FFF2-40B4-BE49-F238E27FC236}">
                    <a16:creationId xmlns:a16="http://schemas.microsoft.com/office/drawing/2014/main" xmlns="" id="{066C74C9-9569-4AD9-9A84-038123AC7C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0" name="Oval 2981">
                <a:extLst>
                  <a:ext uri="{FF2B5EF4-FFF2-40B4-BE49-F238E27FC236}">
                    <a16:creationId xmlns:a16="http://schemas.microsoft.com/office/drawing/2014/main" xmlns="" id="{43F17E57-EFB2-4055-918B-0201A2CFC4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1" name="Oval 2982">
                <a:extLst>
                  <a:ext uri="{FF2B5EF4-FFF2-40B4-BE49-F238E27FC236}">
                    <a16:creationId xmlns:a16="http://schemas.microsoft.com/office/drawing/2014/main" xmlns="" id="{AE933B88-BE52-4EEB-893C-1F61DF22EE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607" name="Oval 2984">
              <a:extLst>
                <a:ext uri="{FF2B5EF4-FFF2-40B4-BE49-F238E27FC236}">
                  <a16:creationId xmlns:a16="http://schemas.microsoft.com/office/drawing/2014/main" xmlns="" id="{B310FD13-8104-414F-B319-F7EA9DB1B3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8" name="Oval 2985">
              <a:extLst>
                <a:ext uri="{FF2B5EF4-FFF2-40B4-BE49-F238E27FC236}">
                  <a16:creationId xmlns:a16="http://schemas.microsoft.com/office/drawing/2014/main" xmlns="" id="{7B09CB79-B807-4760-AF3D-EA8344139B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9" name="Oval 2986">
              <a:extLst>
                <a:ext uri="{FF2B5EF4-FFF2-40B4-BE49-F238E27FC236}">
                  <a16:creationId xmlns:a16="http://schemas.microsoft.com/office/drawing/2014/main" xmlns="" id="{06F24C27-6489-4388-B79B-702E2ECF2E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21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0" name="Oval 2987">
              <a:extLst>
                <a:ext uri="{FF2B5EF4-FFF2-40B4-BE49-F238E27FC236}">
                  <a16:creationId xmlns:a16="http://schemas.microsoft.com/office/drawing/2014/main" xmlns="" id="{E5F1D6B3-EF02-48EB-AE70-03B98F580B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6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1" name="Oval 2988">
              <a:extLst>
                <a:ext uri="{FF2B5EF4-FFF2-40B4-BE49-F238E27FC236}">
                  <a16:creationId xmlns:a16="http://schemas.microsoft.com/office/drawing/2014/main" xmlns="" id="{D3FD35A0-2ECB-4B5F-BD3D-9FE35E6FD2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6" y="198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2" name="Oval 2989">
              <a:extLst>
                <a:ext uri="{FF2B5EF4-FFF2-40B4-BE49-F238E27FC236}">
                  <a16:creationId xmlns:a16="http://schemas.microsoft.com/office/drawing/2014/main" xmlns="" id="{FE4B1BFF-475D-442A-A04D-DF933772D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6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3" name="Oval 2990">
              <a:extLst>
                <a:ext uri="{FF2B5EF4-FFF2-40B4-BE49-F238E27FC236}">
                  <a16:creationId xmlns:a16="http://schemas.microsoft.com/office/drawing/2014/main" xmlns="" id="{2B8C1CA5-7DA5-4AEE-BED3-17701AE6B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4" name="Oval 2991">
              <a:extLst>
                <a:ext uri="{FF2B5EF4-FFF2-40B4-BE49-F238E27FC236}">
                  <a16:creationId xmlns:a16="http://schemas.microsoft.com/office/drawing/2014/main" xmlns="" id="{CB01D10D-BF65-461B-85B6-DEC830AED2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17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5" name="Oval 2992">
              <a:extLst>
                <a:ext uri="{FF2B5EF4-FFF2-40B4-BE49-F238E27FC236}">
                  <a16:creationId xmlns:a16="http://schemas.microsoft.com/office/drawing/2014/main" xmlns="" id="{62E0AC6D-3937-4D80-B2D1-1AD035DFB4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5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6" name="Oval 2993">
              <a:extLst>
                <a:ext uri="{FF2B5EF4-FFF2-40B4-BE49-F238E27FC236}">
                  <a16:creationId xmlns:a16="http://schemas.microsoft.com/office/drawing/2014/main" xmlns="" id="{CA81E157-52E6-49A3-9E44-DC773CAA52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86" y="159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7" name="Oval 2994">
              <a:extLst>
                <a:ext uri="{FF2B5EF4-FFF2-40B4-BE49-F238E27FC236}">
                  <a16:creationId xmlns:a16="http://schemas.microsoft.com/office/drawing/2014/main" xmlns="" id="{C7752D20-A552-4BC0-AE66-A3173AAC2A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5" y="13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8" name="Oval 2995">
              <a:extLst>
                <a:ext uri="{FF2B5EF4-FFF2-40B4-BE49-F238E27FC236}">
                  <a16:creationId xmlns:a16="http://schemas.microsoft.com/office/drawing/2014/main" xmlns="" id="{D17B062A-C983-4CD1-9CC6-AF0A901C8E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9" name="Oval 2996">
              <a:extLst>
                <a:ext uri="{FF2B5EF4-FFF2-40B4-BE49-F238E27FC236}">
                  <a16:creationId xmlns:a16="http://schemas.microsoft.com/office/drawing/2014/main" xmlns="" id="{963DCA3B-884B-4FF4-8B17-9A7C270C2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14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0" name="Oval 2997">
              <a:extLst>
                <a:ext uri="{FF2B5EF4-FFF2-40B4-BE49-F238E27FC236}">
                  <a16:creationId xmlns:a16="http://schemas.microsoft.com/office/drawing/2014/main" xmlns="" id="{4D9F04F8-8241-4035-B3D1-FC9DD683D3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6" y="12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1" name="Oval 2998">
              <a:extLst>
                <a:ext uri="{FF2B5EF4-FFF2-40B4-BE49-F238E27FC236}">
                  <a16:creationId xmlns:a16="http://schemas.microsoft.com/office/drawing/2014/main" xmlns="" id="{FD0E6989-FEC9-4459-ADC6-021DCFEEC1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6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2" name="Oval 2999">
              <a:extLst>
                <a:ext uri="{FF2B5EF4-FFF2-40B4-BE49-F238E27FC236}">
                  <a16:creationId xmlns:a16="http://schemas.microsoft.com/office/drawing/2014/main" xmlns="" id="{5B17C7C8-E6E7-40C5-B6E9-6D0D2741FB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6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3" name="Oval 3000">
              <a:extLst>
                <a:ext uri="{FF2B5EF4-FFF2-40B4-BE49-F238E27FC236}">
                  <a16:creationId xmlns:a16="http://schemas.microsoft.com/office/drawing/2014/main" xmlns="" id="{7B16AB51-982A-4961-B8E1-6A9165C2D9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4" name="Oval 3001">
              <a:extLst>
                <a:ext uri="{FF2B5EF4-FFF2-40B4-BE49-F238E27FC236}">
                  <a16:creationId xmlns:a16="http://schemas.microsoft.com/office/drawing/2014/main" xmlns="" id="{775F59A4-EC3F-4C72-8810-7ED5EF4C2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6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5" name="Oval 3002">
              <a:extLst>
                <a:ext uri="{FF2B5EF4-FFF2-40B4-BE49-F238E27FC236}">
                  <a16:creationId xmlns:a16="http://schemas.microsoft.com/office/drawing/2014/main" xmlns="" id="{9582C577-A83F-4C5E-A2B1-E687F23B4C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6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6" name="Oval 3003">
              <a:extLst>
                <a:ext uri="{FF2B5EF4-FFF2-40B4-BE49-F238E27FC236}">
                  <a16:creationId xmlns:a16="http://schemas.microsoft.com/office/drawing/2014/main" xmlns="" id="{1C7C4A05-34BF-4021-AF89-E03B5FB9BF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6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7" name="Oval 3004">
              <a:extLst>
                <a:ext uri="{FF2B5EF4-FFF2-40B4-BE49-F238E27FC236}">
                  <a16:creationId xmlns:a16="http://schemas.microsoft.com/office/drawing/2014/main" xmlns="" id="{214190C0-5DDA-4336-86CF-FA2054AC5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19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8" name="Oval 3005">
              <a:extLst>
                <a:ext uri="{FF2B5EF4-FFF2-40B4-BE49-F238E27FC236}">
                  <a16:creationId xmlns:a16="http://schemas.microsoft.com/office/drawing/2014/main" xmlns="" id="{9E04DE5C-D63C-4433-95A9-47B0248E90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9" name="Oval 3006">
              <a:extLst>
                <a:ext uri="{FF2B5EF4-FFF2-40B4-BE49-F238E27FC236}">
                  <a16:creationId xmlns:a16="http://schemas.microsoft.com/office/drawing/2014/main" xmlns="" id="{81A3C943-78D7-4ED5-8815-130890FA2F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5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0" name="Oval 3007">
              <a:extLst>
                <a:ext uri="{FF2B5EF4-FFF2-40B4-BE49-F238E27FC236}">
                  <a16:creationId xmlns:a16="http://schemas.microsoft.com/office/drawing/2014/main" xmlns="" id="{241E86BD-4442-410A-AECB-EE0F12A1D1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1" name="Oval 3008">
              <a:extLst>
                <a:ext uri="{FF2B5EF4-FFF2-40B4-BE49-F238E27FC236}">
                  <a16:creationId xmlns:a16="http://schemas.microsoft.com/office/drawing/2014/main" xmlns="" id="{8CE4DC89-104A-47BD-8903-35CF05DCF9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2" name="Oval 3009">
              <a:extLst>
                <a:ext uri="{FF2B5EF4-FFF2-40B4-BE49-F238E27FC236}">
                  <a16:creationId xmlns:a16="http://schemas.microsoft.com/office/drawing/2014/main" xmlns="" id="{BB97E780-D427-4346-AD3D-E30564FA2C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3" name="Oval 3010">
              <a:extLst>
                <a:ext uri="{FF2B5EF4-FFF2-40B4-BE49-F238E27FC236}">
                  <a16:creationId xmlns:a16="http://schemas.microsoft.com/office/drawing/2014/main" xmlns="" id="{A7C60487-A107-4136-83E6-3568C9BB97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5" y="15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4" name="Oval 3011">
              <a:extLst>
                <a:ext uri="{FF2B5EF4-FFF2-40B4-BE49-F238E27FC236}">
                  <a16:creationId xmlns:a16="http://schemas.microsoft.com/office/drawing/2014/main" xmlns="" id="{0DC53904-9447-4CE7-BCD4-9ECCA48CF9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5" y="14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5" name="Oval 3012">
              <a:extLst>
                <a:ext uri="{FF2B5EF4-FFF2-40B4-BE49-F238E27FC236}">
                  <a16:creationId xmlns:a16="http://schemas.microsoft.com/office/drawing/2014/main" xmlns="" id="{11279C95-9CE3-48E7-8E49-A97AB42A95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5" y="15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6" name="Oval 3013">
              <a:extLst>
                <a:ext uri="{FF2B5EF4-FFF2-40B4-BE49-F238E27FC236}">
                  <a16:creationId xmlns:a16="http://schemas.microsoft.com/office/drawing/2014/main" xmlns="" id="{0C1A72B8-5CC7-4915-B504-E8397B983E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7" name="Oval 3014">
              <a:extLst>
                <a:ext uri="{FF2B5EF4-FFF2-40B4-BE49-F238E27FC236}">
                  <a16:creationId xmlns:a16="http://schemas.microsoft.com/office/drawing/2014/main" xmlns="" id="{461D233F-CB47-4762-8B8F-EDA320CB22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8" name="Oval 3015">
              <a:extLst>
                <a:ext uri="{FF2B5EF4-FFF2-40B4-BE49-F238E27FC236}">
                  <a16:creationId xmlns:a16="http://schemas.microsoft.com/office/drawing/2014/main" xmlns="" id="{816540C4-086E-4A36-8496-2241D7B4B7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5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9" name="Oval 3016">
              <a:extLst>
                <a:ext uri="{FF2B5EF4-FFF2-40B4-BE49-F238E27FC236}">
                  <a16:creationId xmlns:a16="http://schemas.microsoft.com/office/drawing/2014/main" xmlns="" id="{9F68BDEC-8383-44EF-9D0F-55091A101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0" name="Oval 3017">
              <a:extLst>
                <a:ext uri="{FF2B5EF4-FFF2-40B4-BE49-F238E27FC236}">
                  <a16:creationId xmlns:a16="http://schemas.microsoft.com/office/drawing/2014/main" xmlns="" id="{142F5190-7A67-4279-BB00-ECC0774409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1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1" name="Oval 3018">
              <a:extLst>
                <a:ext uri="{FF2B5EF4-FFF2-40B4-BE49-F238E27FC236}">
                  <a16:creationId xmlns:a16="http://schemas.microsoft.com/office/drawing/2014/main" xmlns="" id="{86761E9B-2345-4654-AA6A-392A9592B1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2" name="Oval 3019">
              <a:extLst>
                <a:ext uri="{FF2B5EF4-FFF2-40B4-BE49-F238E27FC236}">
                  <a16:creationId xmlns:a16="http://schemas.microsoft.com/office/drawing/2014/main" xmlns="" id="{5CF505DD-767B-4EE7-A1C7-345A097388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3" name="Oval 3020">
              <a:extLst>
                <a:ext uri="{FF2B5EF4-FFF2-40B4-BE49-F238E27FC236}">
                  <a16:creationId xmlns:a16="http://schemas.microsoft.com/office/drawing/2014/main" xmlns="" id="{7A7C6960-11BA-49C5-83F4-5544D3FE0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4" name="Oval 3021">
              <a:extLst>
                <a:ext uri="{FF2B5EF4-FFF2-40B4-BE49-F238E27FC236}">
                  <a16:creationId xmlns:a16="http://schemas.microsoft.com/office/drawing/2014/main" xmlns="" id="{A299362F-C77E-4FFB-A8B0-FDC3F28605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5" name="Oval 3022">
              <a:extLst>
                <a:ext uri="{FF2B5EF4-FFF2-40B4-BE49-F238E27FC236}">
                  <a16:creationId xmlns:a16="http://schemas.microsoft.com/office/drawing/2014/main" xmlns="" id="{4BEDAAB5-5C09-4E1D-8729-835628027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5" y="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6" name="Oval 3023">
              <a:extLst>
                <a:ext uri="{FF2B5EF4-FFF2-40B4-BE49-F238E27FC236}">
                  <a16:creationId xmlns:a16="http://schemas.microsoft.com/office/drawing/2014/main" xmlns="" id="{6666CEA9-89D6-40AD-93F4-CE0FC35CC2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" y="3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7" name="Oval 3024">
              <a:extLst>
                <a:ext uri="{FF2B5EF4-FFF2-40B4-BE49-F238E27FC236}">
                  <a16:creationId xmlns:a16="http://schemas.microsoft.com/office/drawing/2014/main" xmlns="" id="{C3961067-103E-4E0D-B62E-0C2687DDC3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8" name="Oval 3025">
              <a:extLst>
                <a:ext uri="{FF2B5EF4-FFF2-40B4-BE49-F238E27FC236}">
                  <a16:creationId xmlns:a16="http://schemas.microsoft.com/office/drawing/2014/main" xmlns="" id="{FF98C343-8784-40FA-9ABE-B7FFD3388F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4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9" name="Oval 3026">
              <a:extLst>
                <a:ext uri="{FF2B5EF4-FFF2-40B4-BE49-F238E27FC236}">
                  <a16:creationId xmlns:a16="http://schemas.microsoft.com/office/drawing/2014/main" xmlns="" id="{104C7E08-5D88-4B56-BECF-4ED5F6233A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0" name="Oval 3027">
              <a:extLst>
                <a:ext uri="{FF2B5EF4-FFF2-40B4-BE49-F238E27FC236}">
                  <a16:creationId xmlns:a16="http://schemas.microsoft.com/office/drawing/2014/main" xmlns="" id="{84015CAC-FBF9-495E-A11D-8C75D0783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5" y="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1" name="Oval 3028">
              <a:extLst>
                <a:ext uri="{FF2B5EF4-FFF2-40B4-BE49-F238E27FC236}">
                  <a16:creationId xmlns:a16="http://schemas.microsoft.com/office/drawing/2014/main" xmlns="" id="{3D465E52-FFB8-4111-89BC-FCABEEE84B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2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2" name="Oval 3029">
              <a:extLst>
                <a:ext uri="{FF2B5EF4-FFF2-40B4-BE49-F238E27FC236}">
                  <a16:creationId xmlns:a16="http://schemas.microsoft.com/office/drawing/2014/main" xmlns="" id="{80220D5E-E3C9-4FF0-8C4F-0F40F3B817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3" name="Oval 3030">
              <a:extLst>
                <a:ext uri="{FF2B5EF4-FFF2-40B4-BE49-F238E27FC236}">
                  <a16:creationId xmlns:a16="http://schemas.microsoft.com/office/drawing/2014/main" xmlns="" id="{8BAB14B7-2A0B-4868-A36B-DC4C7D9138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4" name="Oval 3031">
              <a:extLst>
                <a:ext uri="{FF2B5EF4-FFF2-40B4-BE49-F238E27FC236}">
                  <a16:creationId xmlns:a16="http://schemas.microsoft.com/office/drawing/2014/main" xmlns="" id="{ACAB0E9A-24DD-42E5-91A3-695962550F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3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5" name="Oval 3032">
              <a:extLst>
                <a:ext uri="{FF2B5EF4-FFF2-40B4-BE49-F238E27FC236}">
                  <a16:creationId xmlns:a16="http://schemas.microsoft.com/office/drawing/2014/main" xmlns="" id="{0B81CDA6-BE68-46F6-BE97-82E3963038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2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6" name="Oval 3033">
              <a:extLst>
                <a:ext uri="{FF2B5EF4-FFF2-40B4-BE49-F238E27FC236}">
                  <a16:creationId xmlns:a16="http://schemas.microsoft.com/office/drawing/2014/main" xmlns="" id="{6A5375A0-DF24-40B6-A850-2D3F3539F5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4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7" name="Oval 3034">
              <a:extLst>
                <a:ext uri="{FF2B5EF4-FFF2-40B4-BE49-F238E27FC236}">
                  <a16:creationId xmlns:a16="http://schemas.microsoft.com/office/drawing/2014/main" xmlns="" id="{61B510F5-2264-46A8-8173-B1BB5D1A72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6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8" name="Oval 3035">
              <a:extLst>
                <a:ext uri="{FF2B5EF4-FFF2-40B4-BE49-F238E27FC236}">
                  <a16:creationId xmlns:a16="http://schemas.microsoft.com/office/drawing/2014/main" xmlns="" id="{DC826A6B-CF7A-4EFF-B872-C2241C03B7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4" y="7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9" name="Oval 3036">
              <a:extLst>
                <a:ext uri="{FF2B5EF4-FFF2-40B4-BE49-F238E27FC236}">
                  <a16:creationId xmlns:a16="http://schemas.microsoft.com/office/drawing/2014/main" xmlns="" id="{D776AC49-7687-4DCA-9322-F2413F2A5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9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0" name="Oval 3037">
              <a:extLst>
                <a:ext uri="{FF2B5EF4-FFF2-40B4-BE49-F238E27FC236}">
                  <a16:creationId xmlns:a16="http://schemas.microsoft.com/office/drawing/2014/main" xmlns="" id="{CC039493-FE8D-4AA8-8FAC-9A7BA3C21D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0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1" name="Oval 3038">
              <a:extLst>
                <a:ext uri="{FF2B5EF4-FFF2-40B4-BE49-F238E27FC236}">
                  <a16:creationId xmlns:a16="http://schemas.microsoft.com/office/drawing/2014/main" xmlns="" id="{D4340834-F1B1-4821-9964-DEAD910C77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2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2" name="Oval 3039">
              <a:extLst>
                <a:ext uri="{FF2B5EF4-FFF2-40B4-BE49-F238E27FC236}">
                  <a16:creationId xmlns:a16="http://schemas.microsoft.com/office/drawing/2014/main" xmlns="" id="{CCBC0F96-1B57-4A6B-A142-19A3275808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3" name="Oval 3040">
              <a:extLst>
                <a:ext uri="{FF2B5EF4-FFF2-40B4-BE49-F238E27FC236}">
                  <a16:creationId xmlns:a16="http://schemas.microsoft.com/office/drawing/2014/main" xmlns="" id="{7B3F753C-B01D-4660-B855-928AE3C00C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4" y="9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4" name="Oval 3041">
              <a:extLst>
                <a:ext uri="{FF2B5EF4-FFF2-40B4-BE49-F238E27FC236}">
                  <a16:creationId xmlns:a16="http://schemas.microsoft.com/office/drawing/2014/main" xmlns="" id="{5BBDF909-44F5-4F08-8712-F94071DEA1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5" name="Oval 3042">
              <a:extLst>
                <a:ext uri="{FF2B5EF4-FFF2-40B4-BE49-F238E27FC236}">
                  <a16:creationId xmlns:a16="http://schemas.microsoft.com/office/drawing/2014/main" xmlns="" id="{43146686-50AB-49C4-9121-25FE65B281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10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6" name="Oval 3043">
              <a:extLst>
                <a:ext uri="{FF2B5EF4-FFF2-40B4-BE49-F238E27FC236}">
                  <a16:creationId xmlns:a16="http://schemas.microsoft.com/office/drawing/2014/main" xmlns="" id="{A596A95B-0678-4B0C-AD88-83E21D7185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10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7" name="Oval 3044">
              <a:extLst>
                <a:ext uri="{FF2B5EF4-FFF2-40B4-BE49-F238E27FC236}">
                  <a16:creationId xmlns:a16="http://schemas.microsoft.com/office/drawing/2014/main" xmlns="" id="{96E4D5DA-5305-4409-83A3-7D4F266971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11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8" name="Oval 3045">
              <a:extLst>
                <a:ext uri="{FF2B5EF4-FFF2-40B4-BE49-F238E27FC236}">
                  <a16:creationId xmlns:a16="http://schemas.microsoft.com/office/drawing/2014/main" xmlns="" id="{87151FD1-900E-44FB-A98B-7732C7C0AB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2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9" name="Oval 3046">
              <a:extLst>
                <a:ext uri="{FF2B5EF4-FFF2-40B4-BE49-F238E27FC236}">
                  <a16:creationId xmlns:a16="http://schemas.microsoft.com/office/drawing/2014/main" xmlns="" id="{C58E9B85-0297-4A30-8978-B09B6FAAAA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0" name="Oval 3047">
              <a:extLst>
                <a:ext uri="{FF2B5EF4-FFF2-40B4-BE49-F238E27FC236}">
                  <a16:creationId xmlns:a16="http://schemas.microsoft.com/office/drawing/2014/main" xmlns="" id="{4F7F30BD-8F75-4D7D-8EF2-B215F56BD8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4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1" name="Oval 3048">
              <a:extLst>
                <a:ext uri="{FF2B5EF4-FFF2-40B4-BE49-F238E27FC236}">
                  <a16:creationId xmlns:a16="http://schemas.microsoft.com/office/drawing/2014/main" xmlns="" id="{EB7D61B2-CFAA-4354-BA8D-BB42BEF2CA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2" name="Oval 3049">
              <a:extLst>
                <a:ext uri="{FF2B5EF4-FFF2-40B4-BE49-F238E27FC236}">
                  <a16:creationId xmlns:a16="http://schemas.microsoft.com/office/drawing/2014/main" xmlns="" id="{E86DD210-FE77-49D6-9A8B-0B9C554710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3" name="Oval 3050">
              <a:extLst>
                <a:ext uri="{FF2B5EF4-FFF2-40B4-BE49-F238E27FC236}">
                  <a16:creationId xmlns:a16="http://schemas.microsoft.com/office/drawing/2014/main" xmlns="" id="{AE391646-EFC3-40F1-B1F2-1EFC496AB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4" name="Oval 3051">
              <a:extLst>
                <a:ext uri="{FF2B5EF4-FFF2-40B4-BE49-F238E27FC236}">
                  <a16:creationId xmlns:a16="http://schemas.microsoft.com/office/drawing/2014/main" xmlns="" id="{8C2DD63E-26A0-48CC-9460-C97AFB20D9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8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5" name="Oval 3052">
              <a:extLst>
                <a:ext uri="{FF2B5EF4-FFF2-40B4-BE49-F238E27FC236}">
                  <a16:creationId xmlns:a16="http://schemas.microsoft.com/office/drawing/2014/main" xmlns="" id="{FB21D351-1D70-4375-867D-7B490F843D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6" name="Oval 3053">
              <a:extLst>
                <a:ext uri="{FF2B5EF4-FFF2-40B4-BE49-F238E27FC236}">
                  <a16:creationId xmlns:a16="http://schemas.microsoft.com/office/drawing/2014/main" xmlns="" id="{219FE068-3072-4226-8167-336263DC97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5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7" name="Oval 3054">
              <a:extLst>
                <a:ext uri="{FF2B5EF4-FFF2-40B4-BE49-F238E27FC236}">
                  <a16:creationId xmlns:a16="http://schemas.microsoft.com/office/drawing/2014/main" xmlns="" id="{D447D7F8-77A4-4361-A673-F25662C19E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14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8" name="Oval 3055">
              <a:extLst>
                <a:ext uri="{FF2B5EF4-FFF2-40B4-BE49-F238E27FC236}">
                  <a16:creationId xmlns:a16="http://schemas.microsoft.com/office/drawing/2014/main" xmlns="" id="{5161D2A6-E5EB-4093-B915-BBEC4FDD14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9" name="Oval 3056">
              <a:extLst>
                <a:ext uri="{FF2B5EF4-FFF2-40B4-BE49-F238E27FC236}">
                  <a16:creationId xmlns:a16="http://schemas.microsoft.com/office/drawing/2014/main" xmlns="" id="{461A7FD2-4B63-44B0-AE56-A379D9B958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0" name="Oval 3057">
              <a:extLst>
                <a:ext uri="{FF2B5EF4-FFF2-40B4-BE49-F238E27FC236}">
                  <a16:creationId xmlns:a16="http://schemas.microsoft.com/office/drawing/2014/main" xmlns="" id="{A1CC5DA8-E610-4C7E-B25B-4620F8EAA3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4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1" name="Oval 3058">
              <a:extLst>
                <a:ext uri="{FF2B5EF4-FFF2-40B4-BE49-F238E27FC236}">
                  <a16:creationId xmlns:a16="http://schemas.microsoft.com/office/drawing/2014/main" xmlns="" id="{B5E4578F-D687-42A9-8DA3-0EA0F7DCD9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12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2" name="Oval 3059">
              <a:extLst>
                <a:ext uri="{FF2B5EF4-FFF2-40B4-BE49-F238E27FC236}">
                  <a16:creationId xmlns:a16="http://schemas.microsoft.com/office/drawing/2014/main" xmlns="" id="{B640CD62-3349-425D-A54E-2D026B98B6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5" y="12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3" name="Oval 3060">
              <a:extLst>
                <a:ext uri="{FF2B5EF4-FFF2-40B4-BE49-F238E27FC236}">
                  <a16:creationId xmlns:a16="http://schemas.microsoft.com/office/drawing/2014/main" xmlns="" id="{6ACFA51A-B1DB-4C78-841F-061585FDE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4" name="Oval 3061">
              <a:extLst>
                <a:ext uri="{FF2B5EF4-FFF2-40B4-BE49-F238E27FC236}">
                  <a16:creationId xmlns:a16="http://schemas.microsoft.com/office/drawing/2014/main" xmlns="" id="{33307EF6-8529-44B5-B304-D59D5260E6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5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5" name="Oval 3062">
              <a:extLst>
                <a:ext uri="{FF2B5EF4-FFF2-40B4-BE49-F238E27FC236}">
                  <a16:creationId xmlns:a16="http://schemas.microsoft.com/office/drawing/2014/main" xmlns="" id="{E3E45E8C-B6C8-4044-AC67-1784FB063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1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6" name="Oval 3063">
              <a:extLst>
                <a:ext uri="{FF2B5EF4-FFF2-40B4-BE49-F238E27FC236}">
                  <a16:creationId xmlns:a16="http://schemas.microsoft.com/office/drawing/2014/main" xmlns="" id="{FC7AFD9E-5FA0-4B2A-9E45-90984FA0B9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8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7" name="Oval 3064">
              <a:extLst>
                <a:ext uri="{FF2B5EF4-FFF2-40B4-BE49-F238E27FC236}">
                  <a16:creationId xmlns:a16="http://schemas.microsoft.com/office/drawing/2014/main" xmlns="" id="{60F9ADC8-6FAA-470B-B05E-4347418362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5" y="159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8" name="Oval 3065">
              <a:extLst>
                <a:ext uri="{FF2B5EF4-FFF2-40B4-BE49-F238E27FC236}">
                  <a16:creationId xmlns:a16="http://schemas.microsoft.com/office/drawing/2014/main" xmlns="" id="{8EBA26E3-73C9-4531-BB7E-FA8EAD4ACB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12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9" name="Oval 3066">
              <a:extLst>
                <a:ext uri="{FF2B5EF4-FFF2-40B4-BE49-F238E27FC236}">
                  <a16:creationId xmlns:a16="http://schemas.microsoft.com/office/drawing/2014/main" xmlns="" id="{31E82EA7-443C-4A2B-8F37-498AD82100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9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0" name="Oval 3067">
              <a:extLst>
                <a:ext uri="{FF2B5EF4-FFF2-40B4-BE49-F238E27FC236}">
                  <a16:creationId xmlns:a16="http://schemas.microsoft.com/office/drawing/2014/main" xmlns="" id="{5EEF1AB7-8A72-4852-86E9-099B1D2B9A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0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1" name="Oval 3068">
              <a:extLst>
                <a:ext uri="{FF2B5EF4-FFF2-40B4-BE49-F238E27FC236}">
                  <a16:creationId xmlns:a16="http://schemas.microsoft.com/office/drawing/2014/main" xmlns="" id="{F8CE69D3-8147-4B43-BBD7-40B787216D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0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2" name="Oval 3069">
              <a:extLst>
                <a:ext uri="{FF2B5EF4-FFF2-40B4-BE49-F238E27FC236}">
                  <a16:creationId xmlns:a16="http://schemas.microsoft.com/office/drawing/2014/main" xmlns="" id="{A606068B-AD19-478D-B7AD-6B7C73CD1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9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3" name="Oval 3070">
              <a:extLst>
                <a:ext uri="{FF2B5EF4-FFF2-40B4-BE49-F238E27FC236}">
                  <a16:creationId xmlns:a16="http://schemas.microsoft.com/office/drawing/2014/main" xmlns="" id="{321B20D4-A361-45BA-ACA3-C4D41D4A18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4" name="Oval 3071">
              <a:extLst>
                <a:ext uri="{FF2B5EF4-FFF2-40B4-BE49-F238E27FC236}">
                  <a16:creationId xmlns:a16="http://schemas.microsoft.com/office/drawing/2014/main" xmlns="" id="{3B1BA6E6-5347-4F13-A1A1-A487ED57F7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5" y="8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5" name="Oval 3072">
              <a:extLst>
                <a:ext uri="{FF2B5EF4-FFF2-40B4-BE49-F238E27FC236}">
                  <a16:creationId xmlns:a16="http://schemas.microsoft.com/office/drawing/2014/main" xmlns="" id="{62137C6A-F579-4CB2-A834-BD3C2E40FE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6" name="Oval 3073">
              <a:extLst>
                <a:ext uri="{FF2B5EF4-FFF2-40B4-BE49-F238E27FC236}">
                  <a16:creationId xmlns:a16="http://schemas.microsoft.com/office/drawing/2014/main" xmlns="" id="{EE76FAE0-EE8D-48CE-80D5-4F28CED128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8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7" name="Oval 3074">
              <a:extLst>
                <a:ext uri="{FF2B5EF4-FFF2-40B4-BE49-F238E27FC236}">
                  <a16:creationId xmlns:a16="http://schemas.microsoft.com/office/drawing/2014/main" xmlns="" id="{5804C624-E8AF-4796-A2D1-5FCD387BDF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6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8" name="Oval 3075">
              <a:extLst>
                <a:ext uri="{FF2B5EF4-FFF2-40B4-BE49-F238E27FC236}">
                  <a16:creationId xmlns:a16="http://schemas.microsoft.com/office/drawing/2014/main" xmlns="" id="{46364144-C139-46E2-BF8B-1E95ABE729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5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9" name="Oval 3076">
              <a:extLst>
                <a:ext uri="{FF2B5EF4-FFF2-40B4-BE49-F238E27FC236}">
                  <a16:creationId xmlns:a16="http://schemas.microsoft.com/office/drawing/2014/main" xmlns="" id="{492A8816-23B4-4612-9589-47443CE4B5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4" y="4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0" name="Oval 3077">
              <a:extLst>
                <a:ext uri="{FF2B5EF4-FFF2-40B4-BE49-F238E27FC236}">
                  <a16:creationId xmlns:a16="http://schemas.microsoft.com/office/drawing/2014/main" xmlns="" id="{BDDDF3C2-81C9-48FE-B5BA-419ED8C9F2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4" y="6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1" name="Oval 3078">
              <a:extLst>
                <a:ext uri="{FF2B5EF4-FFF2-40B4-BE49-F238E27FC236}">
                  <a16:creationId xmlns:a16="http://schemas.microsoft.com/office/drawing/2014/main" xmlns="" id="{7C5B4B53-FAE3-473F-9AA0-E5A3C55FE5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4" y="8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2" name="Oval 3079">
              <a:extLst>
                <a:ext uri="{FF2B5EF4-FFF2-40B4-BE49-F238E27FC236}">
                  <a16:creationId xmlns:a16="http://schemas.microsoft.com/office/drawing/2014/main" xmlns="" id="{E5F49272-435D-4D7D-B853-A096FDD8DE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7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3" name="Oval 3080">
              <a:extLst>
                <a:ext uri="{FF2B5EF4-FFF2-40B4-BE49-F238E27FC236}">
                  <a16:creationId xmlns:a16="http://schemas.microsoft.com/office/drawing/2014/main" xmlns="" id="{810A574F-D2D2-4813-B8F2-1819C43290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4" name="Oval 3081">
              <a:extLst>
                <a:ext uri="{FF2B5EF4-FFF2-40B4-BE49-F238E27FC236}">
                  <a16:creationId xmlns:a16="http://schemas.microsoft.com/office/drawing/2014/main" xmlns="" id="{17DCBE32-5B94-45FE-BF86-88DAE6E280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13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5" name="Oval 3082">
              <a:extLst>
                <a:ext uri="{FF2B5EF4-FFF2-40B4-BE49-F238E27FC236}">
                  <a16:creationId xmlns:a16="http://schemas.microsoft.com/office/drawing/2014/main" xmlns="" id="{67A16FF7-8088-45AB-AF27-640C51C498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13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6" name="Oval 3083">
              <a:extLst>
                <a:ext uri="{FF2B5EF4-FFF2-40B4-BE49-F238E27FC236}">
                  <a16:creationId xmlns:a16="http://schemas.microsoft.com/office/drawing/2014/main" xmlns="" id="{6D6A2322-CF8D-468D-A53F-4443487571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4" y="15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7" name="Oval 3084">
              <a:extLst>
                <a:ext uri="{FF2B5EF4-FFF2-40B4-BE49-F238E27FC236}">
                  <a16:creationId xmlns:a16="http://schemas.microsoft.com/office/drawing/2014/main" xmlns="" id="{E7909EA4-8AE0-4865-A736-83AD218E1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4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8" name="Oval 3085">
              <a:extLst>
                <a:ext uri="{FF2B5EF4-FFF2-40B4-BE49-F238E27FC236}">
                  <a16:creationId xmlns:a16="http://schemas.microsoft.com/office/drawing/2014/main" xmlns="" id="{17C8FCC0-348C-4B4F-94BE-280DE55B2C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9" name="Oval 3086">
              <a:extLst>
                <a:ext uri="{FF2B5EF4-FFF2-40B4-BE49-F238E27FC236}">
                  <a16:creationId xmlns:a16="http://schemas.microsoft.com/office/drawing/2014/main" xmlns="" id="{13559A23-D408-4E7B-A1EA-255D6F8AB9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0" name="Oval 3087">
              <a:extLst>
                <a:ext uri="{FF2B5EF4-FFF2-40B4-BE49-F238E27FC236}">
                  <a16:creationId xmlns:a16="http://schemas.microsoft.com/office/drawing/2014/main" xmlns="" id="{D0BD3322-8672-4FD5-8454-EBA23C648D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1" name="Oval 3088">
              <a:extLst>
                <a:ext uri="{FF2B5EF4-FFF2-40B4-BE49-F238E27FC236}">
                  <a16:creationId xmlns:a16="http://schemas.microsoft.com/office/drawing/2014/main" xmlns="" id="{DB4AE540-74CC-4A2E-BE76-BC061D102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2" name="Oval 3089">
              <a:extLst>
                <a:ext uri="{FF2B5EF4-FFF2-40B4-BE49-F238E27FC236}">
                  <a16:creationId xmlns:a16="http://schemas.microsoft.com/office/drawing/2014/main" xmlns="" id="{4E0EB6B6-5FA7-4730-88B1-80255CB051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9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3" name="Oval 3090">
              <a:extLst>
                <a:ext uri="{FF2B5EF4-FFF2-40B4-BE49-F238E27FC236}">
                  <a16:creationId xmlns:a16="http://schemas.microsoft.com/office/drawing/2014/main" xmlns="" id="{A9BA1F96-500B-4E36-8AA8-147380D4B5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20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4" name="Oval 3091">
              <a:extLst>
                <a:ext uri="{FF2B5EF4-FFF2-40B4-BE49-F238E27FC236}">
                  <a16:creationId xmlns:a16="http://schemas.microsoft.com/office/drawing/2014/main" xmlns="" id="{4810616B-D730-4CF5-B545-5E161D77CE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5" name="Oval 3092">
              <a:extLst>
                <a:ext uri="{FF2B5EF4-FFF2-40B4-BE49-F238E27FC236}">
                  <a16:creationId xmlns:a16="http://schemas.microsoft.com/office/drawing/2014/main" xmlns="" id="{0760CD4D-8D73-4F27-A9E6-FDAAE8CA26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3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6" name="Oval 3093">
              <a:extLst>
                <a:ext uri="{FF2B5EF4-FFF2-40B4-BE49-F238E27FC236}">
                  <a16:creationId xmlns:a16="http://schemas.microsoft.com/office/drawing/2014/main" xmlns="" id="{6126C524-B836-4044-965D-F6736E6D95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24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7" name="Oval 3094">
              <a:extLst>
                <a:ext uri="{FF2B5EF4-FFF2-40B4-BE49-F238E27FC236}">
                  <a16:creationId xmlns:a16="http://schemas.microsoft.com/office/drawing/2014/main" xmlns="" id="{9ED4A760-075D-4BCF-92DC-8DFE91BC7C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24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8" name="Oval 3095">
              <a:extLst>
                <a:ext uri="{FF2B5EF4-FFF2-40B4-BE49-F238E27FC236}">
                  <a16:creationId xmlns:a16="http://schemas.microsoft.com/office/drawing/2014/main" xmlns="" id="{B14114AE-51AC-4A86-A759-ED51CA5F00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5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9" name="Oval 3096">
              <a:extLst>
                <a:ext uri="{FF2B5EF4-FFF2-40B4-BE49-F238E27FC236}">
                  <a16:creationId xmlns:a16="http://schemas.microsoft.com/office/drawing/2014/main" xmlns="" id="{FC64DDE5-BC18-4B59-910A-692F9ED2E5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26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0" name="Oval 3097">
              <a:extLst>
                <a:ext uri="{FF2B5EF4-FFF2-40B4-BE49-F238E27FC236}">
                  <a16:creationId xmlns:a16="http://schemas.microsoft.com/office/drawing/2014/main" xmlns="" id="{7E9F26B3-E632-40D2-A790-633F14986F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7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1" name="Oval 3098">
              <a:extLst>
                <a:ext uri="{FF2B5EF4-FFF2-40B4-BE49-F238E27FC236}">
                  <a16:creationId xmlns:a16="http://schemas.microsoft.com/office/drawing/2014/main" xmlns="" id="{92DF911C-245A-43C7-9D5F-2F1990CB0B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7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2" name="Oval 3099">
              <a:extLst>
                <a:ext uri="{FF2B5EF4-FFF2-40B4-BE49-F238E27FC236}">
                  <a16:creationId xmlns:a16="http://schemas.microsoft.com/office/drawing/2014/main" xmlns="" id="{52EACC82-023A-45E1-9288-5126924F5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3" name="Oval 3100">
              <a:extLst>
                <a:ext uri="{FF2B5EF4-FFF2-40B4-BE49-F238E27FC236}">
                  <a16:creationId xmlns:a16="http://schemas.microsoft.com/office/drawing/2014/main" xmlns="" id="{9BAFA051-63F0-4A00-BD37-C149858AC4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30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4" name="Oval 3101">
              <a:extLst>
                <a:ext uri="{FF2B5EF4-FFF2-40B4-BE49-F238E27FC236}">
                  <a16:creationId xmlns:a16="http://schemas.microsoft.com/office/drawing/2014/main" xmlns="" id="{5CAAA34A-62F4-4CED-B8B5-39BA8B4AF6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29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5" name="Oval 3102">
              <a:extLst>
                <a:ext uri="{FF2B5EF4-FFF2-40B4-BE49-F238E27FC236}">
                  <a16:creationId xmlns:a16="http://schemas.microsoft.com/office/drawing/2014/main" xmlns="" id="{C6C64E70-75A4-4F45-8D97-5F1D0FA87B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30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6" name="Oval 3103">
              <a:extLst>
                <a:ext uri="{FF2B5EF4-FFF2-40B4-BE49-F238E27FC236}">
                  <a16:creationId xmlns:a16="http://schemas.microsoft.com/office/drawing/2014/main" xmlns="" id="{F1AD139B-ECE0-4D54-92EA-352615593F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7" name="Oval 3104">
              <a:extLst>
                <a:ext uri="{FF2B5EF4-FFF2-40B4-BE49-F238E27FC236}">
                  <a16:creationId xmlns:a16="http://schemas.microsoft.com/office/drawing/2014/main" xmlns="" id="{FECDB099-9C83-4254-A18D-81110A5F63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7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8" name="Oval 3105">
              <a:extLst>
                <a:ext uri="{FF2B5EF4-FFF2-40B4-BE49-F238E27FC236}">
                  <a16:creationId xmlns:a16="http://schemas.microsoft.com/office/drawing/2014/main" xmlns="" id="{48491760-D022-4151-88A7-685571CB9D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9" name="Oval 3106">
              <a:extLst>
                <a:ext uri="{FF2B5EF4-FFF2-40B4-BE49-F238E27FC236}">
                  <a16:creationId xmlns:a16="http://schemas.microsoft.com/office/drawing/2014/main" xmlns="" id="{E177A318-59F9-4DE0-86DA-8AD8703459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4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0" name="Oval 3107">
              <a:extLst>
                <a:ext uri="{FF2B5EF4-FFF2-40B4-BE49-F238E27FC236}">
                  <a16:creationId xmlns:a16="http://schemas.microsoft.com/office/drawing/2014/main" xmlns="" id="{97554C76-4725-4176-A5E0-FA59E5D7A0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1" name="Oval 3108">
              <a:extLst>
                <a:ext uri="{FF2B5EF4-FFF2-40B4-BE49-F238E27FC236}">
                  <a16:creationId xmlns:a16="http://schemas.microsoft.com/office/drawing/2014/main" xmlns="" id="{AB3C0DC0-F573-4608-BA38-E424E78E64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2" name="Oval 3109">
              <a:extLst>
                <a:ext uri="{FF2B5EF4-FFF2-40B4-BE49-F238E27FC236}">
                  <a16:creationId xmlns:a16="http://schemas.microsoft.com/office/drawing/2014/main" xmlns="" id="{D1F9DF7E-ADEB-4039-8F6E-2242827FEB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3" name="Oval 3110">
              <a:extLst>
                <a:ext uri="{FF2B5EF4-FFF2-40B4-BE49-F238E27FC236}">
                  <a16:creationId xmlns:a16="http://schemas.microsoft.com/office/drawing/2014/main" xmlns="" id="{45DD3D4F-1BD7-4A8D-A23E-F27A13F331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4" name="Oval 3111">
              <a:extLst>
                <a:ext uri="{FF2B5EF4-FFF2-40B4-BE49-F238E27FC236}">
                  <a16:creationId xmlns:a16="http://schemas.microsoft.com/office/drawing/2014/main" xmlns="" id="{2A12949F-61C9-437A-815F-F780017A89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5" name="Oval 3112">
              <a:extLst>
                <a:ext uri="{FF2B5EF4-FFF2-40B4-BE49-F238E27FC236}">
                  <a16:creationId xmlns:a16="http://schemas.microsoft.com/office/drawing/2014/main" xmlns="" id="{9C232A9A-0109-4CFA-832C-C603AD7755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23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6" name="Oval 3113">
              <a:extLst>
                <a:ext uri="{FF2B5EF4-FFF2-40B4-BE49-F238E27FC236}">
                  <a16:creationId xmlns:a16="http://schemas.microsoft.com/office/drawing/2014/main" xmlns="" id="{04B835F3-19FA-4160-8657-19370E29E3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3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7" name="Oval 3114">
              <a:extLst>
                <a:ext uri="{FF2B5EF4-FFF2-40B4-BE49-F238E27FC236}">
                  <a16:creationId xmlns:a16="http://schemas.microsoft.com/office/drawing/2014/main" xmlns="" id="{A28BC890-5EA3-47BE-AC7B-611FFDF1D7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8" name="Oval 3115">
              <a:extLst>
                <a:ext uri="{FF2B5EF4-FFF2-40B4-BE49-F238E27FC236}">
                  <a16:creationId xmlns:a16="http://schemas.microsoft.com/office/drawing/2014/main" xmlns="" id="{530C9BAE-6C06-4AA6-A1C5-3A122447C6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21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9" name="Oval 3116">
              <a:extLst>
                <a:ext uri="{FF2B5EF4-FFF2-40B4-BE49-F238E27FC236}">
                  <a16:creationId xmlns:a16="http://schemas.microsoft.com/office/drawing/2014/main" xmlns="" id="{1CE74192-2956-487B-88EC-6235E48EAA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0" name="Oval 3117">
              <a:extLst>
                <a:ext uri="{FF2B5EF4-FFF2-40B4-BE49-F238E27FC236}">
                  <a16:creationId xmlns:a16="http://schemas.microsoft.com/office/drawing/2014/main" xmlns="" id="{447E941A-8901-41DC-B73E-00C970963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3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1" name="Oval 3118">
              <a:extLst>
                <a:ext uri="{FF2B5EF4-FFF2-40B4-BE49-F238E27FC236}">
                  <a16:creationId xmlns:a16="http://schemas.microsoft.com/office/drawing/2014/main" xmlns="" id="{8686BA11-AC69-4C48-A888-78B1E6EBE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2" name="Oval 3119">
              <a:extLst>
                <a:ext uri="{FF2B5EF4-FFF2-40B4-BE49-F238E27FC236}">
                  <a16:creationId xmlns:a16="http://schemas.microsoft.com/office/drawing/2014/main" xmlns="" id="{41262B00-B166-4BED-B75E-7042B15E22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4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3" name="Oval 3120">
              <a:extLst>
                <a:ext uri="{FF2B5EF4-FFF2-40B4-BE49-F238E27FC236}">
                  <a16:creationId xmlns:a16="http://schemas.microsoft.com/office/drawing/2014/main" xmlns="" id="{42EA8083-31D2-4B7E-8008-2AD2359F1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5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4" name="Oval 3121">
              <a:extLst>
                <a:ext uri="{FF2B5EF4-FFF2-40B4-BE49-F238E27FC236}">
                  <a16:creationId xmlns:a16="http://schemas.microsoft.com/office/drawing/2014/main" xmlns="" id="{A9C3F8BD-25D6-46FE-AE7B-ED1CE53534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5" name="Oval 3122">
              <a:extLst>
                <a:ext uri="{FF2B5EF4-FFF2-40B4-BE49-F238E27FC236}">
                  <a16:creationId xmlns:a16="http://schemas.microsoft.com/office/drawing/2014/main" xmlns="" id="{E7FCFC41-E526-4005-93AD-B345A3651A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6" name="Oval 3123">
              <a:extLst>
                <a:ext uri="{FF2B5EF4-FFF2-40B4-BE49-F238E27FC236}">
                  <a16:creationId xmlns:a16="http://schemas.microsoft.com/office/drawing/2014/main" xmlns="" id="{C5764111-6871-4885-9013-0F546A51EA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7" name="Oval 3124">
              <a:extLst>
                <a:ext uri="{FF2B5EF4-FFF2-40B4-BE49-F238E27FC236}">
                  <a16:creationId xmlns:a16="http://schemas.microsoft.com/office/drawing/2014/main" xmlns="" id="{37FF6907-A4DF-4EBE-A0D1-6C5260F024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8" name="Oval 3125">
              <a:extLst>
                <a:ext uri="{FF2B5EF4-FFF2-40B4-BE49-F238E27FC236}">
                  <a16:creationId xmlns:a16="http://schemas.microsoft.com/office/drawing/2014/main" xmlns="" id="{290ABC34-3954-48A3-9637-65A0D5942C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19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9" name="Oval 3126">
              <a:extLst>
                <a:ext uri="{FF2B5EF4-FFF2-40B4-BE49-F238E27FC236}">
                  <a16:creationId xmlns:a16="http://schemas.microsoft.com/office/drawing/2014/main" xmlns="" id="{175ADE90-DAD2-4A1C-BEB5-A9E426054B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0" name="Oval 3127">
              <a:extLst>
                <a:ext uri="{FF2B5EF4-FFF2-40B4-BE49-F238E27FC236}">
                  <a16:creationId xmlns:a16="http://schemas.microsoft.com/office/drawing/2014/main" xmlns="" id="{346F84E2-C28B-4AC2-A5D1-B05AF1E5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1" name="Oval 3128">
              <a:extLst>
                <a:ext uri="{FF2B5EF4-FFF2-40B4-BE49-F238E27FC236}">
                  <a16:creationId xmlns:a16="http://schemas.microsoft.com/office/drawing/2014/main" xmlns="" id="{F7C7065E-A557-446A-8CAA-D93DF24F50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2" name="Oval 3129">
              <a:extLst>
                <a:ext uri="{FF2B5EF4-FFF2-40B4-BE49-F238E27FC236}">
                  <a16:creationId xmlns:a16="http://schemas.microsoft.com/office/drawing/2014/main" xmlns="" id="{AA657277-906E-4FB7-8CAC-40CB9043FB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3" name="Oval 3130">
              <a:extLst>
                <a:ext uri="{FF2B5EF4-FFF2-40B4-BE49-F238E27FC236}">
                  <a16:creationId xmlns:a16="http://schemas.microsoft.com/office/drawing/2014/main" xmlns="" id="{BA796E87-F32A-457B-A09D-A82C965747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7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4" name="Oval 3131">
              <a:extLst>
                <a:ext uri="{FF2B5EF4-FFF2-40B4-BE49-F238E27FC236}">
                  <a16:creationId xmlns:a16="http://schemas.microsoft.com/office/drawing/2014/main" xmlns="" id="{1076C74B-AB82-4214-9611-6C65392F95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5" name="Oval 3132">
              <a:extLst>
                <a:ext uri="{FF2B5EF4-FFF2-40B4-BE49-F238E27FC236}">
                  <a16:creationId xmlns:a16="http://schemas.microsoft.com/office/drawing/2014/main" xmlns="" id="{2CECC33E-78A5-4DFD-84C2-5251E4E011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6" name="Oval 3133">
              <a:extLst>
                <a:ext uri="{FF2B5EF4-FFF2-40B4-BE49-F238E27FC236}">
                  <a16:creationId xmlns:a16="http://schemas.microsoft.com/office/drawing/2014/main" xmlns="" id="{E9E93BC7-74A5-4F50-BCB0-B4858E9187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7" name="Oval 3134">
              <a:extLst>
                <a:ext uri="{FF2B5EF4-FFF2-40B4-BE49-F238E27FC236}">
                  <a16:creationId xmlns:a16="http://schemas.microsoft.com/office/drawing/2014/main" xmlns="" id="{F4478692-25C7-46EB-BAA7-A4F462F073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24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8" name="Oval 3135">
              <a:extLst>
                <a:ext uri="{FF2B5EF4-FFF2-40B4-BE49-F238E27FC236}">
                  <a16:creationId xmlns:a16="http://schemas.microsoft.com/office/drawing/2014/main" xmlns="" id="{065020F9-D81F-487A-9728-44C850C52B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5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9" name="Oval 3136">
              <a:extLst>
                <a:ext uri="{FF2B5EF4-FFF2-40B4-BE49-F238E27FC236}">
                  <a16:creationId xmlns:a16="http://schemas.microsoft.com/office/drawing/2014/main" xmlns="" id="{292E6F45-4503-4B2F-8145-1E3DD5A7A7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5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0" name="Oval 3137">
              <a:extLst>
                <a:ext uri="{FF2B5EF4-FFF2-40B4-BE49-F238E27FC236}">
                  <a16:creationId xmlns:a16="http://schemas.microsoft.com/office/drawing/2014/main" xmlns="" id="{7F8C174F-1F82-4F47-AE4D-C38F37CA34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24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1" name="Oval 3138">
              <a:extLst>
                <a:ext uri="{FF2B5EF4-FFF2-40B4-BE49-F238E27FC236}">
                  <a16:creationId xmlns:a16="http://schemas.microsoft.com/office/drawing/2014/main" xmlns="" id="{D40A6F7C-872C-4D61-AC52-98E3B7C65F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23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2" name="Oval 3139">
              <a:extLst>
                <a:ext uri="{FF2B5EF4-FFF2-40B4-BE49-F238E27FC236}">
                  <a16:creationId xmlns:a16="http://schemas.microsoft.com/office/drawing/2014/main" xmlns="" id="{ECAFF863-340A-44B0-8701-322082B1D7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24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3" name="Oval 3140">
              <a:extLst>
                <a:ext uri="{FF2B5EF4-FFF2-40B4-BE49-F238E27FC236}">
                  <a16:creationId xmlns:a16="http://schemas.microsoft.com/office/drawing/2014/main" xmlns="" id="{0C688072-C3E7-4EA3-9BB7-0C28B90249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4" name="Oval 3141">
              <a:extLst>
                <a:ext uri="{FF2B5EF4-FFF2-40B4-BE49-F238E27FC236}">
                  <a16:creationId xmlns:a16="http://schemas.microsoft.com/office/drawing/2014/main" xmlns="" id="{976FFA0E-66E3-41E9-81C2-79F69F299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5" y="27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5" name="Oval 3142">
              <a:extLst>
                <a:ext uri="{FF2B5EF4-FFF2-40B4-BE49-F238E27FC236}">
                  <a16:creationId xmlns:a16="http://schemas.microsoft.com/office/drawing/2014/main" xmlns="" id="{577C6548-3332-449A-9EA5-1CDD5665D6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6" name="Oval 3143">
              <a:extLst>
                <a:ext uri="{FF2B5EF4-FFF2-40B4-BE49-F238E27FC236}">
                  <a16:creationId xmlns:a16="http://schemas.microsoft.com/office/drawing/2014/main" xmlns="" id="{3B5DBB04-FCED-4B9B-B2CA-1756586960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9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7" name="Oval 3144">
              <a:extLst>
                <a:ext uri="{FF2B5EF4-FFF2-40B4-BE49-F238E27FC236}">
                  <a16:creationId xmlns:a16="http://schemas.microsoft.com/office/drawing/2014/main" xmlns="" id="{F2922A1B-383A-4D88-B0CF-558B342FF6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30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8" name="Oval 3145">
              <a:extLst>
                <a:ext uri="{FF2B5EF4-FFF2-40B4-BE49-F238E27FC236}">
                  <a16:creationId xmlns:a16="http://schemas.microsoft.com/office/drawing/2014/main" xmlns="" id="{24435BC1-3BF6-440E-AC69-4A6D02A87B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9" name="Oval 3146">
              <a:extLst>
                <a:ext uri="{FF2B5EF4-FFF2-40B4-BE49-F238E27FC236}">
                  <a16:creationId xmlns:a16="http://schemas.microsoft.com/office/drawing/2014/main" xmlns="" id="{CE191E43-65A7-4A77-A456-E369E0C3D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4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0" name="Oval 3147">
              <a:extLst>
                <a:ext uri="{FF2B5EF4-FFF2-40B4-BE49-F238E27FC236}">
                  <a16:creationId xmlns:a16="http://schemas.microsoft.com/office/drawing/2014/main" xmlns="" id="{9A64915B-D54C-491B-A6F5-CACCAB0E85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21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1" name="Oval 3148">
              <a:extLst>
                <a:ext uri="{FF2B5EF4-FFF2-40B4-BE49-F238E27FC236}">
                  <a16:creationId xmlns:a16="http://schemas.microsoft.com/office/drawing/2014/main" xmlns="" id="{FF0FCBC0-2A67-4A4D-ACA7-7A562FB74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2" name="Oval 3149">
              <a:extLst>
                <a:ext uri="{FF2B5EF4-FFF2-40B4-BE49-F238E27FC236}">
                  <a16:creationId xmlns:a16="http://schemas.microsoft.com/office/drawing/2014/main" xmlns="" id="{4EC0E989-87EE-4A9B-8825-B67F755F35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3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3" name="Oval 3150">
              <a:extLst>
                <a:ext uri="{FF2B5EF4-FFF2-40B4-BE49-F238E27FC236}">
                  <a16:creationId xmlns:a16="http://schemas.microsoft.com/office/drawing/2014/main" xmlns="" id="{FA0FA3F2-70B8-4310-929F-9C636626EE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27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4" name="Oval 3151">
              <a:extLst>
                <a:ext uri="{FF2B5EF4-FFF2-40B4-BE49-F238E27FC236}">
                  <a16:creationId xmlns:a16="http://schemas.microsoft.com/office/drawing/2014/main" xmlns="" id="{1C65EFEB-56AD-495E-8F6C-CD201429ED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5" name="Oval 3152">
              <a:extLst>
                <a:ext uri="{FF2B5EF4-FFF2-40B4-BE49-F238E27FC236}">
                  <a16:creationId xmlns:a16="http://schemas.microsoft.com/office/drawing/2014/main" xmlns="" id="{8B70D84F-A4C2-4E43-BB62-605B4FA9DB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6" name="Oval 3153">
              <a:extLst>
                <a:ext uri="{FF2B5EF4-FFF2-40B4-BE49-F238E27FC236}">
                  <a16:creationId xmlns:a16="http://schemas.microsoft.com/office/drawing/2014/main" xmlns="" id="{96B25FF9-8E3E-4E4B-9AAB-1A2971B464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7" name="Oval 3154">
              <a:extLst>
                <a:ext uri="{FF2B5EF4-FFF2-40B4-BE49-F238E27FC236}">
                  <a16:creationId xmlns:a16="http://schemas.microsoft.com/office/drawing/2014/main" xmlns="" id="{DA0F317E-0D0D-4643-B07D-3C1186D374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9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8" name="Oval 3155">
              <a:extLst>
                <a:ext uri="{FF2B5EF4-FFF2-40B4-BE49-F238E27FC236}">
                  <a16:creationId xmlns:a16="http://schemas.microsoft.com/office/drawing/2014/main" xmlns="" id="{FB5FA394-51E8-46F8-8B56-9CF097FEB2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9" name="Oval 3156">
              <a:extLst>
                <a:ext uri="{FF2B5EF4-FFF2-40B4-BE49-F238E27FC236}">
                  <a16:creationId xmlns:a16="http://schemas.microsoft.com/office/drawing/2014/main" xmlns="" id="{6554689C-2D94-42E8-8EFA-71D7D241FF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0" name="Oval 3157">
              <a:extLst>
                <a:ext uri="{FF2B5EF4-FFF2-40B4-BE49-F238E27FC236}">
                  <a16:creationId xmlns:a16="http://schemas.microsoft.com/office/drawing/2014/main" xmlns="" id="{D049C377-0B8E-4A8E-9986-12A43462A1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1" name="Oval 3158">
              <a:extLst>
                <a:ext uri="{FF2B5EF4-FFF2-40B4-BE49-F238E27FC236}">
                  <a16:creationId xmlns:a16="http://schemas.microsoft.com/office/drawing/2014/main" xmlns="" id="{C168DA0A-041A-4C08-8E8C-9060AF621E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7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2" name="Oval 3159">
              <a:extLst>
                <a:ext uri="{FF2B5EF4-FFF2-40B4-BE49-F238E27FC236}">
                  <a16:creationId xmlns:a16="http://schemas.microsoft.com/office/drawing/2014/main" xmlns="" id="{50F0F6E1-9890-46F3-A49A-0DB1318ED2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4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3" name="Oval 3160">
              <a:extLst>
                <a:ext uri="{FF2B5EF4-FFF2-40B4-BE49-F238E27FC236}">
                  <a16:creationId xmlns:a16="http://schemas.microsoft.com/office/drawing/2014/main" xmlns="" id="{B2D418C4-7178-4F71-A534-71307B03E4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4" name="Oval 3161">
              <a:extLst>
                <a:ext uri="{FF2B5EF4-FFF2-40B4-BE49-F238E27FC236}">
                  <a16:creationId xmlns:a16="http://schemas.microsoft.com/office/drawing/2014/main" xmlns="" id="{CD3C8309-6234-4670-8166-827C04F3C8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4" y="30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5" name="Oval 3162">
              <a:extLst>
                <a:ext uri="{FF2B5EF4-FFF2-40B4-BE49-F238E27FC236}">
                  <a16:creationId xmlns:a16="http://schemas.microsoft.com/office/drawing/2014/main" xmlns="" id="{99DDC8D4-6858-49E3-B649-83C20BA9D1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9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6" name="Oval 3163">
              <a:extLst>
                <a:ext uri="{FF2B5EF4-FFF2-40B4-BE49-F238E27FC236}">
                  <a16:creationId xmlns:a16="http://schemas.microsoft.com/office/drawing/2014/main" xmlns="" id="{37248B00-7250-4124-99BE-A3417FEAE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4" y="30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7" name="Oval 3164">
              <a:extLst>
                <a:ext uri="{FF2B5EF4-FFF2-40B4-BE49-F238E27FC236}">
                  <a16:creationId xmlns:a16="http://schemas.microsoft.com/office/drawing/2014/main" xmlns="" id="{074D325B-95E3-4E79-95B3-7D42A699E8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8" name="Oval 3165">
              <a:extLst>
                <a:ext uri="{FF2B5EF4-FFF2-40B4-BE49-F238E27FC236}">
                  <a16:creationId xmlns:a16="http://schemas.microsoft.com/office/drawing/2014/main" xmlns="" id="{27D88805-3713-4A15-8E29-714B5CDB9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30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9" name="Oval 3166">
              <a:extLst>
                <a:ext uri="{FF2B5EF4-FFF2-40B4-BE49-F238E27FC236}">
                  <a16:creationId xmlns:a16="http://schemas.microsoft.com/office/drawing/2014/main" xmlns="" id="{24275F87-1D72-4D67-9646-3659F416BB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0" name="Oval 3167">
              <a:extLst>
                <a:ext uri="{FF2B5EF4-FFF2-40B4-BE49-F238E27FC236}">
                  <a16:creationId xmlns:a16="http://schemas.microsoft.com/office/drawing/2014/main" xmlns="" id="{76E70DEE-D77F-4885-AA70-6DB52C1739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1" name="Oval 3168">
              <a:extLst>
                <a:ext uri="{FF2B5EF4-FFF2-40B4-BE49-F238E27FC236}">
                  <a16:creationId xmlns:a16="http://schemas.microsoft.com/office/drawing/2014/main" xmlns="" id="{A7695C32-10A6-431C-A791-0FE6F7E1E7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9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E07AA897-63A9-4859-B3B5-E0634BAD97D3}"/>
              </a:ext>
            </a:extLst>
          </p:cNvPr>
          <p:cNvGrpSpPr/>
          <p:nvPr/>
        </p:nvGrpSpPr>
        <p:grpSpPr>
          <a:xfrm>
            <a:off x="3128937" y="1472547"/>
            <a:ext cx="5796407" cy="2358881"/>
            <a:chOff x="3128937" y="1472547"/>
            <a:chExt cx="5796407" cy="2358881"/>
          </a:xfrm>
        </p:grpSpPr>
        <p:grpSp>
          <p:nvGrpSpPr>
            <p:cNvPr id="1201" name="Group 45">
              <a:extLst>
                <a:ext uri="{FF2B5EF4-FFF2-40B4-BE49-F238E27FC236}">
                  <a16:creationId xmlns:a16="http://schemas.microsoft.com/office/drawing/2014/main" xmlns="" id="{DDFD1FC2-13C8-45C2-A8F8-E7565EC56F78}"/>
                </a:ext>
              </a:extLst>
            </p:cNvPr>
            <p:cNvGrpSpPr/>
            <p:nvPr/>
          </p:nvGrpSpPr>
          <p:grpSpPr>
            <a:xfrm>
              <a:off x="3128937" y="1472547"/>
              <a:ext cx="5796407" cy="2358881"/>
              <a:chOff x="3128937" y="1472547"/>
              <a:chExt cx="5796407" cy="2358881"/>
            </a:xfrm>
          </p:grpSpPr>
          <p:sp>
            <p:nvSpPr>
              <p:cNvPr id="1202" name="Oval 1201">
                <a:extLst>
                  <a:ext uri="{FF2B5EF4-FFF2-40B4-BE49-F238E27FC236}">
                    <a16:creationId xmlns:a16="http://schemas.microsoft.com/office/drawing/2014/main" xmlns="" id="{C9405291-6DB5-41B8-BA36-B9D6DD366477}"/>
                  </a:ext>
                </a:extLst>
              </p:cNvPr>
              <p:cNvSpPr/>
              <p:nvPr/>
            </p:nvSpPr>
            <p:spPr>
              <a:xfrm>
                <a:off x="6566463" y="1472547"/>
                <a:ext cx="2358881" cy="2358881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cxnSp>
            <p:nvCxnSpPr>
              <p:cNvPr id="1203" name="Straight Connector 1202">
                <a:extLst>
                  <a:ext uri="{FF2B5EF4-FFF2-40B4-BE49-F238E27FC236}">
                    <a16:creationId xmlns:a16="http://schemas.microsoft.com/office/drawing/2014/main" xmlns="" id="{7B1EC486-CE9E-49E2-9BFC-4226CC8C586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347441" y="2044203"/>
                <a:ext cx="365323" cy="263706"/>
              </a:xfrm>
              <a:prstGeom prst="line">
                <a:avLst/>
              </a:prstGeom>
              <a:ln w="63500">
                <a:solidFill>
                  <a:srgbClr val="EBEBE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4" name="Straight Connector 1203">
                <a:extLst>
                  <a:ext uri="{FF2B5EF4-FFF2-40B4-BE49-F238E27FC236}">
                    <a16:creationId xmlns:a16="http://schemas.microsoft.com/office/drawing/2014/main" xmlns="" id="{7AFACE04-4ED6-4A25-9E41-697F2320F36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369412" y="3285907"/>
                <a:ext cx="184145" cy="482653"/>
              </a:xfrm>
              <a:prstGeom prst="line">
                <a:avLst/>
              </a:prstGeom>
              <a:ln w="63500">
                <a:solidFill>
                  <a:srgbClr val="EBEBE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5" name="Straight Connector 1204">
                <a:extLst>
                  <a:ext uri="{FF2B5EF4-FFF2-40B4-BE49-F238E27FC236}">
                    <a16:creationId xmlns:a16="http://schemas.microsoft.com/office/drawing/2014/main" xmlns="" id="{2B900A02-82FD-429A-8AEE-DA3E1BCFB34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111156" y="1653749"/>
                <a:ext cx="236084" cy="327790"/>
              </a:xfrm>
              <a:prstGeom prst="line">
                <a:avLst/>
              </a:prstGeom>
              <a:ln w="63500">
                <a:solidFill>
                  <a:srgbClr val="EBEBE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06" name="Oval 1205">
                <a:extLst>
                  <a:ext uri="{FF2B5EF4-FFF2-40B4-BE49-F238E27FC236}">
                    <a16:creationId xmlns:a16="http://schemas.microsoft.com/office/drawing/2014/main" xmlns="" id="{05020FD2-1BE1-4134-93B3-78C39E4E0DB7}"/>
                  </a:ext>
                </a:extLst>
              </p:cNvPr>
              <p:cNvSpPr/>
              <p:nvPr/>
            </p:nvSpPr>
            <p:spPr>
              <a:xfrm>
                <a:off x="3306000" y="1472547"/>
                <a:ext cx="2358881" cy="2358881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cxnSp>
            <p:nvCxnSpPr>
              <p:cNvPr id="1207" name="Straight Connector 1206">
                <a:extLst>
                  <a:ext uri="{FF2B5EF4-FFF2-40B4-BE49-F238E27FC236}">
                    <a16:creationId xmlns:a16="http://schemas.microsoft.com/office/drawing/2014/main" xmlns="" id="{A0309E6A-C7E3-4BC8-A717-1C746DE66E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01106" y="1863496"/>
                <a:ext cx="294917" cy="308294"/>
              </a:xfrm>
              <a:prstGeom prst="line">
                <a:avLst/>
              </a:prstGeom>
              <a:ln w="63500">
                <a:solidFill>
                  <a:srgbClr val="EBEBE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8" name="Straight Connector 1207">
                <a:extLst>
                  <a:ext uri="{FF2B5EF4-FFF2-40B4-BE49-F238E27FC236}">
                    <a16:creationId xmlns:a16="http://schemas.microsoft.com/office/drawing/2014/main" xmlns="" id="{81379A22-251D-41D9-85CB-4FFD09F7EAA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28937" y="2669454"/>
                <a:ext cx="3916223" cy="0"/>
              </a:xfrm>
              <a:prstGeom prst="line">
                <a:avLst/>
              </a:prstGeom>
              <a:ln w="63500">
                <a:solidFill>
                  <a:srgbClr val="EBEBE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9" name="Straight Connector 1208">
                <a:extLst>
                  <a:ext uri="{FF2B5EF4-FFF2-40B4-BE49-F238E27FC236}">
                    <a16:creationId xmlns:a16="http://schemas.microsoft.com/office/drawing/2014/main" xmlns="" id="{95144432-D147-41C9-A57F-C9C7A03516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17710" y="3252958"/>
                <a:ext cx="234229" cy="157829"/>
              </a:xfrm>
              <a:prstGeom prst="line">
                <a:avLst/>
              </a:prstGeom>
              <a:ln w="63500">
                <a:solidFill>
                  <a:srgbClr val="EBEBE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10" name="Oval 1209">
                <a:extLst>
                  <a:ext uri="{FF2B5EF4-FFF2-40B4-BE49-F238E27FC236}">
                    <a16:creationId xmlns:a16="http://schemas.microsoft.com/office/drawing/2014/main" xmlns="" id="{8FA7F9AA-E6CB-4858-A702-F346A92E71C0}"/>
                  </a:ext>
                </a:extLst>
              </p:cNvPr>
              <p:cNvSpPr/>
              <p:nvPr/>
            </p:nvSpPr>
            <p:spPr>
              <a:xfrm>
                <a:off x="3640021" y="1803844"/>
                <a:ext cx="1731220" cy="1731220"/>
              </a:xfrm>
              <a:prstGeom prst="ellipse">
                <a:avLst/>
              </a:prstGeom>
              <a:solidFill>
                <a:srgbClr val="F2F2F3"/>
              </a:solidFill>
              <a:ln cap="rnd">
                <a:solidFill>
                  <a:schemeClr val="accent1">
                    <a:lumMod val="40000"/>
                    <a:lumOff val="60000"/>
                  </a:schemeClr>
                </a:solidFill>
                <a:prstDash val="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11" name="Oval 1210">
                <a:extLst>
                  <a:ext uri="{FF2B5EF4-FFF2-40B4-BE49-F238E27FC236}">
                    <a16:creationId xmlns:a16="http://schemas.microsoft.com/office/drawing/2014/main" xmlns="" id="{E524BEFC-375F-4A14-BFE5-4CC5FB373CB2}"/>
                  </a:ext>
                </a:extLst>
              </p:cNvPr>
              <p:cNvSpPr/>
              <p:nvPr/>
            </p:nvSpPr>
            <p:spPr>
              <a:xfrm>
                <a:off x="6857723" y="1803844"/>
                <a:ext cx="1731220" cy="1731220"/>
              </a:xfrm>
              <a:prstGeom prst="ellipse">
                <a:avLst/>
              </a:prstGeom>
              <a:solidFill>
                <a:srgbClr val="F2F2F3"/>
              </a:solidFill>
              <a:ln cap="rnd">
                <a:solidFill>
                  <a:schemeClr val="accent1">
                    <a:lumMod val="40000"/>
                    <a:lumOff val="60000"/>
                  </a:schemeClr>
                </a:solidFill>
                <a:prstDash val="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pic>
            <p:nvPicPr>
              <p:cNvPr id="1212" name="Picture 1211">
                <a:extLst>
                  <a:ext uri="{FF2B5EF4-FFF2-40B4-BE49-F238E27FC236}">
                    <a16:creationId xmlns:a16="http://schemas.microsoft.com/office/drawing/2014/main" xmlns="" id="{BD324322-0FF3-4A7C-B47F-91EAECD196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30993" y="1633449"/>
                <a:ext cx="429820" cy="429820"/>
              </a:xfrm>
              <a:prstGeom prst="rect">
                <a:avLst/>
              </a:prstGeom>
            </p:spPr>
          </p:pic>
          <p:cxnSp>
            <p:nvCxnSpPr>
              <p:cNvPr id="1213" name="Straight Connector 1212">
                <a:extLst>
                  <a:ext uri="{FF2B5EF4-FFF2-40B4-BE49-F238E27FC236}">
                    <a16:creationId xmlns:a16="http://schemas.microsoft.com/office/drawing/2014/main" xmlns="" id="{39F2B513-8195-4CCD-863A-4BB0644BA0DE}"/>
                  </a:ext>
                </a:extLst>
              </p:cNvPr>
              <p:cNvCxnSpPr>
                <a:cxnSpLocks/>
              </p:cNvCxnSpPr>
              <p:nvPr>
                <p:custDataLst>
                  <p:tags r:id="rId5"/>
                </p:custDataLst>
              </p:nvPr>
            </p:nvCxnSpPr>
            <p:spPr>
              <a:xfrm>
                <a:off x="4885101" y="2668784"/>
                <a:ext cx="2461064" cy="0"/>
              </a:xfrm>
              <a:prstGeom prst="line">
                <a:avLst/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4" name="Straight Connector 1213">
                <a:extLst>
                  <a:ext uri="{FF2B5EF4-FFF2-40B4-BE49-F238E27FC236}">
                    <a16:creationId xmlns:a16="http://schemas.microsoft.com/office/drawing/2014/main" xmlns="" id="{8C78A0D0-F6DB-4BD7-A3B7-FC7B595AFDB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7957" y="2668784"/>
                <a:ext cx="929320" cy="0"/>
              </a:xfrm>
              <a:prstGeom prst="line">
                <a:avLst/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15" name="Oval 1214">
                <a:extLst>
                  <a:ext uri="{FF2B5EF4-FFF2-40B4-BE49-F238E27FC236}">
                    <a16:creationId xmlns:a16="http://schemas.microsoft.com/office/drawing/2014/main" xmlns="" id="{F9196E2A-F4A4-49DD-8C2E-17A96EEAF0A1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>
              <a:xfrm>
                <a:off x="3283140" y="2646594"/>
                <a:ext cx="45719" cy="4571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16" name="Oval 1215">
                <a:extLst>
                  <a:ext uri="{FF2B5EF4-FFF2-40B4-BE49-F238E27FC236}">
                    <a16:creationId xmlns:a16="http://schemas.microsoft.com/office/drawing/2014/main" xmlns="" id="{7FDDDD82-A91F-45B2-AF8C-45F0ECEF68C8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3283140" y="2646594"/>
                <a:ext cx="45719" cy="4571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77" name="Oval 1276">
                <a:extLst>
                  <a:ext uri="{FF2B5EF4-FFF2-40B4-BE49-F238E27FC236}">
                    <a16:creationId xmlns:a16="http://schemas.microsoft.com/office/drawing/2014/main" xmlns="" id="{A22CF8F2-8939-486B-BADC-107BAE81C689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3283140" y="2646594"/>
                <a:ext cx="45719" cy="4571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78" name="Oval 1277">
                <a:extLst>
                  <a:ext uri="{FF2B5EF4-FFF2-40B4-BE49-F238E27FC236}">
                    <a16:creationId xmlns:a16="http://schemas.microsoft.com/office/drawing/2014/main" xmlns="" id="{71AE581B-3DDE-4B97-92AF-CDAC0C6D6009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3283140" y="2646594"/>
                <a:ext cx="45719" cy="4571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79" name="Oval 1278">
                <a:extLst>
                  <a:ext uri="{FF2B5EF4-FFF2-40B4-BE49-F238E27FC236}">
                    <a16:creationId xmlns:a16="http://schemas.microsoft.com/office/drawing/2014/main" xmlns="" id="{223DA19A-4DA1-4D23-88DD-E4972A70F1CD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3283140" y="2646594"/>
                <a:ext cx="45719" cy="4571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80" name="Oval 1279">
                <a:extLst>
                  <a:ext uri="{FF2B5EF4-FFF2-40B4-BE49-F238E27FC236}">
                    <a16:creationId xmlns:a16="http://schemas.microsoft.com/office/drawing/2014/main" xmlns="" id="{CFC46744-79E9-43FC-968F-783805BAF760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>
              <a:xfrm>
                <a:off x="3283140" y="2646594"/>
                <a:ext cx="45719" cy="4571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81" name="Oval 1280">
                <a:extLst>
                  <a:ext uri="{FF2B5EF4-FFF2-40B4-BE49-F238E27FC236}">
                    <a16:creationId xmlns:a16="http://schemas.microsoft.com/office/drawing/2014/main" xmlns="" id="{9B68D12F-B6A1-43F7-B287-FC4F69916B66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3283140" y="2646594"/>
                <a:ext cx="45719" cy="4571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82" name="Oval 1281">
                <a:extLst>
                  <a:ext uri="{FF2B5EF4-FFF2-40B4-BE49-F238E27FC236}">
                    <a16:creationId xmlns:a16="http://schemas.microsoft.com/office/drawing/2014/main" xmlns="" id="{49C8E195-D694-4483-8A97-39BE27BD971F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3283140" y="2646594"/>
                <a:ext cx="45719" cy="4571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83" name="Oval 1282">
                <a:extLst>
                  <a:ext uri="{FF2B5EF4-FFF2-40B4-BE49-F238E27FC236}">
                    <a16:creationId xmlns:a16="http://schemas.microsoft.com/office/drawing/2014/main" xmlns="" id="{B1123C62-F222-4940-9581-2B5939C680CA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3283140" y="2646594"/>
                <a:ext cx="45719" cy="4571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84" name="Oval 1283">
                <a:extLst>
                  <a:ext uri="{FF2B5EF4-FFF2-40B4-BE49-F238E27FC236}">
                    <a16:creationId xmlns:a16="http://schemas.microsoft.com/office/drawing/2014/main" xmlns="" id="{E0C40742-B1D0-4B5F-8A41-F7A8FFDBCAD6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3283140" y="2646594"/>
                <a:ext cx="45719" cy="4571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85" name="Oval 1284">
                <a:extLst>
                  <a:ext uri="{FF2B5EF4-FFF2-40B4-BE49-F238E27FC236}">
                    <a16:creationId xmlns:a16="http://schemas.microsoft.com/office/drawing/2014/main" xmlns="" id="{C75D394A-B97B-4081-B59B-3AE12E822E6C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3283140" y="2646594"/>
                <a:ext cx="45719" cy="4571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86" name="Oval 1285">
                <a:extLst>
                  <a:ext uri="{FF2B5EF4-FFF2-40B4-BE49-F238E27FC236}">
                    <a16:creationId xmlns:a16="http://schemas.microsoft.com/office/drawing/2014/main" xmlns="" id="{9ACF186E-C31F-4912-9F26-A9438D5A937B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3283140" y="2646594"/>
                <a:ext cx="45719" cy="4571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87" name="Oval 1286">
                <a:extLst>
                  <a:ext uri="{FF2B5EF4-FFF2-40B4-BE49-F238E27FC236}">
                    <a16:creationId xmlns:a16="http://schemas.microsoft.com/office/drawing/2014/main" xmlns="" id="{2B41C143-6824-401F-AAA4-32FC362C8581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3283140" y="2646594"/>
                <a:ext cx="45719" cy="4571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88" name="Oval 1287">
                <a:extLst>
                  <a:ext uri="{FF2B5EF4-FFF2-40B4-BE49-F238E27FC236}">
                    <a16:creationId xmlns:a16="http://schemas.microsoft.com/office/drawing/2014/main" xmlns="" id="{F0C8A87E-57E1-41CA-AE0F-3A60F5FBC70B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3283140" y="2646594"/>
                <a:ext cx="45719" cy="4571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89" name="Oval 1288">
                <a:extLst>
                  <a:ext uri="{FF2B5EF4-FFF2-40B4-BE49-F238E27FC236}">
                    <a16:creationId xmlns:a16="http://schemas.microsoft.com/office/drawing/2014/main" xmlns="" id="{6519F9F4-D899-455F-AE5B-ED0788BE2786}"/>
                  </a:ext>
                </a:extLst>
              </p:cNvPr>
              <p:cNvSpPr/>
              <p:nvPr/>
            </p:nvSpPr>
            <p:spPr>
              <a:xfrm>
                <a:off x="3283140" y="2649515"/>
                <a:ext cx="45719" cy="4571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90" name="Oval 1289">
                <a:extLst>
                  <a:ext uri="{FF2B5EF4-FFF2-40B4-BE49-F238E27FC236}">
                    <a16:creationId xmlns:a16="http://schemas.microsoft.com/office/drawing/2014/main" xmlns="" id="{4D2277E2-0D97-4C7D-9508-828FC558B136}"/>
                  </a:ext>
                </a:extLst>
              </p:cNvPr>
              <p:cNvSpPr/>
              <p:nvPr/>
            </p:nvSpPr>
            <p:spPr>
              <a:xfrm>
                <a:off x="3283140" y="2649515"/>
                <a:ext cx="45719" cy="45719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cxnSp>
            <p:nvCxnSpPr>
              <p:cNvPr id="1291" name="Connector: Elbow 1290">
                <a:extLst>
                  <a:ext uri="{FF2B5EF4-FFF2-40B4-BE49-F238E27FC236}">
                    <a16:creationId xmlns:a16="http://schemas.microsoft.com/office/drawing/2014/main" xmlns="" id="{7F70F8AF-328B-4C0C-80DD-E6D42F545D7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7277507" y="2457485"/>
                <a:ext cx="279960" cy="142643"/>
              </a:xfrm>
              <a:prstGeom prst="bentConnector3">
                <a:avLst>
                  <a:gd name="adj1" fmla="val -184"/>
                </a:avLst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2" name="Connector: Elbow 1291">
                <a:extLst>
                  <a:ext uri="{FF2B5EF4-FFF2-40B4-BE49-F238E27FC236}">
                    <a16:creationId xmlns:a16="http://schemas.microsoft.com/office/drawing/2014/main" xmlns="" id="{CA916330-F329-4F3C-80F7-E197DF91EB01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V="1">
                <a:off x="7277507" y="2743415"/>
                <a:ext cx="279960" cy="142643"/>
              </a:xfrm>
              <a:prstGeom prst="bentConnector3">
                <a:avLst>
                  <a:gd name="adj1" fmla="val -184"/>
                </a:avLst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4" name="Straight Connector 1293">
                <a:extLst>
                  <a:ext uri="{FF2B5EF4-FFF2-40B4-BE49-F238E27FC236}">
                    <a16:creationId xmlns:a16="http://schemas.microsoft.com/office/drawing/2014/main" xmlns="" id="{778CC44C-EC07-4D2F-9864-640DDC0017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30103" y="2546297"/>
                <a:ext cx="0" cy="238710"/>
              </a:xfrm>
              <a:prstGeom prst="line">
                <a:avLst/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5" name="Straight Connector 1294">
                <a:extLst>
                  <a:ext uri="{FF2B5EF4-FFF2-40B4-BE49-F238E27FC236}">
                    <a16:creationId xmlns:a16="http://schemas.microsoft.com/office/drawing/2014/main" xmlns="" id="{E97436A4-5231-408B-B41F-A27A08BB11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89647" y="2546297"/>
                <a:ext cx="0" cy="238710"/>
              </a:xfrm>
              <a:prstGeom prst="line">
                <a:avLst/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6" name="Straight Connector 1295">
                <a:extLst>
                  <a:ext uri="{FF2B5EF4-FFF2-40B4-BE49-F238E27FC236}">
                    <a16:creationId xmlns:a16="http://schemas.microsoft.com/office/drawing/2014/main" xmlns="" id="{DAAAEA02-E2AD-4A6A-8138-265C47BA3C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49191" y="2546297"/>
                <a:ext cx="0" cy="238710"/>
              </a:xfrm>
              <a:prstGeom prst="line">
                <a:avLst/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97" name="yellow 1">
                <a:extLst>
                  <a:ext uri="{FF2B5EF4-FFF2-40B4-BE49-F238E27FC236}">
                    <a16:creationId xmlns:a16="http://schemas.microsoft.com/office/drawing/2014/main" xmlns="" id="{32B106CB-6EF3-4852-8A97-39B554BBBBDB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4314498" y="2824055"/>
                <a:ext cx="45719" cy="45719"/>
              </a:xfrm>
              <a:prstGeom prst="ellipse">
                <a:avLst/>
              </a:prstGeom>
              <a:solidFill>
                <a:schemeClr val="accent5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98" name="blue 1">
                <a:extLst>
                  <a:ext uri="{FF2B5EF4-FFF2-40B4-BE49-F238E27FC236}">
                    <a16:creationId xmlns:a16="http://schemas.microsoft.com/office/drawing/2014/main" xmlns="" id="{810F465B-14DD-4817-AF53-AD9FE3E2CD4D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4314080" y="2821659"/>
                <a:ext cx="45719" cy="45719"/>
              </a:xfrm>
              <a:prstGeom prst="ellipse">
                <a:avLst/>
              </a:prstGeom>
              <a:solidFill>
                <a:schemeClr val="accent1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99" name="green 1">
                <a:extLst>
                  <a:ext uri="{FF2B5EF4-FFF2-40B4-BE49-F238E27FC236}">
                    <a16:creationId xmlns:a16="http://schemas.microsoft.com/office/drawing/2014/main" xmlns="" id="{DF1C2D1F-B3F6-401A-AFCF-32A0DAC3FCB0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4314076" y="2824039"/>
                <a:ext cx="45719" cy="45719"/>
              </a:xfrm>
              <a:prstGeom prst="ellipse">
                <a:avLst/>
              </a:prstGeom>
              <a:solidFill>
                <a:schemeClr val="accent2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00" name="green 2">
                <a:extLst>
                  <a:ext uri="{FF2B5EF4-FFF2-40B4-BE49-F238E27FC236}">
                    <a16:creationId xmlns:a16="http://schemas.microsoft.com/office/drawing/2014/main" xmlns="" id="{88427C29-B587-4DF8-BB0E-3DE4118ECB08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4466898" y="2818926"/>
                <a:ext cx="45719" cy="45719"/>
              </a:xfrm>
              <a:prstGeom prst="ellipse">
                <a:avLst/>
              </a:prstGeom>
              <a:solidFill>
                <a:schemeClr val="accent2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01" name="yellow 2">
                <a:extLst>
                  <a:ext uri="{FF2B5EF4-FFF2-40B4-BE49-F238E27FC236}">
                    <a16:creationId xmlns:a16="http://schemas.microsoft.com/office/drawing/2014/main" xmlns="" id="{03FACA18-FCE4-4B5A-AA63-8F1E34A58C45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4468906" y="2824039"/>
                <a:ext cx="45719" cy="45719"/>
              </a:xfrm>
              <a:prstGeom prst="ellipse">
                <a:avLst/>
              </a:prstGeom>
              <a:solidFill>
                <a:schemeClr val="accent5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02" name="blue 2">
                <a:extLst>
                  <a:ext uri="{FF2B5EF4-FFF2-40B4-BE49-F238E27FC236}">
                    <a16:creationId xmlns:a16="http://schemas.microsoft.com/office/drawing/2014/main" xmlns="" id="{516554AD-5800-49B5-9A34-B20417659CC6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4463564" y="2824039"/>
                <a:ext cx="45719" cy="45719"/>
              </a:xfrm>
              <a:prstGeom prst="ellipse">
                <a:avLst/>
              </a:prstGeom>
              <a:solidFill>
                <a:schemeClr val="accent1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03" name="yellow 3">
                <a:extLst>
                  <a:ext uri="{FF2B5EF4-FFF2-40B4-BE49-F238E27FC236}">
                    <a16:creationId xmlns:a16="http://schemas.microsoft.com/office/drawing/2014/main" xmlns="" id="{FA0A3EF3-A361-40DE-8463-B284880F682D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4632797" y="2818926"/>
                <a:ext cx="45719" cy="45719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04" name="green 3">
                <a:extLst>
                  <a:ext uri="{FF2B5EF4-FFF2-40B4-BE49-F238E27FC236}">
                    <a16:creationId xmlns:a16="http://schemas.microsoft.com/office/drawing/2014/main" xmlns="" id="{3F853937-56E9-46A7-84D4-09951C4A178B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4632797" y="2818926"/>
                <a:ext cx="45719" cy="4571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09" name="blue 3">
                <a:extLst>
                  <a:ext uri="{FF2B5EF4-FFF2-40B4-BE49-F238E27FC236}">
                    <a16:creationId xmlns:a16="http://schemas.microsoft.com/office/drawing/2014/main" xmlns="" id="{8EDD1B71-CAC4-40E9-ABF3-8B62F11B008C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4632810" y="2821315"/>
                <a:ext cx="45719" cy="45719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grpSp>
            <p:nvGrpSpPr>
              <p:cNvPr id="1311" name="Group 1310">
                <a:extLst>
                  <a:ext uri="{FF2B5EF4-FFF2-40B4-BE49-F238E27FC236}">
                    <a16:creationId xmlns:a16="http://schemas.microsoft.com/office/drawing/2014/main" xmlns="" id="{DE364999-C8FB-43A4-A108-978340342349}"/>
                  </a:ext>
                </a:extLst>
              </p:cNvPr>
              <p:cNvGrpSpPr/>
              <p:nvPr/>
            </p:nvGrpSpPr>
            <p:grpSpPr>
              <a:xfrm>
                <a:off x="4259919" y="2214899"/>
                <a:ext cx="465186" cy="337180"/>
                <a:chOff x="4207537" y="2273730"/>
                <a:chExt cx="598923" cy="434116"/>
              </a:xfrm>
            </p:grpSpPr>
            <p:grpSp>
              <p:nvGrpSpPr>
                <p:cNvPr id="1394" name="Group 1393">
                  <a:extLst>
                    <a:ext uri="{FF2B5EF4-FFF2-40B4-BE49-F238E27FC236}">
                      <a16:creationId xmlns:a16="http://schemas.microsoft.com/office/drawing/2014/main" xmlns="" id="{9242A5F8-BBAD-4DB8-9B2C-48325D520462}"/>
                    </a:ext>
                  </a:extLst>
                </p:cNvPr>
                <p:cNvGrpSpPr/>
                <p:nvPr/>
              </p:nvGrpSpPr>
              <p:grpSpPr>
                <a:xfrm>
                  <a:off x="4207537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409" name="Freeform 201">
                    <a:extLst>
                      <a:ext uri="{FF2B5EF4-FFF2-40B4-BE49-F238E27FC236}">
                        <a16:creationId xmlns:a16="http://schemas.microsoft.com/office/drawing/2014/main" xmlns="" id="{CEE34CDD-FC21-43E4-8760-C9C81179716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10" name="Line 202">
                    <a:extLst>
                      <a:ext uri="{FF2B5EF4-FFF2-40B4-BE49-F238E27FC236}">
                        <a16:creationId xmlns:a16="http://schemas.microsoft.com/office/drawing/2014/main" xmlns="" id="{64C30C1B-1B97-4E2C-8892-C6AFDEF8D1C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11" name="Line 203">
                    <a:extLst>
                      <a:ext uri="{FF2B5EF4-FFF2-40B4-BE49-F238E27FC236}">
                        <a16:creationId xmlns:a16="http://schemas.microsoft.com/office/drawing/2014/main" xmlns="" id="{D0E38CF8-E983-4C37-B1DD-65B960B10A4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12" name="Line 204">
                    <a:extLst>
                      <a:ext uri="{FF2B5EF4-FFF2-40B4-BE49-F238E27FC236}">
                        <a16:creationId xmlns:a16="http://schemas.microsoft.com/office/drawing/2014/main" xmlns="" id="{EB766D14-ED69-4B0B-ABEA-25378B96704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13" name="Line 205">
                    <a:extLst>
                      <a:ext uri="{FF2B5EF4-FFF2-40B4-BE49-F238E27FC236}">
                        <a16:creationId xmlns:a16="http://schemas.microsoft.com/office/drawing/2014/main" xmlns="" id="{82210BC0-5731-47EA-B26F-3804DE485F3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14" name="Line 206">
                    <a:extLst>
                      <a:ext uri="{FF2B5EF4-FFF2-40B4-BE49-F238E27FC236}">
                        <a16:creationId xmlns:a16="http://schemas.microsoft.com/office/drawing/2014/main" xmlns="" id="{85805709-42B9-4FB4-BC16-ED6C7DB3EB8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395" name="Group 1394">
                  <a:extLst>
                    <a:ext uri="{FF2B5EF4-FFF2-40B4-BE49-F238E27FC236}">
                      <a16:creationId xmlns:a16="http://schemas.microsoft.com/office/drawing/2014/main" xmlns="" id="{FEB299D6-AD03-4659-A877-2EB2D5A3D57E}"/>
                    </a:ext>
                  </a:extLst>
                </p:cNvPr>
                <p:cNvGrpSpPr/>
                <p:nvPr/>
              </p:nvGrpSpPr>
              <p:grpSpPr>
                <a:xfrm>
                  <a:off x="4417305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403" name="Freeform 201">
                    <a:extLst>
                      <a:ext uri="{FF2B5EF4-FFF2-40B4-BE49-F238E27FC236}">
                        <a16:creationId xmlns:a16="http://schemas.microsoft.com/office/drawing/2014/main" xmlns="" id="{3C76D315-910C-4E8B-B663-DB5B6AC6919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04" name="Line 202">
                    <a:extLst>
                      <a:ext uri="{FF2B5EF4-FFF2-40B4-BE49-F238E27FC236}">
                        <a16:creationId xmlns:a16="http://schemas.microsoft.com/office/drawing/2014/main" xmlns="" id="{EFA20F39-0C57-4C3D-837F-82CC59EAE9D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05" name="Line 203">
                    <a:extLst>
                      <a:ext uri="{FF2B5EF4-FFF2-40B4-BE49-F238E27FC236}">
                        <a16:creationId xmlns:a16="http://schemas.microsoft.com/office/drawing/2014/main" xmlns="" id="{708481A0-D13E-4B7C-A04A-F52BE0F05E2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06" name="Line 204">
                    <a:extLst>
                      <a:ext uri="{FF2B5EF4-FFF2-40B4-BE49-F238E27FC236}">
                        <a16:creationId xmlns:a16="http://schemas.microsoft.com/office/drawing/2014/main" xmlns="" id="{7E0016C4-F4EE-4D2F-B48E-3D36C953D28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07" name="Line 205">
                    <a:extLst>
                      <a:ext uri="{FF2B5EF4-FFF2-40B4-BE49-F238E27FC236}">
                        <a16:creationId xmlns:a16="http://schemas.microsoft.com/office/drawing/2014/main" xmlns="" id="{748B6E32-5BB0-4F38-B3FA-E2D999995DF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08" name="Line 206">
                    <a:extLst>
                      <a:ext uri="{FF2B5EF4-FFF2-40B4-BE49-F238E27FC236}">
                        <a16:creationId xmlns:a16="http://schemas.microsoft.com/office/drawing/2014/main" xmlns="" id="{2C268E1A-8DF8-4A0E-9754-98BACC3F74C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396" name="Group 1395">
                  <a:extLst>
                    <a:ext uri="{FF2B5EF4-FFF2-40B4-BE49-F238E27FC236}">
                      <a16:creationId xmlns:a16="http://schemas.microsoft.com/office/drawing/2014/main" xmlns="" id="{BC25803A-A2A7-457E-B9F2-93E5BA6D7CDA}"/>
                    </a:ext>
                  </a:extLst>
                </p:cNvPr>
                <p:cNvGrpSpPr/>
                <p:nvPr/>
              </p:nvGrpSpPr>
              <p:grpSpPr>
                <a:xfrm>
                  <a:off x="4627073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397" name="Freeform 201">
                    <a:extLst>
                      <a:ext uri="{FF2B5EF4-FFF2-40B4-BE49-F238E27FC236}">
                        <a16:creationId xmlns:a16="http://schemas.microsoft.com/office/drawing/2014/main" xmlns="" id="{DA2C08AB-4D68-425F-B7B2-6447EDC9B5E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98" name="Line 202">
                    <a:extLst>
                      <a:ext uri="{FF2B5EF4-FFF2-40B4-BE49-F238E27FC236}">
                        <a16:creationId xmlns:a16="http://schemas.microsoft.com/office/drawing/2014/main" xmlns="" id="{D9D15C0A-05A9-4E02-A121-493D26220D9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99" name="Line 203">
                    <a:extLst>
                      <a:ext uri="{FF2B5EF4-FFF2-40B4-BE49-F238E27FC236}">
                        <a16:creationId xmlns:a16="http://schemas.microsoft.com/office/drawing/2014/main" xmlns="" id="{89EC991A-08E6-46D3-A5B7-8C7FA4CF712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00" name="Line 204">
                    <a:extLst>
                      <a:ext uri="{FF2B5EF4-FFF2-40B4-BE49-F238E27FC236}">
                        <a16:creationId xmlns:a16="http://schemas.microsoft.com/office/drawing/2014/main" xmlns="" id="{ECEB4E01-1B45-4441-B000-80C45262AC9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01" name="Line 205">
                    <a:extLst>
                      <a:ext uri="{FF2B5EF4-FFF2-40B4-BE49-F238E27FC236}">
                        <a16:creationId xmlns:a16="http://schemas.microsoft.com/office/drawing/2014/main" xmlns="" id="{DE94E04B-F6DF-44A6-BDD9-E985BC956D6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02" name="Line 206">
                    <a:extLst>
                      <a:ext uri="{FF2B5EF4-FFF2-40B4-BE49-F238E27FC236}">
                        <a16:creationId xmlns:a16="http://schemas.microsoft.com/office/drawing/2014/main" xmlns="" id="{C8EC96EB-2390-4B7D-BD2E-0EBAE7C800A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</p:grpSp>
          <p:grpSp>
            <p:nvGrpSpPr>
              <p:cNvPr id="1312" name="Group 1311">
                <a:extLst>
                  <a:ext uri="{FF2B5EF4-FFF2-40B4-BE49-F238E27FC236}">
                    <a16:creationId xmlns:a16="http://schemas.microsoft.com/office/drawing/2014/main" xmlns="" id="{8EABE637-4B4F-49D9-9617-113A1E5C43B4}"/>
                  </a:ext>
                </a:extLst>
              </p:cNvPr>
              <p:cNvGrpSpPr/>
              <p:nvPr/>
            </p:nvGrpSpPr>
            <p:grpSpPr>
              <a:xfrm>
                <a:off x="4259919" y="2780652"/>
                <a:ext cx="465186" cy="337180"/>
                <a:chOff x="4207537" y="2273730"/>
                <a:chExt cx="598923" cy="434116"/>
              </a:xfrm>
            </p:grpSpPr>
            <p:grpSp>
              <p:nvGrpSpPr>
                <p:cNvPr id="1373" name="Group 1372">
                  <a:extLst>
                    <a:ext uri="{FF2B5EF4-FFF2-40B4-BE49-F238E27FC236}">
                      <a16:creationId xmlns:a16="http://schemas.microsoft.com/office/drawing/2014/main" xmlns="" id="{924FF9DE-B3EF-48E3-862A-CB668CCF4BFB}"/>
                    </a:ext>
                  </a:extLst>
                </p:cNvPr>
                <p:cNvGrpSpPr/>
                <p:nvPr/>
              </p:nvGrpSpPr>
              <p:grpSpPr>
                <a:xfrm>
                  <a:off x="4207537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388" name="Freeform 201">
                    <a:extLst>
                      <a:ext uri="{FF2B5EF4-FFF2-40B4-BE49-F238E27FC236}">
                        <a16:creationId xmlns:a16="http://schemas.microsoft.com/office/drawing/2014/main" xmlns="" id="{77802B1F-CE8F-464B-9093-75CC510487F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89" name="Line 202">
                    <a:extLst>
                      <a:ext uri="{FF2B5EF4-FFF2-40B4-BE49-F238E27FC236}">
                        <a16:creationId xmlns:a16="http://schemas.microsoft.com/office/drawing/2014/main" xmlns="" id="{872A914F-D6CE-4933-8DA1-0261F8955B9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90" name="Line 203">
                    <a:extLst>
                      <a:ext uri="{FF2B5EF4-FFF2-40B4-BE49-F238E27FC236}">
                        <a16:creationId xmlns:a16="http://schemas.microsoft.com/office/drawing/2014/main" xmlns="" id="{95272EDC-64CD-4F41-B959-4AC10A9F411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91" name="Line 204">
                    <a:extLst>
                      <a:ext uri="{FF2B5EF4-FFF2-40B4-BE49-F238E27FC236}">
                        <a16:creationId xmlns:a16="http://schemas.microsoft.com/office/drawing/2014/main" xmlns="" id="{51C401E4-9BFB-478A-97CC-92366665AB1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92" name="Line 205">
                    <a:extLst>
                      <a:ext uri="{FF2B5EF4-FFF2-40B4-BE49-F238E27FC236}">
                        <a16:creationId xmlns:a16="http://schemas.microsoft.com/office/drawing/2014/main" xmlns="" id="{673ADB9B-E7C3-44A8-9347-E8F15F85B0C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93" name="Line 206">
                    <a:extLst>
                      <a:ext uri="{FF2B5EF4-FFF2-40B4-BE49-F238E27FC236}">
                        <a16:creationId xmlns:a16="http://schemas.microsoft.com/office/drawing/2014/main" xmlns="" id="{5EB55E69-1D80-419D-845F-4967AA4A934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374" name="Group 1373">
                  <a:extLst>
                    <a:ext uri="{FF2B5EF4-FFF2-40B4-BE49-F238E27FC236}">
                      <a16:creationId xmlns:a16="http://schemas.microsoft.com/office/drawing/2014/main" xmlns="" id="{361B940F-CBA8-43D1-B6D9-45D5BD39A771}"/>
                    </a:ext>
                  </a:extLst>
                </p:cNvPr>
                <p:cNvGrpSpPr/>
                <p:nvPr/>
              </p:nvGrpSpPr>
              <p:grpSpPr>
                <a:xfrm>
                  <a:off x="4417305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382" name="Freeform 201">
                    <a:extLst>
                      <a:ext uri="{FF2B5EF4-FFF2-40B4-BE49-F238E27FC236}">
                        <a16:creationId xmlns:a16="http://schemas.microsoft.com/office/drawing/2014/main" xmlns="" id="{52FD91D5-9222-4C24-A20E-93C3ECAF56E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83" name="Line 202">
                    <a:extLst>
                      <a:ext uri="{FF2B5EF4-FFF2-40B4-BE49-F238E27FC236}">
                        <a16:creationId xmlns:a16="http://schemas.microsoft.com/office/drawing/2014/main" xmlns="" id="{92D1D892-4519-44F3-86F2-F6344F06C9E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84" name="Line 203">
                    <a:extLst>
                      <a:ext uri="{FF2B5EF4-FFF2-40B4-BE49-F238E27FC236}">
                        <a16:creationId xmlns:a16="http://schemas.microsoft.com/office/drawing/2014/main" xmlns="" id="{9E8C2FFB-FC3F-4B92-8874-BF80C86ACD7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85" name="Line 204">
                    <a:extLst>
                      <a:ext uri="{FF2B5EF4-FFF2-40B4-BE49-F238E27FC236}">
                        <a16:creationId xmlns:a16="http://schemas.microsoft.com/office/drawing/2014/main" xmlns="" id="{3CC042E0-3E10-4922-83D3-74ECAC601B8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86" name="Line 205">
                    <a:extLst>
                      <a:ext uri="{FF2B5EF4-FFF2-40B4-BE49-F238E27FC236}">
                        <a16:creationId xmlns:a16="http://schemas.microsoft.com/office/drawing/2014/main" xmlns="" id="{2FD88531-6AA4-4ACE-B263-AE8E588826C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87" name="Line 206">
                    <a:extLst>
                      <a:ext uri="{FF2B5EF4-FFF2-40B4-BE49-F238E27FC236}">
                        <a16:creationId xmlns:a16="http://schemas.microsoft.com/office/drawing/2014/main" xmlns="" id="{7AC6BD20-3497-46B4-B1EC-12E86453B5D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375" name="Group 1374">
                  <a:extLst>
                    <a:ext uri="{FF2B5EF4-FFF2-40B4-BE49-F238E27FC236}">
                      <a16:creationId xmlns:a16="http://schemas.microsoft.com/office/drawing/2014/main" xmlns="" id="{A8584F36-CE14-4605-B685-08B96B199CA5}"/>
                    </a:ext>
                  </a:extLst>
                </p:cNvPr>
                <p:cNvGrpSpPr/>
                <p:nvPr/>
              </p:nvGrpSpPr>
              <p:grpSpPr>
                <a:xfrm>
                  <a:off x="4627073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376" name="Freeform 201">
                    <a:extLst>
                      <a:ext uri="{FF2B5EF4-FFF2-40B4-BE49-F238E27FC236}">
                        <a16:creationId xmlns:a16="http://schemas.microsoft.com/office/drawing/2014/main" xmlns="" id="{2634C946-0F56-4FA2-8123-F1B493290EB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77" name="Line 202">
                    <a:extLst>
                      <a:ext uri="{FF2B5EF4-FFF2-40B4-BE49-F238E27FC236}">
                        <a16:creationId xmlns:a16="http://schemas.microsoft.com/office/drawing/2014/main" xmlns="" id="{D2394402-E969-464A-A52F-31E7E9EA7DE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78" name="Line 203">
                    <a:extLst>
                      <a:ext uri="{FF2B5EF4-FFF2-40B4-BE49-F238E27FC236}">
                        <a16:creationId xmlns:a16="http://schemas.microsoft.com/office/drawing/2014/main" xmlns="" id="{326D55B9-D60D-4C46-A920-62A652E091B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79" name="Line 204">
                    <a:extLst>
                      <a:ext uri="{FF2B5EF4-FFF2-40B4-BE49-F238E27FC236}">
                        <a16:creationId xmlns:a16="http://schemas.microsoft.com/office/drawing/2014/main" xmlns="" id="{FACDABAF-08D9-4FB0-BDD5-D3CA9715AA1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80" name="Line 205">
                    <a:extLst>
                      <a:ext uri="{FF2B5EF4-FFF2-40B4-BE49-F238E27FC236}">
                        <a16:creationId xmlns:a16="http://schemas.microsoft.com/office/drawing/2014/main" xmlns="" id="{7F2887AC-8B36-4E3F-8C64-D2E63BAD261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81" name="Line 206">
                    <a:extLst>
                      <a:ext uri="{FF2B5EF4-FFF2-40B4-BE49-F238E27FC236}">
                        <a16:creationId xmlns:a16="http://schemas.microsoft.com/office/drawing/2014/main" xmlns="" id="{441A9F81-B62B-47D4-967A-D124C42BEF7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</p:grpSp>
          <p:cxnSp>
            <p:nvCxnSpPr>
              <p:cNvPr id="1313" name="Connector: Elbow 1312">
                <a:extLst>
                  <a:ext uri="{FF2B5EF4-FFF2-40B4-BE49-F238E27FC236}">
                    <a16:creationId xmlns:a16="http://schemas.microsoft.com/office/drawing/2014/main" xmlns="" id="{B796D1FC-881A-4D36-BA34-5A910E0162B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4048619" y="2457485"/>
                <a:ext cx="279960" cy="142643"/>
              </a:xfrm>
              <a:prstGeom prst="bentConnector3">
                <a:avLst>
                  <a:gd name="adj1" fmla="val -184"/>
                </a:avLst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4" name="Connector: Elbow 1313">
                <a:extLst>
                  <a:ext uri="{FF2B5EF4-FFF2-40B4-BE49-F238E27FC236}">
                    <a16:creationId xmlns:a16="http://schemas.microsoft.com/office/drawing/2014/main" xmlns="" id="{E7BD0243-070C-4CD4-8408-FE4472A6579F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V="1">
                <a:off x="4048619" y="2743415"/>
                <a:ext cx="279960" cy="142643"/>
              </a:xfrm>
              <a:prstGeom prst="bentConnector3">
                <a:avLst>
                  <a:gd name="adj1" fmla="val -184"/>
                </a:avLst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5" name="Connector: Elbow 1314">
                <a:extLst>
                  <a:ext uri="{FF2B5EF4-FFF2-40B4-BE49-F238E27FC236}">
                    <a16:creationId xmlns:a16="http://schemas.microsoft.com/office/drawing/2014/main" xmlns="" id="{2FE0BFEB-B6A1-421C-86E7-778739B2A981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4673799" y="2457485"/>
                <a:ext cx="279960" cy="142643"/>
              </a:xfrm>
              <a:prstGeom prst="bentConnector3">
                <a:avLst>
                  <a:gd name="adj1" fmla="val -184"/>
                </a:avLst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6" name="Straight Connector 1315">
                <a:extLst>
                  <a:ext uri="{FF2B5EF4-FFF2-40B4-BE49-F238E27FC236}">
                    <a16:creationId xmlns:a16="http://schemas.microsoft.com/office/drawing/2014/main" xmlns="" id="{FDC6A948-5310-4CC0-8DFA-3786E0D2BF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68603" y="2546297"/>
                <a:ext cx="0" cy="238710"/>
              </a:xfrm>
              <a:prstGeom prst="line">
                <a:avLst/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7" name="Straight Connector 1316">
                <a:extLst>
                  <a:ext uri="{FF2B5EF4-FFF2-40B4-BE49-F238E27FC236}">
                    <a16:creationId xmlns:a16="http://schemas.microsoft.com/office/drawing/2014/main" xmlns="" id="{C3AECA82-D0DF-4F4A-914A-4A41789E564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28147" y="2546297"/>
                <a:ext cx="0" cy="238710"/>
              </a:xfrm>
              <a:prstGeom prst="line">
                <a:avLst/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8" name="Straight Connector 1317">
                <a:extLst>
                  <a:ext uri="{FF2B5EF4-FFF2-40B4-BE49-F238E27FC236}">
                    <a16:creationId xmlns:a16="http://schemas.microsoft.com/office/drawing/2014/main" xmlns="" id="{19A4C257-5362-49FB-B444-535F5CD9A03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887691" y="2546297"/>
                <a:ext cx="0" cy="238710"/>
              </a:xfrm>
              <a:prstGeom prst="line">
                <a:avLst/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19" name="yellow 1">
                <a:extLst>
                  <a:ext uri="{FF2B5EF4-FFF2-40B4-BE49-F238E27FC236}">
                    <a16:creationId xmlns:a16="http://schemas.microsoft.com/office/drawing/2014/main" xmlns="" id="{39FD6921-B618-477D-ABC9-81B424E197A9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554418" y="2805895"/>
                <a:ext cx="45719" cy="45719"/>
              </a:xfrm>
              <a:prstGeom prst="ellipse">
                <a:avLst/>
              </a:prstGeom>
              <a:solidFill>
                <a:schemeClr val="accent5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20" name="blue 1">
                <a:extLst>
                  <a:ext uri="{FF2B5EF4-FFF2-40B4-BE49-F238E27FC236}">
                    <a16:creationId xmlns:a16="http://schemas.microsoft.com/office/drawing/2014/main" xmlns="" id="{F772E08A-D230-4205-82AC-7514C47F3D1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554000" y="2803499"/>
                <a:ext cx="45719" cy="45719"/>
              </a:xfrm>
              <a:prstGeom prst="ellipse">
                <a:avLst/>
              </a:prstGeom>
              <a:solidFill>
                <a:schemeClr val="accent1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21" name="green 1">
                <a:extLst>
                  <a:ext uri="{FF2B5EF4-FFF2-40B4-BE49-F238E27FC236}">
                    <a16:creationId xmlns:a16="http://schemas.microsoft.com/office/drawing/2014/main" xmlns="" id="{55BB5A97-5BFF-4476-AEFC-4874FD318CCE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553996" y="2805879"/>
                <a:ext cx="45719" cy="45719"/>
              </a:xfrm>
              <a:prstGeom prst="ellipse">
                <a:avLst/>
              </a:prstGeom>
              <a:solidFill>
                <a:schemeClr val="accent2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22" name="green 2">
                <a:extLst>
                  <a:ext uri="{FF2B5EF4-FFF2-40B4-BE49-F238E27FC236}">
                    <a16:creationId xmlns:a16="http://schemas.microsoft.com/office/drawing/2014/main" xmlns="" id="{262E9D11-047D-4588-B688-9B8314A0F41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706818" y="2800766"/>
                <a:ext cx="45719" cy="45719"/>
              </a:xfrm>
              <a:prstGeom prst="ellipse">
                <a:avLst/>
              </a:prstGeom>
              <a:solidFill>
                <a:schemeClr val="accent2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23" name="yellow 2">
                <a:extLst>
                  <a:ext uri="{FF2B5EF4-FFF2-40B4-BE49-F238E27FC236}">
                    <a16:creationId xmlns:a16="http://schemas.microsoft.com/office/drawing/2014/main" xmlns="" id="{DDE8B42E-1023-4B06-B878-2A5863FB5F83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708826" y="2805879"/>
                <a:ext cx="45719" cy="45719"/>
              </a:xfrm>
              <a:prstGeom prst="ellipse">
                <a:avLst/>
              </a:prstGeom>
              <a:solidFill>
                <a:schemeClr val="accent5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24" name="blue 2">
                <a:extLst>
                  <a:ext uri="{FF2B5EF4-FFF2-40B4-BE49-F238E27FC236}">
                    <a16:creationId xmlns:a16="http://schemas.microsoft.com/office/drawing/2014/main" xmlns="" id="{D2327455-43E5-4825-8CDD-C67EDAAEDA9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703484" y="2805879"/>
                <a:ext cx="45719" cy="45719"/>
              </a:xfrm>
              <a:prstGeom prst="ellipse">
                <a:avLst/>
              </a:prstGeom>
              <a:solidFill>
                <a:schemeClr val="accent1">
                  <a:alpha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25" name="yellow 3">
                <a:extLst>
                  <a:ext uri="{FF2B5EF4-FFF2-40B4-BE49-F238E27FC236}">
                    <a16:creationId xmlns:a16="http://schemas.microsoft.com/office/drawing/2014/main" xmlns="" id="{7F38B77E-4394-46D7-B0F2-2D5405669F7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872717" y="2800766"/>
                <a:ext cx="45719" cy="45719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26" name="green 3">
                <a:extLst>
                  <a:ext uri="{FF2B5EF4-FFF2-40B4-BE49-F238E27FC236}">
                    <a16:creationId xmlns:a16="http://schemas.microsoft.com/office/drawing/2014/main" xmlns="" id="{2217F4FD-75BD-4960-B351-C446539E2B5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872717" y="2800766"/>
                <a:ext cx="45719" cy="4571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27" name="blue 3">
                <a:extLst>
                  <a:ext uri="{FF2B5EF4-FFF2-40B4-BE49-F238E27FC236}">
                    <a16:creationId xmlns:a16="http://schemas.microsoft.com/office/drawing/2014/main" xmlns="" id="{85E597EB-C460-42C1-BF1A-C7EF481FD1A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872730" y="2803155"/>
                <a:ext cx="45719" cy="45719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grpSp>
            <p:nvGrpSpPr>
              <p:cNvPr id="1328" name="Group 1327">
                <a:extLst>
                  <a:ext uri="{FF2B5EF4-FFF2-40B4-BE49-F238E27FC236}">
                    <a16:creationId xmlns:a16="http://schemas.microsoft.com/office/drawing/2014/main" xmlns="" id="{1429F75D-6644-4820-AEEB-0E668019992B}"/>
                  </a:ext>
                </a:extLst>
              </p:cNvPr>
              <p:cNvGrpSpPr/>
              <p:nvPr/>
            </p:nvGrpSpPr>
            <p:grpSpPr>
              <a:xfrm>
                <a:off x="7488807" y="2214899"/>
                <a:ext cx="465186" cy="337180"/>
                <a:chOff x="4207537" y="2273730"/>
                <a:chExt cx="598923" cy="434116"/>
              </a:xfrm>
            </p:grpSpPr>
            <p:grpSp>
              <p:nvGrpSpPr>
                <p:cNvPr id="1352" name="Group 1351">
                  <a:extLst>
                    <a:ext uri="{FF2B5EF4-FFF2-40B4-BE49-F238E27FC236}">
                      <a16:creationId xmlns:a16="http://schemas.microsoft.com/office/drawing/2014/main" xmlns="" id="{9BD5A9F7-23C0-444F-AA44-269FA55BBC05}"/>
                    </a:ext>
                  </a:extLst>
                </p:cNvPr>
                <p:cNvGrpSpPr/>
                <p:nvPr/>
              </p:nvGrpSpPr>
              <p:grpSpPr>
                <a:xfrm>
                  <a:off x="4207537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367" name="Freeform 201">
                    <a:extLst>
                      <a:ext uri="{FF2B5EF4-FFF2-40B4-BE49-F238E27FC236}">
                        <a16:creationId xmlns:a16="http://schemas.microsoft.com/office/drawing/2014/main" xmlns="" id="{76CDA68A-18E3-41CD-BE46-52D0A8E4932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68" name="Line 202">
                    <a:extLst>
                      <a:ext uri="{FF2B5EF4-FFF2-40B4-BE49-F238E27FC236}">
                        <a16:creationId xmlns:a16="http://schemas.microsoft.com/office/drawing/2014/main" xmlns="" id="{EAB348DF-8A59-49B8-9583-FDD55CCB0C1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69" name="Line 203">
                    <a:extLst>
                      <a:ext uri="{FF2B5EF4-FFF2-40B4-BE49-F238E27FC236}">
                        <a16:creationId xmlns:a16="http://schemas.microsoft.com/office/drawing/2014/main" xmlns="" id="{37F440BE-CC4B-47D8-9F51-02C1A1B8A1F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70" name="Line 204">
                    <a:extLst>
                      <a:ext uri="{FF2B5EF4-FFF2-40B4-BE49-F238E27FC236}">
                        <a16:creationId xmlns:a16="http://schemas.microsoft.com/office/drawing/2014/main" xmlns="" id="{B656AE6B-90E0-4C15-9E64-D413ED97DC7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71" name="Line 205">
                    <a:extLst>
                      <a:ext uri="{FF2B5EF4-FFF2-40B4-BE49-F238E27FC236}">
                        <a16:creationId xmlns:a16="http://schemas.microsoft.com/office/drawing/2014/main" xmlns="" id="{3396C86F-3EDC-439B-8FFE-B6773ADBA22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72" name="Line 206">
                    <a:extLst>
                      <a:ext uri="{FF2B5EF4-FFF2-40B4-BE49-F238E27FC236}">
                        <a16:creationId xmlns:a16="http://schemas.microsoft.com/office/drawing/2014/main" xmlns="" id="{2B9C6EF7-278E-488F-A298-9D09E145B2B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353" name="Group 1352">
                  <a:extLst>
                    <a:ext uri="{FF2B5EF4-FFF2-40B4-BE49-F238E27FC236}">
                      <a16:creationId xmlns:a16="http://schemas.microsoft.com/office/drawing/2014/main" xmlns="" id="{63AFE9C6-2198-4C89-9597-06DAB91C1E8D}"/>
                    </a:ext>
                  </a:extLst>
                </p:cNvPr>
                <p:cNvGrpSpPr/>
                <p:nvPr/>
              </p:nvGrpSpPr>
              <p:grpSpPr>
                <a:xfrm>
                  <a:off x="4417305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361" name="Freeform 201">
                    <a:extLst>
                      <a:ext uri="{FF2B5EF4-FFF2-40B4-BE49-F238E27FC236}">
                        <a16:creationId xmlns:a16="http://schemas.microsoft.com/office/drawing/2014/main" xmlns="" id="{4877CFAE-A42D-4D67-9B37-D3F5454637E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62" name="Line 202">
                    <a:extLst>
                      <a:ext uri="{FF2B5EF4-FFF2-40B4-BE49-F238E27FC236}">
                        <a16:creationId xmlns:a16="http://schemas.microsoft.com/office/drawing/2014/main" xmlns="" id="{DAF74B33-5245-4174-859B-FBF3C2C8EED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63" name="Line 203">
                    <a:extLst>
                      <a:ext uri="{FF2B5EF4-FFF2-40B4-BE49-F238E27FC236}">
                        <a16:creationId xmlns:a16="http://schemas.microsoft.com/office/drawing/2014/main" xmlns="" id="{1DC83C29-68FB-44FF-98DB-EA461A3BC0C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64" name="Line 204">
                    <a:extLst>
                      <a:ext uri="{FF2B5EF4-FFF2-40B4-BE49-F238E27FC236}">
                        <a16:creationId xmlns:a16="http://schemas.microsoft.com/office/drawing/2014/main" xmlns="" id="{D0035024-D58A-405D-B4E3-3F4DB0F0C60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65" name="Line 205">
                    <a:extLst>
                      <a:ext uri="{FF2B5EF4-FFF2-40B4-BE49-F238E27FC236}">
                        <a16:creationId xmlns:a16="http://schemas.microsoft.com/office/drawing/2014/main" xmlns="" id="{F44F2ACF-3F96-4AED-9D26-022054FD521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66" name="Line 206">
                    <a:extLst>
                      <a:ext uri="{FF2B5EF4-FFF2-40B4-BE49-F238E27FC236}">
                        <a16:creationId xmlns:a16="http://schemas.microsoft.com/office/drawing/2014/main" xmlns="" id="{13A394DE-B2E3-4698-BBD5-BA3474F4B63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354" name="Group 1353">
                  <a:extLst>
                    <a:ext uri="{FF2B5EF4-FFF2-40B4-BE49-F238E27FC236}">
                      <a16:creationId xmlns:a16="http://schemas.microsoft.com/office/drawing/2014/main" xmlns="" id="{30AF7DB4-78C2-4E15-B2AA-17A33F2BCE41}"/>
                    </a:ext>
                  </a:extLst>
                </p:cNvPr>
                <p:cNvGrpSpPr/>
                <p:nvPr/>
              </p:nvGrpSpPr>
              <p:grpSpPr>
                <a:xfrm>
                  <a:off x="4627073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355" name="Freeform 201">
                    <a:extLst>
                      <a:ext uri="{FF2B5EF4-FFF2-40B4-BE49-F238E27FC236}">
                        <a16:creationId xmlns:a16="http://schemas.microsoft.com/office/drawing/2014/main" xmlns="" id="{EAB6D91F-97D6-426F-8BCC-5599F0E7D7C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56" name="Line 202">
                    <a:extLst>
                      <a:ext uri="{FF2B5EF4-FFF2-40B4-BE49-F238E27FC236}">
                        <a16:creationId xmlns:a16="http://schemas.microsoft.com/office/drawing/2014/main" xmlns="" id="{62B4A26B-4B69-4081-A706-4F9E9BB7F59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57" name="Line 203">
                    <a:extLst>
                      <a:ext uri="{FF2B5EF4-FFF2-40B4-BE49-F238E27FC236}">
                        <a16:creationId xmlns:a16="http://schemas.microsoft.com/office/drawing/2014/main" xmlns="" id="{454D3A08-1C82-4B36-8F1E-230E40FCF02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58" name="Line 204">
                    <a:extLst>
                      <a:ext uri="{FF2B5EF4-FFF2-40B4-BE49-F238E27FC236}">
                        <a16:creationId xmlns:a16="http://schemas.microsoft.com/office/drawing/2014/main" xmlns="" id="{30049A41-E07F-409F-B32C-86E6B18F3F4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59" name="Line 205">
                    <a:extLst>
                      <a:ext uri="{FF2B5EF4-FFF2-40B4-BE49-F238E27FC236}">
                        <a16:creationId xmlns:a16="http://schemas.microsoft.com/office/drawing/2014/main" xmlns="" id="{7B76C959-3798-462D-A066-980645A3490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60" name="Line 206">
                    <a:extLst>
                      <a:ext uri="{FF2B5EF4-FFF2-40B4-BE49-F238E27FC236}">
                        <a16:creationId xmlns:a16="http://schemas.microsoft.com/office/drawing/2014/main" xmlns="" id="{4EA62D15-0F79-4AC3-B55D-B38A8AB857D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</p:grpSp>
          <p:grpSp>
            <p:nvGrpSpPr>
              <p:cNvPr id="1329" name="Group 1328">
                <a:extLst>
                  <a:ext uri="{FF2B5EF4-FFF2-40B4-BE49-F238E27FC236}">
                    <a16:creationId xmlns:a16="http://schemas.microsoft.com/office/drawing/2014/main" xmlns="" id="{C11FFF35-7BA6-4301-89A4-34889477FC45}"/>
                  </a:ext>
                </a:extLst>
              </p:cNvPr>
              <p:cNvGrpSpPr/>
              <p:nvPr/>
            </p:nvGrpSpPr>
            <p:grpSpPr>
              <a:xfrm>
                <a:off x="7488807" y="2780652"/>
                <a:ext cx="465186" cy="337180"/>
                <a:chOff x="4207537" y="2273730"/>
                <a:chExt cx="598923" cy="434116"/>
              </a:xfrm>
            </p:grpSpPr>
            <p:grpSp>
              <p:nvGrpSpPr>
                <p:cNvPr id="1331" name="Group 1330">
                  <a:extLst>
                    <a:ext uri="{FF2B5EF4-FFF2-40B4-BE49-F238E27FC236}">
                      <a16:creationId xmlns:a16="http://schemas.microsoft.com/office/drawing/2014/main" xmlns="" id="{A84C2F32-A2BF-4562-8CA3-29880DACAE8A}"/>
                    </a:ext>
                  </a:extLst>
                </p:cNvPr>
                <p:cNvGrpSpPr/>
                <p:nvPr/>
              </p:nvGrpSpPr>
              <p:grpSpPr>
                <a:xfrm>
                  <a:off x="4207537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346" name="Freeform 201">
                    <a:extLst>
                      <a:ext uri="{FF2B5EF4-FFF2-40B4-BE49-F238E27FC236}">
                        <a16:creationId xmlns:a16="http://schemas.microsoft.com/office/drawing/2014/main" xmlns="" id="{4A46E13B-DB82-442F-98E6-636FFB5776E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47" name="Line 202">
                    <a:extLst>
                      <a:ext uri="{FF2B5EF4-FFF2-40B4-BE49-F238E27FC236}">
                        <a16:creationId xmlns:a16="http://schemas.microsoft.com/office/drawing/2014/main" xmlns="" id="{BF1B5DB5-8282-460C-8188-DA57041930E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48" name="Line 203">
                    <a:extLst>
                      <a:ext uri="{FF2B5EF4-FFF2-40B4-BE49-F238E27FC236}">
                        <a16:creationId xmlns:a16="http://schemas.microsoft.com/office/drawing/2014/main" xmlns="" id="{17F198B9-8D33-42BD-A598-7BDF4ABE1E0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49" name="Line 204">
                    <a:extLst>
                      <a:ext uri="{FF2B5EF4-FFF2-40B4-BE49-F238E27FC236}">
                        <a16:creationId xmlns:a16="http://schemas.microsoft.com/office/drawing/2014/main" xmlns="" id="{78E9E89C-4EE6-4A42-AE1D-5DB37A60AAB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50" name="Line 205">
                    <a:extLst>
                      <a:ext uri="{FF2B5EF4-FFF2-40B4-BE49-F238E27FC236}">
                        <a16:creationId xmlns:a16="http://schemas.microsoft.com/office/drawing/2014/main" xmlns="" id="{28ECD55C-999F-4AE5-A381-3306E3E1D50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51" name="Line 206">
                    <a:extLst>
                      <a:ext uri="{FF2B5EF4-FFF2-40B4-BE49-F238E27FC236}">
                        <a16:creationId xmlns:a16="http://schemas.microsoft.com/office/drawing/2014/main" xmlns="" id="{8DE9CC16-C3C6-414E-B641-66C20ECC4AF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332" name="Group 1331">
                  <a:extLst>
                    <a:ext uri="{FF2B5EF4-FFF2-40B4-BE49-F238E27FC236}">
                      <a16:creationId xmlns:a16="http://schemas.microsoft.com/office/drawing/2014/main" xmlns="" id="{A40FC9FC-57AF-4CA1-A669-015980F5144B}"/>
                    </a:ext>
                  </a:extLst>
                </p:cNvPr>
                <p:cNvGrpSpPr/>
                <p:nvPr/>
              </p:nvGrpSpPr>
              <p:grpSpPr>
                <a:xfrm>
                  <a:off x="4417305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340" name="Freeform 201">
                    <a:extLst>
                      <a:ext uri="{FF2B5EF4-FFF2-40B4-BE49-F238E27FC236}">
                        <a16:creationId xmlns:a16="http://schemas.microsoft.com/office/drawing/2014/main" xmlns="" id="{793CBE72-CFB0-48A6-A97D-AF0FC06A409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41" name="Line 202">
                    <a:extLst>
                      <a:ext uri="{FF2B5EF4-FFF2-40B4-BE49-F238E27FC236}">
                        <a16:creationId xmlns:a16="http://schemas.microsoft.com/office/drawing/2014/main" xmlns="" id="{96C3AF17-350D-4072-823A-CDAD09C3D2E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42" name="Line 203">
                    <a:extLst>
                      <a:ext uri="{FF2B5EF4-FFF2-40B4-BE49-F238E27FC236}">
                        <a16:creationId xmlns:a16="http://schemas.microsoft.com/office/drawing/2014/main" xmlns="" id="{F05F57B9-8A46-4E19-A610-0C8D6A25239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43" name="Line 204">
                    <a:extLst>
                      <a:ext uri="{FF2B5EF4-FFF2-40B4-BE49-F238E27FC236}">
                        <a16:creationId xmlns:a16="http://schemas.microsoft.com/office/drawing/2014/main" xmlns="" id="{49F85A13-56C7-47ED-B077-C609CA3BE97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44" name="Line 205">
                    <a:extLst>
                      <a:ext uri="{FF2B5EF4-FFF2-40B4-BE49-F238E27FC236}">
                        <a16:creationId xmlns:a16="http://schemas.microsoft.com/office/drawing/2014/main" xmlns="" id="{C38F882E-006E-499B-9445-64444C4DD5A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45" name="Line 206">
                    <a:extLst>
                      <a:ext uri="{FF2B5EF4-FFF2-40B4-BE49-F238E27FC236}">
                        <a16:creationId xmlns:a16="http://schemas.microsoft.com/office/drawing/2014/main" xmlns="" id="{FF05488F-C68C-42C2-8475-A8B28E135AF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333" name="Group 1332">
                  <a:extLst>
                    <a:ext uri="{FF2B5EF4-FFF2-40B4-BE49-F238E27FC236}">
                      <a16:creationId xmlns:a16="http://schemas.microsoft.com/office/drawing/2014/main" xmlns="" id="{C64B492E-ED5C-4419-8387-B70665C97E96}"/>
                    </a:ext>
                  </a:extLst>
                </p:cNvPr>
                <p:cNvGrpSpPr/>
                <p:nvPr/>
              </p:nvGrpSpPr>
              <p:grpSpPr>
                <a:xfrm>
                  <a:off x="4627073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334" name="Freeform 201">
                    <a:extLst>
                      <a:ext uri="{FF2B5EF4-FFF2-40B4-BE49-F238E27FC236}">
                        <a16:creationId xmlns:a16="http://schemas.microsoft.com/office/drawing/2014/main" xmlns="" id="{EC6A4265-F931-40C1-8773-EBA84F951B5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35" name="Line 202">
                    <a:extLst>
                      <a:ext uri="{FF2B5EF4-FFF2-40B4-BE49-F238E27FC236}">
                        <a16:creationId xmlns:a16="http://schemas.microsoft.com/office/drawing/2014/main" xmlns="" id="{53189F08-77D7-479F-B6F4-0990B90BFCD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36" name="Line 203">
                    <a:extLst>
                      <a:ext uri="{FF2B5EF4-FFF2-40B4-BE49-F238E27FC236}">
                        <a16:creationId xmlns:a16="http://schemas.microsoft.com/office/drawing/2014/main" xmlns="" id="{2E1A06D6-8EB3-463C-B70F-0E76B5DC052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37" name="Line 204">
                    <a:extLst>
                      <a:ext uri="{FF2B5EF4-FFF2-40B4-BE49-F238E27FC236}">
                        <a16:creationId xmlns:a16="http://schemas.microsoft.com/office/drawing/2014/main" xmlns="" id="{866D63A5-EC4A-4A61-90AF-DCDEE371CEA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38" name="Line 205">
                    <a:extLst>
                      <a:ext uri="{FF2B5EF4-FFF2-40B4-BE49-F238E27FC236}">
                        <a16:creationId xmlns:a16="http://schemas.microsoft.com/office/drawing/2014/main" xmlns="" id="{5D83B56A-0D5A-41F4-A11C-7B319345628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339" name="Line 206">
                    <a:extLst>
                      <a:ext uri="{FF2B5EF4-FFF2-40B4-BE49-F238E27FC236}">
                        <a16:creationId xmlns:a16="http://schemas.microsoft.com/office/drawing/2014/main" xmlns="" id="{6E7B0BAC-B95A-4E9B-94F5-D291CAE8FD6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</p:grpSp>
          <p:pic>
            <p:nvPicPr>
              <p:cNvPr id="1330" name="Picture 1329">
                <a:extLst>
                  <a:ext uri="{FF2B5EF4-FFF2-40B4-BE49-F238E27FC236}">
                    <a16:creationId xmlns:a16="http://schemas.microsoft.com/office/drawing/2014/main" xmlns="" id="{D4BA1966-E696-4A7F-97D8-C8B3815751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30879" y="3291285"/>
                <a:ext cx="430049" cy="430049"/>
              </a:xfrm>
              <a:prstGeom prst="rect">
                <a:avLst/>
              </a:prstGeom>
            </p:spPr>
          </p:pic>
        </p:grpSp>
        <p:pic>
          <p:nvPicPr>
            <p:cNvPr id="1448" name="Graphic 1447">
              <a:extLst>
                <a:ext uri="{FF2B5EF4-FFF2-40B4-BE49-F238E27FC236}">
                  <a16:creationId xmlns:a16="http://schemas.microsoft.com/office/drawing/2014/main" xmlns="" id="{4F2D5220-93BF-4DBF-B40E-751F694827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>
              <a:extLst>
                <a:ext uri="{96DAC541-7B7A-43D3-8B79-37D633B846F1}">
                  <asvg:svgBlip xmlns:asvg="http://schemas.microsoft.com/office/drawing/2016/SVG/main" xmlns="" r:embed="rId43"/>
                </a:ext>
              </a:extLst>
            </a:blip>
            <a:stretch>
              <a:fillRect/>
            </a:stretch>
          </p:blipFill>
          <p:spPr>
            <a:xfrm>
              <a:off x="4274353" y="1630273"/>
              <a:ext cx="422385" cy="422385"/>
            </a:xfrm>
            <a:prstGeom prst="rect">
              <a:avLst/>
            </a:prstGeom>
          </p:spPr>
        </p:pic>
      </p:grpSp>
      <p:sp>
        <p:nvSpPr>
          <p:cNvPr id="3444" name="Freeform: Shape 3443">
            <a:extLst>
              <a:ext uri="{FF2B5EF4-FFF2-40B4-BE49-F238E27FC236}">
                <a16:creationId xmlns:a16="http://schemas.microsoft.com/office/drawing/2014/main" xmlns="" id="{469A5848-6187-4192-A46B-755A9A8A9D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31135" y="1260459"/>
            <a:ext cx="6374240" cy="2674054"/>
          </a:xfrm>
          <a:custGeom>
            <a:avLst/>
            <a:gdLst>
              <a:gd name="connsiteX0" fmla="*/ 4794585 w 6374240"/>
              <a:gd name="connsiteY0" fmla="*/ 259675 h 2674054"/>
              <a:gd name="connsiteX1" fmla="*/ 3655701 w 6374240"/>
              <a:gd name="connsiteY1" fmla="*/ 1395157 h 2674054"/>
              <a:gd name="connsiteX2" fmla="*/ 4794585 w 6374240"/>
              <a:gd name="connsiteY2" fmla="*/ 2530639 h 2674054"/>
              <a:gd name="connsiteX3" fmla="*/ 5933469 w 6374240"/>
              <a:gd name="connsiteY3" fmla="*/ 1395157 h 2674054"/>
              <a:gd name="connsiteX4" fmla="*/ 4794585 w 6374240"/>
              <a:gd name="connsiteY4" fmla="*/ 259675 h 2674054"/>
              <a:gd name="connsiteX5" fmla="*/ 1574605 w 6374240"/>
              <a:gd name="connsiteY5" fmla="*/ 259673 h 2674054"/>
              <a:gd name="connsiteX6" fmla="*/ 428923 w 6374240"/>
              <a:gd name="connsiteY6" fmla="*/ 1395156 h 2674054"/>
              <a:gd name="connsiteX7" fmla="*/ 1574605 w 6374240"/>
              <a:gd name="connsiteY7" fmla="*/ 2530639 h 2674054"/>
              <a:gd name="connsiteX8" fmla="*/ 2720287 w 6374240"/>
              <a:gd name="connsiteY8" fmla="*/ 1395156 h 2674054"/>
              <a:gd name="connsiteX9" fmla="*/ 1574605 w 6374240"/>
              <a:gd name="connsiteY9" fmla="*/ 259673 h 2674054"/>
              <a:gd name="connsiteX10" fmla="*/ 3181118 w 6374240"/>
              <a:gd name="connsiteY10" fmla="*/ 0 h 2674054"/>
              <a:gd name="connsiteX11" fmla="*/ 3925380 w 6374240"/>
              <a:gd name="connsiteY11" fmla="*/ 455668 h 2674054"/>
              <a:gd name="connsiteX12" fmla="*/ 4789683 w 6374240"/>
              <a:gd name="connsiteY12" fmla="*/ 119913 h 2674054"/>
              <a:gd name="connsiteX13" fmla="*/ 5822046 w 6374240"/>
              <a:gd name="connsiteY13" fmla="*/ 635538 h 2674054"/>
              <a:gd name="connsiteX14" fmla="*/ 6374240 w 6374240"/>
              <a:gd name="connsiteY14" fmla="*/ 1390988 h 2674054"/>
              <a:gd name="connsiteX15" fmla="*/ 5822046 w 6374240"/>
              <a:gd name="connsiteY15" fmla="*/ 2158429 h 2674054"/>
              <a:gd name="connsiteX16" fmla="*/ 4789683 w 6374240"/>
              <a:gd name="connsiteY16" fmla="*/ 2674054 h 2674054"/>
              <a:gd name="connsiteX17" fmla="*/ 3529240 w 6374240"/>
              <a:gd name="connsiteY17" fmla="*/ 1606831 h 2674054"/>
              <a:gd name="connsiteX18" fmla="*/ 3181118 w 6374240"/>
              <a:gd name="connsiteY18" fmla="*/ 1678778 h 2674054"/>
              <a:gd name="connsiteX19" fmla="*/ 2832996 w 6374240"/>
              <a:gd name="connsiteY19" fmla="*/ 1606831 h 2674054"/>
              <a:gd name="connsiteX20" fmla="*/ 1572553 w 6374240"/>
              <a:gd name="connsiteY20" fmla="*/ 2674054 h 2674054"/>
              <a:gd name="connsiteX21" fmla="*/ 540190 w 6374240"/>
              <a:gd name="connsiteY21" fmla="*/ 2158429 h 2674054"/>
              <a:gd name="connsiteX22" fmla="*/ 0 w 6374240"/>
              <a:gd name="connsiteY22" fmla="*/ 1390988 h 2674054"/>
              <a:gd name="connsiteX23" fmla="*/ 540190 w 6374240"/>
              <a:gd name="connsiteY23" fmla="*/ 635538 h 2674054"/>
              <a:gd name="connsiteX24" fmla="*/ 1572553 w 6374240"/>
              <a:gd name="connsiteY24" fmla="*/ 119913 h 2674054"/>
              <a:gd name="connsiteX25" fmla="*/ 2436856 w 6374240"/>
              <a:gd name="connsiteY25" fmla="*/ 455668 h 2674054"/>
              <a:gd name="connsiteX26" fmla="*/ 3181118 w 6374240"/>
              <a:gd name="connsiteY26" fmla="*/ 0 h 2674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74240" h="2674054">
                <a:moveTo>
                  <a:pt x="4794585" y="259675"/>
                </a:moveTo>
                <a:cubicBezTo>
                  <a:pt x="4165597" y="259675"/>
                  <a:pt x="3655701" y="768048"/>
                  <a:pt x="3655701" y="1395157"/>
                </a:cubicBezTo>
                <a:cubicBezTo>
                  <a:pt x="3655701" y="2022266"/>
                  <a:pt x="4165597" y="2530639"/>
                  <a:pt x="4794585" y="2530639"/>
                </a:cubicBezTo>
                <a:cubicBezTo>
                  <a:pt x="5423573" y="2530639"/>
                  <a:pt x="5933469" y="2022266"/>
                  <a:pt x="5933469" y="1395157"/>
                </a:cubicBezTo>
                <a:cubicBezTo>
                  <a:pt x="5933469" y="768048"/>
                  <a:pt x="5423573" y="259675"/>
                  <a:pt x="4794585" y="259675"/>
                </a:cubicBezTo>
                <a:close/>
                <a:moveTo>
                  <a:pt x="1574605" y="259673"/>
                </a:moveTo>
                <a:cubicBezTo>
                  <a:pt x="941862" y="259673"/>
                  <a:pt x="428923" y="768046"/>
                  <a:pt x="428923" y="1395156"/>
                </a:cubicBezTo>
                <a:cubicBezTo>
                  <a:pt x="428923" y="2022266"/>
                  <a:pt x="941862" y="2530639"/>
                  <a:pt x="1574605" y="2530639"/>
                </a:cubicBezTo>
                <a:cubicBezTo>
                  <a:pt x="2207348" y="2530639"/>
                  <a:pt x="2720287" y="2022266"/>
                  <a:pt x="2720287" y="1395156"/>
                </a:cubicBezTo>
                <a:cubicBezTo>
                  <a:pt x="2720287" y="768046"/>
                  <a:pt x="2207348" y="259673"/>
                  <a:pt x="1574605" y="259673"/>
                </a:cubicBezTo>
                <a:close/>
                <a:moveTo>
                  <a:pt x="3181118" y="0"/>
                </a:moveTo>
                <a:cubicBezTo>
                  <a:pt x="3505232" y="0"/>
                  <a:pt x="3793333" y="179869"/>
                  <a:pt x="3925380" y="455668"/>
                </a:cubicBezTo>
                <a:cubicBezTo>
                  <a:pt x="4153460" y="239825"/>
                  <a:pt x="4465570" y="119913"/>
                  <a:pt x="4789683" y="119913"/>
                </a:cubicBezTo>
                <a:cubicBezTo>
                  <a:pt x="5209831" y="119913"/>
                  <a:pt x="5593966" y="323764"/>
                  <a:pt x="5822046" y="635538"/>
                </a:cubicBezTo>
                <a:cubicBezTo>
                  <a:pt x="6146160" y="743459"/>
                  <a:pt x="6374240" y="1043241"/>
                  <a:pt x="6374240" y="1390988"/>
                </a:cubicBezTo>
                <a:cubicBezTo>
                  <a:pt x="6374240" y="1750726"/>
                  <a:pt x="6146160" y="2050508"/>
                  <a:pt x="5822046" y="2158429"/>
                </a:cubicBezTo>
                <a:cubicBezTo>
                  <a:pt x="5593966" y="2470202"/>
                  <a:pt x="5209831" y="2674054"/>
                  <a:pt x="4789683" y="2674054"/>
                </a:cubicBezTo>
                <a:cubicBezTo>
                  <a:pt x="4153460" y="2674054"/>
                  <a:pt x="3625274" y="2206394"/>
                  <a:pt x="3529240" y="1606831"/>
                </a:cubicBezTo>
                <a:cubicBezTo>
                  <a:pt x="3421202" y="1654796"/>
                  <a:pt x="3313164" y="1678778"/>
                  <a:pt x="3181118" y="1678778"/>
                </a:cubicBezTo>
                <a:cubicBezTo>
                  <a:pt x="3061076" y="1678778"/>
                  <a:pt x="2941034" y="1654796"/>
                  <a:pt x="2832996" y="1606831"/>
                </a:cubicBezTo>
                <a:cubicBezTo>
                  <a:pt x="2736962" y="2206394"/>
                  <a:pt x="2208776" y="2674054"/>
                  <a:pt x="1572553" y="2674054"/>
                </a:cubicBezTo>
                <a:cubicBezTo>
                  <a:pt x="1152405" y="2674054"/>
                  <a:pt x="780274" y="2470202"/>
                  <a:pt x="540190" y="2158429"/>
                </a:cubicBezTo>
                <a:cubicBezTo>
                  <a:pt x="228080" y="2050508"/>
                  <a:pt x="0" y="1750726"/>
                  <a:pt x="0" y="1390988"/>
                </a:cubicBezTo>
                <a:cubicBezTo>
                  <a:pt x="0" y="1043241"/>
                  <a:pt x="228080" y="743459"/>
                  <a:pt x="540190" y="635538"/>
                </a:cubicBezTo>
                <a:cubicBezTo>
                  <a:pt x="780274" y="323764"/>
                  <a:pt x="1152405" y="119913"/>
                  <a:pt x="1572553" y="119913"/>
                </a:cubicBezTo>
                <a:cubicBezTo>
                  <a:pt x="1908671" y="119913"/>
                  <a:pt x="2208776" y="239825"/>
                  <a:pt x="2436856" y="455668"/>
                </a:cubicBezTo>
                <a:cubicBezTo>
                  <a:pt x="2580907" y="179869"/>
                  <a:pt x="2857004" y="0"/>
                  <a:pt x="3181118" y="0"/>
                </a:cubicBezTo>
                <a:close/>
              </a:path>
            </a:pathLst>
          </a:custGeom>
          <a:solidFill>
            <a:schemeClr val="tx2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1087" name="Group 1086">
            <a:extLst>
              <a:ext uri="{FF2B5EF4-FFF2-40B4-BE49-F238E27FC236}">
                <a16:creationId xmlns:a16="http://schemas.microsoft.com/office/drawing/2014/main" xmlns="" id="{9683F2EF-CA49-4129-B6F3-603ABE3EDCE0}"/>
              </a:ext>
            </a:extLst>
          </p:cNvPr>
          <p:cNvGrpSpPr/>
          <p:nvPr/>
        </p:nvGrpSpPr>
        <p:grpSpPr>
          <a:xfrm>
            <a:off x="4057123" y="813489"/>
            <a:ext cx="8477739" cy="3556493"/>
            <a:chOff x="2931135" y="1260458"/>
            <a:chExt cx="6374240" cy="2674055"/>
          </a:xfrm>
        </p:grpSpPr>
        <p:sp>
          <p:nvSpPr>
            <p:cNvPr id="1088" name="Oval 1087">
              <a:extLst>
                <a:ext uri="{FF2B5EF4-FFF2-40B4-BE49-F238E27FC236}">
                  <a16:creationId xmlns:a16="http://schemas.microsoft.com/office/drawing/2014/main" xmlns="" id="{ECAD525B-4872-45A5-8335-7C49D0894ACC}"/>
                </a:ext>
              </a:extLst>
            </p:cNvPr>
            <p:cNvSpPr/>
            <p:nvPr/>
          </p:nvSpPr>
          <p:spPr>
            <a:xfrm>
              <a:off x="6566463" y="1472547"/>
              <a:ext cx="2358881" cy="2358881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089" name="Oval 1088">
              <a:extLst>
                <a:ext uri="{FF2B5EF4-FFF2-40B4-BE49-F238E27FC236}">
                  <a16:creationId xmlns:a16="http://schemas.microsoft.com/office/drawing/2014/main" xmlns="" id="{59247A2B-39D7-4499-AA91-1F4761F2FC59}"/>
                </a:ext>
              </a:extLst>
            </p:cNvPr>
            <p:cNvSpPr/>
            <p:nvPr/>
          </p:nvSpPr>
          <p:spPr>
            <a:xfrm>
              <a:off x="3306000" y="1472547"/>
              <a:ext cx="2358881" cy="2358881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1090" name="Group 1089">
              <a:extLst>
                <a:ext uri="{FF2B5EF4-FFF2-40B4-BE49-F238E27FC236}">
                  <a16:creationId xmlns:a16="http://schemas.microsoft.com/office/drawing/2014/main" xmlns="" id="{B756CC73-F881-4AB6-970A-44988C966A2D}"/>
                </a:ext>
              </a:extLst>
            </p:cNvPr>
            <p:cNvGrpSpPr/>
            <p:nvPr/>
          </p:nvGrpSpPr>
          <p:grpSpPr>
            <a:xfrm>
              <a:off x="2931135" y="1260458"/>
              <a:ext cx="6374240" cy="2674055"/>
              <a:chOff x="2931135" y="1260458"/>
              <a:chExt cx="6374240" cy="2674055"/>
            </a:xfrm>
          </p:grpSpPr>
          <p:cxnSp>
            <p:nvCxnSpPr>
              <p:cNvPr id="1092" name="Straight Connector 1091">
                <a:extLst>
                  <a:ext uri="{FF2B5EF4-FFF2-40B4-BE49-F238E27FC236}">
                    <a16:creationId xmlns:a16="http://schemas.microsoft.com/office/drawing/2014/main" xmlns="" id="{5DBBE87C-7CB6-4C63-A7FD-D517D55BB2C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369412" y="3285907"/>
                <a:ext cx="184145" cy="482653"/>
              </a:xfrm>
              <a:prstGeom prst="line">
                <a:avLst/>
              </a:prstGeom>
              <a:ln w="63500">
                <a:solidFill>
                  <a:srgbClr val="EBEBE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3" name="Straight Connector 1092">
                <a:extLst>
                  <a:ext uri="{FF2B5EF4-FFF2-40B4-BE49-F238E27FC236}">
                    <a16:creationId xmlns:a16="http://schemas.microsoft.com/office/drawing/2014/main" xmlns="" id="{216FFA75-92F8-4DA9-9A80-20C813A1180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111156" y="1653749"/>
                <a:ext cx="236084" cy="327790"/>
              </a:xfrm>
              <a:prstGeom prst="line">
                <a:avLst/>
              </a:prstGeom>
              <a:ln w="63500">
                <a:solidFill>
                  <a:srgbClr val="EBEBE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4" name="Straight Connector 1093">
                <a:extLst>
                  <a:ext uri="{FF2B5EF4-FFF2-40B4-BE49-F238E27FC236}">
                    <a16:creationId xmlns:a16="http://schemas.microsoft.com/office/drawing/2014/main" xmlns="" id="{157D3BBD-EF22-47C3-8160-3EC3998D42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01106" y="1863496"/>
                <a:ext cx="294917" cy="308294"/>
              </a:xfrm>
              <a:prstGeom prst="line">
                <a:avLst/>
              </a:prstGeom>
              <a:ln w="63500">
                <a:solidFill>
                  <a:srgbClr val="EBEBE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5" name="Straight Connector 1094">
                <a:extLst>
                  <a:ext uri="{FF2B5EF4-FFF2-40B4-BE49-F238E27FC236}">
                    <a16:creationId xmlns:a16="http://schemas.microsoft.com/office/drawing/2014/main" xmlns="" id="{36C38D70-A718-46D1-BE37-ACE819CEBC4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117710" y="3252958"/>
                <a:ext cx="234229" cy="157829"/>
              </a:xfrm>
              <a:prstGeom prst="line">
                <a:avLst/>
              </a:prstGeom>
              <a:ln w="63500">
                <a:solidFill>
                  <a:srgbClr val="EBEBE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96" name="Oval 1095">
                <a:extLst>
                  <a:ext uri="{FF2B5EF4-FFF2-40B4-BE49-F238E27FC236}">
                    <a16:creationId xmlns:a16="http://schemas.microsoft.com/office/drawing/2014/main" xmlns="" id="{7C897FA2-3D9D-475F-B3CD-3D4BAEB39A68}"/>
                  </a:ext>
                </a:extLst>
              </p:cNvPr>
              <p:cNvSpPr/>
              <p:nvPr/>
            </p:nvSpPr>
            <p:spPr>
              <a:xfrm>
                <a:off x="3640021" y="1803844"/>
                <a:ext cx="1731220" cy="1731220"/>
              </a:xfrm>
              <a:prstGeom prst="ellipse">
                <a:avLst/>
              </a:prstGeom>
              <a:solidFill>
                <a:srgbClr val="F2F2F3"/>
              </a:solidFill>
              <a:ln cap="rnd">
                <a:solidFill>
                  <a:schemeClr val="accent1">
                    <a:lumMod val="40000"/>
                    <a:lumOff val="60000"/>
                  </a:schemeClr>
                </a:solidFill>
                <a:prstDash val="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97" name="Oval 1096">
                <a:extLst>
                  <a:ext uri="{FF2B5EF4-FFF2-40B4-BE49-F238E27FC236}">
                    <a16:creationId xmlns:a16="http://schemas.microsoft.com/office/drawing/2014/main" xmlns="" id="{3A4264C7-DADB-4632-9B2D-C1E4B12AD17F}"/>
                  </a:ext>
                </a:extLst>
              </p:cNvPr>
              <p:cNvSpPr/>
              <p:nvPr/>
            </p:nvSpPr>
            <p:spPr>
              <a:xfrm>
                <a:off x="6857723" y="1803844"/>
                <a:ext cx="1731220" cy="1731220"/>
              </a:xfrm>
              <a:prstGeom prst="ellipse">
                <a:avLst/>
              </a:prstGeom>
              <a:solidFill>
                <a:srgbClr val="F2F2F3"/>
              </a:solidFill>
              <a:ln cap="rnd">
                <a:solidFill>
                  <a:schemeClr val="accent1">
                    <a:lumMod val="40000"/>
                    <a:lumOff val="60000"/>
                  </a:schemeClr>
                </a:solidFill>
                <a:prstDash val="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cxnSp>
            <p:nvCxnSpPr>
              <p:cNvPr id="1098" name="Straight Connector 1097">
                <a:extLst>
                  <a:ext uri="{FF2B5EF4-FFF2-40B4-BE49-F238E27FC236}">
                    <a16:creationId xmlns:a16="http://schemas.microsoft.com/office/drawing/2014/main" xmlns="" id="{935A090C-05C2-4802-8CE5-8CE5A7D10F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28937" y="2669454"/>
                <a:ext cx="3916223" cy="0"/>
              </a:xfrm>
              <a:prstGeom prst="line">
                <a:avLst/>
              </a:prstGeom>
              <a:ln w="63500">
                <a:solidFill>
                  <a:srgbClr val="EBEBE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099" name="Picture 1098">
                <a:extLst>
                  <a:ext uri="{FF2B5EF4-FFF2-40B4-BE49-F238E27FC236}">
                    <a16:creationId xmlns:a16="http://schemas.microsoft.com/office/drawing/2014/main" xmlns="" id="{753AF68F-2020-4993-8AA1-DAEB2DE775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24910" y="1630717"/>
                <a:ext cx="429820" cy="429820"/>
              </a:xfrm>
              <a:prstGeom prst="rect">
                <a:avLst/>
              </a:prstGeom>
            </p:spPr>
          </p:pic>
          <p:cxnSp>
            <p:nvCxnSpPr>
              <p:cNvPr id="1100" name="Straight Connector 1099">
                <a:extLst>
                  <a:ext uri="{FF2B5EF4-FFF2-40B4-BE49-F238E27FC236}">
                    <a16:creationId xmlns:a16="http://schemas.microsoft.com/office/drawing/2014/main" xmlns="" id="{F7C73DBC-BA44-433A-B8D5-7B658B298A02}"/>
                  </a:ext>
                </a:extLst>
              </p:cNvPr>
              <p:cNvCxnSpPr>
                <a:cxnSpLocks/>
              </p:cNvCxnSpPr>
              <p:nvPr>
                <p:custDataLst>
                  <p:tags r:id="rId4"/>
                </p:custDataLst>
              </p:nvPr>
            </p:nvCxnSpPr>
            <p:spPr>
              <a:xfrm>
                <a:off x="4885101" y="2668784"/>
                <a:ext cx="2461064" cy="0"/>
              </a:xfrm>
              <a:prstGeom prst="line">
                <a:avLst/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101" name="Picture 1100">
                <a:extLst>
                  <a:ext uri="{FF2B5EF4-FFF2-40B4-BE49-F238E27FC236}">
                    <a16:creationId xmlns:a16="http://schemas.microsoft.com/office/drawing/2014/main" xmlns="" id="{44417C28-4E19-43E7-889A-05DF7A6A4D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2">
                <a:extLst>
                  <a:ext uri="{96DAC541-7B7A-43D3-8B79-37D633B846F1}">
                    <asvg:svgBlip xmlns:asvg="http://schemas.microsoft.com/office/drawing/2016/SVG/main" xmlns="" r:embed="rId43"/>
                  </a:ext>
                </a:extLst>
              </a:blip>
              <a:stretch>
                <a:fillRect/>
              </a:stretch>
            </p:blipFill>
            <p:spPr>
              <a:xfrm>
                <a:off x="4270531" y="1618549"/>
                <a:ext cx="429820" cy="429820"/>
              </a:xfrm>
              <a:prstGeom prst="rect">
                <a:avLst/>
              </a:prstGeom>
            </p:spPr>
          </p:pic>
          <p:cxnSp>
            <p:nvCxnSpPr>
              <p:cNvPr id="1102" name="Connector: Elbow 1101">
                <a:extLst>
                  <a:ext uri="{FF2B5EF4-FFF2-40B4-BE49-F238E27FC236}">
                    <a16:creationId xmlns:a16="http://schemas.microsoft.com/office/drawing/2014/main" xmlns="" id="{241F4859-A453-461A-A204-D62721D9A213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7277507" y="2457485"/>
                <a:ext cx="279960" cy="142643"/>
              </a:xfrm>
              <a:prstGeom prst="bentConnector3">
                <a:avLst>
                  <a:gd name="adj1" fmla="val -184"/>
                </a:avLst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3" name="Connector: Elbow 1102">
                <a:extLst>
                  <a:ext uri="{FF2B5EF4-FFF2-40B4-BE49-F238E27FC236}">
                    <a16:creationId xmlns:a16="http://schemas.microsoft.com/office/drawing/2014/main" xmlns="" id="{7E9C9FC3-9454-4311-98EA-D8F552A38A0D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V="1">
                <a:off x="7277507" y="2743415"/>
                <a:ext cx="279960" cy="142643"/>
              </a:xfrm>
              <a:prstGeom prst="bentConnector3">
                <a:avLst>
                  <a:gd name="adj1" fmla="val -184"/>
                </a:avLst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04" name="Group 1103">
                <a:extLst>
                  <a:ext uri="{FF2B5EF4-FFF2-40B4-BE49-F238E27FC236}">
                    <a16:creationId xmlns:a16="http://schemas.microsoft.com/office/drawing/2014/main" xmlns="" id="{47A56BC2-3CC5-442D-9C6B-67F149364611}"/>
                  </a:ext>
                </a:extLst>
              </p:cNvPr>
              <p:cNvGrpSpPr/>
              <p:nvPr/>
            </p:nvGrpSpPr>
            <p:grpSpPr>
              <a:xfrm>
                <a:off x="4259919" y="2214899"/>
                <a:ext cx="465186" cy="337180"/>
                <a:chOff x="4207537" y="2273730"/>
                <a:chExt cx="598923" cy="434116"/>
              </a:xfrm>
            </p:grpSpPr>
            <p:grpSp>
              <p:nvGrpSpPr>
                <p:cNvPr id="1256" name="Group 1255">
                  <a:extLst>
                    <a:ext uri="{FF2B5EF4-FFF2-40B4-BE49-F238E27FC236}">
                      <a16:creationId xmlns:a16="http://schemas.microsoft.com/office/drawing/2014/main" xmlns="" id="{61E86095-5A07-47CD-B083-E24BF108C1E3}"/>
                    </a:ext>
                  </a:extLst>
                </p:cNvPr>
                <p:cNvGrpSpPr/>
                <p:nvPr/>
              </p:nvGrpSpPr>
              <p:grpSpPr>
                <a:xfrm>
                  <a:off x="4207537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271" name="Freeform 201">
                    <a:extLst>
                      <a:ext uri="{FF2B5EF4-FFF2-40B4-BE49-F238E27FC236}">
                        <a16:creationId xmlns:a16="http://schemas.microsoft.com/office/drawing/2014/main" xmlns="" id="{2FE2E0FD-132B-4A4E-82F5-35CA856CA0C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72" name="Line 202">
                    <a:extLst>
                      <a:ext uri="{FF2B5EF4-FFF2-40B4-BE49-F238E27FC236}">
                        <a16:creationId xmlns:a16="http://schemas.microsoft.com/office/drawing/2014/main" xmlns="" id="{38D84CB1-9668-47AE-B041-8DACB8CFA5E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73" name="Line 203">
                    <a:extLst>
                      <a:ext uri="{FF2B5EF4-FFF2-40B4-BE49-F238E27FC236}">
                        <a16:creationId xmlns:a16="http://schemas.microsoft.com/office/drawing/2014/main" xmlns="" id="{E5EDAB08-4A32-46F2-B305-33B9310835D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74" name="Line 204">
                    <a:extLst>
                      <a:ext uri="{FF2B5EF4-FFF2-40B4-BE49-F238E27FC236}">
                        <a16:creationId xmlns:a16="http://schemas.microsoft.com/office/drawing/2014/main" xmlns="" id="{E01647F8-35DC-4CD3-B58E-D88A30D2094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75" name="Line 205">
                    <a:extLst>
                      <a:ext uri="{FF2B5EF4-FFF2-40B4-BE49-F238E27FC236}">
                        <a16:creationId xmlns:a16="http://schemas.microsoft.com/office/drawing/2014/main" xmlns="" id="{13389686-D13C-483C-B6C6-E4D13537B9B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76" name="Line 206">
                    <a:extLst>
                      <a:ext uri="{FF2B5EF4-FFF2-40B4-BE49-F238E27FC236}">
                        <a16:creationId xmlns:a16="http://schemas.microsoft.com/office/drawing/2014/main" xmlns="" id="{E9292C39-BC6E-48DE-9A69-5E8468660DF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257" name="Group 1256">
                  <a:extLst>
                    <a:ext uri="{FF2B5EF4-FFF2-40B4-BE49-F238E27FC236}">
                      <a16:creationId xmlns:a16="http://schemas.microsoft.com/office/drawing/2014/main" xmlns="" id="{BA60F742-40C5-4CB7-99A2-7BA56C8E1FC5}"/>
                    </a:ext>
                  </a:extLst>
                </p:cNvPr>
                <p:cNvGrpSpPr/>
                <p:nvPr/>
              </p:nvGrpSpPr>
              <p:grpSpPr>
                <a:xfrm>
                  <a:off x="4417305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265" name="Freeform 201">
                    <a:extLst>
                      <a:ext uri="{FF2B5EF4-FFF2-40B4-BE49-F238E27FC236}">
                        <a16:creationId xmlns:a16="http://schemas.microsoft.com/office/drawing/2014/main" xmlns="" id="{42945D40-FDC5-4AAF-967C-04C8DDA542B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66" name="Line 202">
                    <a:extLst>
                      <a:ext uri="{FF2B5EF4-FFF2-40B4-BE49-F238E27FC236}">
                        <a16:creationId xmlns:a16="http://schemas.microsoft.com/office/drawing/2014/main" xmlns="" id="{E084FB88-D4B3-4760-B009-F2C82314F0A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67" name="Line 203">
                    <a:extLst>
                      <a:ext uri="{FF2B5EF4-FFF2-40B4-BE49-F238E27FC236}">
                        <a16:creationId xmlns:a16="http://schemas.microsoft.com/office/drawing/2014/main" xmlns="" id="{D94B69DC-8982-4306-ABC1-A671A25596E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68" name="Line 204">
                    <a:extLst>
                      <a:ext uri="{FF2B5EF4-FFF2-40B4-BE49-F238E27FC236}">
                        <a16:creationId xmlns:a16="http://schemas.microsoft.com/office/drawing/2014/main" xmlns="" id="{1B55105F-D4C3-4747-9FCF-23EB6FB4166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69" name="Line 205">
                    <a:extLst>
                      <a:ext uri="{FF2B5EF4-FFF2-40B4-BE49-F238E27FC236}">
                        <a16:creationId xmlns:a16="http://schemas.microsoft.com/office/drawing/2014/main" xmlns="" id="{DCC52C39-E98A-4F3E-93DC-0C0296A8EDE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70" name="Line 206">
                    <a:extLst>
                      <a:ext uri="{FF2B5EF4-FFF2-40B4-BE49-F238E27FC236}">
                        <a16:creationId xmlns:a16="http://schemas.microsoft.com/office/drawing/2014/main" xmlns="" id="{E7141012-8FFF-4B3D-A62E-243FAB7DE38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258" name="Group 1257">
                  <a:extLst>
                    <a:ext uri="{FF2B5EF4-FFF2-40B4-BE49-F238E27FC236}">
                      <a16:creationId xmlns:a16="http://schemas.microsoft.com/office/drawing/2014/main" xmlns="" id="{DF0D1139-297F-4523-9687-60E57C67C561}"/>
                    </a:ext>
                  </a:extLst>
                </p:cNvPr>
                <p:cNvGrpSpPr/>
                <p:nvPr/>
              </p:nvGrpSpPr>
              <p:grpSpPr>
                <a:xfrm>
                  <a:off x="4627073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259" name="Freeform 201">
                    <a:extLst>
                      <a:ext uri="{FF2B5EF4-FFF2-40B4-BE49-F238E27FC236}">
                        <a16:creationId xmlns:a16="http://schemas.microsoft.com/office/drawing/2014/main" xmlns="" id="{C7033DA3-0F11-4609-BBAE-996B8130483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60" name="Line 202">
                    <a:extLst>
                      <a:ext uri="{FF2B5EF4-FFF2-40B4-BE49-F238E27FC236}">
                        <a16:creationId xmlns:a16="http://schemas.microsoft.com/office/drawing/2014/main" xmlns="" id="{F4508F68-6638-4449-9941-57406C50556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61" name="Line 203">
                    <a:extLst>
                      <a:ext uri="{FF2B5EF4-FFF2-40B4-BE49-F238E27FC236}">
                        <a16:creationId xmlns:a16="http://schemas.microsoft.com/office/drawing/2014/main" xmlns="" id="{04542A04-D945-44E3-8340-8C76E26CC89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62" name="Line 204">
                    <a:extLst>
                      <a:ext uri="{FF2B5EF4-FFF2-40B4-BE49-F238E27FC236}">
                        <a16:creationId xmlns:a16="http://schemas.microsoft.com/office/drawing/2014/main" xmlns="" id="{74E80F20-4F23-4DF7-A0AA-E661E24CD9B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63" name="Line 205">
                    <a:extLst>
                      <a:ext uri="{FF2B5EF4-FFF2-40B4-BE49-F238E27FC236}">
                        <a16:creationId xmlns:a16="http://schemas.microsoft.com/office/drawing/2014/main" xmlns="" id="{49EC630A-F621-46D3-8750-60755D89AED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64" name="Line 206">
                    <a:extLst>
                      <a:ext uri="{FF2B5EF4-FFF2-40B4-BE49-F238E27FC236}">
                        <a16:creationId xmlns:a16="http://schemas.microsoft.com/office/drawing/2014/main" xmlns="" id="{A3F54C55-E099-45F1-A3A0-657D249524F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</p:grpSp>
          <p:grpSp>
            <p:nvGrpSpPr>
              <p:cNvPr id="1105" name="Group 1104">
                <a:extLst>
                  <a:ext uri="{FF2B5EF4-FFF2-40B4-BE49-F238E27FC236}">
                    <a16:creationId xmlns:a16="http://schemas.microsoft.com/office/drawing/2014/main" xmlns="" id="{B6F5B938-05DD-4390-9F87-2676145DB7BB}"/>
                  </a:ext>
                </a:extLst>
              </p:cNvPr>
              <p:cNvGrpSpPr/>
              <p:nvPr/>
            </p:nvGrpSpPr>
            <p:grpSpPr>
              <a:xfrm>
                <a:off x="4259919" y="2780652"/>
                <a:ext cx="465186" cy="337180"/>
                <a:chOff x="4207537" y="2273730"/>
                <a:chExt cx="598923" cy="434116"/>
              </a:xfrm>
            </p:grpSpPr>
            <p:grpSp>
              <p:nvGrpSpPr>
                <p:cNvPr id="1235" name="Group 1234">
                  <a:extLst>
                    <a:ext uri="{FF2B5EF4-FFF2-40B4-BE49-F238E27FC236}">
                      <a16:creationId xmlns:a16="http://schemas.microsoft.com/office/drawing/2014/main" xmlns="" id="{A8770153-E754-4971-A655-8D4B13748BE2}"/>
                    </a:ext>
                  </a:extLst>
                </p:cNvPr>
                <p:cNvGrpSpPr/>
                <p:nvPr/>
              </p:nvGrpSpPr>
              <p:grpSpPr>
                <a:xfrm>
                  <a:off x="4207537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250" name="Freeform 201">
                    <a:extLst>
                      <a:ext uri="{FF2B5EF4-FFF2-40B4-BE49-F238E27FC236}">
                        <a16:creationId xmlns:a16="http://schemas.microsoft.com/office/drawing/2014/main" xmlns="" id="{7EAA6B92-B3B3-4200-8ECA-3472552C0D9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51" name="Line 202">
                    <a:extLst>
                      <a:ext uri="{FF2B5EF4-FFF2-40B4-BE49-F238E27FC236}">
                        <a16:creationId xmlns:a16="http://schemas.microsoft.com/office/drawing/2014/main" xmlns="" id="{253B0655-ACC7-4E24-B743-5A229BFE78B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52" name="Line 203">
                    <a:extLst>
                      <a:ext uri="{FF2B5EF4-FFF2-40B4-BE49-F238E27FC236}">
                        <a16:creationId xmlns:a16="http://schemas.microsoft.com/office/drawing/2014/main" xmlns="" id="{F98338A8-4AFD-4475-B4FD-62DC8A13B13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53" name="Line 204">
                    <a:extLst>
                      <a:ext uri="{FF2B5EF4-FFF2-40B4-BE49-F238E27FC236}">
                        <a16:creationId xmlns:a16="http://schemas.microsoft.com/office/drawing/2014/main" xmlns="" id="{C1ACDE9B-B0C5-4BA2-8B98-4F5D070C5C0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54" name="Line 205">
                    <a:extLst>
                      <a:ext uri="{FF2B5EF4-FFF2-40B4-BE49-F238E27FC236}">
                        <a16:creationId xmlns:a16="http://schemas.microsoft.com/office/drawing/2014/main" xmlns="" id="{83636DAA-4AFC-4DB7-A393-29C5239BC17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55" name="Line 206">
                    <a:extLst>
                      <a:ext uri="{FF2B5EF4-FFF2-40B4-BE49-F238E27FC236}">
                        <a16:creationId xmlns:a16="http://schemas.microsoft.com/office/drawing/2014/main" xmlns="" id="{0FFBD438-4EBB-4595-9BE1-EBCE06AAAA5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236" name="Group 1235">
                  <a:extLst>
                    <a:ext uri="{FF2B5EF4-FFF2-40B4-BE49-F238E27FC236}">
                      <a16:creationId xmlns:a16="http://schemas.microsoft.com/office/drawing/2014/main" xmlns="" id="{59F60D86-2128-439E-B730-1788275FB9B3}"/>
                    </a:ext>
                  </a:extLst>
                </p:cNvPr>
                <p:cNvGrpSpPr/>
                <p:nvPr/>
              </p:nvGrpSpPr>
              <p:grpSpPr>
                <a:xfrm>
                  <a:off x="4417305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244" name="Freeform 201">
                    <a:extLst>
                      <a:ext uri="{FF2B5EF4-FFF2-40B4-BE49-F238E27FC236}">
                        <a16:creationId xmlns:a16="http://schemas.microsoft.com/office/drawing/2014/main" xmlns="" id="{D495000D-2C69-461F-8D1E-C41A01999F8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45" name="Line 202">
                    <a:extLst>
                      <a:ext uri="{FF2B5EF4-FFF2-40B4-BE49-F238E27FC236}">
                        <a16:creationId xmlns:a16="http://schemas.microsoft.com/office/drawing/2014/main" xmlns="" id="{78202EAE-8B73-4675-897E-0717EF435B3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46" name="Line 203">
                    <a:extLst>
                      <a:ext uri="{FF2B5EF4-FFF2-40B4-BE49-F238E27FC236}">
                        <a16:creationId xmlns:a16="http://schemas.microsoft.com/office/drawing/2014/main" xmlns="" id="{F36490AD-22DF-4389-B8CD-7B00B69CEE6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47" name="Line 204">
                    <a:extLst>
                      <a:ext uri="{FF2B5EF4-FFF2-40B4-BE49-F238E27FC236}">
                        <a16:creationId xmlns:a16="http://schemas.microsoft.com/office/drawing/2014/main" xmlns="" id="{C6683717-FE15-49A6-9FEF-7C2313C5A11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48" name="Line 205">
                    <a:extLst>
                      <a:ext uri="{FF2B5EF4-FFF2-40B4-BE49-F238E27FC236}">
                        <a16:creationId xmlns:a16="http://schemas.microsoft.com/office/drawing/2014/main" xmlns="" id="{E20FF068-2FC6-4F05-B748-6BB4137E4F7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49" name="Line 206">
                    <a:extLst>
                      <a:ext uri="{FF2B5EF4-FFF2-40B4-BE49-F238E27FC236}">
                        <a16:creationId xmlns:a16="http://schemas.microsoft.com/office/drawing/2014/main" xmlns="" id="{A0BA0995-3517-4F58-9089-519A8EB854D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237" name="Group 1236">
                  <a:extLst>
                    <a:ext uri="{FF2B5EF4-FFF2-40B4-BE49-F238E27FC236}">
                      <a16:creationId xmlns:a16="http://schemas.microsoft.com/office/drawing/2014/main" xmlns="" id="{7F1EF355-DC38-4A61-9605-4B68B1DFBAF7}"/>
                    </a:ext>
                  </a:extLst>
                </p:cNvPr>
                <p:cNvGrpSpPr/>
                <p:nvPr/>
              </p:nvGrpSpPr>
              <p:grpSpPr>
                <a:xfrm>
                  <a:off x="4627073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238" name="Freeform 201">
                    <a:extLst>
                      <a:ext uri="{FF2B5EF4-FFF2-40B4-BE49-F238E27FC236}">
                        <a16:creationId xmlns:a16="http://schemas.microsoft.com/office/drawing/2014/main" xmlns="" id="{81256F26-DBD2-4C57-8DDA-8BC56C6687D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39" name="Line 202">
                    <a:extLst>
                      <a:ext uri="{FF2B5EF4-FFF2-40B4-BE49-F238E27FC236}">
                        <a16:creationId xmlns:a16="http://schemas.microsoft.com/office/drawing/2014/main" xmlns="" id="{820BA13E-B1E7-4EA8-ADC2-E239B86121E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40" name="Line 203">
                    <a:extLst>
                      <a:ext uri="{FF2B5EF4-FFF2-40B4-BE49-F238E27FC236}">
                        <a16:creationId xmlns:a16="http://schemas.microsoft.com/office/drawing/2014/main" xmlns="" id="{F2940574-7E39-48EE-918A-DEFD80B8C40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41" name="Line 204">
                    <a:extLst>
                      <a:ext uri="{FF2B5EF4-FFF2-40B4-BE49-F238E27FC236}">
                        <a16:creationId xmlns:a16="http://schemas.microsoft.com/office/drawing/2014/main" xmlns="" id="{245CF62F-3237-4072-8FC5-7A2D50D6DE4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42" name="Line 205">
                    <a:extLst>
                      <a:ext uri="{FF2B5EF4-FFF2-40B4-BE49-F238E27FC236}">
                        <a16:creationId xmlns:a16="http://schemas.microsoft.com/office/drawing/2014/main" xmlns="" id="{9855FF11-74AE-4FBA-A39B-0E1FC73B528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43" name="Line 206">
                    <a:extLst>
                      <a:ext uri="{FF2B5EF4-FFF2-40B4-BE49-F238E27FC236}">
                        <a16:creationId xmlns:a16="http://schemas.microsoft.com/office/drawing/2014/main" xmlns="" id="{82A6E0FE-93AE-48A4-9E58-E25012F44D6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</p:grpSp>
          <p:cxnSp>
            <p:nvCxnSpPr>
              <p:cNvPr id="1106" name="Connector: Elbow 1105">
                <a:extLst>
                  <a:ext uri="{FF2B5EF4-FFF2-40B4-BE49-F238E27FC236}">
                    <a16:creationId xmlns:a16="http://schemas.microsoft.com/office/drawing/2014/main" xmlns="" id="{6A905F27-E115-4D43-B72E-382DA596C70B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4048619" y="2457485"/>
                <a:ext cx="279960" cy="142643"/>
              </a:xfrm>
              <a:prstGeom prst="bentConnector3">
                <a:avLst>
                  <a:gd name="adj1" fmla="val -184"/>
                </a:avLst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7" name="Connector: Elbow 1106">
                <a:extLst>
                  <a:ext uri="{FF2B5EF4-FFF2-40B4-BE49-F238E27FC236}">
                    <a16:creationId xmlns:a16="http://schemas.microsoft.com/office/drawing/2014/main" xmlns="" id="{0EF5A20C-5B1A-4905-B084-24225CD0DFDF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V="1">
                <a:off x="4048619" y="2743415"/>
                <a:ext cx="279960" cy="142643"/>
              </a:xfrm>
              <a:prstGeom prst="bentConnector3">
                <a:avLst>
                  <a:gd name="adj1" fmla="val -184"/>
                </a:avLst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8" name="Connector: Elbow 1107">
                <a:extLst>
                  <a:ext uri="{FF2B5EF4-FFF2-40B4-BE49-F238E27FC236}">
                    <a16:creationId xmlns:a16="http://schemas.microsoft.com/office/drawing/2014/main" xmlns="" id="{1FB8F99E-5B3C-4255-A49F-6E864FEBE151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4673799" y="2457485"/>
                <a:ext cx="279960" cy="142643"/>
              </a:xfrm>
              <a:prstGeom prst="bentConnector3">
                <a:avLst>
                  <a:gd name="adj1" fmla="val -184"/>
                </a:avLst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09" name="Group 1108">
                <a:extLst>
                  <a:ext uri="{FF2B5EF4-FFF2-40B4-BE49-F238E27FC236}">
                    <a16:creationId xmlns:a16="http://schemas.microsoft.com/office/drawing/2014/main" xmlns="" id="{AECD4B3B-E1C4-4C53-97B9-3152DA5320CE}"/>
                  </a:ext>
                </a:extLst>
              </p:cNvPr>
              <p:cNvGrpSpPr/>
              <p:nvPr/>
            </p:nvGrpSpPr>
            <p:grpSpPr>
              <a:xfrm>
                <a:off x="4033576" y="2869758"/>
                <a:ext cx="170397" cy="170397"/>
                <a:chOff x="1358899" y="2193925"/>
                <a:chExt cx="390525" cy="390525"/>
              </a:xfrm>
            </p:grpSpPr>
            <p:sp>
              <p:nvSpPr>
                <p:cNvPr id="1227" name="Rectangle: Rounded Corners 1226">
                  <a:extLst>
                    <a:ext uri="{FF2B5EF4-FFF2-40B4-BE49-F238E27FC236}">
                      <a16:creationId xmlns:a16="http://schemas.microsoft.com/office/drawing/2014/main" xmlns="" id="{D61E532E-A518-4A08-ABD0-BF2D3001B41E}"/>
                    </a:ext>
                  </a:extLst>
                </p:cNvPr>
                <p:cNvSpPr/>
                <p:nvPr/>
              </p:nvSpPr>
              <p:spPr>
                <a:xfrm>
                  <a:off x="1358899" y="2193925"/>
                  <a:ext cx="390525" cy="390525"/>
                </a:xfrm>
                <a:prstGeom prst="roundRect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grpSp>
              <p:nvGrpSpPr>
                <p:cNvPr id="1228" name="Group 1227">
                  <a:extLst>
                    <a:ext uri="{FF2B5EF4-FFF2-40B4-BE49-F238E27FC236}">
                      <a16:creationId xmlns:a16="http://schemas.microsoft.com/office/drawing/2014/main" xmlns="" id="{3FF39792-70C6-4D65-A763-362910EB3FE5}"/>
                    </a:ext>
                  </a:extLst>
                </p:cNvPr>
                <p:cNvGrpSpPr/>
                <p:nvPr/>
              </p:nvGrpSpPr>
              <p:grpSpPr>
                <a:xfrm>
                  <a:off x="1420588" y="2248963"/>
                  <a:ext cx="267146" cy="280448"/>
                  <a:chOff x="1401763" y="2228851"/>
                  <a:chExt cx="307974" cy="323308"/>
                </a:xfrm>
              </p:grpSpPr>
              <p:grpSp>
                <p:nvGrpSpPr>
                  <p:cNvPr id="1229" name="Group 1228">
                    <a:extLst>
                      <a:ext uri="{FF2B5EF4-FFF2-40B4-BE49-F238E27FC236}">
                        <a16:creationId xmlns:a16="http://schemas.microsoft.com/office/drawing/2014/main" xmlns="" id="{B6E05AB4-FB6C-4747-9145-D17C3D025016}"/>
                      </a:ext>
                    </a:extLst>
                  </p:cNvPr>
                  <p:cNvGrpSpPr/>
                  <p:nvPr/>
                </p:nvGrpSpPr>
                <p:grpSpPr>
                  <a:xfrm>
                    <a:off x="1482725" y="2295526"/>
                    <a:ext cx="227012" cy="256633"/>
                    <a:chOff x="1482725" y="2276476"/>
                    <a:chExt cx="227012" cy="256633"/>
                  </a:xfrm>
                  <a:solidFill>
                    <a:schemeClr val="bg2"/>
                  </a:solidFill>
                </p:grpSpPr>
                <p:sp>
                  <p:nvSpPr>
                    <p:cNvPr id="1233" name="Freeform 33">
                      <a:extLst>
                        <a:ext uri="{FF2B5EF4-FFF2-40B4-BE49-F238E27FC236}">
                          <a16:creationId xmlns:a16="http://schemas.microsoft.com/office/drawing/2014/main" xmlns="" id="{56594A31-7FCB-4AC9-BDCA-DF405BB1286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433639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>
                        <a:latin typeface="CiscoSans ExtraLight" charset="0"/>
                        <a:ea typeface="CiscoSans ExtraLight" charset="0"/>
                        <a:cs typeface="CiscoSans ExtraLight" charset="0"/>
                      </a:endParaRPr>
                    </a:p>
                  </p:txBody>
                </p:sp>
                <p:sp>
                  <p:nvSpPr>
                    <p:cNvPr id="1234" name="Freeform 33">
                      <a:extLst>
                        <a:ext uri="{FF2B5EF4-FFF2-40B4-BE49-F238E27FC236}">
                          <a16:creationId xmlns:a16="http://schemas.microsoft.com/office/drawing/2014/main" xmlns="" id="{305764C6-B6F0-4217-B153-5A3B48F957DA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276476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>
                        <a:latin typeface="CiscoSans ExtraLight" charset="0"/>
                        <a:ea typeface="CiscoSans ExtraLight" charset="0"/>
                        <a:cs typeface="CiscoSans ExtraLight" charset="0"/>
                      </a:endParaRPr>
                    </a:p>
                  </p:txBody>
                </p:sp>
              </p:grpSp>
              <p:grpSp>
                <p:nvGrpSpPr>
                  <p:cNvPr id="1230" name="Group 1229">
                    <a:extLst>
                      <a:ext uri="{FF2B5EF4-FFF2-40B4-BE49-F238E27FC236}">
                        <a16:creationId xmlns:a16="http://schemas.microsoft.com/office/drawing/2014/main" xmlns="" id="{8CCA174D-F24B-4373-BCE0-296E08397A3A}"/>
                      </a:ext>
                    </a:extLst>
                  </p:cNvPr>
                  <p:cNvGrpSpPr/>
                  <p:nvPr/>
                </p:nvGrpSpPr>
                <p:grpSpPr>
                  <a:xfrm flipH="1">
                    <a:off x="1401763" y="2228851"/>
                    <a:ext cx="227012" cy="256633"/>
                    <a:chOff x="1482725" y="2276476"/>
                    <a:chExt cx="227012" cy="256633"/>
                  </a:xfrm>
                </p:grpSpPr>
                <p:sp>
                  <p:nvSpPr>
                    <p:cNvPr id="1231" name="Freeform 33">
                      <a:extLst>
                        <a:ext uri="{FF2B5EF4-FFF2-40B4-BE49-F238E27FC236}">
                          <a16:creationId xmlns:a16="http://schemas.microsoft.com/office/drawing/2014/main" xmlns="" id="{36ADBDD9-7AE6-4006-846C-B40AB4941BC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433639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solidFill>
                      <a:srgbClr val="0050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>
                        <a:latin typeface="CiscoSans ExtraLight" charset="0"/>
                        <a:ea typeface="CiscoSans ExtraLight" charset="0"/>
                        <a:cs typeface="CiscoSans ExtraLight" charset="0"/>
                      </a:endParaRPr>
                    </a:p>
                  </p:txBody>
                </p:sp>
                <p:sp>
                  <p:nvSpPr>
                    <p:cNvPr id="1232" name="Freeform 33">
                      <a:extLst>
                        <a:ext uri="{FF2B5EF4-FFF2-40B4-BE49-F238E27FC236}">
                          <a16:creationId xmlns:a16="http://schemas.microsoft.com/office/drawing/2014/main" xmlns="" id="{0EE1E42B-4FF3-4245-8161-B50C47661233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276476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solidFill>
                      <a:srgbClr val="0050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>
                        <a:latin typeface="CiscoSans ExtraLight" charset="0"/>
                        <a:ea typeface="CiscoSans ExtraLight" charset="0"/>
                        <a:cs typeface="CiscoSans ExtraLight" charset="0"/>
                      </a:endParaRPr>
                    </a:p>
                  </p:txBody>
                </p:sp>
              </p:grpSp>
            </p:grpSp>
          </p:grpSp>
          <p:grpSp>
            <p:nvGrpSpPr>
              <p:cNvPr id="1110" name="Group 1109">
                <a:extLst>
                  <a:ext uri="{FF2B5EF4-FFF2-40B4-BE49-F238E27FC236}">
                    <a16:creationId xmlns:a16="http://schemas.microsoft.com/office/drawing/2014/main" xmlns="" id="{4F019E5E-ABFF-46CE-BA31-72A2FE604914}"/>
                  </a:ext>
                </a:extLst>
              </p:cNvPr>
              <p:cNvGrpSpPr/>
              <p:nvPr/>
            </p:nvGrpSpPr>
            <p:grpSpPr>
              <a:xfrm>
                <a:off x="4033576" y="2310628"/>
                <a:ext cx="170397" cy="170397"/>
                <a:chOff x="1358899" y="2193925"/>
                <a:chExt cx="390525" cy="390525"/>
              </a:xfrm>
            </p:grpSpPr>
            <p:sp>
              <p:nvSpPr>
                <p:cNvPr id="1219" name="Rectangle: Rounded Corners 1218">
                  <a:extLst>
                    <a:ext uri="{FF2B5EF4-FFF2-40B4-BE49-F238E27FC236}">
                      <a16:creationId xmlns:a16="http://schemas.microsoft.com/office/drawing/2014/main" xmlns="" id="{EFD23C50-4F7C-4F2F-81C0-5A333A79C420}"/>
                    </a:ext>
                  </a:extLst>
                </p:cNvPr>
                <p:cNvSpPr/>
                <p:nvPr/>
              </p:nvSpPr>
              <p:spPr>
                <a:xfrm>
                  <a:off x="1358899" y="2193925"/>
                  <a:ext cx="390525" cy="390525"/>
                </a:xfrm>
                <a:prstGeom prst="roundRect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grpSp>
              <p:nvGrpSpPr>
                <p:cNvPr id="1220" name="Group 1219">
                  <a:extLst>
                    <a:ext uri="{FF2B5EF4-FFF2-40B4-BE49-F238E27FC236}">
                      <a16:creationId xmlns:a16="http://schemas.microsoft.com/office/drawing/2014/main" xmlns="" id="{187B65E3-14B5-48DB-86A7-AB921EEDF4B6}"/>
                    </a:ext>
                  </a:extLst>
                </p:cNvPr>
                <p:cNvGrpSpPr/>
                <p:nvPr/>
              </p:nvGrpSpPr>
              <p:grpSpPr>
                <a:xfrm>
                  <a:off x="1420588" y="2248963"/>
                  <a:ext cx="267146" cy="280448"/>
                  <a:chOff x="1401763" y="2228851"/>
                  <a:chExt cx="307974" cy="323308"/>
                </a:xfrm>
              </p:grpSpPr>
              <p:grpSp>
                <p:nvGrpSpPr>
                  <p:cNvPr id="1221" name="Group 1220">
                    <a:extLst>
                      <a:ext uri="{FF2B5EF4-FFF2-40B4-BE49-F238E27FC236}">
                        <a16:creationId xmlns:a16="http://schemas.microsoft.com/office/drawing/2014/main" xmlns="" id="{18A525AD-1F3F-4B79-8AA9-312457F96445}"/>
                      </a:ext>
                    </a:extLst>
                  </p:cNvPr>
                  <p:cNvGrpSpPr/>
                  <p:nvPr/>
                </p:nvGrpSpPr>
                <p:grpSpPr>
                  <a:xfrm>
                    <a:off x="1482725" y="2295526"/>
                    <a:ext cx="227012" cy="256633"/>
                    <a:chOff x="1482725" y="2276476"/>
                    <a:chExt cx="227012" cy="256633"/>
                  </a:xfrm>
                  <a:solidFill>
                    <a:schemeClr val="bg2"/>
                  </a:solidFill>
                </p:grpSpPr>
                <p:sp>
                  <p:nvSpPr>
                    <p:cNvPr id="1225" name="Freeform 33">
                      <a:extLst>
                        <a:ext uri="{FF2B5EF4-FFF2-40B4-BE49-F238E27FC236}">
                          <a16:creationId xmlns:a16="http://schemas.microsoft.com/office/drawing/2014/main" xmlns="" id="{DE92D358-4019-401F-8080-274F10EF42F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433639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>
                        <a:latin typeface="CiscoSans ExtraLight" charset="0"/>
                        <a:ea typeface="CiscoSans ExtraLight" charset="0"/>
                        <a:cs typeface="CiscoSans ExtraLight" charset="0"/>
                      </a:endParaRPr>
                    </a:p>
                  </p:txBody>
                </p:sp>
                <p:sp>
                  <p:nvSpPr>
                    <p:cNvPr id="1226" name="Freeform 33">
                      <a:extLst>
                        <a:ext uri="{FF2B5EF4-FFF2-40B4-BE49-F238E27FC236}">
                          <a16:creationId xmlns:a16="http://schemas.microsoft.com/office/drawing/2014/main" xmlns="" id="{FBD0BE17-0751-4F43-8BE1-ECC7A16531A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276476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>
                        <a:latin typeface="CiscoSans ExtraLight" charset="0"/>
                        <a:ea typeface="CiscoSans ExtraLight" charset="0"/>
                        <a:cs typeface="CiscoSans ExtraLight" charset="0"/>
                      </a:endParaRPr>
                    </a:p>
                  </p:txBody>
                </p:sp>
              </p:grpSp>
              <p:grpSp>
                <p:nvGrpSpPr>
                  <p:cNvPr id="1222" name="Group 1221">
                    <a:extLst>
                      <a:ext uri="{FF2B5EF4-FFF2-40B4-BE49-F238E27FC236}">
                        <a16:creationId xmlns:a16="http://schemas.microsoft.com/office/drawing/2014/main" xmlns="" id="{71A611A0-89CF-47E5-84CC-39F5B5EA5E63}"/>
                      </a:ext>
                    </a:extLst>
                  </p:cNvPr>
                  <p:cNvGrpSpPr/>
                  <p:nvPr/>
                </p:nvGrpSpPr>
                <p:grpSpPr>
                  <a:xfrm flipH="1">
                    <a:off x="1401763" y="2228851"/>
                    <a:ext cx="227012" cy="256633"/>
                    <a:chOff x="1482725" y="2276476"/>
                    <a:chExt cx="227012" cy="256633"/>
                  </a:xfrm>
                </p:grpSpPr>
                <p:sp>
                  <p:nvSpPr>
                    <p:cNvPr id="1223" name="Freeform 33">
                      <a:extLst>
                        <a:ext uri="{FF2B5EF4-FFF2-40B4-BE49-F238E27FC236}">
                          <a16:creationId xmlns:a16="http://schemas.microsoft.com/office/drawing/2014/main" xmlns="" id="{E9318A66-9B67-47CB-B52C-C8E215680A1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433639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solidFill>
                      <a:srgbClr val="0050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>
                        <a:latin typeface="CiscoSans ExtraLight" charset="0"/>
                        <a:ea typeface="CiscoSans ExtraLight" charset="0"/>
                        <a:cs typeface="CiscoSans ExtraLight" charset="0"/>
                      </a:endParaRPr>
                    </a:p>
                  </p:txBody>
                </p:sp>
                <p:sp>
                  <p:nvSpPr>
                    <p:cNvPr id="1224" name="Freeform 33">
                      <a:extLst>
                        <a:ext uri="{FF2B5EF4-FFF2-40B4-BE49-F238E27FC236}">
                          <a16:creationId xmlns:a16="http://schemas.microsoft.com/office/drawing/2014/main" xmlns="" id="{C8430B40-52A8-41FB-8C9E-8EB21258EA1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276476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solidFill>
                      <a:srgbClr val="0050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>
                        <a:latin typeface="CiscoSans ExtraLight" charset="0"/>
                        <a:ea typeface="CiscoSans ExtraLight" charset="0"/>
                        <a:cs typeface="CiscoSans ExtraLight" charset="0"/>
                      </a:endParaRPr>
                    </a:p>
                  </p:txBody>
                </p:sp>
              </p:grpSp>
            </p:grpSp>
          </p:grpSp>
          <p:grpSp>
            <p:nvGrpSpPr>
              <p:cNvPr id="1111" name="Group 1110">
                <a:extLst>
                  <a:ext uri="{FF2B5EF4-FFF2-40B4-BE49-F238E27FC236}">
                    <a16:creationId xmlns:a16="http://schemas.microsoft.com/office/drawing/2014/main" xmlns="" id="{C66F0EB7-59D0-454E-9C9F-A10FA97453C2}"/>
                  </a:ext>
                </a:extLst>
              </p:cNvPr>
              <p:cNvGrpSpPr/>
              <p:nvPr/>
            </p:nvGrpSpPr>
            <p:grpSpPr>
              <a:xfrm>
                <a:off x="3562654" y="2502657"/>
                <a:ext cx="333558" cy="333594"/>
                <a:chOff x="542940" y="1857375"/>
                <a:chExt cx="914400" cy="914494"/>
              </a:xfrm>
            </p:grpSpPr>
            <p:sp>
              <p:nvSpPr>
                <p:cNvPr id="1181" name="Oval 1180">
                  <a:extLst>
                    <a:ext uri="{FF2B5EF4-FFF2-40B4-BE49-F238E27FC236}">
                      <a16:creationId xmlns:a16="http://schemas.microsoft.com/office/drawing/2014/main" xmlns="" id="{F24A5F8A-AB0D-4769-A870-97672370BC8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42940" y="1857422"/>
                  <a:ext cx="914400" cy="9144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grpSp>
              <p:nvGrpSpPr>
                <p:cNvPr id="1182" name="Group 4">
                  <a:extLst>
                    <a:ext uri="{FF2B5EF4-FFF2-40B4-BE49-F238E27FC236}">
                      <a16:creationId xmlns:a16="http://schemas.microsoft.com/office/drawing/2014/main" xmlns="" id="{46B5D687-8DB5-4778-B63C-8A4EA8F5E792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43174" y="1857375"/>
                  <a:ext cx="913932" cy="914494"/>
                  <a:chOff x="1261" y="0"/>
                  <a:chExt cx="3238" cy="3240"/>
                </a:xfrm>
                <a:solidFill>
                  <a:schemeClr val="tx2"/>
                </a:solidFill>
              </p:grpSpPr>
              <p:sp>
                <p:nvSpPr>
                  <p:cNvPr id="1183" name="Freeform 5">
                    <a:extLst>
                      <a:ext uri="{FF2B5EF4-FFF2-40B4-BE49-F238E27FC236}">
                        <a16:creationId xmlns:a16="http://schemas.microsoft.com/office/drawing/2014/main" xmlns="" id="{6236E3AF-9147-475B-A819-DE3762F4435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31" y="443"/>
                    <a:ext cx="36" cy="37"/>
                  </a:xfrm>
                  <a:custGeom>
                    <a:avLst/>
                    <a:gdLst>
                      <a:gd name="T0" fmla="*/ 0 w 29"/>
                      <a:gd name="T1" fmla="*/ 30 h 30"/>
                      <a:gd name="T2" fmla="*/ 29 w 29"/>
                      <a:gd name="T3" fmla="*/ 0 h 30"/>
                      <a:gd name="T4" fmla="*/ 0 w 29"/>
                      <a:gd name="T5" fmla="*/ 3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9" h="30">
                        <a:moveTo>
                          <a:pt x="0" y="30"/>
                        </a:moveTo>
                        <a:cubicBezTo>
                          <a:pt x="15" y="27"/>
                          <a:pt x="26" y="15"/>
                          <a:pt x="29" y="0"/>
                        </a:cubicBezTo>
                        <a:cubicBezTo>
                          <a:pt x="19" y="10"/>
                          <a:pt x="10" y="20"/>
                          <a:pt x="0" y="3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84" name="Freeform 6">
                    <a:extLst>
                      <a:ext uri="{FF2B5EF4-FFF2-40B4-BE49-F238E27FC236}">
                        <a16:creationId xmlns:a16="http://schemas.microsoft.com/office/drawing/2014/main" xmlns="" id="{B8AD4BE2-4A59-4491-A2E6-64836F2877D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833" y="0"/>
                    <a:ext cx="1056" cy="480"/>
                  </a:xfrm>
                  <a:custGeom>
                    <a:avLst/>
                    <a:gdLst>
                      <a:gd name="T0" fmla="*/ 0 w 845"/>
                      <a:gd name="T1" fmla="*/ 346 h 384"/>
                      <a:gd name="T2" fmla="*/ 38 w 845"/>
                      <a:gd name="T3" fmla="*/ 384 h 384"/>
                      <a:gd name="T4" fmla="*/ 807 w 845"/>
                      <a:gd name="T5" fmla="*/ 384 h 384"/>
                      <a:gd name="T6" fmla="*/ 845 w 845"/>
                      <a:gd name="T7" fmla="*/ 346 h 384"/>
                      <a:gd name="T8" fmla="*/ 845 w 845"/>
                      <a:gd name="T9" fmla="*/ 38 h 384"/>
                      <a:gd name="T10" fmla="*/ 812 w 845"/>
                      <a:gd name="T11" fmla="*/ 0 h 384"/>
                      <a:gd name="T12" fmla="*/ 0 w 845"/>
                      <a:gd name="T13" fmla="*/ 308 h 384"/>
                      <a:gd name="T14" fmla="*/ 0 w 845"/>
                      <a:gd name="T15" fmla="*/ 346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45" h="384">
                        <a:moveTo>
                          <a:pt x="0" y="346"/>
                        </a:move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9"/>
                          <a:pt x="830" y="3"/>
                          <a:pt x="812" y="0"/>
                        </a:cubicBezTo>
                        <a:cubicBezTo>
                          <a:pt x="502" y="6"/>
                          <a:pt x="219" y="121"/>
                          <a:pt x="0" y="308"/>
                        </a:cubicBezTo>
                        <a:lnTo>
                          <a:pt x="0" y="34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85" name="Freeform 7">
                    <a:extLst>
                      <a:ext uri="{FF2B5EF4-FFF2-40B4-BE49-F238E27FC236}">
                        <a16:creationId xmlns:a16="http://schemas.microsoft.com/office/drawing/2014/main" xmlns="" id="{5F00A554-3703-447B-A0FF-770525357AB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52" y="4"/>
                    <a:ext cx="1051" cy="476"/>
                  </a:xfrm>
                  <a:custGeom>
                    <a:avLst/>
                    <a:gdLst>
                      <a:gd name="T0" fmla="*/ 24 w 841"/>
                      <a:gd name="T1" fmla="*/ 0 h 381"/>
                      <a:gd name="T2" fmla="*/ 0 w 841"/>
                      <a:gd name="T3" fmla="*/ 35 h 381"/>
                      <a:gd name="T4" fmla="*/ 0 w 841"/>
                      <a:gd name="T5" fmla="*/ 343 h 381"/>
                      <a:gd name="T6" fmla="*/ 38 w 841"/>
                      <a:gd name="T7" fmla="*/ 381 h 381"/>
                      <a:gd name="T8" fmla="*/ 807 w 841"/>
                      <a:gd name="T9" fmla="*/ 381 h 381"/>
                      <a:gd name="T10" fmla="*/ 841 w 841"/>
                      <a:gd name="T11" fmla="*/ 360 h 381"/>
                      <a:gd name="T12" fmla="*/ 24 w 841"/>
                      <a:gd name="T13" fmla="*/ 0 h 38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41" h="381">
                        <a:moveTo>
                          <a:pt x="24" y="0"/>
                        </a:moveTo>
                        <a:cubicBezTo>
                          <a:pt x="10" y="5"/>
                          <a:pt x="0" y="19"/>
                          <a:pt x="0" y="35"/>
                        </a:cubicBezTo>
                        <a:cubicBezTo>
                          <a:pt x="0" y="343"/>
                          <a:pt x="0" y="343"/>
                          <a:pt x="0" y="343"/>
                        </a:cubicBezTo>
                        <a:cubicBezTo>
                          <a:pt x="0" y="364"/>
                          <a:pt x="17" y="381"/>
                          <a:pt x="38" y="381"/>
                        </a:cubicBezTo>
                        <a:cubicBezTo>
                          <a:pt x="807" y="381"/>
                          <a:pt x="807" y="381"/>
                          <a:pt x="807" y="381"/>
                        </a:cubicBezTo>
                        <a:cubicBezTo>
                          <a:pt x="822" y="381"/>
                          <a:pt x="835" y="373"/>
                          <a:pt x="841" y="360"/>
                        </a:cubicBezTo>
                        <a:cubicBezTo>
                          <a:pt x="627" y="153"/>
                          <a:pt x="341" y="20"/>
                          <a:pt x="2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86" name="Freeform 8">
                    <a:extLst>
                      <a:ext uri="{FF2B5EF4-FFF2-40B4-BE49-F238E27FC236}">
                        <a16:creationId xmlns:a16="http://schemas.microsoft.com/office/drawing/2014/main" xmlns="" id="{ED471BD7-7E74-4F23-9306-1B5CE5FE48A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70" y="555"/>
                    <a:ext cx="943" cy="480"/>
                  </a:xfrm>
                  <a:custGeom>
                    <a:avLst/>
                    <a:gdLst>
                      <a:gd name="T0" fmla="*/ 717 w 755"/>
                      <a:gd name="T1" fmla="*/ 0 h 384"/>
                      <a:gd name="T2" fmla="*/ 233 w 755"/>
                      <a:gd name="T3" fmla="*/ 0 h 384"/>
                      <a:gd name="T4" fmla="*/ 0 w 755"/>
                      <a:gd name="T5" fmla="*/ 384 h 384"/>
                      <a:gd name="T6" fmla="*/ 717 w 755"/>
                      <a:gd name="T7" fmla="*/ 384 h 384"/>
                      <a:gd name="T8" fmla="*/ 755 w 755"/>
                      <a:gd name="T9" fmla="*/ 346 h 384"/>
                      <a:gd name="T10" fmla="*/ 755 w 755"/>
                      <a:gd name="T11" fmla="*/ 38 h 384"/>
                      <a:gd name="T12" fmla="*/ 717 w 755"/>
                      <a:gd name="T13" fmla="*/ 0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5" h="384">
                        <a:moveTo>
                          <a:pt x="717" y="0"/>
                        </a:moveTo>
                        <a:cubicBezTo>
                          <a:pt x="233" y="0"/>
                          <a:pt x="233" y="0"/>
                          <a:pt x="233" y="0"/>
                        </a:cubicBezTo>
                        <a:cubicBezTo>
                          <a:pt x="134" y="113"/>
                          <a:pt x="55" y="242"/>
                          <a:pt x="0" y="384"/>
                        </a:cubicBezTo>
                        <a:cubicBezTo>
                          <a:pt x="717" y="384"/>
                          <a:pt x="717" y="384"/>
                          <a:pt x="717" y="384"/>
                        </a:cubicBezTo>
                        <a:cubicBezTo>
                          <a:pt x="738" y="384"/>
                          <a:pt x="755" y="367"/>
                          <a:pt x="755" y="346"/>
                        </a:cubicBezTo>
                        <a:cubicBezTo>
                          <a:pt x="755" y="38"/>
                          <a:pt x="755" y="38"/>
                          <a:pt x="755" y="38"/>
                        </a:cubicBezTo>
                        <a:cubicBezTo>
                          <a:pt x="755" y="17"/>
                          <a:pt x="738" y="0"/>
                          <a:pt x="71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87" name="Freeform 9">
                    <a:extLst>
                      <a:ext uri="{FF2B5EF4-FFF2-40B4-BE49-F238E27FC236}">
                        <a16:creationId xmlns:a16="http://schemas.microsoft.com/office/drawing/2014/main" xmlns="" id="{AA1F5BB5-1C59-4475-8953-7261BE0A1A0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77" y="555"/>
                    <a:ext cx="1055" cy="480"/>
                  </a:xfrm>
                  <a:custGeom>
                    <a:avLst/>
                    <a:gdLst>
                      <a:gd name="T0" fmla="*/ 807 w 845"/>
                      <a:gd name="T1" fmla="*/ 0 h 384"/>
                      <a:gd name="T2" fmla="*/ 38 w 845"/>
                      <a:gd name="T3" fmla="*/ 0 h 384"/>
                      <a:gd name="T4" fmla="*/ 0 w 845"/>
                      <a:gd name="T5" fmla="*/ 38 h 384"/>
                      <a:gd name="T6" fmla="*/ 0 w 845"/>
                      <a:gd name="T7" fmla="*/ 346 h 384"/>
                      <a:gd name="T8" fmla="*/ 38 w 845"/>
                      <a:gd name="T9" fmla="*/ 384 h 384"/>
                      <a:gd name="T10" fmla="*/ 807 w 845"/>
                      <a:gd name="T11" fmla="*/ 384 h 384"/>
                      <a:gd name="T12" fmla="*/ 845 w 845"/>
                      <a:gd name="T13" fmla="*/ 346 h 384"/>
                      <a:gd name="T14" fmla="*/ 845 w 845"/>
                      <a:gd name="T15" fmla="*/ 38 h 384"/>
                      <a:gd name="T16" fmla="*/ 807 w 845"/>
                      <a:gd name="T17" fmla="*/ 0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807" y="0"/>
                        </a:move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88" name="Freeform 10">
                    <a:extLst>
                      <a:ext uri="{FF2B5EF4-FFF2-40B4-BE49-F238E27FC236}">
                        <a16:creationId xmlns:a16="http://schemas.microsoft.com/office/drawing/2014/main" xmlns="" id="{5841E74F-3DEA-4EE6-A2FA-273BA8B392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97" y="555"/>
                    <a:ext cx="893" cy="480"/>
                  </a:xfrm>
                  <a:custGeom>
                    <a:avLst/>
                    <a:gdLst>
                      <a:gd name="T0" fmla="*/ 0 w 715"/>
                      <a:gd name="T1" fmla="*/ 38 h 384"/>
                      <a:gd name="T2" fmla="*/ 0 w 715"/>
                      <a:gd name="T3" fmla="*/ 346 h 384"/>
                      <a:gd name="T4" fmla="*/ 38 w 715"/>
                      <a:gd name="T5" fmla="*/ 384 h 384"/>
                      <a:gd name="T6" fmla="*/ 715 w 715"/>
                      <a:gd name="T7" fmla="*/ 384 h 384"/>
                      <a:gd name="T8" fmla="*/ 482 w 715"/>
                      <a:gd name="T9" fmla="*/ 0 h 384"/>
                      <a:gd name="T10" fmla="*/ 38 w 715"/>
                      <a:gd name="T11" fmla="*/ 0 h 384"/>
                      <a:gd name="T12" fmla="*/ 0 w 715"/>
                      <a:gd name="T13" fmla="*/ 38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15" h="384">
                        <a:moveTo>
                          <a:pt x="0" y="38"/>
                        </a:move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715" y="384"/>
                          <a:pt x="715" y="384"/>
                          <a:pt x="715" y="384"/>
                        </a:cubicBezTo>
                        <a:cubicBezTo>
                          <a:pt x="660" y="242"/>
                          <a:pt x="581" y="113"/>
                          <a:pt x="482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89" name="Freeform 11">
                    <a:extLst>
                      <a:ext uri="{FF2B5EF4-FFF2-40B4-BE49-F238E27FC236}">
                        <a16:creationId xmlns:a16="http://schemas.microsoft.com/office/drawing/2014/main" xmlns="" id="{A096CEE8-FFE7-4856-BE46-FF46B32E019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61" y="1110"/>
                    <a:ext cx="507" cy="480"/>
                  </a:xfrm>
                  <a:custGeom>
                    <a:avLst/>
                    <a:gdLst>
                      <a:gd name="T0" fmla="*/ 368 w 406"/>
                      <a:gd name="T1" fmla="*/ 384 h 384"/>
                      <a:gd name="T2" fmla="*/ 406 w 406"/>
                      <a:gd name="T3" fmla="*/ 346 h 384"/>
                      <a:gd name="T4" fmla="*/ 406 w 406"/>
                      <a:gd name="T5" fmla="*/ 38 h 384"/>
                      <a:gd name="T6" fmla="*/ 368 w 406"/>
                      <a:gd name="T7" fmla="*/ 0 h 384"/>
                      <a:gd name="T8" fmla="*/ 66 w 406"/>
                      <a:gd name="T9" fmla="*/ 0 h 384"/>
                      <a:gd name="T10" fmla="*/ 0 w 406"/>
                      <a:gd name="T11" fmla="*/ 384 h 384"/>
                      <a:gd name="T12" fmla="*/ 368 w 406"/>
                      <a:gd name="T13" fmla="*/ 384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6" h="384">
                        <a:moveTo>
                          <a:pt x="368" y="384"/>
                        </a:moveTo>
                        <a:cubicBezTo>
                          <a:pt x="389" y="384"/>
                          <a:pt x="406" y="367"/>
                          <a:pt x="406" y="346"/>
                        </a:cubicBezTo>
                        <a:cubicBezTo>
                          <a:pt x="406" y="38"/>
                          <a:pt x="406" y="38"/>
                          <a:pt x="406" y="38"/>
                        </a:cubicBezTo>
                        <a:cubicBezTo>
                          <a:pt x="406" y="17"/>
                          <a:pt x="389" y="0"/>
                          <a:pt x="368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25" y="121"/>
                          <a:pt x="3" y="250"/>
                          <a:pt x="0" y="384"/>
                        </a:cubicBezTo>
                        <a:lnTo>
                          <a:pt x="368" y="38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90" name="Freeform 12">
                    <a:extLst>
                      <a:ext uri="{FF2B5EF4-FFF2-40B4-BE49-F238E27FC236}">
                        <a16:creationId xmlns:a16="http://schemas.microsoft.com/office/drawing/2014/main" xmlns="" id="{9B768D9B-5689-4997-BDC7-8723C0C3CD1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833" y="1110"/>
                    <a:ext cx="1056" cy="480"/>
                  </a:xfrm>
                  <a:custGeom>
                    <a:avLst/>
                    <a:gdLst>
                      <a:gd name="T0" fmla="*/ 0 w 845"/>
                      <a:gd name="T1" fmla="*/ 38 h 384"/>
                      <a:gd name="T2" fmla="*/ 0 w 845"/>
                      <a:gd name="T3" fmla="*/ 346 h 384"/>
                      <a:gd name="T4" fmla="*/ 38 w 845"/>
                      <a:gd name="T5" fmla="*/ 384 h 384"/>
                      <a:gd name="T6" fmla="*/ 807 w 845"/>
                      <a:gd name="T7" fmla="*/ 384 h 384"/>
                      <a:gd name="T8" fmla="*/ 845 w 845"/>
                      <a:gd name="T9" fmla="*/ 346 h 384"/>
                      <a:gd name="T10" fmla="*/ 845 w 845"/>
                      <a:gd name="T11" fmla="*/ 38 h 384"/>
                      <a:gd name="T12" fmla="*/ 807 w 845"/>
                      <a:gd name="T13" fmla="*/ 0 h 384"/>
                      <a:gd name="T14" fmla="*/ 38 w 845"/>
                      <a:gd name="T15" fmla="*/ 0 h 384"/>
                      <a:gd name="T16" fmla="*/ 0 w 845"/>
                      <a:gd name="T17" fmla="*/ 38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0" y="38"/>
                        </a:move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91" name="Freeform 13">
                    <a:extLst>
                      <a:ext uri="{FF2B5EF4-FFF2-40B4-BE49-F238E27FC236}">
                        <a16:creationId xmlns:a16="http://schemas.microsoft.com/office/drawing/2014/main" xmlns="" id="{BC23CE1F-3C3F-46EA-BCD9-B957443C142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52" y="1110"/>
                    <a:ext cx="1056" cy="480"/>
                  </a:xfrm>
                  <a:custGeom>
                    <a:avLst/>
                    <a:gdLst>
                      <a:gd name="T0" fmla="*/ 0 w 845"/>
                      <a:gd name="T1" fmla="*/ 38 h 384"/>
                      <a:gd name="T2" fmla="*/ 0 w 845"/>
                      <a:gd name="T3" fmla="*/ 346 h 384"/>
                      <a:gd name="T4" fmla="*/ 38 w 845"/>
                      <a:gd name="T5" fmla="*/ 384 h 384"/>
                      <a:gd name="T6" fmla="*/ 807 w 845"/>
                      <a:gd name="T7" fmla="*/ 384 h 384"/>
                      <a:gd name="T8" fmla="*/ 845 w 845"/>
                      <a:gd name="T9" fmla="*/ 346 h 384"/>
                      <a:gd name="T10" fmla="*/ 845 w 845"/>
                      <a:gd name="T11" fmla="*/ 38 h 384"/>
                      <a:gd name="T12" fmla="*/ 807 w 845"/>
                      <a:gd name="T13" fmla="*/ 0 h 384"/>
                      <a:gd name="T14" fmla="*/ 38 w 845"/>
                      <a:gd name="T15" fmla="*/ 0 h 384"/>
                      <a:gd name="T16" fmla="*/ 0 w 845"/>
                      <a:gd name="T17" fmla="*/ 38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0" y="38"/>
                        </a:move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92" name="Freeform 14">
                    <a:extLst>
                      <a:ext uri="{FF2B5EF4-FFF2-40B4-BE49-F238E27FC236}">
                        <a16:creationId xmlns:a16="http://schemas.microsoft.com/office/drawing/2014/main" xmlns="" id="{B1A87A2E-E200-4A7D-A9EB-5C6C9DF2DF5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73" y="1110"/>
                    <a:ext cx="426" cy="480"/>
                  </a:xfrm>
                  <a:custGeom>
                    <a:avLst/>
                    <a:gdLst>
                      <a:gd name="T0" fmla="*/ 38 w 341"/>
                      <a:gd name="T1" fmla="*/ 0 h 384"/>
                      <a:gd name="T2" fmla="*/ 0 w 341"/>
                      <a:gd name="T3" fmla="*/ 38 h 384"/>
                      <a:gd name="T4" fmla="*/ 0 w 341"/>
                      <a:gd name="T5" fmla="*/ 346 h 384"/>
                      <a:gd name="T6" fmla="*/ 38 w 341"/>
                      <a:gd name="T7" fmla="*/ 384 h 384"/>
                      <a:gd name="T8" fmla="*/ 341 w 341"/>
                      <a:gd name="T9" fmla="*/ 384 h 384"/>
                      <a:gd name="T10" fmla="*/ 275 w 341"/>
                      <a:gd name="T11" fmla="*/ 0 h 384"/>
                      <a:gd name="T12" fmla="*/ 38 w 341"/>
                      <a:gd name="T13" fmla="*/ 0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1" h="384">
                        <a:moveTo>
                          <a:pt x="38" y="0"/>
                        </a:move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341" y="384"/>
                          <a:pt x="341" y="384"/>
                          <a:pt x="341" y="384"/>
                        </a:cubicBezTo>
                        <a:cubicBezTo>
                          <a:pt x="338" y="250"/>
                          <a:pt x="316" y="121"/>
                          <a:pt x="275" y="0"/>
                        </a:cubicBezTo>
                        <a:lnTo>
                          <a:pt x="3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93" name="Freeform 15">
                    <a:extLst>
                      <a:ext uri="{FF2B5EF4-FFF2-40B4-BE49-F238E27FC236}">
                        <a16:creationId xmlns:a16="http://schemas.microsoft.com/office/drawing/2014/main" xmlns="" id="{697027CD-EA25-4D33-88DA-F51CFFCB0C9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62" y="1665"/>
                    <a:ext cx="1051" cy="480"/>
                  </a:xfrm>
                  <a:custGeom>
                    <a:avLst/>
                    <a:gdLst>
                      <a:gd name="T0" fmla="*/ 841 w 841"/>
                      <a:gd name="T1" fmla="*/ 346 h 384"/>
                      <a:gd name="T2" fmla="*/ 841 w 841"/>
                      <a:gd name="T3" fmla="*/ 38 h 384"/>
                      <a:gd name="T4" fmla="*/ 803 w 841"/>
                      <a:gd name="T5" fmla="*/ 0 h 384"/>
                      <a:gd name="T6" fmla="*/ 34 w 841"/>
                      <a:gd name="T7" fmla="*/ 0 h 384"/>
                      <a:gd name="T8" fmla="*/ 0 w 841"/>
                      <a:gd name="T9" fmla="*/ 19 h 384"/>
                      <a:gd name="T10" fmla="*/ 69 w 841"/>
                      <a:gd name="T11" fmla="*/ 384 h 384"/>
                      <a:gd name="T12" fmla="*/ 803 w 841"/>
                      <a:gd name="T13" fmla="*/ 384 h 384"/>
                      <a:gd name="T14" fmla="*/ 841 w 841"/>
                      <a:gd name="T15" fmla="*/ 346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41" h="384">
                        <a:moveTo>
                          <a:pt x="841" y="346"/>
                        </a:moveTo>
                        <a:cubicBezTo>
                          <a:pt x="841" y="38"/>
                          <a:pt x="841" y="38"/>
                          <a:pt x="841" y="38"/>
                        </a:cubicBezTo>
                        <a:cubicBezTo>
                          <a:pt x="841" y="17"/>
                          <a:pt x="824" y="0"/>
                          <a:pt x="803" y="0"/>
                        </a:cubicBezTo>
                        <a:cubicBezTo>
                          <a:pt x="34" y="0"/>
                          <a:pt x="34" y="0"/>
                          <a:pt x="34" y="0"/>
                        </a:cubicBezTo>
                        <a:cubicBezTo>
                          <a:pt x="19" y="0"/>
                          <a:pt x="7" y="8"/>
                          <a:pt x="0" y="19"/>
                        </a:cubicBezTo>
                        <a:cubicBezTo>
                          <a:pt x="6" y="147"/>
                          <a:pt x="29" y="269"/>
                          <a:pt x="69" y="384"/>
                        </a:cubicBezTo>
                        <a:cubicBezTo>
                          <a:pt x="803" y="384"/>
                          <a:pt x="803" y="384"/>
                          <a:pt x="803" y="384"/>
                        </a:cubicBezTo>
                        <a:cubicBezTo>
                          <a:pt x="824" y="384"/>
                          <a:pt x="841" y="367"/>
                          <a:pt x="841" y="34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94" name="Freeform 16">
                    <a:extLst>
                      <a:ext uri="{FF2B5EF4-FFF2-40B4-BE49-F238E27FC236}">
                        <a16:creationId xmlns:a16="http://schemas.microsoft.com/office/drawing/2014/main" xmlns="" id="{68681456-FA0E-4D07-B20E-A0C7C981E34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77" y="1665"/>
                    <a:ext cx="1055" cy="480"/>
                  </a:xfrm>
                  <a:custGeom>
                    <a:avLst/>
                    <a:gdLst>
                      <a:gd name="T0" fmla="*/ 845 w 845"/>
                      <a:gd name="T1" fmla="*/ 346 h 384"/>
                      <a:gd name="T2" fmla="*/ 845 w 845"/>
                      <a:gd name="T3" fmla="*/ 38 h 384"/>
                      <a:gd name="T4" fmla="*/ 807 w 845"/>
                      <a:gd name="T5" fmla="*/ 0 h 384"/>
                      <a:gd name="T6" fmla="*/ 38 w 845"/>
                      <a:gd name="T7" fmla="*/ 0 h 384"/>
                      <a:gd name="T8" fmla="*/ 0 w 845"/>
                      <a:gd name="T9" fmla="*/ 38 h 384"/>
                      <a:gd name="T10" fmla="*/ 0 w 845"/>
                      <a:gd name="T11" fmla="*/ 346 h 384"/>
                      <a:gd name="T12" fmla="*/ 38 w 845"/>
                      <a:gd name="T13" fmla="*/ 384 h 384"/>
                      <a:gd name="T14" fmla="*/ 807 w 845"/>
                      <a:gd name="T15" fmla="*/ 384 h 384"/>
                      <a:gd name="T16" fmla="*/ 845 w 845"/>
                      <a:gd name="T17" fmla="*/ 346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845" y="346"/>
                        </a:move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95" name="Freeform 17">
                    <a:extLst>
                      <a:ext uri="{FF2B5EF4-FFF2-40B4-BE49-F238E27FC236}">
                        <a16:creationId xmlns:a16="http://schemas.microsoft.com/office/drawing/2014/main" xmlns="" id="{2C9ACB2C-750B-4B1D-8102-06F7AD6267B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97" y="1665"/>
                    <a:ext cx="1001" cy="480"/>
                  </a:xfrm>
                  <a:custGeom>
                    <a:avLst/>
                    <a:gdLst>
                      <a:gd name="T0" fmla="*/ 801 w 801"/>
                      <a:gd name="T1" fmla="*/ 0 h 384"/>
                      <a:gd name="T2" fmla="*/ 38 w 801"/>
                      <a:gd name="T3" fmla="*/ 0 h 384"/>
                      <a:gd name="T4" fmla="*/ 0 w 801"/>
                      <a:gd name="T5" fmla="*/ 38 h 384"/>
                      <a:gd name="T6" fmla="*/ 0 w 801"/>
                      <a:gd name="T7" fmla="*/ 346 h 384"/>
                      <a:gd name="T8" fmla="*/ 38 w 801"/>
                      <a:gd name="T9" fmla="*/ 384 h 384"/>
                      <a:gd name="T10" fmla="*/ 732 w 801"/>
                      <a:gd name="T11" fmla="*/ 384 h 384"/>
                      <a:gd name="T12" fmla="*/ 801 w 801"/>
                      <a:gd name="T13" fmla="*/ 0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1" h="384">
                        <a:moveTo>
                          <a:pt x="801" y="0"/>
                        </a:move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732" y="384"/>
                          <a:pt x="732" y="384"/>
                          <a:pt x="732" y="384"/>
                        </a:cubicBezTo>
                        <a:cubicBezTo>
                          <a:pt x="774" y="263"/>
                          <a:pt x="798" y="134"/>
                          <a:pt x="801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96" name="Freeform 18">
                    <a:extLst>
                      <a:ext uri="{FF2B5EF4-FFF2-40B4-BE49-F238E27FC236}">
                        <a16:creationId xmlns:a16="http://schemas.microsoft.com/office/drawing/2014/main" xmlns="" id="{39767DE0-2EE9-42EF-8A69-404706E6B9A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76" y="2220"/>
                    <a:ext cx="392" cy="480"/>
                  </a:xfrm>
                  <a:custGeom>
                    <a:avLst/>
                    <a:gdLst>
                      <a:gd name="T0" fmla="*/ 314 w 314"/>
                      <a:gd name="T1" fmla="*/ 346 h 384"/>
                      <a:gd name="T2" fmla="*/ 314 w 314"/>
                      <a:gd name="T3" fmla="*/ 38 h 384"/>
                      <a:gd name="T4" fmla="*/ 276 w 314"/>
                      <a:gd name="T5" fmla="*/ 0 h 384"/>
                      <a:gd name="T6" fmla="*/ 0 w 314"/>
                      <a:gd name="T7" fmla="*/ 0 h 384"/>
                      <a:gd name="T8" fmla="*/ 238 w 314"/>
                      <a:gd name="T9" fmla="*/ 384 h 384"/>
                      <a:gd name="T10" fmla="*/ 276 w 314"/>
                      <a:gd name="T11" fmla="*/ 384 h 384"/>
                      <a:gd name="T12" fmla="*/ 314 w 314"/>
                      <a:gd name="T13" fmla="*/ 346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14" h="384">
                        <a:moveTo>
                          <a:pt x="314" y="346"/>
                        </a:moveTo>
                        <a:cubicBezTo>
                          <a:pt x="314" y="38"/>
                          <a:pt x="314" y="38"/>
                          <a:pt x="314" y="38"/>
                        </a:cubicBezTo>
                        <a:cubicBezTo>
                          <a:pt x="314" y="17"/>
                          <a:pt x="297" y="0"/>
                          <a:pt x="276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56" y="142"/>
                          <a:pt x="138" y="272"/>
                          <a:pt x="238" y="384"/>
                        </a:cubicBezTo>
                        <a:cubicBezTo>
                          <a:pt x="276" y="384"/>
                          <a:pt x="276" y="384"/>
                          <a:pt x="276" y="384"/>
                        </a:cubicBezTo>
                        <a:cubicBezTo>
                          <a:pt x="297" y="384"/>
                          <a:pt x="314" y="367"/>
                          <a:pt x="314" y="34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97" name="Freeform 19">
                    <a:extLst>
                      <a:ext uri="{FF2B5EF4-FFF2-40B4-BE49-F238E27FC236}">
                        <a16:creationId xmlns:a16="http://schemas.microsoft.com/office/drawing/2014/main" xmlns="" id="{0581ABE8-2B4F-4880-AEE9-FB11F8579AA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833" y="2220"/>
                    <a:ext cx="1056" cy="480"/>
                  </a:xfrm>
                  <a:custGeom>
                    <a:avLst/>
                    <a:gdLst>
                      <a:gd name="T0" fmla="*/ 38 w 845"/>
                      <a:gd name="T1" fmla="*/ 384 h 384"/>
                      <a:gd name="T2" fmla="*/ 807 w 845"/>
                      <a:gd name="T3" fmla="*/ 384 h 384"/>
                      <a:gd name="T4" fmla="*/ 845 w 845"/>
                      <a:gd name="T5" fmla="*/ 346 h 384"/>
                      <a:gd name="T6" fmla="*/ 845 w 845"/>
                      <a:gd name="T7" fmla="*/ 38 h 384"/>
                      <a:gd name="T8" fmla="*/ 807 w 845"/>
                      <a:gd name="T9" fmla="*/ 0 h 384"/>
                      <a:gd name="T10" fmla="*/ 38 w 845"/>
                      <a:gd name="T11" fmla="*/ 0 h 384"/>
                      <a:gd name="T12" fmla="*/ 0 w 845"/>
                      <a:gd name="T13" fmla="*/ 38 h 384"/>
                      <a:gd name="T14" fmla="*/ 0 w 845"/>
                      <a:gd name="T15" fmla="*/ 346 h 384"/>
                      <a:gd name="T16" fmla="*/ 38 w 845"/>
                      <a:gd name="T17" fmla="*/ 384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38" y="384"/>
                        </a:move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98" name="Freeform 20">
                    <a:extLst>
                      <a:ext uri="{FF2B5EF4-FFF2-40B4-BE49-F238E27FC236}">
                        <a16:creationId xmlns:a16="http://schemas.microsoft.com/office/drawing/2014/main" xmlns="" id="{8B1224FB-9DFC-44A3-8B39-7AD04B21DE2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52" y="2220"/>
                    <a:ext cx="1056" cy="480"/>
                  </a:xfrm>
                  <a:custGeom>
                    <a:avLst/>
                    <a:gdLst>
                      <a:gd name="T0" fmla="*/ 38 w 845"/>
                      <a:gd name="T1" fmla="*/ 384 h 384"/>
                      <a:gd name="T2" fmla="*/ 807 w 845"/>
                      <a:gd name="T3" fmla="*/ 384 h 384"/>
                      <a:gd name="T4" fmla="*/ 845 w 845"/>
                      <a:gd name="T5" fmla="*/ 346 h 384"/>
                      <a:gd name="T6" fmla="*/ 845 w 845"/>
                      <a:gd name="T7" fmla="*/ 38 h 384"/>
                      <a:gd name="T8" fmla="*/ 807 w 845"/>
                      <a:gd name="T9" fmla="*/ 0 h 384"/>
                      <a:gd name="T10" fmla="*/ 38 w 845"/>
                      <a:gd name="T11" fmla="*/ 0 h 384"/>
                      <a:gd name="T12" fmla="*/ 0 w 845"/>
                      <a:gd name="T13" fmla="*/ 38 h 384"/>
                      <a:gd name="T14" fmla="*/ 0 w 845"/>
                      <a:gd name="T15" fmla="*/ 346 h 384"/>
                      <a:gd name="T16" fmla="*/ 38 w 845"/>
                      <a:gd name="T17" fmla="*/ 384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38" y="384"/>
                        </a:move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99" name="Freeform 21">
                    <a:extLst>
                      <a:ext uri="{FF2B5EF4-FFF2-40B4-BE49-F238E27FC236}">
                        <a16:creationId xmlns:a16="http://schemas.microsoft.com/office/drawing/2014/main" xmlns="" id="{89E512DD-C596-42B0-8C9A-72E2E993D56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73" y="2220"/>
                    <a:ext cx="311" cy="473"/>
                  </a:xfrm>
                  <a:custGeom>
                    <a:avLst/>
                    <a:gdLst>
                      <a:gd name="T0" fmla="*/ 38 w 249"/>
                      <a:gd name="T1" fmla="*/ 0 h 378"/>
                      <a:gd name="T2" fmla="*/ 0 w 249"/>
                      <a:gd name="T3" fmla="*/ 38 h 378"/>
                      <a:gd name="T4" fmla="*/ 0 w 249"/>
                      <a:gd name="T5" fmla="*/ 346 h 378"/>
                      <a:gd name="T6" fmla="*/ 17 w 249"/>
                      <a:gd name="T7" fmla="*/ 378 h 378"/>
                      <a:gd name="T8" fmla="*/ 249 w 249"/>
                      <a:gd name="T9" fmla="*/ 0 h 378"/>
                      <a:gd name="T10" fmla="*/ 38 w 249"/>
                      <a:gd name="T11" fmla="*/ 0 h 37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49" h="378">
                        <a:moveTo>
                          <a:pt x="38" y="0"/>
                        </a:move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59"/>
                          <a:pt x="6" y="371"/>
                          <a:pt x="17" y="378"/>
                        </a:cubicBezTo>
                        <a:cubicBezTo>
                          <a:pt x="114" y="267"/>
                          <a:pt x="194" y="139"/>
                          <a:pt x="249" y="0"/>
                        </a:cubicBezTo>
                        <a:lnTo>
                          <a:pt x="3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00" name="Freeform 22">
                    <a:extLst>
                      <a:ext uri="{FF2B5EF4-FFF2-40B4-BE49-F238E27FC236}">
                        <a16:creationId xmlns:a16="http://schemas.microsoft.com/office/drawing/2014/main" xmlns="" id="{CE2F261E-5446-43B8-B521-857FA9E2707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44" y="2775"/>
                    <a:ext cx="569" cy="363"/>
                  </a:xfrm>
                  <a:custGeom>
                    <a:avLst/>
                    <a:gdLst>
                      <a:gd name="T0" fmla="*/ 455 w 455"/>
                      <a:gd name="T1" fmla="*/ 38 h 290"/>
                      <a:gd name="T2" fmla="*/ 417 w 455"/>
                      <a:gd name="T3" fmla="*/ 0 h 290"/>
                      <a:gd name="T4" fmla="*/ 0 w 455"/>
                      <a:gd name="T5" fmla="*/ 0 h 290"/>
                      <a:gd name="T6" fmla="*/ 455 w 455"/>
                      <a:gd name="T7" fmla="*/ 290 h 290"/>
                      <a:gd name="T8" fmla="*/ 455 w 455"/>
                      <a:gd name="T9" fmla="*/ 38 h 2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5" h="290">
                        <a:moveTo>
                          <a:pt x="455" y="38"/>
                        </a:moveTo>
                        <a:cubicBezTo>
                          <a:pt x="455" y="17"/>
                          <a:pt x="438" y="0"/>
                          <a:pt x="4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28" y="126"/>
                          <a:pt x="283" y="226"/>
                          <a:pt x="455" y="290"/>
                        </a:cubicBezTo>
                        <a:lnTo>
                          <a:pt x="455" y="3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17" name="Freeform 23">
                    <a:extLst>
                      <a:ext uri="{FF2B5EF4-FFF2-40B4-BE49-F238E27FC236}">
                        <a16:creationId xmlns:a16="http://schemas.microsoft.com/office/drawing/2014/main" xmlns="" id="{02783F0C-E078-44DA-934E-0E3D34FDDBE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77" y="2775"/>
                    <a:ext cx="1055" cy="465"/>
                  </a:xfrm>
                  <a:custGeom>
                    <a:avLst/>
                    <a:gdLst>
                      <a:gd name="T0" fmla="*/ 845 w 845"/>
                      <a:gd name="T1" fmla="*/ 294 h 372"/>
                      <a:gd name="T2" fmla="*/ 845 w 845"/>
                      <a:gd name="T3" fmla="*/ 38 h 372"/>
                      <a:gd name="T4" fmla="*/ 807 w 845"/>
                      <a:gd name="T5" fmla="*/ 0 h 372"/>
                      <a:gd name="T6" fmla="*/ 38 w 845"/>
                      <a:gd name="T7" fmla="*/ 0 h 372"/>
                      <a:gd name="T8" fmla="*/ 0 w 845"/>
                      <a:gd name="T9" fmla="*/ 38 h 372"/>
                      <a:gd name="T10" fmla="*/ 0 w 845"/>
                      <a:gd name="T11" fmla="*/ 308 h 372"/>
                      <a:gd name="T12" fmla="*/ 403 w 845"/>
                      <a:gd name="T13" fmla="*/ 372 h 372"/>
                      <a:gd name="T14" fmla="*/ 845 w 845"/>
                      <a:gd name="T15" fmla="*/ 294 h 3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45" h="372">
                        <a:moveTo>
                          <a:pt x="845" y="294"/>
                        </a:move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08"/>
                          <a:pt x="0" y="308"/>
                          <a:pt x="0" y="308"/>
                        </a:cubicBezTo>
                        <a:cubicBezTo>
                          <a:pt x="127" y="349"/>
                          <a:pt x="262" y="372"/>
                          <a:pt x="403" y="372"/>
                        </a:cubicBezTo>
                        <a:cubicBezTo>
                          <a:pt x="558" y="372"/>
                          <a:pt x="707" y="345"/>
                          <a:pt x="845" y="29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18" name="Freeform 24">
                    <a:extLst>
                      <a:ext uri="{FF2B5EF4-FFF2-40B4-BE49-F238E27FC236}">
                        <a16:creationId xmlns:a16="http://schemas.microsoft.com/office/drawing/2014/main" xmlns="" id="{82D339B1-281D-408D-AD03-B44CC7EA787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97" y="2775"/>
                    <a:ext cx="519" cy="344"/>
                  </a:xfrm>
                  <a:custGeom>
                    <a:avLst/>
                    <a:gdLst>
                      <a:gd name="T0" fmla="*/ 38 w 415"/>
                      <a:gd name="T1" fmla="*/ 0 h 275"/>
                      <a:gd name="T2" fmla="*/ 0 w 415"/>
                      <a:gd name="T3" fmla="*/ 38 h 275"/>
                      <a:gd name="T4" fmla="*/ 0 w 415"/>
                      <a:gd name="T5" fmla="*/ 275 h 275"/>
                      <a:gd name="T6" fmla="*/ 415 w 415"/>
                      <a:gd name="T7" fmla="*/ 0 h 275"/>
                      <a:gd name="T8" fmla="*/ 38 w 415"/>
                      <a:gd name="T9" fmla="*/ 0 h 2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15" h="275">
                        <a:moveTo>
                          <a:pt x="38" y="0"/>
                        </a:move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275"/>
                          <a:pt x="0" y="275"/>
                          <a:pt x="0" y="275"/>
                        </a:cubicBezTo>
                        <a:cubicBezTo>
                          <a:pt x="156" y="210"/>
                          <a:pt x="297" y="116"/>
                          <a:pt x="415" y="0"/>
                        </a:cubicBezTo>
                        <a:lnTo>
                          <a:pt x="3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</p:grpSp>
          <p:grpSp>
            <p:nvGrpSpPr>
              <p:cNvPr id="1112" name="Group 1111">
                <a:extLst>
                  <a:ext uri="{FF2B5EF4-FFF2-40B4-BE49-F238E27FC236}">
                    <a16:creationId xmlns:a16="http://schemas.microsoft.com/office/drawing/2014/main" xmlns="" id="{22510BF1-825A-4347-82F7-5E3F1244679E}"/>
                  </a:ext>
                </a:extLst>
              </p:cNvPr>
              <p:cNvGrpSpPr/>
              <p:nvPr/>
            </p:nvGrpSpPr>
            <p:grpSpPr>
              <a:xfrm>
                <a:off x="7488807" y="2214899"/>
                <a:ext cx="465186" cy="337180"/>
                <a:chOff x="4207537" y="2273730"/>
                <a:chExt cx="598923" cy="434116"/>
              </a:xfrm>
            </p:grpSpPr>
            <p:grpSp>
              <p:nvGrpSpPr>
                <p:cNvPr id="1160" name="Group 1159">
                  <a:extLst>
                    <a:ext uri="{FF2B5EF4-FFF2-40B4-BE49-F238E27FC236}">
                      <a16:creationId xmlns:a16="http://schemas.microsoft.com/office/drawing/2014/main" xmlns="" id="{51873F2B-A9A0-4BF3-9064-772881A0D413}"/>
                    </a:ext>
                  </a:extLst>
                </p:cNvPr>
                <p:cNvGrpSpPr/>
                <p:nvPr/>
              </p:nvGrpSpPr>
              <p:grpSpPr>
                <a:xfrm>
                  <a:off x="4207537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175" name="Freeform 201">
                    <a:extLst>
                      <a:ext uri="{FF2B5EF4-FFF2-40B4-BE49-F238E27FC236}">
                        <a16:creationId xmlns:a16="http://schemas.microsoft.com/office/drawing/2014/main" xmlns="" id="{8EA0FB85-5A85-465D-8896-72E88EE9E7A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76" name="Line 202">
                    <a:extLst>
                      <a:ext uri="{FF2B5EF4-FFF2-40B4-BE49-F238E27FC236}">
                        <a16:creationId xmlns:a16="http://schemas.microsoft.com/office/drawing/2014/main" xmlns="" id="{87A2A355-F1B3-4983-8961-9CB062E6A3E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77" name="Line 203">
                    <a:extLst>
                      <a:ext uri="{FF2B5EF4-FFF2-40B4-BE49-F238E27FC236}">
                        <a16:creationId xmlns:a16="http://schemas.microsoft.com/office/drawing/2014/main" xmlns="" id="{8C3473B3-0649-4738-9373-9A22BEDFE46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78" name="Line 204">
                    <a:extLst>
                      <a:ext uri="{FF2B5EF4-FFF2-40B4-BE49-F238E27FC236}">
                        <a16:creationId xmlns:a16="http://schemas.microsoft.com/office/drawing/2014/main" xmlns="" id="{E478CC5F-94DD-4530-8B94-BC664EE2AE3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79" name="Line 205">
                    <a:extLst>
                      <a:ext uri="{FF2B5EF4-FFF2-40B4-BE49-F238E27FC236}">
                        <a16:creationId xmlns:a16="http://schemas.microsoft.com/office/drawing/2014/main" xmlns="" id="{1E387D90-5C22-4C73-B942-38B14C455EE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80" name="Line 206">
                    <a:extLst>
                      <a:ext uri="{FF2B5EF4-FFF2-40B4-BE49-F238E27FC236}">
                        <a16:creationId xmlns:a16="http://schemas.microsoft.com/office/drawing/2014/main" xmlns="" id="{B4784D05-EE6E-42C8-87CB-0B654429744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161" name="Group 1160">
                  <a:extLst>
                    <a:ext uri="{FF2B5EF4-FFF2-40B4-BE49-F238E27FC236}">
                      <a16:creationId xmlns:a16="http://schemas.microsoft.com/office/drawing/2014/main" xmlns="" id="{E7521CA4-CCB0-4DCE-AB7A-C0429A9D6812}"/>
                    </a:ext>
                  </a:extLst>
                </p:cNvPr>
                <p:cNvGrpSpPr/>
                <p:nvPr/>
              </p:nvGrpSpPr>
              <p:grpSpPr>
                <a:xfrm>
                  <a:off x="4417305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169" name="Freeform 201">
                    <a:extLst>
                      <a:ext uri="{FF2B5EF4-FFF2-40B4-BE49-F238E27FC236}">
                        <a16:creationId xmlns:a16="http://schemas.microsoft.com/office/drawing/2014/main" xmlns="" id="{A3F2B97D-A083-4E60-9B46-FE0B5BF32F6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70" name="Line 202">
                    <a:extLst>
                      <a:ext uri="{FF2B5EF4-FFF2-40B4-BE49-F238E27FC236}">
                        <a16:creationId xmlns:a16="http://schemas.microsoft.com/office/drawing/2014/main" xmlns="" id="{6C24ABD5-923C-404E-A54D-FCAFF69B6AB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71" name="Line 203">
                    <a:extLst>
                      <a:ext uri="{FF2B5EF4-FFF2-40B4-BE49-F238E27FC236}">
                        <a16:creationId xmlns:a16="http://schemas.microsoft.com/office/drawing/2014/main" xmlns="" id="{42144D26-76C4-423C-A4A6-CD22BE065A1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72" name="Line 204">
                    <a:extLst>
                      <a:ext uri="{FF2B5EF4-FFF2-40B4-BE49-F238E27FC236}">
                        <a16:creationId xmlns:a16="http://schemas.microsoft.com/office/drawing/2014/main" xmlns="" id="{FBD39A3A-9644-4A4F-BEF4-DA26E8A41FF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73" name="Line 205">
                    <a:extLst>
                      <a:ext uri="{FF2B5EF4-FFF2-40B4-BE49-F238E27FC236}">
                        <a16:creationId xmlns:a16="http://schemas.microsoft.com/office/drawing/2014/main" xmlns="" id="{C5FC8EAE-7267-4D87-AA0B-9BEF082FC3C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74" name="Line 206">
                    <a:extLst>
                      <a:ext uri="{FF2B5EF4-FFF2-40B4-BE49-F238E27FC236}">
                        <a16:creationId xmlns:a16="http://schemas.microsoft.com/office/drawing/2014/main" xmlns="" id="{BB807274-6727-41AF-87C1-15D9B010871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162" name="Group 1161">
                  <a:extLst>
                    <a:ext uri="{FF2B5EF4-FFF2-40B4-BE49-F238E27FC236}">
                      <a16:creationId xmlns:a16="http://schemas.microsoft.com/office/drawing/2014/main" xmlns="" id="{D17D55D7-7EBE-4A37-9874-2D8FE7489CBD}"/>
                    </a:ext>
                  </a:extLst>
                </p:cNvPr>
                <p:cNvGrpSpPr/>
                <p:nvPr/>
              </p:nvGrpSpPr>
              <p:grpSpPr>
                <a:xfrm>
                  <a:off x="4627073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163" name="Freeform 201">
                    <a:extLst>
                      <a:ext uri="{FF2B5EF4-FFF2-40B4-BE49-F238E27FC236}">
                        <a16:creationId xmlns:a16="http://schemas.microsoft.com/office/drawing/2014/main" xmlns="" id="{695FD04F-8C42-4BB1-9C9A-048690DB9B8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64" name="Line 202">
                    <a:extLst>
                      <a:ext uri="{FF2B5EF4-FFF2-40B4-BE49-F238E27FC236}">
                        <a16:creationId xmlns:a16="http://schemas.microsoft.com/office/drawing/2014/main" xmlns="" id="{57D8107E-4BB9-4496-9EB6-60EAE829AAC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65" name="Line 203">
                    <a:extLst>
                      <a:ext uri="{FF2B5EF4-FFF2-40B4-BE49-F238E27FC236}">
                        <a16:creationId xmlns:a16="http://schemas.microsoft.com/office/drawing/2014/main" xmlns="" id="{A653F8F5-134F-4E90-8854-B907A290D19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66" name="Line 204">
                    <a:extLst>
                      <a:ext uri="{FF2B5EF4-FFF2-40B4-BE49-F238E27FC236}">
                        <a16:creationId xmlns:a16="http://schemas.microsoft.com/office/drawing/2014/main" xmlns="" id="{38E20873-606E-4DFF-8CB3-65D35A334AA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67" name="Line 205">
                    <a:extLst>
                      <a:ext uri="{FF2B5EF4-FFF2-40B4-BE49-F238E27FC236}">
                        <a16:creationId xmlns:a16="http://schemas.microsoft.com/office/drawing/2014/main" xmlns="" id="{A9DD0FC0-2ED8-4893-8080-AC263588188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68" name="Line 206">
                    <a:extLst>
                      <a:ext uri="{FF2B5EF4-FFF2-40B4-BE49-F238E27FC236}">
                        <a16:creationId xmlns:a16="http://schemas.microsoft.com/office/drawing/2014/main" xmlns="" id="{B0962011-29E7-4662-9499-A3FD97DC600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</p:grpSp>
          <p:cxnSp>
            <p:nvCxnSpPr>
              <p:cNvPr id="1115" name="Straight Connector 1114">
                <a:extLst>
                  <a:ext uri="{FF2B5EF4-FFF2-40B4-BE49-F238E27FC236}">
                    <a16:creationId xmlns:a16="http://schemas.microsoft.com/office/drawing/2014/main" xmlns="" id="{7A5DF334-5EE7-45D1-9527-DA6AA08979B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7957" y="2668784"/>
                <a:ext cx="929320" cy="0"/>
              </a:xfrm>
              <a:prstGeom prst="line">
                <a:avLst/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13" name="Group 1112">
                <a:extLst>
                  <a:ext uri="{FF2B5EF4-FFF2-40B4-BE49-F238E27FC236}">
                    <a16:creationId xmlns:a16="http://schemas.microsoft.com/office/drawing/2014/main" xmlns="" id="{F2B1CC4D-4FB4-4399-B2B1-8C7A848EA32F}"/>
                  </a:ext>
                </a:extLst>
              </p:cNvPr>
              <p:cNvGrpSpPr/>
              <p:nvPr/>
            </p:nvGrpSpPr>
            <p:grpSpPr>
              <a:xfrm>
                <a:off x="6810761" y="2502657"/>
                <a:ext cx="333558" cy="333594"/>
                <a:chOff x="542940" y="1857375"/>
                <a:chExt cx="914400" cy="914494"/>
              </a:xfrm>
            </p:grpSpPr>
            <p:sp>
              <p:nvSpPr>
                <p:cNvPr id="1138" name="Oval 1137">
                  <a:extLst>
                    <a:ext uri="{FF2B5EF4-FFF2-40B4-BE49-F238E27FC236}">
                      <a16:creationId xmlns:a16="http://schemas.microsoft.com/office/drawing/2014/main" xmlns="" id="{69C710B9-0151-48BF-8F5B-1EAB29AA6BF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42940" y="1857422"/>
                  <a:ext cx="914400" cy="9144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grpSp>
              <p:nvGrpSpPr>
                <p:cNvPr id="1139" name="Group 4">
                  <a:extLst>
                    <a:ext uri="{FF2B5EF4-FFF2-40B4-BE49-F238E27FC236}">
                      <a16:creationId xmlns:a16="http://schemas.microsoft.com/office/drawing/2014/main" xmlns="" id="{43D41168-8E82-4BBD-8F10-18C329F8DC6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43174" y="1857375"/>
                  <a:ext cx="913932" cy="914494"/>
                  <a:chOff x="1261" y="0"/>
                  <a:chExt cx="3238" cy="3240"/>
                </a:xfrm>
                <a:solidFill>
                  <a:schemeClr val="tx2"/>
                </a:solidFill>
              </p:grpSpPr>
              <p:sp>
                <p:nvSpPr>
                  <p:cNvPr id="1140" name="Freeform 5">
                    <a:extLst>
                      <a:ext uri="{FF2B5EF4-FFF2-40B4-BE49-F238E27FC236}">
                        <a16:creationId xmlns:a16="http://schemas.microsoft.com/office/drawing/2014/main" xmlns="" id="{E3217D29-30C9-42FE-9BAD-D6218974DBF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31" y="443"/>
                    <a:ext cx="36" cy="37"/>
                  </a:xfrm>
                  <a:custGeom>
                    <a:avLst/>
                    <a:gdLst>
                      <a:gd name="T0" fmla="*/ 0 w 29"/>
                      <a:gd name="T1" fmla="*/ 30 h 30"/>
                      <a:gd name="T2" fmla="*/ 29 w 29"/>
                      <a:gd name="T3" fmla="*/ 0 h 30"/>
                      <a:gd name="T4" fmla="*/ 0 w 29"/>
                      <a:gd name="T5" fmla="*/ 3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9" h="30">
                        <a:moveTo>
                          <a:pt x="0" y="30"/>
                        </a:moveTo>
                        <a:cubicBezTo>
                          <a:pt x="15" y="27"/>
                          <a:pt x="26" y="15"/>
                          <a:pt x="29" y="0"/>
                        </a:cubicBezTo>
                        <a:cubicBezTo>
                          <a:pt x="19" y="10"/>
                          <a:pt x="10" y="20"/>
                          <a:pt x="0" y="3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41" name="Freeform 6">
                    <a:extLst>
                      <a:ext uri="{FF2B5EF4-FFF2-40B4-BE49-F238E27FC236}">
                        <a16:creationId xmlns:a16="http://schemas.microsoft.com/office/drawing/2014/main" xmlns="" id="{1544A2F5-E9BC-49FD-8B6F-FDA88A2433F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833" y="0"/>
                    <a:ext cx="1056" cy="480"/>
                  </a:xfrm>
                  <a:custGeom>
                    <a:avLst/>
                    <a:gdLst>
                      <a:gd name="T0" fmla="*/ 0 w 845"/>
                      <a:gd name="T1" fmla="*/ 346 h 384"/>
                      <a:gd name="T2" fmla="*/ 38 w 845"/>
                      <a:gd name="T3" fmla="*/ 384 h 384"/>
                      <a:gd name="T4" fmla="*/ 807 w 845"/>
                      <a:gd name="T5" fmla="*/ 384 h 384"/>
                      <a:gd name="T6" fmla="*/ 845 w 845"/>
                      <a:gd name="T7" fmla="*/ 346 h 384"/>
                      <a:gd name="T8" fmla="*/ 845 w 845"/>
                      <a:gd name="T9" fmla="*/ 38 h 384"/>
                      <a:gd name="T10" fmla="*/ 812 w 845"/>
                      <a:gd name="T11" fmla="*/ 0 h 384"/>
                      <a:gd name="T12" fmla="*/ 0 w 845"/>
                      <a:gd name="T13" fmla="*/ 308 h 384"/>
                      <a:gd name="T14" fmla="*/ 0 w 845"/>
                      <a:gd name="T15" fmla="*/ 346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45" h="384">
                        <a:moveTo>
                          <a:pt x="0" y="346"/>
                        </a:move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9"/>
                          <a:pt x="830" y="3"/>
                          <a:pt x="812" y="0"/>
                        </a:cubicBezTo>
                        <a:cubicBezTo>
                          <a:pt x="502" y="6"/>
                          <a:pt x="219" y="121"/>
                          <a:pt x="0" y="308"/>
                        </a:cubicBezTo>
                        <a:lnTo>
                          <a:pt x="0" y="34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42" name="Freeform 7">
                    <a:extLst>
                      <a:ext uri="{FF2B5EF4-FFF2-40B4-BE49-F238E27FC236}">
                        <a16:creationId xmlns:a16="http://schemas.microsoft.com/office/drawing/2014/main" xmlns="" id="{8376EBEE-D87C-451B-B2C2-1EFFF4A3895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52" y="4"/>
                    <a:ext cx="1051" cy="476"/>
                  </a:xfrm>
                  <a:custGeom>
                    <a:avLst/>
                    <a:gdLst>
                      <a:gd name="T0" fmla="*/ 24 w 841"/>
                      <a:gd name="T1" fmla="*/ 0 h 381"/>
                      <a:gd name="T2" fmla="*/ 0 w 841"/>
                      <a:gd name="T3" fmla="*/ 35 h 381"/>
                      <a:gd name="T4" fmla="*/ 0 w 841"/>
                      <a:gd name="T5" fmla="*/ 343 h 381"/>
                      <a:gd name="T6" fmla="*/ 38 w 841"/>
                      <a:gd name="T7" fmla="*/ 381 h 381"/>
                      <a:gd name="T8" fmla="*/ 807 w 841"/>
                      <a:gd name="T9" fmla="*/ 381 h 381"/>
                      <a:gd name="T10" fmla="*/ 841 w 841"/>
                      <a:gd name="T11" fmla="*/ 360 h 381"/>
                      <a:gd name="T12" fmla="*/ 24 w 841"/>
                      <a:gd name="T13" fmla="*/ 0 h 38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41" h="381">
                        <a:moveTo>
                          <a:pt x="24" y="0"/>
                        </a:moveTo>
                        <a:cubicBezTo>
                          <a:pt x="10" y="5"/>
                          <a:pt x="0" y="19"/>
                          <a:pt x="0" y="35"/>
                        </a:cubicBezTo>
                        <a:cubicBezTo>
                          <a:pt x="0" y="343"/>
                          <a:pt x="0" y="343"/>
                          <a:pt x="0" y="343"/>
                        </a:cubicBezTo>
                        <a:cubicBezTo>
                          <a:pt x="0" y="364"/>
                          <a:pt x="17" y="381"/>
                          <a:pt x="38" y="381"/>
                        </a:cubicBezTo>
                        <a:cubicBezTo>
                          <a:pt x="807" y="381"/>
                          <a:pt x="807" y="381"/>
                          <a:pt x="807" y="381"/>
                        </a:cubicBezTo>
                        <a:cubicBezTo>
                          <a:pt x="822" y="381"/>
                          <a:pt x="835" y="373"/>
                          <a:pt x="841" y="360"/>
                        </a:cubicBezTo>
                        <a:cubicBezTo>
                          <a:pt x="627" y="153"/>
                          <a:pt x="341" y="20"/>
                          <a:pt x="2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43" name="Freeform 8">
                    <a:extLst>
                      <a:ext uri="{FF2B5EF4-FFF2-40B4-BE49-F238E27FC236}">
                        <a16:creationId xmlns:a16="http://schemas.microsoft.com/office/drawing/2014/main" xmlns="" id="{A4E74056-86BC-4252-8B6F-A0D08B573FD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70" y="555"/>
                    <a:ext cx="943" cy="480"/>
                  </a:xfrm>
                  <a:custGeom>
                    <a:avLst/>
                    <a:gdLst>
                      <a:gd name="T0" fmla="*/ 717 w 755"/>
                      <a:gd name="T1" fmla="*/ 0 h 384"/>
                      <a:gd name="T2" fmla="*/ 233 w 755"/>
                      <a:gd name="T3" fmla="*/ 0 h 384"/>
                      <a:gd name="T4" fmla="*/ 0 w 755"/>
                      <a:gd name="T5" fmla="*/ 384 h 384"/>
                      <a:gd name="T6" fmla="*/ 717 w 755"/>
                      <a:gd name="T7" fmla="*/ 384 h 384"/>
                      <a:gd name="T8" fmla="*/ 755 w 755"/>
                      <a:gd name="T9" fmla="*/ 346 h 384"/>
                      <a:gd name="T10" fmla="*/ 755 w 755"/>
                      <a:gd name="T11" fmla="*/ 38 h 384"/>
                      <a:gd name="T12" fmla="*/ 717 w 755"/>
                      <a:gd name="T13" fmla="*/ 0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5" h="384">
                        <a:moveTo>
                          <a:pt x="717" y="0"/>
                        </a:moveTo>
                        <a:cubicBezTo>
                          <a:pt x="233" y="0"/>
                          <a:pt x="233" y="0"/>
                          <a:pt x="233" y="0"/>
                        </a:cubicBezTo>
                        <a:cubicBezTo>
                          <a:pt x="134" y="113"/>
                          <a:pt x="55" y="242"/>
                          <a:pt x="0" y="384"/>
                        </a:cubicBezTo>
                        <a:cubicBezTo>
                          <a:pt x="717" y="384"/>
                          <a:pt x="717" y="384"/>
                          <a:pt x="717" y="384"/>
                        </a:cubicBezTo>
                        <a:cubicBezTo>
                          <a:pt x="738" y="384"/>
                          <a:pt x="755" y="367"/>
                          <a:pt x="755" y="346"/>
                        </a:cubicBezTo>
                        <a:cubicBezTo>
                          <a:pt x="755" y="38"/>
                          <a:pt x="755" y="38"/>
                          <a:pt x="755" y="38"/>
                        </a:cubicBezTo>
                        <a:cubicBezTo>
                          <a:pt x="755" y="17"/>
                          <a:pt x="738" y="0"/>
                          <a:pt x="71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44" name="Freeform 9">
                    <a:extLst>
                      <a:ext uri="{FF2B5EF4-FFF2-40B4-BE49-F238E27FC236}">
                        <a16:creationId xmlns:a16="http://schemas.microsoft.com/office/drawing/2014/main" xmlns="" id="{9691450C-AE8B-4C4C-983F-A179AEFE905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77" y="555"/>
                    <a:ext cx="1055" cy="480"/>
                  </a:xfrm>
                  <a:custGeom>
                    <a:avLst/>
                    <a:gdLst>
                      <a:gd name="T0" fmla="*/ 807 w 845"/>
                      <a:gd name="T1" fmla="*/ 0 h 384"/>
                      <a:gd name="T2" fmla="*/ 38 w 845"/>
                      <a:gd name="T3" fmla="*/ 0 h 384"/>
                      <a:gd name="T4" fmla="*/ 0 w 845"/>
                      <a:gd name="T5" fmla="*/ 38 h 384"/>
                      <a:gd name="T6" fmla="*/ 0 w 845"/>
                      <a:gd name="T7" fmla="*/ 346 h 384"/>
                      <a:gd name="T8" fmla="*/ 38 w 845"/>
                      <a:gd name="T9" fmla="*/ 384 h 384"/>
                      <a:gd name="T10" fmla="*/ 807 w 845"/>
                      <a:gd name="T11" fmla="*/ 384 h 384"/>
                      <a:gd name="T12" fmla="*/ 845 w 845"/>
                      <a:gd name="T13" fmla="*/ 346 h 384"/>
                      <a:gd name="T14" fmla="*/ 845 w 845"/>
                      <a:gd name="T15" fmla="*/ 38 h 384"/>
                      <a:gd name="T16" fmla="*/ 807 w 845"/>
                      <a:gd name="T17" fmla="*/ 0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807" y="0"/>
                        </a:move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45" name="Freeform 10">
                    <a:extLst>
                      <a:ext uri="{FF2B5EF4-FFF2-40B4-BE49-F238E27FC236}">
                        <a16:creationId xmlns:a16="http://schemas.microsoft.com/office/drawing/2014/main" xmlns="" id="{AEF104D5-D6F7-4AA0-B61C-1BB0AD7105A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97" y="555"/>
                    <a:ext cx="893" cy="480"/>
                  </a:xfrm>
                  <a:custGeom>
                    <a:avLst/>
                    <a:gdLst>
                      <a:gd name="T0" fmla="*/ 0 w 715"/>
                      <a:gd name="T1" fmla="*/ 38 h 384"/>
                      <a:gd name="T2" fmla="*/ 0 w 715"/>
                      <a:gd name="T3" fmla="*/ 346 h 384"/>
                      <a:gd name="T4" fmla="*/ 38 w 715"/>
                      <a:gd name="T5" fmla="*/ 384 h 384"/>
                      <a:gd name="T6" fmla="*/ 715 w 715"/>
                      <a:gd name="T7" fmla="*/ 384 h 384"/>
                      <a:gd name="T8" fmla="*/ 482 w 715"/>
                      <a:gd name="T9" fmla="*/ 0 h 384"/>
                      <a:gd name="T10" fmla="*/ 38 w 715"/>
                      <a:gd name="T11" fmla="*/ 0 h 384"/>
                      <a:gd name="T12" fmla="*/ 0 w 715"/>
                      <a:gd name="T13" fmla="*/ 38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15" h="384">
                        <a:moveTo>
                          <a:pt x="0" y="38"/>
                        </a:move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715" y="384"/>
                          <a:pt x="715" y="384"/>
                          <a:pt x="715" y="384"/>
                        </a:cubicBezTo>
                        <a:cubicBezTo>
                          <a:pt x="660" y="242"/>
                          <a:pt x="581" y="113"/>
                          <a:pt x="482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46" name="Freeform 11">
                    <a:extLst>
                      <a:ext uri="{FF2B5EF4-FFF2-40B4-BE49-F238E27FC236}">
                        <a16:creationId xmlns:a16="http://schemas.microsoft.com/office/drawing/2014/main" xmlns="" id="{F4B7EC63-7325-40F2-8BFB-A8FB61DEC62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61" y="1110"/>
                    <a:ext cx="507" cy="480"/>
                  </a:xfrm>
                  <a:custGeom>
                    <a:avLst/>
                    <a:gdLst>
                      <a:gd name="T0" fmla="*/ 368 w 406"/>
                      <a:gd name="T1" fmla="*/ 384 h 384"/>
                      <a:gd name="T2" fmla="*/ 406 w 406"/>
                      <a:gd name="T3" fmla="*/ 346 h 384"/>
                      <a:gd name="T4" fmla="*/ 406 w 406"/>
                      <a:gd name="T5" fmla="*/ 38 h 384"/>
                      <a:gd name="T6" fmla="*/ 368 w 406"/>
                      <a:gd name="T7" fmla="*/ 0 h 384"/>
                      <a:gd name="T8" fmla="*/ 66 w 406"/>
                      <a:gd name="T9" fmla="*/ 0 h 384"/>
                      <a:gd name="T10" fmla="*/ 0 w 406"/>
                      <a:gd name="T11" fmla="*/ 384 h 384"/>
                      <a:gd name="T12" fmla="*/ 368 w 406"/>
                      <a:gd name="T13" fmla="*/ 384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6" h="384">
                        <a:moveTo>
                          <a:pt x="368" y="384"/>
                        </a:moveTo>
                        <a:cubicBezTo>
                          <a:pt x="389" y="384"/>
                          <a:pt x="406" y="367"/>
                          <a:pt x="406" y="346"/>
                        </a:cubicBezTo>
                        <a:cubicBezTo>
                          <a:pt x="406" y="38"/>
                          <a:pt x="406" y="38"/>
                          <a:pt x="406" y="38"/>
                        </a:cubicBezTo>
                        <a:cubicBezTo>
                          <a:pt x="406" y="17"/>
                          <a:pt x="389" y="0"/>
                          <a:pt x="368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25" y="121"/>
                          <a:pt x="3" y="250"/>
                          <a:pt x="0" y="384"/>
                        </a:cubicBezTo>
                        <a:lnTo>
                          <a:pt x="368" y="38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47" name="Freeform 12">
                    <a:extLst>
                      <a:ext uri="{FF2B5EF4-FFF2-40B4-BE49-F238E27FC236}">
                        <a16:creationId xmlns:a16="http://schemas.microsoft.com/office/drawing/2014/main" xmlns="" id="{B421EB6B-EB57-4648-9DA9-A55F9036338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833" y="1110"/>
                    <a:ext cx="1056" cy="480"/>
                  </a:xfrm>
                  <a:custGeom>
                    <a:avLst/>
                    <a:gdLst>
                      <a:gd name="T0" fmla="*/ 0 w 845"/>
                      <a:gd name="T1" fmla="*/ 38 h 384"/>
                      <a:gd name="T2" fmla="*/ 0 w 845"/>
                      <a:gd name="T3" fmla="*/ 346 h 384"/>
                      <a:gd name="T4" fmla="*/ 38 w 845"/>
                      <a:gd name="T5" fmla="*/ 384 h 384"/>
                      <a:gd name="T6" fmla="*/ 807 w 845"/>
                      <a:gd name="T7" fmla="*/ 384 h 384"/>
                      <a:gd name="T8" fmla="*/ 845 w 845"/>
                      <a:gd name="T9" fmla="*/ 346 h 384"/>
                      <a:gd name="T10" fmla="*/ 845 w 845"/>
                      <a:gd name="T11" fmla="*/ 38 h 384"/>
                      <a:gd name="T12" fmla="*/ 807 w 845"/>
                      <a:gd name="T13" fmla="*/ 0 h 384"/>
                      <a:gd name="T14" fmla="*/ 38 w 845"/>
                      <a:gd name="T15" fmla="*/ 0 h 384"/>
                      <a:gd name="T16" fmla="*/ 0 w 845"/>
                      <a:gd name="T17" fmla="*/ 38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0" y="38"/>
                        </a:move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48" name="Freeform 13">
                    <a:extLst>
                      <a:ext uri="{FF2B5EF4-FFF2-40B4-BE49-F238E27FC236}">
                        <a16:creationId xmlns:a16="http://schemas.microsoft.com/office/drawing/2014/main" xmlns="" id="{B0E1199D-CF6C-4258-9541-2D1F69D2F87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52" y="1110"/>
                    <a:ext cx="1056" cy="480"/>
                  </a:xfrm>
                  <a:custGeom>
                    <a:avLst/>
                    <a:gdLst>
                      <a:gd name="T0" fmla="*/ 0 w 845"/>
                      <a:gd name="T1" fmla="*/ 38 h 384"/>
                      <a:gd name="T2" fmla="*/ 0 w 845"/>
                      <a:gd name="T3" fmla="*/ 346 h 384"/>
                      <a:gd name="T4" fmla="*/ 38 w 845"/>
                      <a:gd name="T5" fmla="*/ 384 h 384"/>
                      <a:gd name="T6" fmla="*/ 807 w 845"/>
                      <a:gd name="T7" fmla="*/ 384 h 384"/>
                      <a:gd name="T8" fmla="*/ 845 w 845"/>
                      <a:gd name="T9" fmla="*/ 346 h 384"/>
                      <a:gd name="T10" fmla="*/ 845 w 845"/>
                      <a:gd name="T11" fmla="*/ 38 h 384"/>
                      <a:gd name="T12" fmla="*/ 807 w 845"/>
                      <a:gd name="T13" fmla="*/ 0 h 384"/>
                      <a:gd name="T14" fmla="*/ 38 w 845"/>
                      <a:gd name="T15" fmla="*/ 0 h 384"/>
                      <a:gd name="T16" fmla="*/ 0 w 845"/>
                      <a:gd name="T17" fmla="*/ 38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0" y="38"/>
                        </a:move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49" name="Freeform 14">
                    <a:extLst>
                      <a:ext uri="{FF2B5EF4-FFF2-40B4-BE49-F238E27FC236}">
                        <a16:creationId xmlns:a16="http://schemas.microsoft.com/office/drawing/2014/main" xmlns="" id="{934E59E8-633C-4976-A554-D5C4A81B3FB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73" y="1110"/>
                    <a:ext cx="426" cy="480"/>
                  </a:xfrm>
                  <a:custGeom>
                    <a:avLst/>
                    <a:gdLst>
                      <a:gd name="T0" fmla="*/ 38 w 341"/>
                      <a:gd name="T1" fmla="*/ 0 h 384"/>
                      <a:gd name="T2" fmla="*/ 0 w 341"/>
                      <a:gd name="T3" fmla="*/ 38 h 384"/>
                      <a:gd name="T4" fmla="*/ 0 w 341"/>
                      <a:gd name="T5" fmla="*/ 346 h 384"/>
                      <a:gd name="T6" fmla="*/ 38 w 341"/>
                      <a:gd name="T7" fmla="*/ 384 h 384"/>
                      <a:gd name="T8" fmla="*/ 341 w 341"/>
                      <a:gd name="T9" fmla="*/ 384 h 384"/>
                      <a:gd name="T10" fmla="*/ 275 w 341"/>
                      <a:gd name="T11" fmla="*/ 0 h 384"/>
                      <a:gd name="T12" fmla="*/ 38 w 341"/>
                      <a:gd name="T13" fmla="*/ 0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1" h="384">
                        <a:moveTo>
                          <a:pt x="38" y="0"/>
                        </a:move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341" y="384"/>
                          <a:pt x="341" y="384"/>
                          <a:pt x="341" y="384"/>
                        </a:cubicBezTo>
                        <a:cubicBezTo>
                          <a:pt x="338" y="250"/>
                          <a:pt x="316" y="121"/>
                          <a:pt x="275" y="0"/>
                        </a:cubicBezTo>
                        <a:lnTo>
                          <a:pt x="3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50" name="Freeform 15">
                    <a:extLst>
                      <a:ext uri="{FF2B5EF4-FFF2-40B4-BE49-F238E27FC236}">
                        <a16:creationId xmlns:a16="http://schemas.microsoft.com/office/drawing/2014/main" xmlns="" id="{D8F66980-963C-45DC-A848-E3599A40B56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62" y="1665"/>
                    <a:ext cx="1051" cy="480"/>
                  </a:xfrm>
                  <a:custGeom>
                    <a:avLst/>
                    <a:gdLst>
                      <a:gd name="T0" fmla="*/ 841 w 841"/>
                      <a:gd name="T1" fmla="*/ 346 h 384"/>
                      <a:gd name="T2" fmla="*/ 841 w 841"/>
                      <a:gd name="T3" fmla="*/ 38 h 384"/>
                      <a:gd name="T4" fmla="*/ 803 w 841"/>
                      <a:gd name="T5" fmla="*/ 0 h 384"/>
                      <a:gd name="T6" fmla="*/ 34 w 841"/>
                      <a:gd name="T7" fmla="*/ 0 h 384"/>
                      <a:gd name="T8" fmla="*/ 0 w 841"/>
                      <a:gd name="T9" fmla="*/ 19 h 384"/>
                      <a:gd name="T10" fmla="*/ 69 w 841"/>
                      <a:gd name="T11" fmla="*/ 384 h 384"/>
                      <a:gd name="T12" fmla="*/ 803 w 841"/>
                      <a:gd name="T13" fmla="*/ 384 h 384"/>
                      <a:gd name="T14" fmla="*/ 841 w 841"/>
                      <a:gd name="T15" fmla="*/ 346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41" h="384">
                        <a:moveTo>
                          <a:pt x="841" y="346"/>
                        </a:moveTo>
                        <a:cubicBezTo>
                          <a:pt x="841" y="38"/>
                          <a:pt x="841" y="38"/>
                          <a:pt x="841" y="38"/>
                        </a:cubicBezTo>
                        <a:cubicBezTo>
                          <a:pt x="841" y="17"/>
                          <a:pt x="824" y="0"/>
                          <a:pt x="803" y="0"/>
                        </a:cubicBezTo>
                        <a:cubicBezTo>
                          <a:pt x="34" y="0"/>
                          <a:pt x="34" y="0"/>
                          <a:pt x="34" y="0"/>
                        </a:cubicBezTo>
                        <a:cubicBezTo>
                          <a:pt x="19" y="0"/>
                          <a:pt x="7" y="8"/>
                          <a:pt x="0" y="19"/>
                        </a:cubicBezTo>
                        <a:cubicBezTo>
                          <a:pt x="6" y="147"/>
                          <a:pt x="29" y="269"/>
                          <a:pt x="69" y="384"/>
                        </a:cubicBezTo>
                        <a:cubicBezTo>
                          <a:pt x="803" y="384"/>
                          <a:pt x="803" y="384"/>
                          <a:pt x="803" y="384"/>
                        </a:cubicBezTo>
                        <a:cubicBezTo>
                          <a:pt x="824" y="384"/>
                          <a:pt x="841" y="367"/>
                          <a:pt x="841" y="34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51" name="Freeform 16">
                    <a:extLst>
                      <a:ext uri="{FF2B5EF4-FFF2-40B4-BE49-F238E27FC236}">
                        <a16:creationId xmlns:a16="http://schemas.microsoft.com/office/drawing/2014/main" xmlns="" id="{6A4E188F-183F-43C0-9E99-542580BAFD8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77" y="1665"/>
                    <a:ext cx="1055" cy="480"/>
                  </a:xfrm>
                  <a:custGeom>
                    <a:avLst/>
                    <a:gdLst>
                      <a:gd name="T0" fmla="*/ 845 w 845"/>
                      <a:gd name="T1" fmla="*/ 346 h 384"/>
                      <a:gd name="T2" fmla="*/ 845 w 845"/>
                      <a:gd name="T3" fmla="*/ 38 h 384"/>
                      <a:gd name="T4" fmla="*/ 807 w 845"/>
                      <a:gd name="T5" fmla="*/ 0 h 384"/>
                      <a:gd name="T6" fmla="*/ 38 w 845"/>
                      <a:gd name="T7" fmla="*/ 0 h 384"/>
                      <a:gd name="T8" fmla="*/ 0 w 845"/>
                      <a:gd name="T9" fmla="*/ 38 h 384"/>
                      <a:gd name="T10" fmla="*/ 0 w 845"/>
                      <a:gd name="T11" fmla="*/ 346 h 384"/>
                      <a:gd name="T12" fmla="*/ 38 w 845"/>
                      <a:gd name="T13" fmla="*/ 384 h 384"/>
                      <a:gd name="T14" fmla="*/ 807 w 845"/>
                      <a:gd name="T15" fmla="*/ 384 h 384"/>
                      <a:gd name="T16" fmla="*/ 845 w 845"/>
                      <a:gd name="T17" fmla="*/ 346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845" y="346"/>
                        </a:move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52" name="Freeform 17">
                    <a:extLst>
                      <a:ext uri="{FF2B5EF4-FFF2-40B4-BE49-F238E27FC236}">
                        <a16:creationId xmlns:a16="http://schemas.microsoft.com/office/drawing/2014/main" xmlns="" id="{3220617C-DBC2-46F6-ABD8-8C8C14856B9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97" y="1665"/>
                    <a:ext cx="1001" cy="480"/>
                  </a:xfrm>
                  <a:custGeom>
                    <a:avLst/>
                    <a:gdLst>
                      <a:gd name="T0" fmla="*/ 801 w 801"/>
                      <a:gd name="T1" fmla="*/ 0 h 384"/>
                      <a:gd name="T2" fmla="*/ 38 w 801"/>
                      <a:gd name="T3" fmla="*/ 0 h 384"/>
                      <a:gd name="T4" fmla="*/ 0 w 801"/>
                      <a:gd name="T5" fmla="*/ 38 h 384"/>
                      <a:gd name="T6" fmla="*/ 0 w 801"/>
                      <a:gd name="T7" fmla="*/ 346 h 384"/>
                      <a:gd name="T8" fmla="*/ 38 w 801"/>
                      <a:gd name="T9" fmla="*/ 384 h 384"/>
                      <a:gd name="T10" fmla="*/ 732 w 801"/>
                      <a:gd name="T11" fmla="*/ 384 h 384"/>
                      <a:gd name="T12" fmla="*/ 801 w 801"/>
                      <a:gd name="T13" fmla="*/ 0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1" h="384">
                        <a:moveTo>
                          <a:pt x="801" y="0"/>
                        </a:move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732" y="384"/>
                          <a:pt x="732" y="384"/>
                          <a:pt x="732" y="384"/>
                        </a:cubicBezTo>
                        <a:cubicBezTo>
                          <a:pt x="774" y="263"/>
                          <a:pt x="798" y="134"/>
                          <a:pt x="801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53" name="Freeform 18">
                    <a:extLst>
                      <a:ext uri="{FF2B5EF4-FFF2-40B4-BE49-F238E27FC236}">
                        <a16:creationId xmlns:a16="http://schemas.microsoft.com/office/drawing/2014/main" xmlns="" id="{4EDB6BF4-F0AE-4EB7-AEAF-EB713DBD1A0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76" y="2220"/>
                    <a:ext cx="392" cy="480"/>
                  </a:xfrm>
                  <a:custGeom>
                    <a:avLst/>
                    <a:gdLst>
                      <a:gd name="T0" fmla="*/ 314 w 314"/>
                      <a:gd name="T1" fmla="*/ 346 h 384"/>
                      <a:gd name="T2" fmla="*/ 314 w 314"/>
                      <a:gd name="T3" fmla="*/ 38 h 384"/>
                      <a:gd name="T4" fmla="*/ 276 w 314"/>
                      <a:gd name="T5" fmla="*/ 0 h 384"/>
                      <a:gd name="T6" fmla="*/ 0 w 314"/>
                      <a:gd name="T7" fmla="*/ 0 h 384"/>
                      <a:gd name="T8" fmla="*/ 238 w 314"/>
                      <a:gd name="T9" fmla="*/ 384 h 384"/>
                      <a:gd name="T10" fmla="*/ 276 w 314"/>
                      <a:gd name="T11" fmla="*/ 384 h 384"/>
                      <a:gd name="T12" fmla="*/ 314 w 314"/>
                      <a:gd name="T13" fmla="*/ 346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14" h="384">
                        <a:moveTo>
                          <a:pt x="314" y="346"/>
                        </a:moveTo>
                        <a:cubicBezTo>
                          <a:pt x="314" y="38"/>
                          <a:pt x="314" y="38"/>
                          <a:pt x="314" y="38"/>
                        </a:cubicBezTo>
                        <a:cubicBezTo>
                          <a:pt x="314" y="17"/>
                          <a:pt x="297" y="0"/>
                          <a:pt x="276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56" y="142"/>
                          <a:pt x="138" y="272"/>
                          <a:pt x="238" y="384"/>
                        </a:cubicBezTo>
                        <a:cubicBezTo>
                          <a:pt x="276" y="384"/>
                          <a:pt x="276" y="384"/>
                          <a:pt x="276" y="384"/>
                        </a:cubicBezTo>
                        <a:cubicBezTo>
                          <a:pt x="297" y="384"/>
                          <a:pt x="314" y="367"/>
                          <a:pt x="314" y="34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54" name="Freeform 19">
                    <a:extLst>
                      <a:ext uri="{FF2B5EF4-FFF2-40B4-BE49-F238E27FC236}">
                        <a16:creationId xmlns:a16="http://schemas.microsoft.com/office/drawing/2014/main" xmlns="" id="{6A7E9799-42CA-4724-9273-F38883D493F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833" y="2220"/>
                    <a:ext cx="1056" cy="480"/>
                  </a:xfrm>
                  <a:custGeom>
                    <a:avLst/>
                    <a:gdLst>
                      <a:gd name="T0" fmla="*/ 38 w 845"/>
                      <a:gd name="T1" fmla="*/ 384 h 384"/>
                      <a:gd name="T2" fmla="*/ 807 w 845"/>
                      <a:gd name="T3" fmla="*/ 384 h 384"/>
                      <a:gd name="T4" fmla="*/ 845 w 845"/>
                      <a:gd name="T5" fmla="*/ 346 h 384"/>
                      <a:gd name="T6" fmla="*/ 845 w 845"/>
                      <a:gd name="T7" fmla="*/ 38 h 384"/>
                      <a:gd name="T8" fmla="*/ 807 w 845"/>
                      <a:gd name="T9" fmla="*/ 0 h 384"/>
                      <a:gd name="T10" fmla="*/ 38 w 845"/>
                      <a:gd name="T11" fmla="*/ 0 h 384"/>
                      <a:gd name="T12" fmla="*/ 0 w 845"/>
                      <a:gd name="T13" fmla="*/ 38 h 384"/>
                      <a:gd name="T14" fmla="*/ 0 w 845"/>
                      <a:gd name="T15" fmla="*/ 346 h 384"/>
                      <a:gd name="T16" fmla="*/ 38 w 845"/>
                      <a:gd name="T17" fmla="*/ 384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38" y="384"/>
                        </a:move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55" name="Freeform 20">
                    <a:extLst>
                      <a:ext uri="{FF2B5EF4-FFF2-40B4-BE49-F238E27FC236}">
                        <a16:creationId xmlns:a16="http://schemas.microsoft.com/office/drawing/2014/main" xmlns="" id="{B8DB8B7B-FA03-47E4-A428-64D02CEE54E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52" y="2220"/>
                    <a:ext cx="1056" cy="480"/>
                  </a:xfrm>
                  <a:custGeom>
                    <a:avLst/>
                    <a:gdLst>
                      <a:gd name="T0" fmla="*/ 38 w 845"/>
                      <a:gd name="T1" fmla="*/ 384 h 384"/>
                      <a:gd name="T2" fmla="*/ 807 w 845"/>
                      <a:gd name="T3" fmla="*/ 384 h 384"/>
                      <a:gd name="T4" fmla="*/ 845 w 845"/>
                      <a:gd name="T5" fmla="*/ 346 h 384"/>
                      <a:gd name="T6" fmla="*/ 845 w 845"/>
                      <a:gd name="T7" fmla="*/ 38 h 384"/>
                      <a:gd name="T8" fmla="*/ 807 w 845"/>
                      <a:gd name="T9" fmla="*/ 0 h 384"/>
                      <a:gd name="T10" fmla="*/ 38 w 845"/>
                      <a:gd name="T11" fmla="*/ 0 h 384"/>
                      <a:gd name="T12" fmla="*/ 0 w 845"/>
                      <a:gd name="T13" fmla="*/ 38 h 384"/>
                      <a:gd name="T14" fmla="*/ 0 w 845"/>
                      <a:gd name="T15" fmla="*/ 346 h 384"/>
                      <a:gd name="T16" fmla="*/ 38 w 845"/>
                      <a:gd name="T17" fmla="*/ 384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38" y="384"/>
                        </a:move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56" name="Freeform 21">
                    <a:extLst>
                      <a:ext uri="{FF2B5EF4-FFF2-40B4-BE49-F238E27FC236}">
                        <a16:creationId xmlns:a16="http://schemas.microsoft.com/office/drawing/2014/main" xmlns="" id="{BB882109-DAC9-40C9-85A0-9FCA02648AC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73" y="2220"/>
                    <a:ext cx="311" cy="473"/>
                  </a:xfrm>
                  <a:custGeom>
                    <a:avLst/>
                    <a:gdLst>
                      <a:gd name="T0" fmla="*/ 38 w 249"/>
                      <a:gd name="T1" fmla="*/ 0 h 378"/>
                      <a:gd name="T2" fmla="*/ 0 w 249"/>
                      <a:gd name="T3" fmla="*/ 38 h 378"/>
                      <a:gd name="T4" fmla="*/ 0 w 249"/>
                      <a:gd name="T5" fmla="*/ 346 h 378"/>
                      <a:gd name="T6" fmla="*/ 17 w 249"/>
                      <a:gd name="T7" fmla="*/ 378 h 378"/>
                      <a:gd name="T8" fmla="*/ 249 w 249"/>
                      <a:gd name="T9" fmla="*/ 0 h 378"/>
                      <a:gd name="T10" fmla="*/ 38 w 249"/>
                      <a:gd name="T11" fmla="*/ 0 h 37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49" h="378">
                        <a:moveTo>
                          <a:pt x="38" y="0"/>
                        </a:move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59"/>
                          <a:pt x="6" y="371"/>
                          <a:pt x="17" y="378"/>
                        </a:cubicBezTo>
                        <a:cubicBezTo>
                          <a:pt x="114" y="267"/>
                          <a:pt x="194" y="139"/>
                          <a:pt x="249" y="0"/>
                        </a:cubicBezTo>
                        <a:lnTo>
                          <a:pt x="3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57" name="Freeform 22">
                    <a:extLst>
                      <a:ext uri="{FF2B5EF4-FFF2-40B4-BE49-F238E27FC236}">
                        <a16:creationId xmlns:a16="http://schemas.microsoft.com/office/drawing/2014/main" xmlns="" id="{B40CAA25-F5DD-4EC2-BAD9-FBFA8E1AA81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44" y="2775"/>
                    <a:ext cx="569" cy="363"/>
                  </a:xfrm>
                  <a:custGeom>
                    <a:avLst/>
                    <a:gdLst>
                      <a:gd name="T0" fmla="*/ 455 w 455"/>
                      <a:gd name="T1" fmla="*/ 38 h 290"/>
                      <a:gd name="T2" fmla="*/ 417 w 455"/>
                      <a:gd name="T3" fmla="*/ 0 h 290"/>
                      <a:gd name="T4" fmla="*/ 0 w 455"/>
                      <a:gd name="T5" fmla="*/ 0 h 290"/>
                      <a:gd name="T6" fmla="*/ 455 w 455"/>
                      <a:gd name="T7" fmla="*/ 290 h 290"/>
                      <a:gd name="T8" fmla="*/ 455 w 455"/>
                      <a:gd name="T9" fmla="*/ 38 h 2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5" h="290">
                        <a:moveTo>
                          <a:pt x="455" y="38"/>
                        </a:moveTo>
                        <a:cubicBezTo>
                          <a:pt x="455" y="17"/>
                          <a:pt x="438" y="0"/>
                          <a:pt x="4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28" y="126"/>
                          <a:pt x="283" y="226"/>
                          <a:pt x="455" y="290"/>
                        </a:cubicBezTo>
                        <a:lnTo>
                          <a:pt x="455" y="3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58" name="Freeform 23">
                    <a:extLst>
                      <a:ext uri="{FF2B5EF4-FFF2-40B4-BE49-F238E27FC236}">
                        <a16:creationId xmlns:a16="http://schemas.microsoft.com/office/drawing/2014/main" xmlns="" id="{3DC56DBB-AA23-4B92-9423-4C40AF4636A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77" y="2775"/>
                    <a:ext cx="1055" cy="465"/>
                  </a:xfrm>
                  <a:custGeom>
                    <a:avLst/>
                    <a:gdLst>
                      <a:gd name="T0" fmla="*/ 845 w 845"/>
                      <a:gd name="T1" fmla="*/ 294 h 372"/>
                      <a:gd name="T2" fmla="*/ 845 w 845"/>
                      <a:gd name="T3" fmla="*/ 38 h 372"/>
                      <a:gd name="T4" fmla="*/ 807 w 845"/>
                      <a:gd name="T5" fmla="*/ 0 h 372"/>
                      <a:gd name="T6" fmla="*/ 38 w 845"/>
                      <a:gd name="T7" fmla="*/ 0 h 372"/>
                      <a:gd name="T8" fmla="*/ 0 w 845"/>
                      <a:gd name="T9" fmla="*/ 38 h 372"/>
                      <a:gd name="T10" fmla="*/ 0 w 845"/>
                      <a:gd name="T11" fmla="*/ 308 h 372"/>
                      <a:gd name="T12" fmla="*/ 403 w 845"/>
                      <a:gd name="T13" fmla="*/ 372 h 372"/>
                      <a:gd name="T14" fmla="*/ 845 w 845"/>
                      <a:gd name="T15" fmla="*/ 294 h 3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45" h="372">
                        <a:moveTo>
                          <a:pt x="845" y="294"/>
                        </a:move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08"/>
                          <a:pt x="0" y="308"/>
                          <a:pt x="0" y="308"/>
                        </a:cubicBezTo>
                        <a:cubicBezTo>
                          <a:pt x="127" y="349"/>
                          <a:pt x="262" y="372"/>
                          <a:pt x="403" y="372"/>
                        </a:cubicBezTo>
                        <a:cubicBezTo>
                          <a:pt x="558" y="372"/>
                          <a:pt x="707" y="345"/>
                          <a:pt x="845" y="29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59" name="Freeform 24">
                    <a:extLst>
                      <a:ext uri="{FF2B5EF4-FFF2-40B4-BE49-F238E27FC236}">
                        <a16:creationId xmlns:a16="http://schemas.microsoft.com/office/drawing/2014/main" xmlns="" id="{BB313DE2-58E5-43DC-B303-2FA0545A5C8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97" y="2775"/>
                    <a:ext cx="519" cy="344"/>
                  </a:xfrm>
                  <a:custGeom>
                    <a:avLst/>
                    <a:gdLst>
                      <a:gd name="T0" fmla="*/ 38 w 415"/>
                      <a:gd name="T1" fmla="*/ 0 h 275"/>
                      <a:gd name="T2" fmla="*/ 0 w 415"/>
                      <a:gd name="T3" fmla="*/ 38 h 275"/>
                      <a:gd name="T4" fmla="*/ 0 w 415"/>
                      <a:gd name="T5" fmla="*/ 275 h 275"/>
                      <a:gd name="T6" fmla="*/ 415 w 415"/>
                      <a:gd name="T7" fmla="*/ 0 h 275"/>
                      <a:gd name="T8" fmla="*/ 38 w 415"/>
                      <a:gd name="T9" fmla="*/ 0 h 2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15" h="275">
                        <a:moveTo>
                          <a:pt x="38" y="0"/>
                        </a:move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275"/>
                          <a:pt x="0" y="275"/>
                          <a:pt x="0" y="275"/>
                        </a:cubicBezTo>
                        <a:cubicBezTo>
                          <a:pt x="156" y="210"/>
                          <a:pt x="297" y="116"/>
                          <a:pt x="415" y="0"/>
                        </a:cubicBezTo>
                        <a:lnTo>
                          <a:pt x="3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</p:grpSp>
          <p:grpSp>
            <p:nvGrpSpPr>
              <p:cNvPr id="1114" name="Group 1113">
                <a:extLst>
                  <a:ext uri="{FF2B5EF4-FFF2-40B4-BE49-F238E27FC236}">
                    <a16:creationId xmlns:a16="http://schemas.microsoft.com/office/drawing/2014/main" xmlns="" id="{6AE00679-17FF-47CC-A62A-07E919848A94}"/>
                  </a:ext>
                </a:extLst>
              </p:cNvPr>
              <p:cNvGrpSpPr/>
              <p:nvPr/>
            </p:nvGrpSpPr>
            <p:grpSpPr>
              <a:xfrm>
                <a:off x="7488807" y="2780652"/>
                <a:ext cx="465186" cy="337180"/>
                <a:chOff x="4207537" y="2273730"/>
                <a:chExt cx="598923" cy="434116"/>
              </a:xfrm>
            </p:grpSpPr>
            <p:grpSp>
              <p:nvGrpSpPr>
                <p:cNvPr id="1117" name="Group 1116">
                  <a:extLst>
                    <a:ext uri="{FF2B5EF4-FFF2-40B4-BE49-F238E27FC236}">
                      <a16:creationId xmlns:a16="http://schemas.microsoft.com/office/drawing/2014/main" xmlns="" id="{F062D70F-9937-4327-9176-77935AAAF691}"/>
                    </a:ext>
                  </a:extLst>
                </p:cNvPr>
                <p:cNvGrpSpPr/>
                <p:nvPr/>
              </p:nvGrpSpPr>
              <p:grpSpPr>
                <a:xfrm>
                  <a:off x="4207537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132" name="Freeform 201">
                    <a:extLst>
                      <a:ext uri="{FF2B5EF4-FFF2-40B4-BE49-F238E27FC236}">
                        <a16:creationId xmlns:a16="http://schemas.microsoft.com/office/drawing/2014/main" xmlns="" id="{38A11232-D2F9-47A2-86B6-916CFFDE434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33" name="Line 202">
                    <a:extLst>
                      <a:ext uri="{FF2B5EF4-FFF2-40B4-BE49-F238E27FC236}">
                        <a16:creationId xmlns:a16="http://schemas.microsoft.com/office/drawing/2014/main" xmlns="" id="{FE162068-3791-4CD3-81C7-EF79A028642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34" name="Line 203">
                    <a:extLst>
                      <a:ext uri="{FF2B5EF4-FFF2-40B4-BE49-F238E27FC236}">
                        <a16:creationId xmlns:a16="http://schemas.microsoft.com/office/drawing/2014/main" xmlns="" id="{3DDA5B78-B5DC-42C4-989D-14B1E76A300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35" name="Line 204">
                    <a:extLst>
                      <a:ext uri="{FF2B5EF4-FFF2-40B4-BE49-F238E27FC236}">
                        <a16:creationId xmlns:a16="http://schemas.microsoft.com/office/drawing/2014/main" xmlns="" id="{EBEAFDDF-8996-46CC-A8A6-7F19B170E00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36" name="Line 205">
                    <a:extLst>
                      <a:ext uri="{FF2B5EF4-FFF2-40B4-BE49-F238E27FC236}">
                        <a16:creationId xmlns:a16="http://schemas.microsoft.com/office/drawing/2014/main" xmlns="" id="{E6F613B2-EED0-48F8-94C0-0BE91705CF3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37" name="Line 206">
                    <a:extLst>
                      <a:ext uri="{FF2B5EF4-FFF2-40B4-BE49-F238E27FC236}">
                        <a16:creationId xmlns:a16="http://schemas.microsoft.com/office/drawing/2014/main" xmlns="" id="{882FFEDB-2CC8-4BCF-9412-4E0E249F744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118" name="Group 1117">
                  <a:extLst>
                    <a:ext uri="{FF2B5EF4-FFF2-40B4-BE49-F238E27FC236}">
                      <a16:creationId xmlns:a16="http://schemas.microsoft.com/office/drawing/2014/main" xmlns="" id="{9988BFD0-DFEE-4754-B89B-D1E9E68336B7}"/>
                    </a:ext>
                  </a:extLst>
                </p:cNvPr>
                <p:cNvGrpSpPr/>
                <p:nvPr/>
              </p:nvGrpSpPr>
              <p:grpSpPr>
                <a:xfrm>
                  <a:off x="4417305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126" name="Freeform 201">
                    <a:extLst>
                      <a:ext uri="{FF2B5EF4-FFF2-40B4-BE49-F238E27FC236}">
                        <a16:creationId xmlns:a16="http://schemas.microsoft.com/office/drawing/2014/main" xmlns="" id="{9D824193-EBB4-4B4B-AF28-EDA74C9B984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27" name="Line 202">
                    <a:extLst>
                      <a:ext uri="{FF2B5EF4-FFF2-40B4-BE49-F238E27FC236}">
                        <a16:creationId xmlns:a16="http://schemas.microsoft.com/office/drawing/2014/main" xmlns="" id="{0E32D581-8FEF-4373-B7D5-12B8B2B78EB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28" name="Line 203">
                    <a:extLst>
                      <a:ext uri="{FF2B5EF4-FFF2-40B4-BE49-F238E27FC236}">
                        <a16:creationId xmlns:a16="http://schemas.microsoft.com/office/drawing/2014/main" xmlns="" id="{FC260C0F-E6AD-4AB3-BE3F-CE384F1E5F8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29" name="Line 204">
                    <a:extLst>
                      <a:ext uri="{FF2B5EF4-FFF2-40B4-BE49-F238E27FC236}">
                        <a16:creationId xmlns:a16="http://schemas.microsoft.com/office/drawing/2014/main" xmlns="" id="{7B75F857-3D01-4EC9-977A-50F12C1A797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30" name="Line 205">
                    <a:extLst>
                      <a:ext uri="{FF2B5EF4-FFF2-40B4-BE49-F238E27FC236}">
                        <a16:creationId xmlns:a16="http://schemas.microsoft.com/office/drawing/2014/main" xmlns="" id="{D3122F6E-A89E-4D50-9CF7-284C0461F4A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31" name="Line 206">
                    <a:extLst>
                      <a:ext uri="{FF2B5EF4-FFF2-40B4-BE49-F238E27FC236}">
                        <a16:creationId xmlns:a16="http://schemas.microsoft.com/office/drawing/2014/main" xmlns="" id="{C978B4C3-D4E6-44B3-B593-BEA9E077F02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119" name="Group 1118">
                  <a:extLst>
                    <a:ext uri="{FF2B5EF4-FFF2-40B4-BE49-F238E27FC236}">
                      <a16:creationId xmlns:a16="http://schemas.microsoft.com/office/drawing/2014/main" xmlns="" id="{9B824C97-6FB6-4C45-A76E-56F435BFCD46}"/>
                    </a:ext>
                  </a:extLst>
                </p:cNvPr>
                <p:cNvGrpSpPr/>
                <p:nvPr/>
              </p:nvGrpSpPr>
              <p:grpSpPr>
                <a:xfrm>
                  <a:off x="4627073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120" name="Freeform 201">
                    <a:extLst>
                      <a:ext uri="{FF2B5EF4-FFF2-40B4-BE49-F238E27FC236}">
                        <a16:creationId xmlns:a16="http://schemas.microsoft.com/office/drawing/2014/main" xmlns="" id="{BCCA6F9E-1FE5-4DCB-9E76-0F39EB29675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21" name="Line 202">
                    <a:extLst>
                      <a:ext uri="{FF2B5EF4-FFF2-40B4-BE49-F238E27FC236}">
                        <a16:creationId xmlns:a16="http://schemas.microsoft.com/office/drawing/2014/main" xmlns="" id="{8332818C-2E25-42E6-8AB3-195FC3736EE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22" name="Line 203">
                    <a:extLst>
                      <a:ext uri="{FF2B5EF4-FFF2-40B4-BE49-F238E27FC236}">
                        <a16:creationId xmlns:a16="http://schemas.microsoft.com/office/drawing/2014/main" xmlns="" id="{E560B1DD-4CC4-4B38-A00F-53E20234E96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23" name="Line 204">
                    <a:extLst>
                      <a:ext uri="{FF2B5EF4-FFF2-40B4-BE49-F238E27FC236}">
                        <a16:creationId xmlns:a16="http://schemas.microsoft.com/office/drawing/2014/main" xmlns="" id="{45808005-7044-4ACE-9247-5809DCF08A2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24" name="Line 205">
                    <a:extLst>
                      <a:ext uri="{FF2B5EF4-FFF2-40B4-BE49-F238E27FC236}">
                        <a16:creationId xmlns:a16="http://schemas.microsoft.com/office/drawing/2014/main" xmlns="" id="{8CF78FC5-1CAE-43A2-8D57-3DF4EEAD4AE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125" name="Line 206">
                    <a:extLst>
                      <a:ext uri="{FF2B5EF4-FFF2-40B4-BE49-F238E27FC236}">
                        <a16:creationId xmlns:a16="http://schemas.microsoft.com/office/drawing/2014/main" xmlns="" id="{8011374E-0F63-403E-AADA-E0E6315AAC0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</p:grpSp>
          <p:sp>
            <p:nvSpPr>
              <p:cNvPr id="1116" name="Rectangle 1115">
                <a:extLst>
                  <a:ext uri="{FF2B5EF4-FFF2-40B4-BE49-F238E27FC236}">
                    <a16:creationId xmlns:a16="http://schemas.microsoft.com/office/drawing/2014/main" xmlns="" id="{AFCAD661-E996-4E51-AD77-0FFAE33AE756}"/>
                  </a:ext>
                </a:extLst>
              </p:cNvPr>
              <p:cNvSpPr/>
              <p:nvPr/>
            </p:nvSpPr>
            <p:spPr>
              <a:xfrm>
                <a:off x="2931135" y="1260458"/>
                <a:ext cx="6374240" cy="2674055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pic>
            <p:nvPicPr>
              <p:cNvPr id="2317" name="Picture 2316">
                <a:extLst>
                  <a:ext uri="{FF2B5EF4-FFF2-40B4-BE49-F238E27FC236}">
                    <a16:creationId xmlns:a16="http://schemas.microsoft.com/office/drawing/2014/main" xmlns="" id="{7385E6CE-27AD-4B89-A162-9ACD6F8845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4"/>
              <a:stretch>
                <a:fillRect/>
              </a:stretch>
            </p:blipFill>
            <p:spPr>
              <a:xfrm>
                <a:off x="7524742" y="3283302"/>
                <a:ext cx="429820" cy="429820"/>
              </a:xfrm>
              <a:prstGeom prst="rect">
                <a:avLst/>
              </a:prstGeom>
            </p:spPr>
          </p:pic>
        </p:grpSp>
      </p:grpSp>
      <p:sp>
        <p:nvSpPr>
          <p:cNvPr id="3923" name="Oval 3922">
            <a:extLst>
              <a:ext uri="{FF2B5EF4-FFF2-40B4-BE49-F238E27FC236}">
                <a16:creationId xmlns:a16="http://schemas.microsoft.com/office/drawing/2014/main" xmlns="" id="{EDD9DF60-CF4A-4E62-B605-9C62D47FA02B}"/>
              </a:ext>
            </a:extLst>
          </p:cNvPr>
          <p:cNvSpPr/>
          <p:nvPr/>
        </p:nvSpPr>
        <p:spPr>
          <a:xfrm>
            <a:off x="4461447" y="2647354"/>
            <a:ext cx="76744" cy="76744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924" name="Oval 3923">
            <a:extLst>
              <a:ext uri="{FF2B5EF4-FFF2-40B4-BE49-F238E27FC236}">
                <a16:creationId xmlns:a16="http://schemas.microsoft.com/office/drawing/2014/main" xmlns="" id="{CEA2CAF9-7670-4FF3-BA60-DE9EBBE52AAA}"/>
              </a:ext>
            </a:extLst>
          </p:cNvPr>
          <p:cNvSpPr/>
          <p:nvPr/>
        </p:nvSpPr>
        <p:spPr>
          <a:xfrm>
            <a:off x="4461447" y="2647354"/>
            <a:ext cx="76744" cy="76744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925" name="Oval 3924">
            <a:extLst>
              <a:ext uri="{FF2B5EF4-FFF2-40B4-BE49-F238E27FC236}">
                <a16:creationId xmlns:a16="http://schemas.microsoft.com/office/drawing/2014/main" xmlns="" id="{0BAA4953-69E6-499E-98FB-D128ECF8158A}"/>
              </a:ext>
            </a:extLst>
          </p:cNvPr>
          <p:cNvSpPr/>
          <p:nvPr/>
        </p:nvSpPr>
        <p:spPr>
          <a:xfrm>
            <a:off x="4461447" y="2647354"/>
            <a:ext cx="76744" cy="76744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926" name="Oval 3925">
            <a:extLst>
              <a:ext uri="{FF2B5EF4-FFF2-40B4-BE49-F238E27FC236}">
                <a16:creationId xmlns:a16="http://schemas.microsoft.com/office/drawing/2014/main" xmlns="" id="{2267772E-7B12-4A53-8FB6-B31236801004}"/>
              </a:ext>
            </a:extLst>
          </p:cNvPr>
          <p:cNvSpPr/>
          <p:nvPr/>
        </p:nvSpPr>
        <p:spPr>
          <a:xfrm>
            <a:off x="4461447" y="2647354"/>
            <a:ext cx="76744" cy="76744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927" name="Oval 3926">
            <a:extLst>
              <a:ext uri="{FF2B5EF4-FFF2-40B4-BE49-F238E27FC236}">
                <a16:creationId xmlns:a16="http://schemas.microsoft.com/office/drawing/2014/main" xmlns="" id="{5B6C467E-381D-4F00-9037-374784FBAAFF}"/>
              </a:ext>
            </a:extLst>
          </p:cNvPr>
          <p:cNvSpPr/>
          <p:nvPr/>
        </p:nvSpPr>
        <p:spPr>
          <a:xfrm>
            <a:off x="4461447" y="2647354"/>
            <a:ext cx="76744" cy="76744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928" name="Oval 3927">
            <a:extLst>
              <a:ext uri="{FF2B5EF4-FFF2-40B4-BE49-F238E27FC236}">
                <a16:creationId xmlns:a16="http://schemas.microsoft.com/office/drawing/2014/main" xmlns="" id="{20ACE7DC-C8D3-4BA3-9211-1C64FB762854}"/>
              </a:ext>
            </a:extLst>
          </p:cNvPr>
          <p:cNvSpPr/>
          <p:nvPr/>
        </p:nvSpPr>
        <p:spPr>
          <a:xfrm>
            <a:off x="4461447" y="2647354"/>
            <a:ext cx="76744" cy="76744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075" name="Freeform: Shape 1074">
            <a:extLst>
              <a:ext uri="{FF2B5EF4-FFF2-40B4-BE49-F238E27FC236}">
                <a16:creationId xmlns:a16="http://schemas.microsoft.com/office/drawing/2014/main" xmlns="" id="{0ACB2083-D75F-4AFC-B254-00D0DCD1D98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057123" y="813489"/>
            <a:ext cx="8477739" cy="3556492"/>
          </a:xfrm>
          <a:custGeom>
            <a:avLst/>
            <a:gdLst>
              <a:gd name="connsiteX0" fmla="*/ 4794585 w 6374240"/>
              <a:gd name="connsiteY0" fmla="*/ 259675 h 2674054"/>
              <a:gd name="connsiteX1" fmla="*/ 3655701 w 6374240"/>
              <a:gd name="connsiteY1" fmla="*/ 1395157 h 2674054"/>
              <a:gd name="connsiteX2" fmla="*/ 4794585 w 6374240"/>
              <a:gd name="connsiteY2" fmla="*/ 2530639 h 2674054"/>
              <a:gd name="connsiteX3" fmla="*/ 5933469 w 6374240"/>
              <a:gd name="connsiteY3" fmla="*/ 1395157 h 2674054"/>
              <a:gd name="connsiteX4" fmla="*/ 4794585 w 6374240"/>
              <a:gd name="connsiteY4" fmla="*/ 259675 h 2674054"/>
              <a:gd name="connsiteX5" fmla="*/ 1574605 w 6374240"/>
              <a:gd name="connsiteY5" fmla="*/ 259673 h 2674054"/>
              <a:gd name="connsiteX6" fmla="*/ 428923 w 6374240"/>
              <a:gd name="connsiteY6" fmla="*/ 1395156 h 2674054"/>
              <a:gd name="connsiteX7" fmla="*/ 1574605 w 6374240"/>
              <a:gd name="connsiteY7" fmla="*/ 2530639 h 2674054"/>
              <a:gd name="connsiteX8" fmla="*/ 2720287 w 6374240"/>
              <a:gd name="connsiteY8" fmla="*/ 1395156 h 2674054"/>
              <a:gd name="connsiteX9" fmla="*/ 1574605 w 6374240"/>
              <a:gd name="connsiteY9" fmla="*/ 259673 h 2674054"/>
              <a:gd name="connsiteX10" fmla="*/ 3181118 w 6374240"/>
              <a:gd name="connsiteY10" fmla="*/ 0 h 2674054"/>
              <a:gd name="connsiteX11" fmla="*/ 3925380 w 6374240"/>
              <a:gd name="connsiteY11" fmla="*/ 455668 h 2674054"/>
              <a:gd name="connsiteX12" fmla="*/ 4789683 w 6374240"/>
              <a:gd name="connsiteY12" fmla="*/ 119913 h 2674054"/>
              <a:gd name="connsiteX13" fmla="*/ 5822046 w 6374240"/>
              <a:gd name="connsiteY13" fmla="*/ 635538 h 2674054"/>
              <a:gd name="connsiteX14" fmla="*/ 6374240 w 6374240"/>
              <a:gd name="connsiteY14" fmla="*/ 1390988 h 2674054"/>
              <a:gd name="connsiteX15" fmla="*/ 5822046 w 6374240"/>
              <a:gd name="connsiteY15" fmla="*/ 2158429 h 2674054"/>
              <a:gd name="connsiteX16" fmla="*/ 4789683 w 6374240"/>
              <a:gd name="connsiteY16" fmla="*/ 2674054 h 2674054"/>
              <a:gd name="connsiteX17" fmla="*/ 3529240 w 6374240"/>
              <a:gd name="connsiteY17" fmla="*/ 1606831 h 2674054"/>
              <a:gd name="connsiteX18" fmla="*/ 3181118 w 6374240"/>
              <a:gd name="connsiteY18" fmla="*/ 1678778 h 2674054"/>
              <a:gd name="connsiteX19" fmla="*/ 2832996 w 6374240"/>
              <a:gd name="connsiteY19" fmla="*/ 1606831 h 2674054"/>
              <a:gd name="connsiteX20" fmla="*/ 1572553 w 6374240"/>
              <a:gd name="connsiteY20" fmla="*/ 2674054 h 2674054"/>
              <a:gd name="connsiteX21" fmla="*/ 540190 w 6374240"/>
              <a:gd name="connsiteY21" fmla="*/ 2158429 h 2674054"/>
              <a:gd name="connsiteX22" fmla="*/ 0 w 6374240"/>
              <a:gd name="connsiteY22" fmla="*/ 1390988 h 2674054"/>
              <a:gd name="connsiteX23" fmla="*/ 540190 w 6374240"/>
              <a:gd name="connsiteY23" fmla="*/ 635538 h 2674054"/>
              <a:gd name="connsiteX24" fmla="*/ 1572553 w 6374240"/>
              <a:gd name="connsiteY24" fmla="*/ 119913 h 2674054"/>
              <a:gd name="connsiteX25" fmla="*/ 2436856 w 6374240"/>
              <a:gd name="connsiteY25" fmla="*/ 455668 h 2674054"/>
              <a:gd name="connsiteX26" fmla="*/ 3181118 w 6374240"/>
              <a:gd name="connsiteY26" fmla="*/ 0 h 2674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6374240" h="2674054">
                <a:moveTo>
                  <a:pt x="4794585" y="259675"/>
                </a:moveTo>
                <a:cubicBezTo>
                  <a:pt x="4165597" y="259675"/>
                  <a:pt x="3655701" y="768048"/>
                  <a:pt x="3655701" y="1395157"/>
                </a:cubicBezTo>
                <a:cubicBezTo>
                  <a:pt x="3655701" y="2022266"/>
                  <a:pt x="4165597" y="2530639"/>
                  <a:pt x="4794585" y="2530639"/>
                </a:cubicBezTo>
                <a:cubicBezTo>
                  <a:pt x="5423573" y="2530639"/>
                  <a:pt x="5933469" y="2022266"/>
                  <a:pt x="5933469" y="1395157"/>
                </a:cubicBezTo>
                <a:cubicBezTo>
                  <a:pt x="5933469" y="768048"/>
                  <a:pt x="5423573" y="259675"/>
                  <a:pt x="4794585" y="259675"/>
                </a:cubicBezTo>
                <a:close/>
                <a:moveTo>
                  <a:pt x="1574605" y="259673"/>
                </a:moveTo>
                <a:cubicBezTo>
                  <a:pt x="941862" y="259673"/>
                  <a:pt x="428923" y="768046"/>
                  <a:pt x="428923" y="1395156"/>
                </a:cubicBezTo>
                <a:cubicBezTo>
                  <a:pt x="428923" y="2022266"/>
                  <a:pt x="941862" y="2530639"/>
                  <a:pt x="1574605" y="2530639"/>
                </a:cubicBezTo>
                <a:cubicBezTo>
                  <a:pt x="2207348" y="2530639"/>
                  <a:pt x="2720287" y="2022266"/>
                  <a:pt x="2720287" y="1395156"/>
                </a:cubicBezTo>
                <a:cubicBezTo>
                  <a:pt x="2720287" y="768046"/>
                  <a:pt x="2207348" y="259673"/>
                  <a:pt x="1574605" y="259673"/>
                </a:cubicBezTo>
                <a:close/>
                <a:moveTo>
                  <a:pt x="3181118" y="0"/>
                </a:moveTo>
                <a:cubicBezTo>
                  <a:pt x="3505232" y="0"/>
                  <a:pt x="3793333" y="179869"/>
                  <a:pt x="3925380" y="455668"/>
                </a:cubicBezTo>
                <a:cubicBezTo>
                  <a:pt x="4153460" y="239825"/>
                  <a:pt x="4465570" y="119913"/>
                  <a:pt x="4789683" y="119913"/>
                </a:cubicBezTo>
                <a:cubicBezTo>
                  <a:pt x="5209831" y="119913"/>
                  <a:pt x="5593966" y="323764"/>
                  <a:pt x="5822046" y="635538"/>
                </a:cubicBezTo>
                <a:cubicBezTo>
                  <a:pt x="6146160" y="743459"/>
                  <a:pt x="6374240" y="1043241"/>
                  <a:pt x="6374240" y="1390988"/>
                </a:cubicBezTo>
                <a:cubicBezTo>
                  <a:pt x="6374240" y="1750726"/>
                  <a:pt x="6146160" y="2050508"/>
                  <a:pt x="5822046" y="2158429"/>
                </a:cubicBezTo>
                <a:cubicBezTo>
                  <a:pt x="5593966" y="2470202"/>
                  <a:pt x="5209831" y="2674054"/>
                  <a:pt x="4789683" y="2674054"/>
                </a:cubicBezTo>
                <a:cubicBezTo>
                  <a:pt x="4153460" y="2674054"/>
                  <a:pt x="3625274" y="2206394"/>
                  <a:pt x="3529240" y="1606831"/>
                </a:cubicBezTo>
                <a:cubicBezTo>
                  <a:pt x="3421202" y="1654796"/>
                  <a:pt x="3313164" y="1678778"/>
                  <a:pt x="3181118" y="1678778"/>
                </a:cubicBezTo>
                <a:cubicBezTo>
                  <a:pt x="3061076" y="1678778"/>
                  <a:pt x="2941034" y="1654796"/>
                  <a:pt x="2832996" y="1606831"/>
                </a:cubicBezTo>
                <a:cubicBezTo>
                  <a:pt x="2736962" y="2206394"/>
                  <a:pt x="2208776" y="2674054"/>
                  <a:pt x="1572553" y="2674054"/>
                </a:cubicBezTo>
                <a:cubicBezTo>
                  <a:pt x="1152405" y="2674054"/>
                  <a:pt x="780274" y="2470202"/>
                  <a:pt x="540190" y="2158429"/>
                </a:cubicBezTo>
                <a:cubicBezTo>
                  <a:pt x="228080" y="2050508"/>
                  <a:pt x="0" y="1750726"/>
                  <a:pt x="0" y="1390988"/>
                </a:cubicBezTo>
                <a:cubicBezTo>
                  <a:pt x="0" y="1043241"/>
                  <a:pt x="228080" y="743459"/>
                  <a:pt x="540190" y="635538"/>
                </a:cubicBezTo>
                <a:cubicBezTo>
                  <a:pt x="780274" y="323764"/>
                  <a:pt x="1152405" y="119913"/>
                  <a:pt x="1572553" y="119913"/>
                </a:cubicBezTo>
                <a:cubicBezTo>
                  <a:pt x="1908671" y="119913"/>
                  <a:pt x="2208776" y="239825"/>
                  <a:pt x="2436856" y="455668"/>
                </a:cubicBezTo>
                <a:cubicBezTo>
                  <a:pt x="2580907" y="179869"/>
                  <a:pt x="2857004" y="0"/>
                  <a:pt x="3181118" y="0"/>
                </a:cubicBezTo>
                <a:close/>
              </a:path>
            </a:pathLst>
          </a:custGeom>
          <a:solidFill>
            <a:schemeClr val="tx2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941A42D-75B0-47CC-BB9B-14DCA7FBC5D0}"/>
              </a:ext>
            </a:extLst>
          </p:cNvPr>
          <p:cNvSpPr/>
          <p:nvPr/>
        </p:nvSpPr>
        <p:spPr>
          <a:xfrm>
            <a:off x="-12708" y="-4348"/>
            <a:ext cx="3048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CF3393CF-03E8-4CF0-A5FC-11D4DD9F6333}"/>
              </a:ext>
            </a:extLst>
          </p:cNvPr>
          <p:cNvSpPr txBox="1"/>
          <p:nvPr/>
        </p:nvSpPr>
        <p:spPr>
          <a:xfrm>
            <a:off x="386201" y="1341444"/>
            <a:ext cx="2709423" cy="114492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685783">
              <a:lnSpc>
                <a:spcPct val="90000"/>
              </a:lnSpc>
              <a:spcBef>
                <a:spcPts val="600"/>
              </a:spcBef>
            </a:pPr>
            <a:r>
              <a:rPr lang="en-US" sz="2800" dirty="0">
                <a:solidFill>
                  <a:schemeClr val="bg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Segmentation:</a:t>
            </a:r>
            <a:r>
              <a:rPr lang="en-US" sz="2400" dirty="0">
                <a:solidFill>
                  <a:schemeClr val="bg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 </a:t>
            </a:r>
            <a:r>
              <a:rPr lang="en-US" sz="24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Reduce the Attack Surfac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FCC2024E-4C1C-491C-89B0-E218DD07924A}"/>
              </a:ext>
            </a:extLst>
          </p:cNvPr>
          <p:cNvSpPr txBox="1"/>
          <p:nvPr/>
        </p:nvSpPr>
        <p:spPr>
          <a:xfrm>
            <a:off x="470129" y="437529"/>
            <a:ext cx="485546" cy="2631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0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66B1CDC2-09F5-46B2-8C85-49C88B6107BE}"/>
              </a:ext>
            </a:extLst>
          </p:cNvPr>
          <p:cNvSpPr txBox="1"/>
          <p:nvPr/>
        </p:nvSpPr>
        <p:spPr>
          <a:xfrm>
            <a:off x="1624281" y="437529"/>
            <a:ext cx="485546" cy="2631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03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973EDB0B-5B05-4D71-ABD7-10D5C483FEC6}"/>
              </a:ext>
            </a:extLst>
          </p:cNvPr>
          <p:cNvSpPr txBox="1"/>
          <p:nvPr/>
        </p:nvSpPr>
        <p:spPr>
          <a:xfrm>
            <a:off x="1047205" y="437529"/>
            <a:ext cx="485546" cy="2631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02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87E70065-45E0-4FA6-AA09-27E3B9D1C080}"/>
              </a:ext>
            </a:extLst>
          </p:cNvPr>
          <p:cNvGrpSpPr/>
          <p:nvPr/>
        </p:nvGrpSpPr>
        <p:grpSpPr>
          <a:xfrm>
            <a:off x="1064458" y="710972"/>
            <a:ext cx="457390" cy="457390"/>
            <a:chOff x="1176043" y="485585"/>
            <a:chExt cx="457390" cy="457390"/>
          </a:xfrm>
        </p:grpSpPr>
        <p:sp>
          <p:nvSpPr>
            <p:cNvPr id="145" name="Oval 144">
              <a:extLst>
                <a:ext uri="{FF2B5EF4-FFF2-40B4-BE49-F238E27FC236}">
                  <a16:creationId xmlns:a16="http://schemas.microsoft.com/office/drawing/2014/main" xmlns="" id="{0E7507E6-D844-4F56-92A0-3B2CEB3CBC0D}"/>
                </a:ext>
              </a:extLst>
            </p:cNvPr>
            <p:cNvSpPr/>
            <p:nvPr/>
          </p:nvSpPr>
          <p:spPr>
            <a:xfrm>
              <a:off x="1176043" y="485585"/>
              <a:ext cx="457390" cy="45739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1230721" y="544915"/>
              <a:ext cx="349271" cy="349271"/>
              <a:chOff x="2581275" y="2152858"/>
              <a:chExt cx="933450" cy="933450"/>
            </a:xfrm>
          </p:grpSpPr>
          <p:sp>
            <p:nvSpPr>
              <p:cNvPr id="7" name="Freeform 5"/>
              <p:cNvSpPr>
                <a:spLocks/>
              </p:cNvSpPr>
              <p:nvPr/>
            </p:nvSpPr>
            <p:spPr bwMode="auto">
              <a:xfrm>
                <a:off x="2581275" y="2152858"/>
                <a:ext cx="933450" cy="933450"/>
              </a:xfrm>
              <a:custGeom>
                <a:avLst/>
                <a:gdLst>
                  <a:gd name="T0" fmla="*/ 1039 w 1264"/>
                  <a:gd name="T1" fmla="*/ 1039 h 1264"/>
                  <a:gd name="T2" fmla="*/ 225 w 1264"/>
                  <a:gd name="T3" fmla="*/ 1039 h 1264"/>
                  <a:gd name="T4" fmla="*/ 225 w 1264"/>
                  <a:gd name="T5" fmla="*/ 225 h 1264"/>
                  <a:gd name="T6" fmla="*/ 1039 w 1264"/>
                  <a:gd name="T7" fmla="*/ 225 h 1264"/>
                  <a:gd name="T8" fmla="*/ 1039 w 1264"/>
                  <a:gd name="T9" fmla="*/ 1039 h 1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4" h="1264">
                    <a:moveTo>
                      <a:pt x="1039" y="1039"/>
                    </a:moveTo>
                    <a:cubicBezTo>
                      <a:pt x="814" y="1264"/>
                      <a:pt x="450" y="1264"/>
                      <a:pt x="225" y="1039"/>
                    </a:cubicBezTo>
                    <a:cubicBezTo>
                      <a:pt x="0" y="814"/>
                      <a:pt x="0" y="450"/>
                      <a:pt x="225" y="225"/>
                    </a:cubicBezTo>
                    <a:cubicBezTo>
                      <a:pt x="450" y="0"/>
                      <a:pt x="814" y="0"/>
                      <a:pt x="1039" y="225"/>
                    </a:cubicBezTo>
                    <a:cubicBezTo>
                      <a:pt x="1264" y="450"/>
                      <a:pt x="1264" y="814"/>
                      <a:pt x="1039" y="1039"/>
                    </a:cubicBezTo>
                    <a:close/>
                  </a:path>
                </a:pathLst>
              </a:cu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grpSp>
            <p:nvGrpSpPr>
              <p:cNvPr id="26" name="Group 25"/>
              <p:cNvGrpSpPr/>
              <p:nvPr/>
            </p:nvGrpSpPr>
            <p:grpSpPr>
              <a:xfrm>
                <a:off x="2728913" y="2324308"/>
                <a:ext cx="638175" cy="590551"/>
                <a:chOff x="2728913" y="2324100"/>
                <a:chExt cx="638175" cy="590551"/>
              </a:xfrm>
              <a:solidFill>
                <a:schemeClr val="accent1">
                  <a:lumMod val="75000"/>
                  <a:alpha val="40000"/>
                </a:schemeClr>
              </a:solidFill>
            </p:grpSpPr>
            <p:sp>
              <p:nvSpPr>
                <p:cNvPr id="8" name="Freeform 6"/>
                <p:cNvSpPr>
                  <a:spLocks noEditPoints="1"/>
                </p:cNvSpPr>
                <p:nvPr/>
              </p:nvSpPr>
              <p:spPr bwMode="auto">
                <a:xfrm>
                  <a:off x="2728913" y="2324100"/>
                  <a:ext cx="638175" cy="333375"/>
                </a:xfrm>
                <a:custGeom>
                  <a:avLst/>
                  <a:gdLst>
                    <a:gd name="T0" fmla="*/ 237 w 864"/>
                    <a:gd name="T1" fmla="*/ 452 h 452"/>
                    <a:gd name="T2" fmla="*/ 628 w 864"/>
                    <a:gd name="T3" fmla="*/ 452 h 452"/>
                    <a:gd name="T4" fmla="*/ 835 w 864"/>
                    <a:gd name="T5" fmla="*/ 452 h 452"/>
                    <a:gd name="T6" fmla="*/ 864 w 864"/>
                    <a:gd name="T7" fmla="*/ 412 h 452"/>
                    <a:gd name="T8" fmla="*/ 788 w 864"/>
                    <a:gd name="T9" fmla="*/ 188 h 452"/>
                    <a:gd name="T10" fmla="*/ 749 w 864"/>
                    <a:gd name="T11" fmla="*/ 139 h 452"/>
                    <a:gd name="T12" fmla="*/ 721 w 864"/>
                    <a:gd name="T13" fmla="*/ 111 h 452"/>
                    <a:gd name="T14" fmla="*/ 701 w 864"/>
                    <a:gd name="T15" fmla="*/ 94 h 452"/>
                    <a:gd name="T16" fmla="*/ 680 w 864"/>
                    <a:gd name="T17" fmla="*/ 79 h 452"/>
                    <a:gd name="T18" fmla="*/ 660 w 864"/>
                    <a:gd name="T19" fmla="*/ 65 h 452"/>
                    <a:gd name="T20" fmla="*/ 636 w 864"/>
                    <a:gd name="T21" fmla="*/ 51 h 452"/>
                    <a:gd name="T22" fmla="*/ 615 w 864"/>
                    <a:gd name="T23" fmla="*/ 41 h 452"/>
                    <a:gd name="T24" fmla="*/ 601 w 864"/>
                    <a:gd name="T25" fmla="*/ 35 h 452"/>
                    <a:gd name="T26" fmla="*/ 578 w 864"/>
                    <a:gd name="T27" fmla="*/ 26 h 452"/>
                    <a:gd name="T28" fmla="*/ 563 w 864"/>
                    <a:gd name="T29" fmla="*/ 21 h 452"/>
                    <a:gd name="T30" fmla="*/ 540 w 864"/>
                    <a:gd name="T31" fmla="*/ 14 h 452"/>
                    <a:gd name="T32" fmla="*/ 524 w 864"/>
                    <a:gd name="T33" fmla="*/ 10 h 452"/>
                    <a:gd name="T34" fmla="*/ 503 w 864"/>
                    <a:gd name="T35" fmla="*/ 6 h 452"/>
                    <a:gd name="T36" fmla="*/ 486 w 864"/>
                    <a:gd name="T37" fmla="*/ 4 h 452"/>
                    <a:gd name="T38" fmla="*/ 462 w 864"/>
                    <a:gd name="T39" fmla="*/ 1 h 452"/>
                    <a:gd name="T40" fmla="*/ 452 w 864"/>
                    <a:gd name="T41" fmla="*/ 0 h 452"/>
                    <a:gd name="T42" fmla="*/ 407 w 864"/>
                    <a:gd name="T43" fmla="*/ 1 h 452"/>
                    <a:gd name="T44" fmla="*/ 390 w 864"/>
                    <a:gd name="T45" fmla="*/ 2 h 452"/>
                    <a:gd name="T46" fmla="*/ 365 w 864"/>
                    <a:gd name="T47" fmla="*/ 5 h 452"/>
                    <a:gd name="T48" fmla="*/ 349 w 864"/>
                    <a:gd name="T49" fmla="*/ 8 h 452"/>
                    <a:gd name="T50" fmla="*/ 327 w 864"/>
                    <a:gd name="T51" fmla="*/ 13 h 452"/>
                    <a:gd name="T52" fmla="*/ 311 w 864"/>
                    <a:gd name="T53" fmla="*/ 18 h 452"/>
                    <a:gd name="T54" fmla="*/ 289 w 864"/>
                    <a:gd name="T55" fmla="*/ 25 h 452"/>
                    <a:gd name="T56" fmla="*/ 275 w 864"/>
                    <a:gd name="T57" fmla="*/ 30 h 452"/>
                    <a:gd name="T58" fmla="*/ 252 w 864"/>
                    <a:gd name="T59" fmla="*/ 40 h 452"/>
                    <a:gd name="T60" fmla="*/ 238 w 864"/>
                    <a:gd name="T61" fmla="*/ 46 h 452"/>
                    <a:gd name="T62" fmla="*/ 206 w 864"/>
                    <a:gd name="T63" fmla="*/ 64 h 452"/>
                    <a:gd name="T64" fmla="*/ 194 w 864"/>
                    <a:gd name="T65" fmla="*/ 72 h 452"/>
                    <a:gd name="T66" fmla="*/ 164 w 864"/>
                    <a:gd name="T67" fmla="*/ 94 h 452"/>
                    <a:gd name="T68" fmla="*/ 153 w 864"/>
                    <a:gd name="T69" fmla="*/ 103 h 452"/>
                    <a:gd name="T70" fmla="*/ 117 w 864"/>
                    <a:gd name="T71" fmla="*/ 138 h 452"/>
                    <a:gd name="T72" fmla="*/ 83 w 864"/>
                    <a:gd name="T73" fmla="*/ 178 h 452"/>
                    <a:gd name="T74" fmla="*/ 76 w 864"/>
                    <a:gd name="T75" fmla="*/ 188 h 452"/>
                    <a:gd name="T76" fmla="*/ 0 w 864"/>
                    <a:gd name="T77" fmla="*/ 423 h 452"/>
                    <a:gd name="T78" fmla="*/ 757 w 864"/>
                    <a:gd name="T79" fmla="*/ 214 h 452"/>
                    <a:gd name="T80" fmla="*/ 648 w 864"/>
                    <a:gd name="T81" fmla="*/ 258 h 452"/>
                    <a:gd name="T82" fmla="*/ 580 w 864"/>
                    <a:gd name="T83" fmla="*/ 69 h 452"/>
                    <a:gd name="T84" fmla="*/ 597 w 864"/>
                    <a:gd name="T85" fmla="*/ 77 h 452"/>
                    <a:gd name="T86" fmla="*/ 610 w 864"/>
                    <a:gd name="T87" fmla="*/ 83 h 452"/>
                    <a:gd name="T88" fmla="*/ 638 w 864"/>
                    <a:gd name="T89" fmla="*/ 220 h 452"/>
                    <a:gd name="T90" fmla="*/ 452 w 864"/>
                    <a:gd name="T91" fmla="*/ 43 h 452"/>
                    <a:gd name="T92" fmla="*/ 452 w 864"/>
                    <a:gd name="T93" fmla="*/ 244 h 452"/>
                    <a:gd name="T94" fmla="*/ 609 w 864"/>
                    <a:gd name="T95" fmla="*/ 267 h 452"/>
                    <a:gd name="T96" fmla="*/ 452 w 864"/>
                    <a:gd name="T97" fmla="*/ 284 h 452"/>
                    <a:gd name="T98" fmla="*/ 255 w 864"/>
                    <a:gd name="T99" fmla="*/ 267 h 452"/>
                    <a:gd name="T100" fmla="*/ 412 w 864"/>
                    <a:gd name="T101" fmla="*/ 43 h 452"/>
                    <a:gd name="T102" fmla="*/ 300 w 864"/>
                    <a:gd name="T103" fmla="*/ 146 h 452"/>
                    <a:gd name="T104" fmla="*/ 254 w 864"/>
                    <a:gd name="T105" fmla="*/ 83 h 452"/>
                    <a:gd name="T106" fmla="*/ 268 w 864"/>
                    <a:gd name="T107" fmla="*/ 77 h 452"/>
                    <a:gd name="T108" fmla="*/ 285 w 864"/>
                    <a:gd name="T109" fmla="*/ 69 h 452"/>
                    <a:gd name="T110" fmla="*/ 227 w 864"/>
                    <a:gd name="T111" fmla="*/ 220 h 452"/>
                    <a:gd name="T112" fmla="*/ 107 w 864"/>
                    <a:gd name="T113" fmla="*/ 214 h 452"/>
                    <a:gd name="T114" fmla="*/ 41 w 864"/>
                    <a:gd name="T115" fmla="*/ 412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64" h="452">
                      <a:moveTo>
                        <a:pt x="41" y="452"/>
                      </a:moveTo>
                      <a:cubicBezTo>
                        <a:pt x="197" y="452"/>
                        <a:pt x="197" y="452"/>
                        <a:pt x="197" y="452"/>
                      </a:cubicBezTo>
                      <a:cubicBezTo>
                        <a:pt x="237" y="452"/>
                        <a:pt x="237" y="452"/>
                        <a:pt x="237" y="452"/>
                      </a:cubicBezTo>
                      <a:cubicBezTo>
                        <a:pt x="412" y="452"/>
                        <a:pt x="412" y="452"/>
                        <a:pt x="412" y="452"/>
                      </a:cubicBezTo>
                      <a:cubicBezTo>
                        <a:pt x="452" y="452"/>
                        <a:pt x="452" y="452"/>
                        <a:pt x="452" y="452"/>
                      </a:cubicBezTo>
                      <a:cubicBezTo>
                        <a:pt x="628" y="452"/>
                        <a:pt x="628" y="452"/>
                        <a:pt x="628" y="452"/>
                      </a:cubicBezTo>
                      <a:cubicBezTo>
                        <a:pt x="668" y="452"/>
                        <a:pt x="668" y="452"/>
                        <a:pt x="668" y="452"/>
                      </a:cubicBezTo>
                      <a:cubicBezTo>
                        <a:pt x="823" y="452"/>
                        <a:pt x="823" y="452"/>
                        <a:pt x="823" y="452"/>
                      </a:cubicBezTo>
                      <a:cubicBezTo>
                        <a:pt x="835" y="452"/>
                        <a:pt x="835" y="452"/>
                        <a:pt x="835" y="452"/>
                      </a:cubicBezTo>
                      <a:cubicBezTo>
                        <a:pt x="851" y="452"/>
                        <a:pt x="864" y="439"/>
                        <a:pt x="864" y="423"/>
                      </a:cubicBezTo>
                      <a:cubicBezTo>
                        <a:pt x="864" y="412"/>
                        <a:pt x="864" y="412"/>
                        <a:pt x="864" y="412"/>
                      </a:cubicBezTo>
                      <a:cubicBezTo>
                        <a:pt x="864" y="412"/>
                        <a:pt x="864" y="412"/>
                        <a:pt x="864" y="412"/>
                      </a:cubicBezTo>
                      <a:cubicBezTo>
                        <a:pt x="860" y="329"/>
                        <a:pt x="833" y="252"/>
                        <a:pt x="788" y="188"/>
                      </a:cubicBezTo>
                      <a:cubicBezTo>
                        <a:pt x="788" y="188"/>
                        <a:pt x="788" y="188"/>
                        <a:pt x="788" y="188"/>
                      </a:cubicBezTo>
                      <a:cubicBezTo>
                        <a:pt x="788" y="188"/>
                        <a:pt x="788" y="188"/>
                        <a:pt x="788" y="188"/>
                      </a:cubicBezTo>
                      <a:cubicBezTo>
                        <a:pt x="786" y="184"/>
                        <a:pt x="783" y="181"/>
                        <a:pt x="781" y="178"/>
                      </a:cubicBezTo>
                      <a:cubicBezTo>
                        <a:pt x="778" y="173"/>
                        <a:pt x="778" y="173"/>
                        <a:pt x="778" y="173"/>
                      </a:cubicBezTo>
                      <a:cubicBezTo>
                        <a:pt x="769" y="161"/>
                        <a:pt x="759" y="150"/>
                        <a:pt x="749" y="139"/>
                      </a:cubicBezTo>
                      <a:cubicBezTo>
                        <a:pt x="749" y="138"/>
                        <a:pt x="748" y="138"/>
                        <a:pt x="748" y="138"/>
                      </a:cubicBezTo>
                      <a:cubicBezTo>
                        <a:pt x="739" y="128"/>
                        <a:pt x="730" y="119"/>
                        <a:pt x="721" y="111"/>
                      </a:cubicBezTo>
                      <a:cubicBezTo>
                        <a:pt x="721" y="111"/>
                        <a:pt x="721" y="111"/>
                        <a:pt x="721" y="111"/>
                      </a:cubicBezTo>
                      <a:cubicBezTo>
                        <a:pt x="718" y="108"/>
                        <a:pt x="715" y="105"/>
                        <a:pt x="711" y="103"/>
                      </a:cubicBezTo>
                      <a:cubicBezTo>
                        <a:pt x="711" y="102"/>
                        <a:pt x="711" y="102"/>
                        <a:pt x="710" y="102"/>
                      </a:cubicBezTo>
                      <a:cubicBezTo>
                        <a:pt x="707" y="99"/>
                        <a:pt x="704" y="97"/>
                        <a:pt x="701" y="94"/>
                      </a:cubicBezTo>
                      <a:cubicBezTo>
                        <a:pt x="701" y="94"/>
                        <a:pt x="701" y="94"/>
                        <a:pt x="701" y="94"/>
                      </a:cubicBezTo>
                      <a:cubicBezTo>
                        <a:pt x="694" y="89"/>
                        <a:pt x="687" y="84"/>
                        <a:pt x="681" y="79"/>
                      </a:cubicBezTo>
                      <a:cubicBezTo>
                        <a:pt x="680" y="79"/>
                        <a:pt x="680" y="79"/>
                        <a:pt x="680" y="79"/>
                      </a:cubicBezTo>
                      <a:cubicBezTo>
                        <a:pt x="677" y="76"/>
                        <a:pt x="674" y="74"/>
                        <a:pt x="671" y="72"/>
                      </a:cubicBezTo>
                      <a:cubicBezTo>
                        <a:pt x="669" y="71"/>
                        <a:pt x="668" y="71"/>
                        <a:pt x="667" y="70"/>
                      </a:cubicBezTo>
                      <a:cubicBezTo>
                        <a:pt x="665" y="68"/>
                        <a:pt x="663" y="67"/>
                        <a:pt x="660" y="65"/>
                      </a:cubicBezTo>
                      <a:cubicBezTo>
                        <a:pt x="659" y="65"/>
                        <a:pt x="659" y="65"/>
                        <a:pt x="658" y="64"/>
                      </a:cubicBezTo>
                      <a:cubicBezTo>
                        <a:pt x="651" y="60"/>
                        <a:pt x="644" y="56"/>
                        <a:pt x="637" y="52"/>
                      </a:cubicBezTo>
                      <a:cubicBezTo>
                        <a:pt x="636" y="52"/>
                        <a:pt x="636" y="51"/>
                        <a:pt x="636" y="51"/>
                      </a:cubicBezTo>
                      <a:cubicBezTo>
                        <a:pt x="633" y="50"/>
                        <a:pt x="629" y="48"/>
                        <a:pt x="626" y="46"/>
                      </a:cubicBezTo>
                      <a:cubicBezTo>
                        <a:pt x="625" y="46"/>
                        <a:pt x="624" y="45"/>
                        <a:pt x="624" y="45"/>
                      </a:cubicBezTo>
                      <a:cubicBezTo>
                        <a:pt x="621" y="44"/>
                        <a:pt x="618" y="42"/>
                        <a:pt x="615" y="41"/>
                      </a:cubicBezTo>
                      <a:cubicBezTo>
                        <a:pt x="614" y="40"/>
                        <a:pt x="613" y="40"/>
                        <a:pt x="612" y="40"/>
                      </a:cubicBezTo>
                      <a:cubicBezTo>
                        <a:pt x="609" y="38"/>
                        <a:pt x="606" y="36"/>
                        <a:pt x="602" y="35"/>
                      </a:cubicBezTo>
                      <a:cubicBezTo>
                        <a:pt x="602" y="35"/>
                        <a:pt x="602" y="35"/>
                        <a:pt x="601" y="35"/>
                      </a:cubicBezTo>
                      <a:cubicBezTo>
                        <a:pt x="597" y="33"/>
                        <a:pt x="594" y="31"/>
                        <a:pt x="590" y="30"/>
                      </a:cubicBezTo>
                      <a:cubicBezTo>
                        <a:pt x="589" y="30"/>
                        <a:pt x="589" y="30"/>
                        <a:pt x="588" y="29"/>
                      </a:cubicBezTo>
                      <a:cubicBezTo>
                        <a:pt x="585" y="28"/>
                        <a:pt x="582" y="27"/>
                        <a:pt x="578" y="26"/>
                      </a:cubicBezTo>
                      <a:cubicBezTo>
                        <a:pt x="577" y="25"/>
                        <a:pt x="576" y="25"/>
                        <a:pt x="575" y="25"/>
                      </a:cubicBezTo>
                      <a:cubicBezTo>
                        <a:pt x="572" y="24"/>
                        <a:pt x="569" y="23"/>
                        <a:pt x="567" y="22"/>
                      </a:cubicBezTo>
                      <a:cubicBezTo>
                        <a:pt x="565" y="21"/>
                        <a:pt x="564" y="21"/>
                        <a:pt x="563" y="21"/>
                      </a:cubicBezTo>
                      <a:cubicBezTo>
                        <a:pt x="560" y="20"/>
                        <a:pt x="557" y="19"/>
                        <a:pt x="554" y="18"/>
                      </a:cubicBezTo>
                      <a:cubicBezTo>
                        <a:pt x="553" y="17"/>
                        <a:pt x="552" y="17"/>
                        <a:pt x="552" y="17"/>
                      </a:cubicBezTo>
                      <a:cubicBezTo>
                        <a:pt x="548" y="16"/>
                        <a:pt x="544" y="15"/>
                        <a:pt x="540" y="14"/>
                      </a:cubicBezTo>
                      <a:cubicBezTo>
                        <a:pt x="539" y="14"/>
                        <a:pt x="538" y="13"/>
                        <a:pt x="538" y="13"/>
                      </a:cubicBezTo>
                      <a:cubicBezTo>
                        <a:pt x="535" y="12"/>
                        <a:pt x="531" y="12"/>
                        <a:pt x="528" y="11"/>
                      </a:cubicBezTo>
                      <a:cubicBezTo>
                        <a:pt x="526" y="11"/>
                        <a:pt x="525" y="10"/>
                        <a:pt x="524" y="10"/>
                      </a:cubicBezTo>
                      <a:cubicBezTo>
                        <a:pt x="521" y="9"/>
                        <a:pt x="518" y="9"/>
                        <a:pt x="516" y="8"/>
                      </a:cubicBezTo>
                      <a:cubicBezTo>
                        <a:pt x="514" y="8"/>
                        <a:pt x="513" y="8"/>
                        <a:pt x="511" y="8"/>
                      </a:cubicBezTo>
                      <a:cubicBezTo>
                        <a:pt x="509" y="7"/>
                        <a:pt x="506" y="7"/>
                        <a:pt x="503" y="6"/>
                      </a:cubicBezTo>
                      <a:cubicBezTo>
                        <a:pt x="502" y="6"/>
                        <a:pt x="500" y="6"/>
                        <a:pt x="499" y="5"/>
                      </a:cubicBezTo>
                      <a:cubicBezTo>
                        <a:pt x="495" y="5"/>
                        <a:pt x="491" y="4"/>
                        <a:pt x="487" y="4"/>
                      </a:cubicBezTo>
                      <a:cubicBezTo>
                        <a:pt x="487" y="4"/>
                        <a:pt x="486" y="4"/>
                        <a:pt x="486" y="4"/>
                      </a:cubicBezTo>
                      <a:cubicBezTo>
                        <a:pt x="482" y="3"/>
                        <a:pt x="478" y="3"/>
                        <a:pt x="475" y="2"/>
                      </a:cubicBezTo>
                      <a:cubicBezTo>
                        <a:pt x="473" y="2"/>
                        <a:pt x="472" y="2"/>
                        <a:pt x="471" y="2"/>
                      </a:cubicBezTo>
                      <a:cubicBezTo>
                        <a:pt x="468" y="2"/>
                        <a:pt x="465" y="2"/>
                        <a:pt x="462" y="1"/>
                      </a:cubicBezTo>
                      <a:cubicBezTo>
                        <a:pt x="461" y="1"/>
                        <a:pt x="459" y="1"/>
                        <a:pt x="458" y="1"/>
                      </a:cubicBezTo>
                      <a:cubicBezTo>
                        <a:pt x="456" y="1"/>
                        <a:pt x="454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  <a:cubicBezTo>
                        <a:pt x="412" y="0"/>
                        <a:pt x="412" y="0"/>
                        <a:pt x="412" y="0"/>
                      </a:cubicBezTo>
                      <a:cubicBezTo>
                        <a:pt x="412" y="1"/>
                        <a:pt x="412" y="1"/>
                        <a:pt x="412" y="1"/>
                      </a:cubicBezTo>
                      <a:cubicBezTo>
                        <a:pt x="410" y="1"/>
                        <a:pt x="409" y="1"/>
                        <a:pt x="407" y="1"/>
                      </a:cubicBezTo>
                      <a:cubicBezTo>
                        <a:pt x="405" y="1"/>
                        <a:pt x="404" y="1"/>
                        <a:pt x="402" y="1"/>
                      </a:cubicBezTo>
                      <a:cubicBezTo>
                        <a:pt x="400" y="2"/>
                        <a:pt x="397" y="2"/>
                        <a:pt x="394" y="2"/>
                      </a:cubicBezTo>
                      <a:cubicBezTo>
                        <a:pt x="393" y="2"/>
                        <a:pt x="391" y="2"/>
                        <a:pt x="390" y="2"/>
                      </a:cubicBezTo>
                      <a:cubicBezTo>
                        <a:pt x="386" y="3"/>
                        <a:pt x="383" y="3"/>
                        <a:pt x="379" y="4"/>
                      </a:cubicBezTo>
                      <a:cubicBezTo>
                        <a:pt x="378" y="4"/>
                        <a:pt x="378" y="4"/>
                        <a:pt x="378" y="4"/>
                      </a:cubicBezTo>
                      <a:cubicBezTo>
                        <a:pt x="373" y="4"/>
                        <a:pt x="369" y="5"/>
                        <a:pt x="365" y="5"/>
                      </a:cubicBezTo>
                      <a:cubicBezTo>
                        <a:pt x="364" y="6"/>
                        <a:pt x="363" y="6"/>
                        <a:pt x="362" y="6"/>
                      </a:cubicBezTo>
                      <a:cubicBezTo>
                        <a:pt x="359" y="7"/>
                        <a:pt x="356" y="7"/>
                        <a:pt x="353" y="8"/>
                      </a:cubicBezTo>
                      <a:cubicBezTo>
                        <a:pt x="352" y="8"/>
                        <a:pt x="350" y="8"/>
                        <a:pt x="349" y="8"/>
                      </a:cubicBezTo>
                      <a:cubicBezTo>
                        <a:pt x="346" y="9"/>
                        <a:pt x="343" y="9"/>
                        <a:pt x="340" y="10"/>
                      </a:cubicBezTo>
                      <a:cubicBezTo>
                        <a:pt x="339" y="10"/>
                        <a:pt x="338" y="11"/>
                        <a:pt x="337" y="11"/>
                      </a:cubicBezTo>
                      <a:cubicBezTo>
                        <a:pt x="333" y="12"/>
                        <a:pt x="330" y="12"/>
                        <a:pt x="327" y="13"/>
                      </a:cubicBezTo>
                      <a:cubicBezTo>
                        <a:pt x="326" y="13"/>
                        <a:pt x="325" y="14"/>
                        <a:pt x="325" y="14"/>
                      </a:cubicBezTo>
                      <a:cubicBezTo>
                        <a:pt x="321" y="15"/>
                        <a:pt x="317" y="16"/>
                        <a:pt x="313" y="17"/>
                      </a:cubicBezTo>
                      <a:cubicBezTo>
                        <a:pt x="312" y="17"/>
                        <a:pt x="311" y="17"/>
                        <a:pt x="311" y="18"/>
                      </a:cubicBezTo>
                      <a:cubicBezTo>
                        <a:pt x="307" y="19"/>
                        <a:pt x="304" y="20"/>
                        <a:pt x="301" y="21"/>
                      </a:cubicBezTo>
                      <a:cubicBezTo>
                        <a:pt x="300" y="21"/>
                        <a:pt x="299" y="21"/>
                        <a:pt x="298" y="22"/>
                      </a:cubicBezTo>
                      <a:cubicBezTo>
                        <a:pt x="295" y="23"/>
                        <a:pt x="292" y="24"/>
                        <a:pt x="289" y="25"/>
                      </a:cubicBezTo>
                      <a:cubicBezTo>
                        <a:pt x="288" y="25"/>
                        <a:pt x="287" y="25"/>
                        <a:pt x="286" y="26"/>
                      </a:cubicBezTo>
                      <a:cubicBezTo>
                        <a:pt x="283" y="27"/>
                        <a:pt x="280" y="28"/>
                        <a:pt x="276" y="29"/>
                      </a:cubicBezTo>
                      <a:cubicBezTo>
                        <a:pt x="276" y="30"/>
                        <a:pt x="275" y="30"/>
                        <a:pt x="275" y="30"/>
                      </a:cubicBezTo>
                      <a:cubicBezTo>
                        <a:pt x="271" y="31"/>
                        <a:pt x="267" y="33"/>
                        <a:pt x="263" y="35"/>
                      </a:cubicBezTo>
                      <a:cubicBezTo>
                        <a:pt x="263" y="35"/>
                        <a:pt x="263" y="35"/>
                        <a:pt x="262" y="35"/>
                      </a:cubicBezTo>
                      <a:cubicBezTo>
                        <a:pt x="259" y="36"/>
                        <a:pt x="256" y="38"/>
                        <a:pt x="252" y="40"/>
                      </a:cubicBezTo>
                      <a:cubicBezTo>
                        <a:pt x="251" y="40"/>
                        <a:pt x="251" y="40"/>
                        <a:pt x="250" y="41"/>
                      </a:cubicBezTo>
                      <a:cubicBezTo>
                        <a:pt x="247" y="42"/>
                        <a:pt x="243" y="44"/>
                        <a:pt x="240" y="45"/>
                      </a:cubicBezTo>
                      <a:cubicBezTo>
                        <a:pt x="240" y="46"/>
                        <a:pt x="239" y="46"/>
                        <a:pt x="238" y="46"/>
                      </a:cubicBezTo>
                      <a:cubicBezTo>
                        <a:pt x="235" y="48"/>
                        <a:pt x="232" y="50"/>
                        <a:pt x="229" y="51"/>
                      </a:cubicBezTo>
                      <a:cubicBezTo>
                        <a:pt x="228" y="51"/>
                        <a:pt x="228" y="52"/>
                        <a:pt x="228" y="52"/>
                      </a:cubicBezTo>
                      <a:cubicBezTo>
                        <a:pt x="220" y="56"/>
                        <a:pt x="213" y="60"/>
                        <a:pt x="206" y="64"/>
                      </a:cubicBezTo>
                      <a:cubicBezTo>
                        <a:pt x="206" y="65"/>
                        <a:pt x="205" y="65"/>
                        <a:pt x="205" y="65"/>
                      </a:cubicBezTo>
                      <a:cubicBezTo>
                        <a:pt x="202" y="67"/>
                        <a:pt x="200" y="68"/>
                        <a:pt x="197" y="70"/>
                      </a:cubicBezTo>
                      <a:cubicBezTo>
                        <a:pt x="196" y="70"/>
                        <a:pt x="195" y="71"/>
                        <a:pt x="194" y="72"/>
                      </a:cubicBezTo>
                      <a:cubicBezTo>
                        <a:pt x="191" y="74"/>
                        <a:pt x="188" y="76"/>
                        <a:pt x="184" y="79"/>
                      </a:cubicBezTo>
                      <a:cubicBezTo>
                        <a:pt x="184" y="79"/>
                        <a:pt x="184" y="79"/>
                        <a:pt x="184" y="79"/>
                      </a:cubicBezTo>
                      <a:cubicBezTo>
                        <a:pt x="177" y="84"/>
                        <a:pt x="170" y="89"/>
                        <a:pt x="164" y="94"/>
                      </a:cubicBezTo>
                      <a:cubicBezTo>
                        <a:pt x="163" y="94"/>
                        <a:pt x="163" y="94"/>
                        <a:pt x="163" y="94"/>
                      </a:cubicBezTo>
                      <a:cubicBezTo>
                        <a:pt x="160" y="97"/>
                        <a:pt x="157" y="99"/>
                        <a:pt x="154" y="102"/>
                      </a:cubicBezTo>
                      <a:cubicBezTo>
                        <a:pt x="154" y="102"/>
                        <a:pt x="153" y="102"/>
                        <a:pt x="153" y="103"/>
                      </a:cubicBezTo>
                      <a:cubicBezTo>
                        <a:pt x="150" y="105"/>
                        <a:pt x="147" y="108"/>
                        <a:pt x="144" y="111"/>
                      </a:cubicBezTo>
                      <a:cubicBezTo>
                        <a:pt x="144" y="111"/>
                        <a:pt x="144" y="111"/>
                        <a:pt x="144" y="111"/>
                      </a:cubicBezTo>
                      <a:cubicBezTo>
                        <a:pt x="134" y="119"/>
                        <a:pt x="125" y="128"/>
                        <a:pt x="117" y="138"/>
                      </a:cubicBezTo>
                      <a:cubicBezTo>
                        <a:pt x="116" y="138"/>
                        <a:pt x="116" y="138"/>
                        <a:pt x="116" y="139"/>
                      </a:cubicBezTo>
                      <a:cubicBezTo>
                        <a:pt x="104" y="151"/>
                        <a:pt x="94" y="164"/>
                        <a:pt x="84" y="177"/>
                      </a:cubicBezTo>
                      <a:cubicBezTo>
                        <a:pt x="83" y="178"/>
                        <a:pt x="83" y="178"/>
                        <a:pt x="83" y="178"/>
                      </a:cubicBezTo>
                      <a:cubicBezTo>
                        <a:pt x="81" y="181"/>
                        <a:pt x="79" y="184"/>
                        <a:pt x="76" y="188"/>
                      </a:cubicBezTo>
                      <a:cubicBezTo>
                        <a:pt x="76" y="188"/>
                        <a:pt x="76" y="188"/>
                        <a:pt x="76" y="188"/>
                      </a:cubicBezTo>
                      <a:cubicBezTo>
                        <a:pt x="76" y="188"/>
                        <a:pt x="76" y="188"/>
                        <a:pt x="76" y="188"/>
                      </a:cubicBezTo>
                      <a:cubicBezTo>
                        <a:pt x="32" y="252"/>
                        <a:pt x="5" y="329"/>
                        <a:pt x="1" y="412"/>
                      </a:cubicBezTo>
                      <a:cubicBezTo>
                        <a:pt x="0" y="412"/>
                        <a:pt x="0" y="412"/>
                        <a:pt x="0" y="412"/>
                      </a:cubicBezTo>
                      <a:cubicBezTo>
                        <a:pt x="0" y="423"/>
                        <a:pt x="0" y="423"/>
                        <a:pt x="0" y="423"/>
                      </a:cubicBezTo>
                      <a:cubicBezTo>
                        <a:pt x="0" y="439"/>
                        <a:pt x="13" y="452"/>
                        <a:pt x="29" y="452"/>
                      </a:cubicBezTo>
                      <a:lnTo>
                        <a:pt x="41" y="452"/>
                      </a:lnTo>
                      <a:close/>
                      <a:moveTo>
                        <a:pt x="757" y="214"/>
                      </a:moveTo>
                      <a:cubicBezTo>
                        <a:pt x="796" y="271"/>
                        <a:pt x="820" y="339"/>
                        <a:pt x="823" y="412"/>
                      </a:cubicBezTo>
                      <a:cubicBezTo>
                        <a:pt x="668" y="412"/>
                        <a:pt x="668" y="412"/>
                        <a:pt x="668" y="412"/>
                      </a:cubicBezTo>
                      <a:cubicBezTo>
                        <a:pt x="667" y="358"/>
                        <a:pt x="660" y="306"/>
                        <a:pt x="648" y="258"/>
                      </a:cubicBezTo>
                      <a:cubicBezTo>
                        <a:pt x="693" y="247"/>
                        <a:pt x="730" y="231"/>
                        <a:pt x="757" y="214"/>
                      </a:cubicBezTo>
                      <a:close/>
                      <a:moveTo>
                        <a:pt x="579" y="69"/>
                      </a:moveTo>
                      <a:cubicBezTo>
                        <a:pt x="579" y="69"/>
                        <a:pt x="579" y="69"/>
                        <a:pt x="580" y="69"/>
                      </a:cubicBezTo>
                      <a:cubicBezTo>
                        <a:pt x="582" y="70"/>
                        <a:pt x="585" y="71"/>
                        <a:pt x="588" y="73"/>
                      </a:cubicBezTo>
                      <a:cubicBezTo>
                        <a:pt x="589" y="73"/>
                        <a:pt x="589" y="73"/>
                        <a:pt x="590" y="74"/>
                      </a:cubicBezTo>
                      <a:cubicBezTo>
                        <a:pt x="592" y="75"/>
                        <a:pt x="595" y="76"/>
                        <a:pt x="597" y="77"/>
                      </a:cubicBezTo>
                      <a:cubicBezTo>
                        <a:pt x="598" y="77"/>
                        <a:pt x="599" y="78"/>
                        <a:pt x="600" y="78"/>
                      </a:cubicBezTo>
                      <a:cubicBezTo>
                        <a:pt x="602" y="79"/>
                        <a:pt x="603" y="80"/>
                        <a:pt x="605" y="80"/>
                      </a:cubicBezTo>
                      <a:cubicBezTo>
                        <a:pt x="607" y="81"/>
                        <a:pt x="608" y="82"/>
                        <a:pt x="610" y="83"/>
                      </a:cubicBezTo>
                      <a:cubicBezTo>
                        <a:pt x="611" y="83"/>
                        <a:pt x="611" y="84"/>
                        <a:pt x="612" y="84"/>
                      </a:cubicBezTo>
                      <a:cubicBezTo>
                        <a:pt x="658" y="108"/>
                        <a:pt x="700" y="141"/>
                        <a:pt x="733" y="181"/>
                      </a:cubicBezTo>
                      <a:cubicBezTo>
                        <a:pt x="710" y="196"/>
                        <a:pt x="678" y="209"/>
                        <a:pt x="638" y="220"/>
                      </a:cubicBezTo>
                      <a:cubicBezTo>
                        <a:pt x="617" y="153"/>
                        <a:pt x="587" y="97"/>
                        <a:pt x="551" y="59"/>
                      </a:cubicBezTo>
                      <a:cubicBezTo>
                        <a:pt x="560" y="62"/>
                        <a:pt x="570" y="65"/>
                        <a:pt x="579" y="69"/>
                      </a:cubicBezTo>
                      <a:close/>
                      <a:moveTo>
                        <a:pt x="452" y="43"/>
                      </a:moveTo>
                      <a:cubicBezTo>
                        <a:pt x="493" y="52"/>
                        <a:pt x="533" y="88"/>
                        <a:pt x="564" y="146"/>
                      </a:cubicBezTo>
                      <a:cubicBezTo>
                        <a:pt x="578" y="171"/>
                        <a:pt x="589" y="199"/>
                        <a:pt x="599" y="229"/>
                      </a:cubicBezTo>
                      <a:cubicBezTo>
                        <a:pt x="556" y="237"/>
                        <a:pt x="506" y="243"/>
                        <a:pt x="452" y="244"/>
                      </a:cubicBezTo>
                      <a:lnTo>
                        <a:pt x="452" y="43"/>
                      </a:lnTo>
                      <a:close/>
                      <a:moveTo>
                        <a:pt x="452" y="284"/>
                      </a:moveTo>
                      <a:cubicBezTo>
                        <a:pt x="509" y="283"/>
                        <a:pt x="562" y="277"/>
                        <a:pt x="609" y="267"/>
                      </a:cubicBezTo>
                      <a:cubicBezTo>
                        <a:pt x="620" y="312"/>
                        <a:pt x="627" y="361"/>
                        <a:pt x="628" y="412"/>
                      </a:cubicBezTo>
                      <a:cubicBezTo>
                        <a:pt x="452" y="412"/>
                        <a:pt x="452" y="412"/>
                        <a:pt x="452" y="412"/>
                      </a:cubicBezTo>
                      <a:lnTo>
                        <a:pt x="452" y="284"/>
                      </a:lnTo>
                      <a:close/>
                      <a:moveTo>
                        <a:pt x="412" y="412"/>
                      </a:moveTo>
                      <a:cubicBezTo>
                        <a:pt x="237" y="412"/>
                        <a:pt x="237" y="412"/>
                        <a:pt x="237" y="412"/>
                      </a:cubicBezTo>
                      <a:cubicBezTo>
                        <a:pt x="238" y="361"/>
                        <a:pt x="244" y="312"/>
                        <a:pt x="255" y="267"/>
                      </a:cubicBezTo>
                      <a:cubicBezTo>
                        <a:pt x="302" y="277"/>
                        <a:pt x="356" y="283"/>
                        <a:pt x="412" y="284"/>
                      </a:cubicBezTo>
                      <a:lnTo>
                        <a:pt x="412" y="412"/>
                      </a:lnTo>
                      <a:close/>
                      <a:moveTo>
                        <a:pt x="412" y="43"/>
                      </a:moveTo>
                      <a:cubicBezTo>
                        <a:pt x="412" y="244"/>
                        <a:pt x="412" y="244"/>
                        <a:pt x="412" y="244"/>
                      </a:cubicBezTo>
                      <a:cubicBezTo>
                        <a:pt x="358" y="243"/>
                        <a:pt x="309" y="237"/>
                        <a:pt x="266" y="229"/>
                      </a:cubicBezTo>
                      <a:cubicBezTo>
                        <a:pt x="275" y="199"/>
                        <a:pt x="287" y="171"/>
                        <a:pt x="300" y="146"/>
                      </a:cubicBezTo>
                      <a:cubicBezTo>
                        <a:pt x="332" y="88"/>
                        <a:pt x="372" y="52"/>
                        <a:pt x="412" y="43"/>
                      </a:cubicBezTo>
                      <a:close/>
                      <a:moveTo>
                        <a:pt x="253" y="84"/>
                      </a:moveTo>
                      <a:cubicBezTo>
                        <a:pt x="253" y="84"/>
                        <a:pt x="254" y="83"/>
                        <a:pt x="254" y="83"/>
                      </a:cubicBezTo>
                      <a:cubicBezTo>
                        <a:pt x="256" y="82"/>
                        <a:pt x="258" y="81"/>
                        <a:pt x="260" y="80"/>
                      </a:cubicBezTo>
                      <a:cubicBezTo>
                        <a:pt x="261" y="80"/>
                        <a:pt x="263" y="79"/>
                        <a:pt x="264" y="78"/>
                      </a:cubicBezTo>
                      <a:cubicBezTo>
                        <a:pt x="265" y="78"/>
                        <a:pt x="267" y="77"/>
                        <a:pt x="268" y="77"/>
                      </a:cubicBezTo>
                      <a:cubicBezTo>
                        <a:pt x="270" y="76"/>
                        <a:pt x="272" y="75"/>
                        <a:pt x="274" y="74"/>
                      </a:cubicBezTo>
                      <a:cubicBezTo>
                        <a:pt x="275" y="73"/>
                        <a:pt x="276" y="73"/>
                        <a:pt x="276" y="73"/>
                      </a:cubicBezTo>
                      <a:cubicBezTo>
                        <a:pt x="279" y="71"/>
                        <a:pt x="282" y="70"/>
                        <a:pt x="285" y="69"/>
                      </a:cubicBezTo>
                      <a:cubicBezTo>
                        <a:pt x="285" y="69"/>
                        <a:pt x="285" y="69"/>
                        <a:pt x="285" y="69"/>
                      </a:cubicBezTo>
                      <a:cubicBezTo>
                        <a:pt x="295" y="65"/>
                        <a:pt x="304" y="62"/>
                        <a:pt x="314" y="59"/>
                      </a:cubicBezTo>
                      <a:cubicBezTo>
                        <a:pt x="277" y="97"/>
                        <a:pt x="247" y="153"/>
                        <a:pt x="227" y="220"/>
                      </a:cubicBezTo>
                      <a:cubicBezTo>
                        <a:pt x="187" y="209"/>
                        <a:pt x="154" y="196"/>
                        <a:pt x="131" y="181"/>
                      </a:cubicBezTo>
                      <a:cubicBezTo>
                        <a:pt x="165" y="141"/>
                        <a:pt x="206" y="108"/>
                        <a:pt x="253" y="84"/>
                      </a:cubicBezTo>
                      <a:close/>
                      <a:moveTo>
                        <a:pt x="107" y="214"/>
                      </a:moveTo>
                      <a:cubicBezTo>
                        <a:pt x="135" y="231"/>
                        <a:pt x="172" y="247"/>
                        <a:pt x="216" y="258"/>
                      </a:cubicBezTo>
                      <a:cubicBezTo>
                        <a:pt x="205" y="306"/>
                        <a:pt x="198" y="358"/>
                        <a:pt x="197" y="412"/>
                      </a:cubicBezTo>
                      <a:cubicBezTo>
                        <a:pt x="41" y="412"/>
                        <a:pt x="41" y="412"/>
                        <a:pt x="41" y="412"/>
                      </a:cubicBezTo>
                      <a:cubicBezTo>
                        <a:pt x="45" y="339"/>
                        <a:pt x="69" y="271"/>
                        <a:pt x="107" y="214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" name="Freeform 7"/>
                <p:cNvSpPr>
                  <a:spLocks/>
                </p:cNvSpPr>
                <p:nvPr/>
              </p:nvSpPr>
              <p:spPr bwMode="auto">
                <a:xfrm>
                  <a:off x="2738438" y="2674938"/>
                  <a:ext cx="77788" cy="77788"/>
                </a:xfrm>
                <a:custGeom>
                  <a:avLst/>
                  <a:gdLst>
                    <a:gd name="T0" fmla="*/ 76 w 105"/>
                    <a:gd name="T1" fmla="*/ 105 h 105"/>
                    <a:gd name="T2" fmla="*/ 29 w 105"/>
                    <a:gd name="T3" fmla="*/ 105 h 105"/>
                    <a:gd name="T4" fmla="*/ 0 w 105"/>
                    <a:gd name="T5" fmla="*/ 76 h 105"/>
                    <a:gd name="T6" fmla="*/ 0 w 105"/>
                    <a:gd name="T7" fmla="*/ 29 h 105"/>
                    <a:gd name="T8" fmla="*/ 29 w 105"/>
                    <a:gd name="T9" fmla="*/ 0 h 105"/>
                    <a:gd name="T10" fmla="*/ 76 w 105"/>
                    <a:gd name="T11" fmla="*/ 0 h 105"/>
                    <a:gd name="T12" fmla="*/ 105 w 105"/>
                    <a:gd name="T13" fmla="*/ 29 h 105"/>
                    <a:gd name="T14" fmla="*/ 105 w 105"/>
                    <a:gd name="T15" fmla="*/ 76 h 105"/>
                    <a:gd name="T16" fmla="*/ 76 w 105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5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5" y="13"/>
                        <a:pt x="105" y="29"/>
                      </a:cubicBezTo>
                      <a:cubicBezTo>
                        <a:pt x="105" y="76"/>
                        <a:pt x="105" y="76"/>
                        <a:pt x="105" y="76"/>
                      </a:cubicBezTo>
                      <a:cubicBezTo>
                        <a:pt x="105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" name="Freeform 8"/>
                <p:cNvSpPr>
                  <a:spLocks/>
                </p:cNvSpPr>
                <p:nvPr/>
              </p:nvSpPr>
              <p:spPr bwMode="auto">
                <a:xfrm>
                  <a:off x="284638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8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8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8" y="105"/>
                        <a:pt x="28" y="105"/>
                        <a:pt x="28" y="105"/>
                      </a:cubicBezTo>
                      <a:cubicBezTo>
                        <a:pt x="12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" name="Freeform 9"/>
                <p:cNvSpPr>
                  <a:spLocks/>
                </p:cNvSpPr>
                <p:nvPr/>
              </p:nvSpPr>
              <p:spPr bwMode="auto">
                <a:xfrm>
                  <a:off x="295433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3" name="Freeform 10"/>
                <p:cNvSpPr>
                  <a:spLocks/>
                </p:cNvSpPr>
                <p:nvPr/>
              </p:nvSpPr>
              <p:spPr bwMode="auto">
                <a:xfrm>
                  <a:off x="306228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4" name="Freeform 11"/>
                <p:cNvSpPr>
                  <a:spLocks/>
                </p:cNvSpPr>
                <p:nvPr/>
              </p:nvSpPr>
              <p:spPr bwMode="auto">
                <a:xfrm>
                  <a:off x="3170238" y="2674938"/>
                  <a:ext cx="77788" cy="77788"/>
                </a:xfrm>
                <a:custGeom>
                  <a:avLst/>
                  <a:gdLst>
                    <a:gd name="T0" fmla="*/ 76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6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6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5" name="Freeform 12"/>
                <p:cNvSpPr>
                  <a:spLocks/>
                </p:cNvSpPr>
                <p:nvPr/>
              </p:nvSpPr>
              <p:spPr bwMode="auto">
                <a:xfrm>
                  <a:off x="3278188" y="2674938"/>
                  <a:ext cx="77788" cy="77788"/>
                </a:xfrm>
                <a:custGeom>
                  <a:avLst/>
                  <a:gdLst>
                    <a:gd name="T0" fmla="*/ 76 w 105"/>
                    <a:gd name="T1" fmla="*/ 105 h 105"/>
                    <a:gd name="T2" fmla="*/ 29 w 105"/>
                    <a:gd name="T3" fmla="*/ 105 h 105"/>
                    <a:gd name="T4" fmla="*/ 0 w 105"/>
                    <a:gd name="T5" fmla="*/ 76 h 105"/>
                    <a:gd name="T6" fmla="*/ 0 w 105"/>
                    <a:gd name="T7" fmla="*/ 29 h 105"/>
                    <a:gd name="T8" fmla="*/ 29 w 105"/>
                    <a:gd name="T9" fmla="*/ 0 h 105"/>
                    <a:gd name="T10" fmla="*/ 76 w 105"/>
                    <a:gd name="T11" fmla="*/ 0 h 105"/>
                    <a:gd name="T12" fmla="*/ 105 w 105"/>
                    <a:gd name="T13" fmla="*/ 29 h 105"/>
                    <a:gd name="T14" fmla="*/ 105 w 105"/>
                    <a:gd name="T15" fmla="*/ 76 h 105"/>
                    <a:gd name="T16" fmla="*/ 76 w 105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5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5" y="13"/>
                        <a:pt x="105" y="29"/>
                      </a:cubicBezTo>
                      <a:cubicBezTo>
                        <a:pt x="105" y="76"/>
                        <a:pt x="105" y="76"/>
                        <a:pt x="105" y="76"/>
                      </a:cubicBezTo>
                      <a:cubicBezTo>
                        <a:pt x="105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6" name="Freeform 13"/>
                <p:cNvSpPr>
                  <a:spLocks/>
                </p:cNvSpPr>
                <p:nvPr/>
              </p:nvSpPr>
              <p:spPr bwMode="auto">
                <a:xfrm>
                  <a:off x="2789238" y="2776538"/>
                  <a:ext cx="65088" cy="65088"/>
                </a:xfrm>
                <a:custGeom>
                  <a:avLst/>
                  <a:gdLst>
                    <a:gd name="T0" fmla="*/ 58 w 87"/>
                    <a:gd name="T1" fmla="*/ 87 h 87"/>
                    <a:gd name="T2" fmla="*/ 28 w 87"/>
                    <a:gd name="T3" fmla="*/ 87 h 87"/>
                    <a:gd name="T4" fmla="*/ 0 w 87"/>
                    <a:gd name="T5" fmla="*/ 58 h 87"/>
                    <a:gd name="T6" fmla="*/ 0 w 87"/>
                    <a:gd name="T7" fmla="*/ 29 h 87"/>
                    <a:gd name="T8" fmla="*/ 28 w 87"/>
                    <a:gd name="T9" fmla="*/ 0 h 87"/>
                    <a:gd name="T10" fmla="*/ 58 w 87"/>
                    <a:gd name="T11" fmla="*/ 0 h 87"/>
                    <a:gd name="T12" fmla="*/ 87 w 87"/>
                    <a:gd name="T13" fmla="*/ 29 h 87"/>
                    <a:gd name="T14" fmla="*/ 87 w 87"/>
                    <a:gd name="T15" fmla="*/ 58 h 87"/>
                    <a:gd name="T16" fmla="*/ 58 w 87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7" h="87">
                      <a:moveTo>
                        <a:pt x="58" y="87"/>
                      </a:moveTo>
                      <a:cubicBezTo>
                        <a:pt x="28" y="87"/>
                        <a:pt x="28" y="87"/>
                        <a:pt x="28" y="87"/>
                      </a:cubicBezTo>
                      <a:cubicBezTo>
                        <a:pt x="12" y="87"/>
                        <a:pt x="0" y="74"/>
                        <a:pt x="0" y="58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74" y="0"/>
                        <a:pt x="87" y="13"/>
                        <a:pt x="87" y="29"/>
                      </a:cubicBezTo>
                      <a:cubicBezTo>
                        <a:pt x="87" y="58"/>
                        <a:pt x="87" y="58"/>
                        <a:pt x="87" y="58"/>
                      </a:cubicBezTo>
                      <a:cubicBezTo>
                        <a:pt x="87" y="74"/>
                        <a:pt x="74" y="87"/>
                        <a:pt x="58" y="8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7" name="Freeform 14"/>
                <p:cNvSpPr>
                  <a:spLocks/>
                </p:cNvSpPr>
                <p:nvPr/>
              </p:nvSpPr>
              <p:spPr bwMode="auto">
                <a:xfrm>
                  <a:off x="2901950" y="2776538"/>
                  <a:ext cx="65088" cy="65088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9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9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9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8" name="Freeform 15"/>
                <p:cNvSpPr>
                  <a:spLocks/>
                </p:cNvSpPr>
                <p:nvPr/>
              </p:nvSpPr>
              <p:spPr bwMode="auto">
                <a:xfrm>
                  <a:off x="3014663" y="2778125"/>
                  <a:ext cx="65088" cy="63500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8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8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8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9" name="Freeform 16"/>
                <p:cNvSpPr>
                  <a:spLocks/>
                </p:cNvSpPr>
                <p:nvPr/>
              </p:nvSpPr>
              <p:spPr bwMode="auto">
                <a:xfrm>
                  <a:off x="3127375" y="2778125"/>
                  <a:ext cx="65088" cy="63500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8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8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8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20" name="Freeform 17"/>
                <p:cNvSpPr>
                  <a:spLocks/>
                </p:cNvSpPr>
                <p:nvPr/>
              </p:nvSpPr>
              <p:spPr bwMode="auto">
                <a:xfrm>
                  <a:off x="3240088" y="2778125"/>
                  <a:ext cx="65088" cy="63500"/>
                </a:xfrm>
                <a:custGeom>
                  <a:avLst/>
                  <a:gdLst>
                    <a:gd name="T0" fmla="*/ 59 w 87"/>
                    <a:gd name="T1" fmla="*/ 87 h 87"/>
                    <a:gd name="T2" fmla="*/ 29 w 87"/>
                    <a:gd name="T3" fmla="*/ 87 h 87"/>
                    <a:gd name="T4" fmla="*/ 0 w 87"/>
                    <a:gd name="T5" fmla="*/ 58 h 87"/>
                    <a:gd name="T6" fmla="*/ 0 w 87"/>
                    <a:gd name="T7" fmla="*/ 28 h 87"/>
                    <a:gd name="T8" fmla="*/ 29 w 87"/>
                    <a:gd name="T9" fmla="*/ 0 h 87"/>
                    <a:gd name="T10" fmla="*/ 59 w 87"/>
                    <a:gd name="T11" fmla="*/ 0 h 87"/>
                    <a:gd name="T12" fmla="*/ 87 w 87"/>
                    <a:gd name="T13" fmla="*/ 28 h 87"/>
                    <a:gd name="T14" fmla="*/ 87 w 87"/>
                    <a:gd name="T15" fmla="*/ 58 h 87"/>
                    <a:gd name="T16" fmla="*/ 59 w 87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7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7" y="13"/>
                        <a:pt x="87" y="28"/>
                      </a:cubicBezTo>
                      <a:cubicBezTo>
                        <a:pt x="87" y="58"/>
                        <a:pt x="87" y="58"/>
                        <a:pt x="87" y="58"/>
                      </a:cubicBezTo>
                      <a:cubicBezTo>
                        <a:pt x="87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21" name="Freeform 18"/>
                <p:cNvSpPr>
                  <a:spLocks/>
                </p:cNvSpPr>
                <p:nvPr/>
              </p:nvSpPr>
              <p:spPr bwMode="auto">
                <a:xfrm>
                  <a:off x="2841625" y="2862263"/>
                  <a:ext cx="50800" cy="52388"/>
                </a:xfrm>
                <a:custGeom>
                  <a:avLst/>
                  <a:gdLst>
                    <a:gd name="T0" fmla="*/ 41 w 70"/>
                    <a:gd name="T1" fmla="*/ 70 h 70"/>
                    <a:gd name="T2" fmla="*/ 28 w 70"/>
                    <a:gd name="T3" fmla="*/ 70 h 70"/>
                    <a:gd name="T4" fmla="*/ 0 w 70"/>
                    <a:gd name="T5" fmla="*/ 41 h 70"/>
                    <a:gd name="T6" fmla="*/ 0 w 70"/>
                    <a:gd name="T7" fmla="*/ 29 h 70"/>
                    <a:gd name="T8" fmla="*/ 28 w 70"/>
                    <a:gd name="T9" fmla="*/ 0 h 70"/>
                    <a:gd name="T10" fmla="*/ 41 w 70"/>
                    <a:gd name="T11" fmla="*/ 0 h 70"/>
                    <a:gd name="T12" fmla="*/ 70 w 70"/>
                    <a:gd name="T13" fmla="*/ 29 h 70"/>
                    <a:gd name="T14" fmla="*/ 70 w 70"/>
                    <a:gd name="T15" fmla="*/ 41 h 70"/>
                    <a:gd name="T16" fmla="*/ 41 w 70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0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7" y="0"/>
                        <a:pt x="70" y="13"/>
                        <a:pt x="70" y="29"/>
                      </a:cubicBezTo>
                      <a:cubicBezTo>
                        <a:pt x="70" y="41"/>
                        <a:pt x="70" y="41"/>
                        <a:pt x="70" y="41"/>
                      </a:cubicBezTo>
                      <a:cubicBezTo>
                        <a:pt x="70" y="57"/>
                        <a:pt x="57" y="70"/>
                        <a:pt x="41" y="7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22" name="Freeform 19"/>
                <p:cNvSpPr>
                  <a:spLocks/>
                </p:cNvSpPr>
                <p:nvPr/>
              </p:nvSpPr>
              <p:spPr bwMode="auto">
                <a:xfrm>
                  <a:off x="2962275" y="2862263"/>
                  <a:ext cx="50800" cy="52388"/>
                </a:xfrm>
                <a:custGeom>
                  <a:avLst/>
                  <a:gdLst>
                    <a:gd name="T0" fmla="*/ 41 w 69"/>
                    <a:gd name="T1" fmla="*/ 70 h 70"/>
                    <a:gd name="T2" fmla="*/ 28 w 69"/>
                    <a:gd name="T3" fmla="*/ 70 h 70"/>
                    <a:gd name="T4" fmla="*/ 0 w 69"/>
                    <a:gd name="T5" fmla="*/ 41 h 70"/>
                    <a:gd name="T6" fmla="*/ 0 w 69"/>
                    <a:gd name="T7" fmla="*/ 29 h 70"/>
                    <a:gd name="T8" fmla="*/ 28 w 69"/>
                    <a:gd name="T9" fmla="*/ 0 h 70"/>
                    <a:gd name="T10" fmla="*/ 41 w 69"/>
                    <a:gd name="T11" fmla="*/ 0 h 70"/>
                    <a:gd name="T12" fmla="*/ 69 w 69"/>
                    <a:gd name="T13" fmla="*/ 29 h 70"/>
                    <a:gd name="T14" fmla="*/ 69 w 69"/>
                    <a:gd name="T15" fmla="*/ 41 h 70"/>
                    <a:gd name="T16" fmla="*/ 41 w 69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7" y="0"/>
                        <a:pt x="69" y="13"/>
                        <a:pt x="69" y="29"/>
                      </a:cubicBezTo>
                      <a:cubicBezTo>
                        <a:pt x="69" y="41"/>
                        <a:pt x="69" y="41"/>
                        <a:pt x="69" y="41"/>
                      </a:cubicBezTo>
                      <a:cubicBezTo>
                        <a:pt x="69" y="57"/>
                        <a:pt x="57" y="70"/>
                        <a:pt x="41" y="70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24" name="Freeform 20"/>
                <p:cNvSpPr>
                  <a:spLocks/>
                </p:cNvSpPr>
                <p:nvPr/>
              </p:nvSpPr>
              <p:spPr bwMode="auto">
                <a:xfrm>
                  <a:off x="3081338" y="2863850"/>
                  <a:ext cx="52388" cy="50800"/>
                </a:xfrm>
                <a:custGeom>
                  <a:avLst/>
                  <a:gdLst>
                    <a:gd name="T0" fmla="*/ 41 w 69"/>
                    <a:gd name="T1" fmla="*/ 70 h 70"/>
                    <a:gd name="T2" fmla="*/ 28 w 69"/>
                    <a:gd name="T3" fmla="*/ 70 h 70"/>
                    <a:gd name="T4" fmla="*/ 0 w 69"/>
                    <a:gd name="T5" fmla="*/ 41 h 70"/>
                    <a:gd name="T6" fmla="*/ 0 w 69"/>
                    <a:gd name="T7" fmla="*/ 29 h 70"/>
                    <a:gd name="T8" fmla="*/ 28 w 69"/>
                    <a:gd name="T9" fmla="*/ 0 h 70"/>
                    <a:gd name="T10" fmla="*/ 41 w 69"/>
                    <a:gd name="T11" fmla="*/ 0 h 70"/>
                    <a:gd name="T12" fmla="*/ 69 w 69"/>
                    <a:gd name="T13" fmla="*/ 29 h 70"/>
                    <a:gd name="T14" fmla="*/ 69 w 69"/>
                    <a:gd name="T15" fmla="*/ 41 h 70"/>
                    <a:gd name="T16" fmla="*/ 41 w 69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2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6" y="0"/>
                        <a:pt x="69" y="13"/>
                        <a:pt x="69" y="29"/>
                      </a:cubicBezTo>
                      <a:cubicBezTo>
                        <a:pt x="69" y="41"/>
                        <a:pt x="69" y="41"/>
                        <a:pt x="69" y="41"/>
                      </a:cubicBezTo>
                      <a:cubicBezTo>
                        <a:pt x="69" y="57"/>
                        <a:pt x="56" y="70"/>
                        <a:pt x="41" y="7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25" name="Freeform 21"/>
                <p:cNvSpPr>
                  <a:spLocks/>
                </p:cNvSpPr>
                <p:nvPr/>
              </p:nvSpPr>
              <p:spPr bwMode="auto">
                <a:xfrm>
                  <a:off x="3201988" y="2863850"/>
                  <a:ext cx="50800" cy="50800"/>
                </a:xfrm>
                <a:custGeom>
                  <a:avLst/>
                  <a:gdLst>
                    <a:gd name="T0" fmla="*/ 42 w 70"/>
                    <a:gd name="T1" fmla="*/ 70 h 70"/>
                    <a:gd name="T2" fmla="*/ 29 w 70"/>
                    <a:gd name="T3" fmla="*/ 70 h 70"/>
                    <a:gd name="T4" fmla="*/ 0 w 70"/>
                    <a:gd name="T5" fmla="*/ 41 h 70"/>
                    <a:gd name="T6" fmla="*/ 0 w 70"/>
                    <a:gd name="T7" fmla="*/ 29 h 70"/>
                    <a:gd name="T8" fmla="*/ 29 w 70"/>
                    <a:gd name="T9" fmla="*/ 0 h 70"/>
                    <a:gd name="T10" fmla="*/ 42 w 70"/>
                    <a:gd name="T11" fmla="*/ 0 h 70"/>
                    <a:gd name="T12" fmla="*/ 70 w 70"/>
                    <a:gd name="T13" fmla="*/ 29 h 70"/>
                    <a:gd name="T14" fmla="*/ 70 w 70"/>
                    <a:gd name="T15" fmla="*/ 41 h 70"/>
                    <a:gd name="T16" fmla="*/ 42 w 70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0" h="70">
                      <a:moveTo>
                        <a:pt x="42" y="70"/>
                      </a:moveTo>
                      <a:cubicBezTo>
                        <a:pt x="29" y="70"/>
                        <a:pt x="29" y="70"/>
                        <a:pt x="29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57" y="0"/>
                        <a:pt x="70" y="13"/>
                        <a:pt x="70" y="29"/>
                      </a:cubicBezTo>
                      <a:cubicBezTo>
                        <a:pt x="70" y="41"/>
                        <a:pt x="70" y="41"/>
                        <a:pt x="70" y="41"/>
                      </a:cubicBezTo>
                      <a:cubicBezTo>
                        <a:pt x="70" y="57"/>
                        <a:pt x="57" y="70"/>
                        <a:pt x="42" y="70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D509A774-3AF6-49E0-B164-3495FD8AB9F8}"/>
              </a:ext>
            </a:extLst>
          </p:cNvPr>
          <p:cNvGrpSpPr/>
          <p:nvPr/>
        </p:nvGrpSpPr>
        <p:grpSpPr>
          <a:xfrm>
            <a:off x="485585" y="710972"/>
            <a:ext cx="457390" cy="457390"/>
            <a:chOff x="485585" y="485585"/>
            <a:chExt cx="457390" cy="45739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xmlns="" id="{61C01907-C391-464F-908A-D62C0216549E}"/>
                </a:ext>
              </a:extLst>
            </p:cNvPr>
            <p:cNvSpPr/>
            <p:nvPr/>
          </p:nvSpPr>
          <p:spPr>
            <a:xfrm>
              <a:off x="485585" y="485585"/>
              <a:ext cx="457390" cy="45739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56" name="Group 55"/>
            <p:cNvGrpSpPr>
              <a:grpSpLocks noChangeAspect="1"/>
            </p:cNvGrpSpPr>
            <p:nvPr/>
          </p:nvGrpSpPr>
          <p:grpSpPr>
            <a:xfrm>
              <a:off x="549267" y="560453"/>
              <a:ext cx="318407" cy="318194"/>
              <a:chOff x="2439988" y="-1801813"/>
              <a:chExt cx="2363788" cy="2362200"/>
            </a:xfrm>
          </p:grpSpPr>
          <p:sp>
            <p:nvSpPr>
              <p:cNvPr id="52" name="Oval 36"/>
              <p:cNvSpPr>
                <a:spLocks noChangeArrowheads="1"/>
              </p:cNvSpPr>
              <p:nvPr/>
            </p:nvSpPr>
            <p:spPr bwMode="auto">
              <a:xfrm>
                <a:off x="2439988" y="-1801813"/>
                <a:ext cx="2363788" cy="2362200"/>
              </a:xfrm>
              <a:prstGeom prst="ellipse">
                <a:avLst/>
              </a:pr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51" name="Freeform 35"/>
              <p:cNvSpPr>
                <a:spLocks/>
              </p:cNvSpPr>
              <p:nvPr/>
            </p:nvSpPr>
            <p:spPr bwMode="auto">
              <a:xfrm>
                <a:off x="2624138" y="-979488"/>
                <a:ext cx="2163763" cy="1539875"/>
              </a:xfrm>
              <a:custGeom>
                <a:avLst/>
                <a:gdLst>
                  <a:gd name="T0" fmla="*/ 574 w 574"/>
                  <a:gd name="T1" fmla="*/ 141 h 409"/>
                  <a:gd name="T2" fmla="*/ 527 w 574"/>
                  <a:gd name="T3" fmla="*/ 94 h 409"/>
                  <a:gd name="T4" fmla="*/ 507 w 574"/>
                  <a:gd name="T5" fmla="*/ 66 h 409"/>
                  <a:gd name="T6" fmla="*/ 505 w 574"/>
                  <a:gd name="T7" fmla="*/ 63 h 409"/>
                  <a:gd name="T8" fmla="*/ 501 w 574"/>
                  <a:gd name="T9" fmla="*/ 61 h 409"/>
                  <a:gd name="T10" fmla="*/ 499 w 574"/>
                  <a:gd name="T11" fmla="*/ 59 h 409"/>
                  <a:gd name="T12" fmla="*/ 494 w 574"/>
                  <a:gd name="T13" fmla="*/ 57 h 409"/>
                  <a:gd name="T14" fmla="*/ 493 w 574"/>
                  <a:gd name="T15" fmla="*/ 56 h 409"/>
                  <a:gd name="T16" fmla="*/ 487 w 574"/>
                  <a:gd name="T17" fmla="*/ 54 h 409"/>
                  <a:gd name="T18" fmla="*/ 485 w 574"/>
                  <a:gd name="T19" fmla="*/ 53 h 409"/>
                  <a:gd name="T20" fmla="*/ 482 w 574"/>
                  <a:gd name="T21" fmla="*/ 49 h 409"/>
                  <a:gd name="T22" fmla="*/ 479 w 574"/>
                  <a:gd name="T23" fmla="*/ 45 h 409"/>
                  <a:gd name="T24" fmla="*/ 479 w 574"/>
                  <a:gd name="T25" fmla="*/ 45 h 409"/>
                  <a:gd name="T26" fmla="*/ 475 w 574"/>
                  <a:gd name="T27" fmla="*/ 41 h 409"/>
                  <a:gd name="T28" fmla="*/ 475 w 574"/>
                  <a:gd name="T29" fmla="*/ 41 h 409"/>
                  <a:gd name="T30" fmla="*/ 471 w 574"/>
                  <a:gd name="T31" fmla="*/ 37 h 409"/>
                  <a:gd name="T32" fmla="*/ 471 w 574"/>
                  <a:gd name="T33" fmla="*/ 37 h 409"/>
                  <a:gd name="T34" fmla="*/ 466 w 574"/>
                  <a:gd name="T35" fmla="*/ 33 h 409"/>
                  <a:gd name="T36" fmla="*/ 399 w 574"/>
                  <a:gd name="T37" fmla="*/ 10 h 409"/>
                  <a:gd name="T38" fmla="*/ 327 w 574"/>
                  <a:gd name="T39" fmla="*/ 38 h 409"/>
                  <a:gd name="T40" fmla="*/ 265 w 574"/>
                  <a:gd name="T41" fmla="*/ 0 h 409"/>
                  <a:gd name="T42" fmla="*/ 256 w 574"/>
                  <a:gd name="T43" fmla="*/ 1 h 409"/>
                  <a:gd name="T44" fmla="*/ 253 w 574"/>
                  <a:gd name="T45" fmla="*/ 1 h 409"/>
                  <a:gd name="T46" fmla="*/ 251 w 574"/>
                  <a:gd name="T47" fmla="*/ 1 h 409"/>
                  <a:gd name="T48" fmla="*/ 249 w 574"/>
                  <a:gd name="T49" fmla="*/ 2 h 409"/>
                  <a:gd name="T50" fmla="*/ 247 w 574"/>
                  <a:gd name="T51" fmla="*/ 3 h 409"/>
                  <a:gd name="T52" fmla="*/ 244 w 574"/>
                  <a:gd name="T53" fmla="*/ 3 h 409"/>
                  <a:gd name="T54" fmla="*/ 242 w 574"/>
                  <a:gd name="T55" fmla="*/ 4 h 409"/>
                  <a:gd name="T56" fmla="*/ 240 w 574"/>
                  <a:gd name="T57" fmla="*/ 5 h 409"/>
                  <a:gd name="T58" fmla="*/ 238 w 574"/>
                  <a:gd name="T59" fmla="*/ 5 h 409"/>
                  <a:gd name="T60" fmla="*/ 236 w 574"/>
                  <a:gd name="T61" fmla="*/ 6 h 409"/>
                  <a:gd name="T62" fmla="*/ 234 w 574"/>
                  <a:gd name="T63" fmla="*/ 7 h 409"/>
                  <a:gd name="T64" fmla="*/ 232 w 574"/>
                  <a:gd name="T65" fmla="*/ 8 h 409"/>
                  <a:gd name="T66" fmla="*/ 230 w 574"/>
                  <a:gd name="T67" fmla="*/ 10 h 409"/>
                  <a:gd name="T68" fmla="*/ 228 w 574"/>
                  <a:gd name="T69" fmla="*/ 11 h 409"/>
                  <a:gd name="T70" fmla="*/ 225 w 574"/>
                  <a:gd name="T71" fmla="*/ 13 h 409"/>
                  <a:gd name="T72" fmla="*/ 223 w 574"/>
                  <a:gd name="T73" fmla="*/ 14 h 409"/>
                  <a:gd name="T74" fmla="*/ 221 w 574"/>
                  <a:gd name="T75" fmla="*/ 16 h 409"/>
                  <a:gd name="T76" fmla="*/ 220 w 574"/>
                  <a:gd name="T77" fmla="*/ 17 h 409"/>
                  <a:gd name="T78" fmla="*/ 218 w 574"/>
                  <a:gd name="T79" fmla="*/ 19 h 409"/>
                  <a:gd name="T80" fmla="*/ 216 w 574"/>
                  <a:gd name="T81" fmla="*/ 20 h 409"/>
                  <a:gd name="T82" fmla="*/ 215 w 574"/>
                  <a:gd name="T83" fmla="*/ 22 h 409"/>
                  <a:gd name="T84" fmla="*/ 213 w 574"/>
                  <a:gd name="T85" fmla="*/ 23 h 409"/>
                  <a:gd name="T86" fmla="*/ 212 w 574"/>
                  <a:gd name="T87" fmla="*/ 25 h 409"/>
                  <a:gd name="T88" fmla="*/ 210 w 574"/>
                  <a:gd name="T89" fmla="*/ 26 h 409"/>
                  <a:gd name="T90" fmla="*/ 209 w 574"/>
                  <a:gd name="T91" fmla="*/ 29 h 409"/>
                  <a:gd name="T92" fmla="*/ 208 w 574"/>
                  <a:gd name="T93" fmla="*/ 30 h 409"/>
                  <a:gd name="T94" fmla="*/ 206 w 574"/>
                  <a:gd name="T95" fmla="*/ 33 h 409"/>
                  <a:gd name="T96" fmla="*/ 205 w 574"/>
                  <a:gd name="T97" fmla="*/ 34 h 409"/>
                  <a:gd name="T98" fmla="*/ 203 w 574"/>
                  <a:gd name="T99" fmla="*/ 38 h 409"/>
                  <a:gd name="T100" fmla="*/ 131 w 574"/>
                  <a:gd name="T101" fmla="*/ 10 h 409"/>
                  <a:gd name="T102" fmla="*/ 45 w 574"/>
                  <a:gd name="T103" fmla="*/ 53 h 409"/>
                  <a:gd name="T104" fmla="*/ 39 w 574"/>
                  <a:gd name="T105" fmla="*/ 55 h 409"/>
                  <a:gd name="T106" fmla="*/ 38 w 574"/>
                  <a:gd name="T107" fmla="*/ 56 h 409"/>
                  <a:gd name="T108" fmla="*/ 33 w 574"/>
                  <a:gd name="T109" fmla="*/ 58 h 409"/>
                  <a:gd name="T110" fmla="*/ 32 w 574"/>
                  <a:gd name="T111" fmla="*/ 59 h 409"/>
                  <a:gd name="T112" fmla="*/ 21 w 574"/>
                  <a:gd name="T113" fmla="*/ 67 h 409"/>
                  <a:gd name="T114" fmla="*/ 0 w 574"/>
                  <a:gd name="T115" fmla="*/ 116 h 409"/>
                  <a:gd name="T116" fmla="*/ 45 w 574"/>
                  <a:gd name="T117" fmla="*/ 180 h 409"/>
                  <a:gd name="T118" fmla="*/ 75 w 574"/>
                  <a:gd name="T119" fmla="*/ 207 h 409"/>
                  <a:gd name="T120" fmla="*/ 277 w 574"/>
                  <a:gd name="T121" fmla="*/ 409 h 409"/>
                  <a:gd name="T122" fmla="*/ 574 w 574"/>
                  <a:gd name="T123" fmla="*/ 141 h 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74" h="409">
                    <a:moveTo>
                      <a:pt x="574" y="141"/>
                    </a:moveTo>
                    <a:cubicBezTo>
                      <a:pt x="527" y="94"/>
                      <a:pt x="527" y="94"/>
                      <a:pt x="527" y="94"/>
                    </a:cubicBezTo>
                    <a:cubicBezTo>
                      <a:pt x="523" y="83"/>
                      <a:pt x="516" y="73"/>
                      <a:pt x="507" y="66"/>
                    </a:cubicBezTo>
                    <a:cubicBezTo>
                      <a:pt x="506" y="65"/>
                      <a:pt x="505" y="64"/>
                      <a:pt x="505" y="63"/>
                    </a:cubicBezTo>
                    <a:cubicBezTo>
                      <a:pt x="504" y="63"/>
                      <a:pt x="502" y="62"/>
                      <a:pt x="501" y="61"/>
                    </a:cubicBezTo>
                    <a:cubicBezTo>
                      <a:pt x="500" y="60"/>
                      <a:pt x="500" y="60"/>
                      <a:pt x="499" y="59"/>
                    </a:cubicBezTo>
                    <a:cubicBezTo>
                      <a:pt x="497" y="58"/>
                      <a:pt x="496" y="58"/>
                      <a:pt x="494" y="57"/>
                    </a:cubicBezTo>
                    <a:cubicBezTo>
                      <a:pt x="494" y="57"/>
                      <a:pt x="493" y="56"/>
                      <a:pt x="493" y="56"/>
                    </a:cubicBezTo>
                    <a:cubicBezTo>
                      <a:pt x="491" y="55"/>
                      <a:pt x="489" y="54"/>
                      <a:pt x="487" y="54"/>
                    </a:cubicBezTo>
                    <a:cubicBezTo>
                      <a:pt x="486" y="53"/>
                      <a:pt x="486" y="53"/>
                      <a:pt x="485" y="53"/>
                    </a:cubicBezTo>
                    <a:cubicBezTo>
                      <a:pt x="484" y="52"/>
                      <a:pt x="483" y="51"/>
                      <a:pt x="482" y="49"/>
                    </a:cubicBezTo>
                    <a:cubicBezTo>
                      <a:pt x="481" y="48"/>
                      <a:pt x="480" y="47"/>
                      <a:pt x="479" y="45"/>
                    </a:cubicBezTo>
                    <a:cubicBezTo>
                      <a:pt x="479" y="45"/>
                      <a:pt x="479" y="45"/>
                      <a:pt x="479" y="45"/>
                    </a:cubicBezTo>
                    <a:cubicBezTo>
                      <a:pt x="477" y="44"/>
                      <a:pt x="476" y="42"/>
                      <a:pt x="475" y="41"/>
                    </a:cubicBezTo>
                    <a:cubicBezTo>
                      <a:pt x="475" y="41"/>
                      <a:pt x="475" y="41"/>
                      <a:pt x="475" y="41"/>
                    </a:cubicBezTo>
                    <a:cubicBezTo>
                      <a:pt x="473" y="39"/>
                      <a:pt x="472" y="38"/>
                      <a:pt x="471" y="37"/>
                    </a:cubicBezTo>
                    <a:cubicBezTo>
                      <a:pt x="471" y="37"/>
                      <a:pt x="471" y="37"/>
                      <a:pt x="471" y="37"/>
                    </a:cubicBezTo>
                    <a:cubicBezTo>
                      <a:pt x="469" y="36"/>
                      <a:pt x="468" y="34"/>
                      <a:pt x="466" y="33"/>
                    </a:cubicBezTo>
                    <a:cubicBezTo>
                      <a:pt x="448" y="18"/>
                      <a:pt x="425" y="10"/>
                      <a:pt x="399" y="10"/>
                    </a:cubicBezTo>
                    <a:cubicBezTo>
                      <a:pt x="372" y="10"/>
                      <a:pt x="346" y="20"/>
                      <a:pt x="327" y="38"/>
                    </a:cubicBezTo>
                    <a:cubicBezTo>
                      <a:pt x="316" y="15"/>
                      <a:pt x="292" y="0"/>
                      <a:pt x="265" y="0"/>
                    </a:cubicBezTo>
                    <a:cubicBezTo>
                      <a:pt x="262" y="0"/>
                      <a:pt x="259" y="0"/>
                      <a:pt x="256" y="1"/>
                    </a:cubicBezTo>
                    <a:cubicBezTo>
                      <a:pt x="255" y="1"/>
                      <a:pt x="254" y="1"/>
                      <a:pt x="253" y="1"/>
                    </a:cubicBezTo>
                    <a:cubicBezTo>
                      <a:pt x="252" y="1"/>
                      <a:pt x="252" y="1"/>
                      <a:pt x="251" y="1"/>
                    </a:cubicBezTo>
                    <a:cubicBezTo>
                      <a:pt x="250" y="2"/>
                      <a:pt x="249" y="2"/>
                      <a:pt x="249" y="2"/>
                    </a:cubicBezTo>
                    <a:cubicBezTo>
                      <a:pt x="248" y="2"/>
                      <a:pt x="247" y="2"/>
                      <a:pt x="247" y="3"/>
                    </a:cubicBezTo>
                    <a:cubicBezTo>
                      <a:pt x="246" y="3"/>
                      <a:pt x="245" y="3"/>
                      <a:pt x="244" y="3"/>
                    </a:cubicBezTo>
                    <a:cubicBezTo>
                      <a:pt x="244" y="3"/>
                      <a:pt x="243" y="4"/>
                      <a:pt x="242" y="4"/>
                    </a:cubicBezTo>
                    <a:cubicBezTo>
                      <a:pt x="242" y="4"/>
                      <a:pt x="241" y="4"/>
                      <a:pt x="240" y="5"/>
                    </a:cubicBezTo>
                    <a:cubicBezTo>
                      <a:pt x="239" y="5"/>
                      <a:pt x="239" y="5"/>
                      <a:pt x="238" y="5"/>
                    </a:cubicBezTo>
                    <a:cubicBezTo>
                      <a:pt x="237" y="6"/>
                      <a:pt x="237" y="6"/>
                      <a:pt x="236" y="6"/>
                    </a:cubicBezTo>
                    <a:cubicBezTo>
                      <a:pt x="235" y="7"/>
                      <a:pt x="235" y="7"/>
                      <a:pt x="234" y="7"/>
                    </a:cubicBezTo>
                    <a:cubicBezTo>
                      <a:pt x="233" y="8"/>
                      <a:pt x="233" y="8"/>
                      <a:pt x="232" y="8"/>
                    </a:cubicBezTo>
                    <a:cubicBezTo>
                      <a:pt x="231" y="9"/>
                      <a:pt x="231" y="9"/>
                      <a:pt x="230" y="10"/>
                    </a:cubicBezTo>
                    <a:cubicBezTo>
                      <a:pt x="229" y="10"/>
                      <a:pt x="229" y="10"/>
                      <a:pt x="228" y="11"/>
                    </a:cubicBezTo>
                    <a:cubicBezTo>
                      <a:pt x="227" y="11"/>
                      <a:pt x="226" y="12"/>
                      <a:pt x="225" y="13"/>
                    </a:cubicBezTo>
                    <a:cubicBezTo>
                      <a:pt x="224" y="13"/>
                      <a:pt x="224" y="14"/>
                      <a:pt x="223" y="14"/>
                    </a:cubicBezTo>
                    <a:cubicBezTo>
                      <a:pt x="223" y="15"/>
                      <a:pt x="222" y="15"/>
                      <a:pt x="221" y="16"/>
                    </a:cubicBezTo>
                    <a:cubicBezTo>
                      <a:pt x="221" y="16"/>
                      <a:pt x="220" y="16"/>
                      <a:pt x="220" y="17"/>
                    </a:cubicBezTo>
                    <a:cubicBezTo>
                      <a:pt x="219" y="17"/>
                      <a:pt x="218" y="18"/>
                      <a:pt x="218" y="19"/>
                    </a:cubicBezTo>
                    <a:cubicBezTo>
                      <a:pt x="217" y="19"/>
                      <a:pt x="217" y="19"/>
                      <a:pt x="216" y="20"/>
                    </a:cubicBezTo>
                    <a:cubicBezTo>
                      <a:pt x="216" y="21"/>
                      <a:pt x="215" y="21"/>
                      <a:pt x="215" y="22"/>
                    </a:cubicBezTo>
                    <a:cubicBezTo>
                      <a:pt x="214" y="22"/>
                      <a:pt x="214" y="23"/>
                      <a:pt x="213" y="23"/>
                    </a:cubicBezTo>
                    <a:cubicBezTo>
                      <a:pt x="213" y="24"/>
                      <a:pt x="212" y="24"/>
                      <a:pt x="212" y="25"/>
                    </a:cubicBezTo>
                    <a:cubicBezTo>
                      <a:pt x="211" y="26"/>
                      <a:pt x="211" y="26"/>
                      <a:pt x="210" y="26"/>
                    </a:cubicBezTo>
                    <a:cubicBezTo>
                      <a:pt x="210" y="27"/>
                      <a:pt x="209" y="28"/>
                      <a:pt x="209" y="29"/>
                    </a:cubicBezTo>
                    <a:cubicBezTo>
                      <a:pt x="208" y="29"/>
                      <a:pt x="208" y="30"/>
                      <a:pt x="208" y="30"/>
                    </a:cubicBezTo>
                    <a:cubicBezTo>
                      <a:pt x="207" y="31"/>
                      <a:pt x="207" y="32"/>
                      <a:pt x="206" y="33"/>
                    </a:cubicBezTo>
                    <a:cubicBezTo>
                      <a:pt x="206" y="33"/>
                      <a:pt x="206" y="33"/>
                      <a:pt x="205" y="34"/>
                    </a:cubicBezTo>
                    <a:cubicBezTo>
                      <a:pt x="205" y="35"/>
                      <a:pt x="204" y="36"/>
                      <a:pt x="203" y="38"/>
                    </a:cubicBezTo>
                    <a:cubicBezTo>
                      <a:pt x="184" y="20"/>
                      <a:pt x="159" y="10"/>
                      <a:pt x="131" y="10"/>
                    </a:cubicBezTo>
                    <a:cubicBezTo>
                      <a:pt x="96" y="10"/>
                      <a:pt x="65" y="27"/>
                      <a:pt x="45" y="53"/>
                    </a:cubicBezTo>
                    <a:cubicBezTo>
                      <a:pt x="43" y="53"/>
                      <a:pt x="41" y="54"/>
                      <a:pt x="39" y="55"/>
                    </a:cubicBezTo>
                    <a:cubicBezTo>
                      <a:pt x="39" y="55"/>
                      <a:pt x="38" y="56"/>
                      <a:pt x="38" y="56"/>
                    </a:cubicBezTo>
                    <a:cubicBezTo>
                      <a:pt x="36" y="57"/>
                      <a:pt x="35" y="57"/>
                      <a:pt x="33" y="58"/>
                    </a:cubicBezTo>
                    <a:cubicBezTo>
                      <a:pt x="33" y="59"/>
                      <a:pt x="33" y="59"/>
                      <a:pt x="32" y="59"/>
                    </a:cubicBezTo>
                    <a:cubicBezTo>
                      <a:pt x="28" y="61"/>
                      <a:pt x="25" y="64"/>
                      <a:pt x="21" y="67"/>
                    </a:cubicBezTo>
                    <a:cubicBezTo>
                      <a:pt x="8" y="79"/>
                      <a:pt x="0" y="97"/>
                      <a:pt x="0" y="116"/>
                    </a:cubicBezTo>
                    <a:cubicBezTo>
                      <a:pt x="0" y="146"/>
                      <a:pt x="19" y="171"/>
                      <a:pt x="45" y="180"/>
                    </a:cubicBezTo>
                    <a:cubicBezTo>
                      <a:pt x="53" y="191"/>
                      <a:pt x="63" y="200"/>
                      <a:pt x="75" y="207"/>
                    </a:cubicBezTo>
                    <a:cubicBezTo>
                      <a:pt x="277" y="409"/>
                      <a:pt x="277" y="409"/>
                      <a:pt x="277" y="409"/>
                    </a:cubicBezTo>
                    <a:cubicBezTo>
                      <a:pt x="429" y="403"/>
                      <a:pt x="553" y="289"/>
                      <a:pt x="574" y="141"/>
                    </a:cubicBezTo>
                    <a:close/>
                  </a:path>
                </a:pathLst>
              </a:custGeom>
              <a:solidFill>
                <a:srgbClr val="00B6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53" name="Freeform 34"/>
              <p:cNvSpPr>
                <a:spLocks/>
              </p:cNvSpPr>
              <p:nvPr/>
            </p:nvSpPr>
            <p:spPr bwMode="auto">
              <a:xfrm>
                <a:off x="2624138" y="-979488"/>
                <a:ext cx="2001838" cy="839788"/>
              </a:xfrm>
              <a:custGeom>
                <a:avLst/>
                <a:gdLst>
                  <a:gd name="T0" fmla="*/ 485 w 531"/>
                  <a:gd name="T1" fmla="*/ 53 h 223"/>
                  <a:gd name="T2" fmla="*/ 399 w 531"/>
                  <a:gd name="T3" fmla="*/ 10 h 223"/>
                  <a:gd name="T4" fmla="*/ 327 w 531"/>
                  <a:gd name="T5" fmla="*/ 38 h 223"/>
                  <a:gd name="T6" fmla="*/ 265 w 531"/>
                  <a:gd name="T7" fmla="*/ 0 h 223"/>
                  <a:gd name="T8" fmla="*/ 203 w 531"/>
                  <a:gd name="T9" fmla="*/ 38 h 223"/>
                  <a:gd name="T10" fmla="*/ 131 w 531"/>
                  <a:gd name="T11" fmla="*/ 10 h 223"/>
                  <a:gd name="T12" fmla="*/ 45 w 531"/>
                  <a:gd name="T13" fmla="*/ 53 h 223"/>
                  <a:gd name="T14" fmla="*/ 0 w 531"/>
                  <a:gd name="T15" fmla="*/ 116 h 223"/>
                  <a:gd name="T16" fmla="*/ 45 w 531"/>
                  <a:gd name="T17" fmla="*/ 180 h 223"/>
                  <a:gd name="T18" fmla="*/ 131 w 531"/>
                  <a:gd name="T19" fmla="*/ 223 h 223"/>
                  <a:gd name="T20" fmla="*/ 236 w 531"/>
                  <a:gd name="T21" fmla="*/ 134 h 223"/>
                  <a:gd name="T22" fmla="*/ 265 w 531"/>
                  <a:gd name="T23" fmla="*/ 140 h 223"/>
                  <a:gd name="T24" fmla="*/ 294 w 531"/>
                  <a:gd name="T25" fmla="*/ 134 h 223"/>
                  <a:gd name="T26" fmla="*/ 399 w 531"/>
                  <a:gd name="T27" fmla="*/ 223 h 223"/>
                  <a:gd name="T28" fmla="*/ 485 w 531"/>
                  <a:gd name="T29" fmla="*/ 180 h 223"/>
                  <a:gd name="T30" fmla="*/ 531 w 531"/>
                  <a:gd name="T31" fmla="*/ 116 h 223"/>
                  <a:gd name="T32" fmla="*/ 485 w 531"/>
                  <a:gd name="T33" fmla="*/ 5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1" h="223">
                    <a:moveTo>
                      <a:pt x="485" y="53"/>
                    </a:moveTo>
                    <a:cubicBezTo>
                      <a:pt x="466" y="27"/>
                      <a:pt x="434" y="10"/>
                      <a:pt x="399" y="10"/>
                    </a:cubicBezTo>
                    <a:cubicBezTo>
                      <a:pt x="372" y="10"/>
                      <a:pt x="346" y="20"/>
                      <a:pt x="327" y="38"/>
                    </a:cubicBezTo>
                    <a:cubicBezTo>
                      <a:pt x="316" y="15"/>
                      <a:pt x="292" y="0"/>
                      <a:pt x="265" y="0"/>
                    </a:cubicBezTo>
                    <a:cubicBezTo>
                      <a:pt x="238" y="0"/>
                      <a:pt x="215" y="15"/>
                      <a:pt x="203" y="38"/>
                    </a:cubicBezTo>
                    <a:cubicBezTo>
                      <a:pt x="184" y="20"/>
                      <a:pt x="159" y="10"/>
                      <a:pt x="131" y="10"/>
                    </a:cubicBezTo>
                    <a:cubicBezTo>
                      <a:pt x="96" y="10"/>
                      <a:pt x="65" y="27"/>
                      <a:pt x="45" y="53"/>
                    </a:cubicBezTo>
                    <a:cubicBezTo>
                      <a:pt x="19" y="62"/>
                      <a:pt x="0" y="87"/>
                      <a:pt x="0" y="116"/>
                    </a:cubicBezTo>
                    <a:cubicBezTo>
                      <a:pt x="0" y="146"/>
                      <a:pt x="19" y="171"/>
                      <a:pt x="45" y="180"/>
                    </a:cubicBezTo>
                    <a:cubicBezTo>
                      <a:pt x="65" y="206"/>
                      <a:pt x="96" y="223"/>
                      <a:pt x="131" y="223"/>
                    </a:cubicBezTo>
                    <a:cubicBezTo>
                      <a:pt x="184" y="223"/>
                      <a:pt x="228" y="184"/>
                      <a:pt x="236" y="134"/>
                    </a:cubicBezTo>
                    <a:cubicBezTo>
                      <a:pt x="245" y="138"/>
                      <a:pt x="255" y="140"/>
                      <a:pt x="265" y="140"/>
                    </a:cubicBezTo>
                    <a:cubicBezTo>
                      <a:pt x="276" y="140"/>
                      <a:pt x="285" y="138"/>
                      <a:pt x="294" y="134"/>
                    </a:cubicBezTo>
                    <a:cubicBezTo>
                      <a:pt x="302" y="184"/>
                      <a:pt x="346" y="223"/>
                      <a:pt x="399" y="223"/>
                    </a:cubicBezTo>
                    <a:cubicBezTo>
                      <a:pt x="434" y="223"/>
                      <a:pt x="466" y="206"/>
                      <a:pt x="485" y="180"/>
                    </a:cubicBezTo>
                    <a:cubicBezTo>
                      <a:pt x="512" y="171"/>
                      <a:pt x="531" y="146"/>
                      <a:pt x="531" y="116"/>
                    </a:cubicBezTo>
                    <a:cubicBezTo>
                      <a:pt x="531" y="87"/>
                      <a:pt x="512" y="62"/>
                      <a:pt x="485" y="53"/>
                    </a:cubicBezTo>
                    <a:close/>
                  </a:path>
                </a:pathLst>
              </a:custGeom>
              <a:solidFill>
                <a:srgbClr val="00A3C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54" name="Oval 32"/>
              <p:cNvSpPr>
                <a:spLocks noChangeArrowheads="1"/>
              </p:cNvSpPr>
              <p:nvPr/>
            </p:nvSpPr>
            <p:spPr bwMode="auto">
              <a:xfrm>
                <a:off x="2851151" y="-806451"/>
                <a:ext cx="534988" cy="530225"/>
              </a:xfrm>
              <a:prstGeom prst="ellipse">
                <a:avLst/>
              </a:prstGeom>
              <a:solidFill>
                <a:srgbClr val="00BCEB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55" name="Oval 33"/>
              <p:cNvSpPr>
                <a:spLocks noChangeArrowheads="1"/>
              </p:cNvSpPr>
              <p:nvPr/>
            </p:nvSpPr>
            <p:spPr bwMode="auto">
              <a:xfrm>
                <a:off x="3863976" y="-806451"/>
                <a:ext cx="531813" cy="530225"/>
              </a:xfrm>
              <a:prstGeom prst="ellipse">
                <a:avLst/>
              </a:prstGeom>
              <a:solidFill>
                <a:srgbClr val="00BCEB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00C164E4-AA47-44D6-A4CF-A840F3257CAD}"/>
              </a:ext>
            </a:extLst>
          </p:cNvPr>
          <p:cNvGrpSpPr/>
          <p:nvPr/>
        </p:nvGrpSpPr>
        <p:grpSpPr>
          <a:xfrm>
            <a:off x="1643331" y="710972"/>
            <a:ext cx="457390" cy="457390"/>
            <a:chOff x="1866501" y="485585"/>
            <a:chExt cx="457390" cy="457390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xmlns="" id="{E7BA089C-A271-4556-8CB7-A3D326590ACE}"/>
                </a:ext>
              </a:extLst>
            </p:cNvPr>
            <p:cNvSpPr/>
            <p:nvPr/>
          </p:nvSpPr>
          <p:spPr>
            <a:xfrm>
              <a:off x="1866501" y="485585"/>
              <a:ext cx="457390" cy="45739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64" name="Group 63"/>
            <p:cNvGrpSpPr/>
            <p:nvPr/>
          </p:nvGrpSpPr>
          <p:grpSpPr>
            <a:xfrm>
              <a:off x="1925765" y="544915"/>
              <a:ext cx="349271" cy="349271"/>
              <a:chOff x="2581275" y="3149114"/>
              <a:chExt cx="933450" cy="933450"/>
            </a:xfrm>
          </p:grpSpPr>
          <p:sp>
            <p:nvSpPr>
              <p:cNvPr id="30" name="Freeform 25"/>
              <p:cNvSpPr>
                <a:spLocks/>
              </p:cNvSpPr>
              <p:nvPr/>
            </p:nvSpPr>
            <p:spPr bwMode="auto">
              <a:xfrm>
                <a:off x="2581275" y="3149114"/>
                <a:ext cx="933450" cy="933450"/>
              </a:xfrm>
              <a:custGeom>
                <a:avLst/>
                <a:gdLst>
                  <a:gd name="T0" fmla="*/ 1039 w 1264"/>
                  <a:gd name="T1" fmla="*/ 1039 h 1264"/>
                  <a:gd name="T2" fmla="*/ 225 w 1264"/>
                  <a:gd name="T3" fmla="*/ 1039 h 1264"/>
                  <a:gd name="T4" fmla="*/ 225 w 1264"/>
                  <a:gd name="T5" fmla="*/ 225 h 1264"/>
                  <a:gd name="T6" fmla="*/ 1039 w 1264"/>
                  <a:gd name="T7" fmla="*/ 225 h 1264"/>
                  <a:gd name="T8" fmla="*/ 1039 w 1264"/>
                  <a:gd name="T9" fmla="*/ 1039 h 1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4" h="1264">
                    <a:moveTo>
                      <a:pt x="1039" y="1039"/>
                    </a:moveTo>
                    <a:cubicBezTo>
                      <a:pt x="814" y="1264"/>
                      <a:pt x="450" y="1264"/>
                      <a:pt x="225" y="1039"/>
                    </a:cubicBezTo>
                    <a:cubicBezTo>
                      <a:pt x="0" y="814"/>
                      <a:pt x="0" y="450"/>
                      <a:pt x="225" y="225"/>
                    </a:cubicBezTo>
                    <a:cubicBezTo>
                      <a:pt x="450" y="0"/>
                      <a:pt x="814" y="0"/>
                      <a:pt x="1039" y="225"/>
                    </a:cubicBezTo>
                    <a:cubicBezTo>
                      <a:pt x="1264" y="450"/>
                      <a:pt x="1264" y="814"/>
                      <a:pt x="1039" y="1039"/>
                    </a:cubicBezTo>
                    <a:close/>
                  </a:path>
                </a:pathLst>
              </a:cu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60" name="Freeform 59"/>
              <p:cNvSpPr>
                <a:spLocks/>
              </p:cNvSpPr>
              <p:nvPr/>
            </p:nvSpPr>
            <p:spPr bwMode="auto">
              <a:xfrm>
                <a:off x="2912865" y="3411052"/>
                <a:ext cx="560585" cy="619125"/>
              </a:xfrm>
              <a:custGeom>
                <a:avLst/>
                <a:gdLst>
                  <a:gd name="connsiteX0" fmla="*/ 343475 w 560585"/>
                  <a:gd name="connsiteY0" fmla="*/ 0 h 619125"/>
                  <a:gd name="connsiteX1" fmla="*/ 560585 w 560585"/>
                  <a:gd name="connsiteY1" fmla="*/ 219427 h 619125"/>
                  <a:gd name="connsiteX2" fmla="*/ 435784 w 560585"/>
                  <a:gd name="connsiteY2" fmla="*/ 506087 h 619125"/>
                  <a:gd name="connsiteX3" fmla="*/ 236397 w 560585"/>
                  <a:gd name="connsiteY3" fmla="*/ 619125 h 619125"/>
                  <a:gd name="connsiteX4" fmla="*/ 87 w 560585"/>
                  <a:gd name="connsiteY4" fmla="*/ 393048 h 619125"/>
                  <a:gd name="connsiteX5" fmla="*/ 64 w 560585"/>
                  <a:gd name="connsiteY5" fmla="*/ 391571 h 619125"/>
                  <a:gd name="connsiteX6" fmla="*/ 0 w 560585"/>
                  <a:gd name="connsiteY6" fmla="*/ 387488 h 619125"/>
                  <a:gd name="connsiteX7" fmla="*/ 49858 w 560585"/>
                  <a:gd name="connsiteY7" fmla="*/ 430601 h 619125"/>
                  <a:gd name="connsiteX8" fmla="*/ 135135 w 560585"/>
                  <a:gd name="connsiteY8" fmla="*/ 463550 h 619125"/>
                  <a:gd name="connsiteX9" fmla="*/ 347860 w 560585"/>
                  <a:gd name="connsiteY9" fmla="*/ 204928 h 619125"/>
                  <a:gd name="connsiteX10" fmla="*/ 347860 w 560585"/>
                  <a:gd name="connsiteY10" fmla="*/ 14093 h 619125"/>
                  <a:gd name="connsiteX11" fmla="*/ 342392 w 560585"/>
                  <a:gd name="connsiteY11" fmla="*/ 938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60585" h="619125">
                    <a:moveTo>
                      <a:pt x="343475" y="0"/>
                    </a:moveTo>
                    <a:cubicBezTo>
                      <a:pt x="343475" y="0"/>
                      <a:pt x="343475" y="0"/>
                      <a:pt x="560585" y="219427"/>
                    </a:cubicBezTo>
                    <a:cubicBezTo>
                      <a:pt x="556893" y="323600"/>
                      <a:pt x="515539" y="427034"/>
                      <a:pt x="435784" y="506087"/>
                    </a:cubicBezTo>
                    <a:cubicBezTo>
                      <a:pt x="378922" y="563714"/>
                      <a:pt x="309506" y="601394"/>
                      <a:pt x="236397" y="619125"/>
                    </a:cubicBezTo>
                    <a:cubicBezTo>
                      <a:pt x="236397" y="619125"/>
                      <a:pt x="236397" y="619125"/>
                      <a:pt x="87" y="393048"/>
                    </a:cubicBezTo>
                    <a:cubicBezTo>
                      <a:pt x="87" y="393048"/>
                      <a:pt x="87" y="393048"/>
                      <a:pt x="64" y="391571"/>
                    </a:cubicBezTo>
                    <a:lnTo>
                      <a:pt x="0" y="387488"/>
                    </a:lnTo>
                    <a:lnTo>
                      <a:pt x="49858" y="430601"/>
                    </a:lnTo>
                    <a:cubicBezTo>
                      <a:pt x="75583" y="446143"/>
                      <a:pt x="104297" y="457471"/>
                      <a:pt x="135135" y="463550"/>
                    </a:cubicBezTo>
                    <a:cubicBezTo>
                      <a:pt x="258486" y="439235"/>
                      <a:pt x="347860" y="330924"/>
                      <a:pt x="347860" y="204928"/>
                    </a:cubicBezTo>
                    <a:cubicBezTo>
                      <a:pt x="347860" y="14093"/>
                      <a:pt x="347860" y="14093"/>
                      <a:pt x="347860" y="14093"/>
                    </a:cubicBezTo>
                    <a:lnTo>
                      <a:pt x="342392" y="938"/>
                    </a:lnTo>
                    <a:close/>
                  </a:path>
                </a:pathLst>
              </a:custGeom>
              <a:solidFill>
                <a:srgbClr val="00A2E1">
                  <a:alpha val="23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grpSp>
            <p:nvGrpSpPr>
              <p:cNvPr id="63" name="Group 62"/>
              <p:cNvGrpSpPr/>
              <p:nvPr/>
            </p:nvGrpSpPr>
            <p:grpSpPr>
              <a:xfrm>
                <a:off x="2835275" y="3350727"/>
                <a:ext cx="425450" cy="523875"/>
                <a:chOff x="2835275" y="3350727"/>
                <a:chExt cx="425450" cy="523875"/>
              </a:xfrm>
              <a:solidFill>
                <a:schemeClr val="accent1">
                  <a:lumMod val="75000"/>
                  <a:alpha val="40000"/>
                </a:schemeClr>
              </a:solidFill>
            </p:grpSpPr>
            <p:sp>
              <p:nvSpPr>
                <p:cNvPr id="61" name="Freeform 27"/>
                <p:cNvSpPr>
                  <a:spLocks/>
                </p:cNvSpPr>
                <p:nvPr/>
              </p:nvSpPr>
              <p:spPr bwMode="auto">
                <a:xfrm>
                  <a:off x="2835275" y="3350727"/>
                  <a:ext cx="425450" cy="523875"/>
                </a:xfrm>
                <a:custGeom>
                  <a:avLst/>
                  <a:gdLst>
                    <a:gd name="T0" fmla="*/ 0 w 576"/>
                    <a:gd name="T1" fmla="*/ 101 h 711"/>
                    <a:gd name="T2" fmla="*/ 0 w 576"/>
                    <a:gd name="T3" fmla="*/ 360 h 711"/>
                    <a:gd name="T4" fmla="*/ 288 w 576"/>
                    <a:gd name="T5" fmla="*/ 711 h 711"/>
                    <a:gd name="T6" fmla="*/ 288 w 576"/>
                    <a:gd name="T7" fmla="*/ 711 h 711"/>
                    <a:gd name="T8" fmla="*/ 288 w 576"/>
                    <a:gd name="T9" fmla="*/ 711 h 711"/>
                    <a:gd name="T10" fmla="*/ 576 w 576"/>
                    <a:gd name="T11" fmla="*/ 360 h 711"/>
                    <a:gd name="T12" fmla="*/ 576 w 576"/>
                    <a:gd name="T13" fmla="*/ 101 h 711"/>
                    <a:gd name="T14" fmla="*/ 547 w 576"/>
                    <a:gd name="T15" fmla="*/ 72 h 711"/>
                    <a:gd name="T16" fmla="*/ 513 w 576"/>
                    <a:gd name="T17" fmla="*/ 72 h 711"/>
                    <a:gd name="T18" fmla="*/ 288 w 576"/>
                    <a:gd name="T19" fmla="*/ 0 h 711"/>
                    <a:gd name="T20" fmla="*/ 288 w 576"/>
                    <a:gd name="T21" fmla="*/ 0 h 711"/>
                    <a:gd name="T22" fmla="*/ 288 w 576"/>
                    <a:gd name="T23" fmla="*/ 0 h 711"/>
                    <a:gd name="T24" fmla="*/ 63 w 576"/>
                    <a:gd name="T25" fmla="*/ 72 h 711"/>
                    <a:gd name="T26" fmla="*/ 29 w 576"/>
                    <a:gd name="T27" fmla="*/ 72 h 711"/>
                    <a:gd name="T28" fmla="*/ 0 w 576"/>
                    <a:gd name="T29" fmla="*/ 101 h 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76" h="711">
                      <a:moveTo>
                        <a:pt x="0" y="101"/>
                      </a:moveTo>
                      <a:cubicBezTo>
                        <a:pt x="0" y="360"/>
                        <a:pt x="0" y="360"/>
                        <a:pt x="0" y="360"/>
                      </a:cubicBezTo>
                      <a:cubicBezTo>
                        <a:pt x="0" y="531"/>
                        <a:pt x="121" y="678"/>
                        <a:pt x="288" y="711"/>
                      </a:cubicBezTo>
                      <a:cubicBezTo>
                        <a:pt x="288" y="711"/>
                        <a:pt x="288" y="711"/>
                        <a:pt x="288" y="711"/>
                      </a:cubicBezTo>
                      <a:cubicBezTo>
                        <a:pt x="288" y="711"/>
                        <a:pt x="288" y="711"/>
                        <a:pt x="288" y="711"/>
                      </a:cubicBezTo>
                      <a:cubicBezTo>
                        <a:pt x="455" y="678"/>
                        <a:pt x="576" y="531"/>
                        <a:pt x="576" y="360"/>
                      </a:cubicBezTo>
                      <a:cubicBezTo>
                        <a:pt x="576" y="101"/>
                        <a:pt x="576" y="101"/>
                        <a:pt x="576" y="101"/>
                      </a:cubicBezTo>
                      <a:cubicBezTo>
                        <a:pt x="576" y="85"/>
                        <a:pt x="563" y="72"/>
                        <a:pt x="547" y="72"/>
                      </a:cubicBezTo>
                      <a:cubicBezTo>
                        <a:pt x="513" y="72"/>
                        <a:pt x="513" y="72"/>
                        <a:pt x="513" y="72"/>
                      </a:cubicBezTo>
                      <a:cubicBezTo>
                        <a:pt x="432" y="72"/>
                        <a:pt x="354" y="47"/>
                        <a:pt x="288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22" y="47"/>
                        <a:pt x="144" y="72"/>
                        <a:pt x="63" y="72"/>
                      </a:cubicBezTo>
                      <a:cubicBezTo>
                        <a:pt x="29" y="72"/>
                        <a:pt x="29" y="72"/>
                        <a:pt x="29" y="72"/>
                      </a:cubicBezTo>
                      <a:cubicBezTo>
                        <a:pt x="13" y="72"/>
                        <a:pt x="0" y="85"/>
                        <a:pt x="0" y="10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58" name="Freeform 28"/>
                <p:cNvSpPr>
                  <a:spLocks/>
                </p:cNvSpPr>
                <p:nvPr/>
              </p:nvSpPr>
              <p:spPr bwMode="auto">
                <a:xfrm>
                  <a:off x="3048000" y="3350727"/>
                  <a:ext cx="212725" cy="523875"/>
                </a:xfrm>
                <a:custGeom>
                  <a:avLst/>
                  <a:gdLst>
                    <a:gd name="T0" fmla="*/ 0 w 288"/>
                    <a:gd name="T1" fmla="*/ 0 h 711"/>
                    <a:gd name="T2" fmla="*/ 225 w 288"/>
                    <a:gd name="T3" fmla="*/ 72 h 711"/>
                    <a:gd name="T4" fmla="*/ 259 w 288"/>
                    <a:gd name="T5" fmla="*/ 72 h 711"/>
                    <a:gd name="T6" fmla="*/ 288 w 288"/>
                    <a:gd name="T7" fmla="*/ 101 h 711"/>
                    <a:gd name="T8" fmla="*/ 288 w 288"/>
                    <a:gd name="T9" fmla="*/ 360 h 711"/>
                    <a:gd name="T10" fmla="*/ 0 w 288"/>
                    <a:gd name="T11" fmla="*/ 711 h 711"/>
                    <a:gd name="T12" fmla="*/ 0 w 288"/>
                    <a:gd name="T13" fmla="*/ 0 h 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8" h="711">
                      <a:moveTo>
                        <a:pt x="0" y="0"/>
                      </a:moveTo>
                      <a:cubicBezTo>
                        <a:pt x="66" y="47"/>
                        <a:pt x="144" y="72"/>
                        <a:pt x="225" y="72"/>
                      </a:cubicBezTo>
                      <a:cubicBezTo>
                        <a:pt x="259" y="72"/>
                        <a:pt x="259" y="72"/>
                        <a:pt x="259" y="72"/>
                      </a:cubicBezTo>
                      <a:cubicBezTo>
                        <a:pt x="275" y="72"/>
                        <a:pt x="288" y="85"/>
                        <a:pt x="288" y="101"/>
                      </a:cubicBezTo>
                      <a:cubicBezTo>
                        <a:pt x="288" y="360"/>
                        <a:pt x="288" y="360"/>
                        <a:pt x="288" y="360"/>
                      </a:cubicBezTo>
                      <a:cubicBezTo>
                        <a:pt x="288" y="531"/>
                        <a:pt x="167" y="678"/>
                        <a:pt x="0" y="711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  <a:alpha val="2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</p:grp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xmlns="" id="{BDD1837A-886D-40A3-8B58-B970F3C1C40C}"/>
              </a:ext>
            </a:extLst>
          </p:cNvPr>
          <p:cNvSpPr/>
          <p:nvPr/>
        </p:nvSpPr>
        <p:spPr>
          <a:xfrm>
            <a:off x="480060" y="2780127"/>
            <a:ext cx="1224049" cy="269045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561" name="Rectangle 2560">
            <a:extLst>
              <a:ext uri="{FF2B5EF4-FFF2-40B4-BE49-F238E27FC236}">
                <a16:creationId xmlns:a16="http://schemas.microsoft.com/office/drawing/2014/main" xmlns="" id="{67B3A002-29DF-4AAC-B80F-4975850276B9}"/>
              </a:ext>
            </a:extLst>
          </p:cNvPr>
          <p:cNvSpPr/>
          <p:nvPr/>
        </p:nvSpPr>
        <p:spPr>
          <a:xfrm>
            <a:off x="510757" y="2774515"/>
            <a:ext cx="1000595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1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Cisco </a:t>
            </a:r>
            <a:r>
              <a:rPr lang="en-US" sz="1100" dirty="0" smtClean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NGFW</a:t>
            </a:r>
            <a:endParaRPr lang="en-US" sz="1400" dirty="0">
              <a:solidFill>
                <a:schemeClr val="bg2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xmlns="" id="{99626D04-BE39-4A25-B7E4-845F500AAF92}"/>
              </a:ext>
            </a:extLst>
          </p:cNvPr>
          <p:cNvSpPr/>
          <p:nvPr/>
        </p:nvSpPr>
        <p:spPr>
          <a:xfrm>
            <a:off x="5782923" y="2044203"/>
            <a:ext cx="708253" cy="527547"/>
          </a:xfrm>
          <a:prstGeom prst="roundRect">
            <a:avLst>
              <a:gd name="adj" fmla="val 14134"/>
            </a:avLst>
          </a:prstGeom>
          <a:noFill/>
          <a:ln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818" name="Rectangle: Rounded Corners 3817">
            <a:extLst>
              <a:ext uri="{FF2B5EF4-FFF2-40B4-BE49-F238E27FC236}">
                <a16:creationId xmlns:a16="http://schemas.microsoft.com/office/drawing/2014/main" xmlns="" id="{6A7FEFA5-EE6D-4715-A902-EE1FE3BBBA21}"/>
              </a:ext>
            </a:extLst>
          </p:cNvPr>
          <p:cNvSpPr/>
          <p:nvPr/>
        </p:nvSpPr>
        <p:spPr>
          <a:xfrm>
            <a:off x="5782923" y="2790238"/>
            <a:ext cx="708253" cy="527547"/>
          </a:xfrm>
          <a:prstGeom prst="roundRect">
            <a:avLst>
              <a:gd name="adj" fmla="val 14134"/>
            </a:avLst>
          </a:prstGeom>
          <a:noFill/>
          <a:ln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819" name="Rectangle: Rounded Corners 3818">
            <a:extLst>
              <a:ext uri="{FF2B5EF4-FFF2-40B4-BE49-F238E27FC236}">
                <a16:creationId xmlns:a16="http://schemas.microsoft.com/office/drawing/2014/main" xmlns="" id="{D9C6590D-A391-4AB9-9D24-DC6493A05C1F}"/>
              </a:ext>
            </a:extLst>
          </p:cNvPr>
          <p:cNvSpPr/>
          <p:nvPr/>
        </p:nvSpPr>
        <p:spPr>
          <a:xfrm>
            <a:off x="5487816" y="2914850"/>
            <a:ext cx="293138" cy="303808"/>
          </a:xfrm>
          <a:prstGeom prst="roundRect">
            <a:avLst>
              <a:gd name="adj" fmla="val 14134"/>
            </a:avLst>
          </a:prstGeom>
          <a:noFill/>
          <a:ln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820" name="Rectangle: Rounded Corners 3819">
            <a:extLst>
              <a:ext uri="{FF2B5EF4-FFF2-40B4-BE49-F238E27FC236}">
                <a16:creationId xmlns:a16="http://schemas.microsoft.com/office/drawing/2014/main" xmlns="" id="{26456287-3E49-4055-9D5E-3AB6E11B2178}"/>
              </a:ext>
            </a:extLst>
          </p:cNvPr>
          <p:cNvSpPr/>
          <p:nvPr/>
        </p:nvSpPr>
        <p:spPr>
          <a:xfrm>
            <a:off x="5487816" y="2169141"/>
            <a:ext cx="293138" cy="303808"/>
          </a:xfrm>
          <a:prstGeom prst="roundRect">
            <a:avLst>
              <a:gd name="adj" fmla="val 14134"/>
            </a:avLst>
          </a:prstGeom>
          <a:noFill/>
          <a:ln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xmlns="" id="{F4F03C86-2FF0-49E6-8104-9537CE1FD5D0}"/>
              </a:ext>
            </a:extLst>
          </p:cNvPr>
          <p:cNvCxnSpPr>
            <a:stCxn id="48" idx="2"/>
            <a:endCxn id="3818" idx="0"/>
          </p:cNvCxnSpPr>
          <p:nvPr/>
        </p:nvCxnSpPr>
        <p:spPr>
          <a:xfrm>
            <a:off x="6137050" y="2571750"/>
            <a:ext cx="0" cy="218488"/>
          </a:xfrm>
          <a:prstGeom prst="line">
            <a:avLst/>
          </a:prstGeom>
          <a:noFill/>
          <a:ln cap="rnd">
            <a:solidFill>
              <a:schemeClr val="accent5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831" name="TextBox 3830">
            <a:extLst>
              <a:ext uri="{FF2B5EF4-FFF2-40B4-BE49-F238E27FC236}">
                <a16:creationId xmlns:a16="http://schemas.microsoft.com/office/drawing/2014/main" xmlns="" id="{51262F29-0788-4DCF-A6BF-217C990B5CC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856883" y="2425448"/>
            <a:ext cx="526416" cy="519728"/>
          </a:xfrm>
          <a:prstGeom prst="ellipse">
            <a:avLst/>
          </a:prstGeom>
          <a:noFill/>
          <a:ln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/>
          </a:lstStyle>
          <a:p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xmlns="" id="{E11EDA28-5997-4875-802F-B9185A7AF5BE}"/>
              </a:ext>
            </a:extLst>
          </p:cNvPr>
          <p:cNvSpPr/>
          <p:nvPr/>
        </p:nvSpPr>
        <p:spPr>
          <a:xfrm>
            <a:off x="4861357" y="2422590"/>
            <a:ext cx="517468" cy="517468"/>
          </a:xfrm>
          <a:prstGeom prst="ellipse">
            <a:avLst/>
          </a:prstGeom>
          <a:noFill/>
          <a:ln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xmlns="" id="{CB48258F-BCF1-4975-B43F-1CDCFF07A832}"/>
              </a:ext>
            </a:extLst>
          </p:cNvPr>
          <p:cNvGrpSpPr/>
          <p:nvPr/>
        </p:nvGrpSpPr>
        <p:grpSpPr>
          <a:xfrm>
            <a:off x="4476347" y="2076545"/>
            <a:ext cx="447954" cy="664476"/>
            <a:chOff x="4507478" y="2076545"/>
            <a:chExt cx="447954" cy="664476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xmlns="" id="{D1606834-F94A-4513-A99C-B5631D4944A3}"/>
                </a:ext>
              </a:extLst>
            </p:cNvPr>
            <p:cNvSpPr/>
            <p:nvPr/>
          </p:nvSpPr>
          <p:spPr>
            <a:xfrm>
              <a:off x="4676997" y="2632105"/>
              <a:ext cx="108916" cy="108916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xmlns="" id="{AB57FE06-495C-4B6E-8970-09E086B4686E}"/>
                </a:ext>
              </a:extLst>
            </p:cNvPr>
            <p:cNvGrpSpPr/>
            <p:nvPr/>
          </p:nvGrpSpPr>
          <p:grpSpPr>
            <a:xfrm>
              <a:off x="4507478" y="2076545"/>
              <a:ext cx="447954" cy="534751"/>
              <a:chOff x="4507478" y="2076545"/>
              <a:chExt cx="447954" cy="534751"/>
            </a:xfrm>
          </p:grpSpPr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xmlns="" id="{235817DD-7C53-453A-B4BE-30AC9D85E71A}"/>
                  </a:ext>
                </a:extLst>
              </p:cNvPr>
              <p:cNvGrpSpPr/>
              <p:nvPr/>
            </p:nvGrpSpPr>
            <p:grpSpPr>
              <a:xfrm>
                <a:off x="4507478" y="2076545"/>
                <a:ext cx="447954" cy="534751"/>
                <a:chOff x="4501128" y="1906926"/>
                <a:chExt cx="447954" cy="534751"/>
              </a:xfrm>
            </p:grpSpPr>
            <p:sp>
              <p:nvSpPr>
                <p:cNvPr id="70" name="Isosceles Triangle 69">
                  <a:extLst>
                    <a:ext uri="{FF2B5EF4-FFF2-40B4-BE49-F238E27FC236}">
                      <a16:creationId xmlns:a16="http://schemas.microsoft.com/office/drawing/2014/main" xmlns="" id="{FF992B90-6E23-416C-A65F-3A5137202A8D}"/>
                    </a:ext>
                  </a:extLst>
                </p:cNvPr>
                <p:cNvSpPr/>
                <p:nvPr/>
              </p:nvSpPr>
              <p:spPr>
                <a:xfrm rot="10800000">
                  <a:off x="4576322" y="2187276"/>
                  <a:ext cx="295105" cy="254401"/>
                </a:xfrm>
                <a:prstGeom prst="triangle">
                  <a:avLst/>
                </a:prstGeom>
                <a:solidFill>
                  <a:schemeClr val="accent6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69" name="Oval 68">
                  <a:extLst>
                    <a:ext uri="{FF2B5EF4-FFF2-40B4-BE49-F238E27FC236}">
                      <a16:creationId xmlns:a16="http://schemas.microsoft.com/office/drawing/2014/main" xmlns="" id="{CA2F0BA4-8A32-4813-B6AF-5B1DF5E36382}"/>
                    </a:ext>
                  </a:extLst>
                </p:cNvPr>
                <p:cNvSpPr/>
                <p:nvPr/>
              </p:nvSpPr>
              <p:spPr>
                <a:xfrm>
                  <a:off x="4501128" y="1906926"/>
                  <a:ext cx="447954" cy="447954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  <p:grpSp>
            <p:nvGrpSpPr>
              <p:cNvPr id="73" name="Group 4">
                <a:extLst>
                  <a:ext uri="{FF2B5EF4-FFF2-40B4-BE49-F238E27FC236}">
                    <a16:creationId xmlns:a16="http://schemas.microsoft.com/office/drawing/2014/main" xmlns="" id="{2F914A69-CC50-4F86-9582-7E70C9A3DD5B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620142" y="2165010"/>
                <a:ext cx="211726" cy="243171"/>
                <a:chOff x="2778" y="1504"/>
                <a:chExt cx="202" cy="232"/>
              </a:xfrm>
              <a:solidFill>
                <a:schemeClr val="bg2"/>
              </a:solidFill>
            </p:grpSpPr>
            <p:sp>
              <p:nvSpPr>
                <p:cNvPr id="75" name="Freeform 5">
                  <a:extLst>
                    <a:ext uri="{FF2B5EF4-FFF2-40B4-BE49-F238E27FC236}">
                      <a16:creationId xmlns:a16="http://schemas.microsoft.com/office/drawing/2014/main" xmlns="" id="{3F295323-C4E9-42BF-A79C-3987DA94712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23" y="1504"/>
                  <a:ext cx="110" cy="136"/>
                </a:xfrm>
                <a:custGeom>
                  <a:avLst/>
                  <a:gdLst>
                    <a:gd name="T0" fmla="*/ 8 w 53"/>
                    <a:gd name="T1" fmla="*/ 60 h 66"/>
                    <a:gd name="T2" fmla="*/ 14 w 53"/>
                    <a:gd name="T3" fmla="*/ 66 h 66"/>
                    <a:gd name="T4" fmla="*/ 39 w 53"/>
                    <a:gd name="T5" fmla="*/ 66 h 66"/>
                    <a:gd name="T6" fmla="*/ 45 w 53"/>
                    <a:gd name="T7" fmla="*/ 60 h 66"/>
                    <a:gd name="T8" fmla="*/ 45 w 53"/>
                    <a:gd name="T9" fmla="*/ 50 h 66"/>
                    <a:gd name="T10" fmla="*/ 53 w 53"/>
                    <a:gd name="T11" fmla="*/ 29 h 66"/>
                    <a:gd name="T12" fmla="*/ 27 w 53"/>
                    <a:gd name="T13" fmla="*/ 0 h 66"/>
                    <a:gd name="T14" fmla="*/ 0 w 53"/>
                    <a:gd name="T15" fmla="*/ 29 h 66"/>
                    <a:gd name="T16" fmla="*/ 8 w 53"/>
                    <a:gd name="T17" fmla="*/ 49 h 66"/>
                    <a:gd name="T18" fmla="*/ 8 w 53"/>
                    <a:gd name="T19" fmla="*/ 60 h 66"/>
                    <a:gd name="T20" fmla="*/ 27 w 53"/>
                    <a:gd name="T21" fmla="*/ 12 h 66"/>
                    <a:gd name="T22" fmla="*/ 41 w 53"/>
                    <a:gd name="T23" fmla="*/ 29 h 66"/>
                    <a:gd name="T24" fmla="*/ 35 w 53"/>
                    <a:gd name="T25" fmla="*/ 42 h 66"/>
                    <a:gd name="T26" fmla="*/ 33 w 53"/>
                    <a:gd name="T27" fmla="*/ 47 h 66"/>
                    <a:gd name="T28" fmla="*/ 33 w 53"/>
                    <a:gd name="T29" fmla="*/ 54 h 66"/>
                    <a:gd name="T30" fmla="*/ 20 w 53"/>
                    <a:gd name="T31" fmla="*/ 54 h 66"/>
                    <a:gd name="T32" fmla="*/ 20 w 53"/>
                    <a:gd name="T33" fmla="*/ 46 h 66"/>
                    <a:gd name="T34" fmla="*/ 18 w 53"/>
                    <a:gd name="T35" fmla="*/ 42 h 66"/>
                    <a:gd name="T36" fmla="*/ 12 w 53"/>
                    <a:gd name="T37" fmla="*/ 29 h 66"/>
                    <a:gd name="T38" fmla="*/ 27 w 53"/>
                    <a:gd name="T39" fmla="*/ 12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3" h="66">
                      <a:moveTo>
                        <a:pt x="8" y="60"/>
                      </a:moveTo>
                      <a:cubicBezTo>
                        <a:pt x="8" y="64"/>
                        <a:pt x="10" y="66"/>
                        <a:pt x="14" y="66"/>
                      </a:cubicBezTo>
                      <a:cubicBezTo>
                        <a:pt x="39" y="66"/>
                        <a:pt x="39" y="66"/>
                        <a:pt x="39" y="66"/>
                      </a:cubicBezTo>
                      <a:cubicBezTo>
                        <a:pt x="42" y="66"/>
                        <a:pt x="45" y="64"/>
                        <a:pt x="45" y="6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50" y="44"/>
                        <a:pt x="53" y="37"/>
                        <a:pt x="53" y="29"/>
                      </a:cubicBezTo>
                      <a:cubicBezTo>
                        <a:pt x="53" y="13"/>
                        <a:pt x="41" y="0"/>
                        <a:pt x="27" y="0"/>
                      </a:cubicBezTo>
                      <a:cubicBezTo>
                        <a:pt x="12" y="0"/>
                        <a:pt x="0" y="13"/>
                        <a:pt x="0" y="29"/>
                      </a:cubicBezTo>
                      <a:cubicBezTo>
                        <a:pt x="0" y="36"/>
                        <a:pt x="3" y="43"/>
                        <a:pt x="8" y="49"/>
                      </a:cubicBezTo>
                      <a:lnTo>
                        <a:pt x="8" y="60"/>
                      </a:lnTo>
                      <a:close/>
                      <a:moveTo>
                        <a:pt x="27" y="12"/>
                      </a:moveTo>
                      <a:cubicBezTo>
                        <a:pt x="35" y="12"/>
                        <a:pt x="41" y="20"/>
                        <a:pt x="41" y="29"/>
                      </a:cubicBezTo>
                      <a:cubicBezTo>
                        <a:pt x="41" y="34"/>
                        <a:pt x="39" y="39"/>
                        <a:pt x="35" y="42"/>
                      </a:cubicBezTo>
                      <a:cubicBezTo>
                        <a:pt x="34" y="43"/>
                        <a:pt x="33" y="45"/>
                        <a:pt x="33" y="47"/>
                      </a:cubicBezTo>
                      <a:cubicBezTo>
                        <a:pt x="33" y="54"/>
                        <a:pt x="33" y="54"/>
                        <a:pt x="33" y="54"/>
                      </a:cubicBezTo>
                      <a:cubicBezTo>
                        <a:pt x="20" y="54"/>
                        <a:pt x="20" y="54"/>
                        <a:pt x="20" y="54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20" y="44"/>
                        <a:pt x="19" y="43"/>
                        <a:pt x="18" y="42"/>
                      </a:cubicBezTo>
                      <a:cubicBezTo>
                        <a:pt x="14" y="38"/>
                        <a:pt x="12" y="34"/>
                        <a:pt x="12" y="29"/>
                      </a:cubicBezTo>
                      <a:cubicBezTo>
                        <a:pt x="12" y="20"/>
                        <a:pt x="19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76" name="Oval 6">
                  <a:extLst>
                    <a:ext uri="{FF2B5EF4-FFF2-40B4-BE49-F238E27FC236}">
                      <a16:creationId xmlns:a16="http://schemas.microsoft.com/office/drawing/2014/main" xmlns="" id="{9A7825C4-F4EF-4AA1-BDE0-02CE85BF35B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852" y="1555"/>
                  <a:ext cx="21" cy="2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77" name="Oval 7">
                  <a:extLst>
                    <a:ext uri="{FF2B5EF4-FFF2-40B4-BE49-F238E27FC236}">
                      <a16:creationId xmlns:a16="http://schemas.microsoft.com/office/drawing/2014/main" xmlns="" id="{A1C0B264-3F94-4D60-BC11-C176FDBD271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883" y="1555"/>
                  <a:ext cx="21" cy="21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78" name="Freeform 8">
                  <a:extLst>
                    <a:ext uri="{FF2B5EF4-FFF2-40B4-BE49-F238E27FC236}">
                      <a16:creationId xmlns:a16="http://schemas.microsoft.com/office/drawing/2014/main" xmlns="" id="{582AEEBB-4081-41B6-A706-DDC5A64BCC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8" y="1617"/>
                  <a:ext cx="202" cy="119"/>
                </a:xfrm>
                <a:custGeom>
                  <a:avLst/>
                  <a:gdLst>
                    <a:gd name="T0" fmla="*/ 91 w 98"/>
                    <a:gd name="T1" fmla="*/ 22 h 58"/>
                    <a:gd name="T2" fmla="*/ 98 w 98"/>
                    <a:gd name="T3" fmla="*/ 15 h 58"/>
                    <a:gd name="T4" fmla="*/ 92 w 98"/>
                    <a:gd name="T5" fmla="*/ 9 h 58"/>
                    <a:gd name="T6" fmla="*/ 92 w 98"/>
                    <a:gd name="T7" fmla="*/ 6 h 58"/>
                    <a:gd name="T8" fmla="*/ 86 w 98"/>
                    <a:gd name="T9" fmla="*/ 0 h 58"/>
                    <a:gd name="T10" fmla="*/ 79 w 98"/>
                    <a:gd name="T11" fmla="*/ 6 h 58"/>
                    <a:gd name="T12" fmla="*/ 81 w 98"/>
                    <a:gd name="T13" fmla="*/ 10 h 58"/>
                    <a:gd name="T14" fmla="*/ 49 w 98"/>
                    <a:gd name="T15" fmla="*/ 24 h 58"/>
                    <a:gd name="T16" fmla="*/ 17 w 98"/>
                    <a:gd name="T17" fmla="*/ 10 h 58"/>
                    <a:gd name="T18" fmla="*/ 18 w 98"/>
                    <a:gd name="T19" fmla="*/ 6 h 58"/>
                    <a:gd name="T20" fmla="*/ 11 w 98"/>
                    <a:gd name="T21" fmla="*/ 0 h 58"/>
                    <a:gd name="T22" fmla="*/ 5 w 98"/>
                    <a:gd name="T23" fmla="*/ 6 h 58"/>
                    <a:gd name="T24" fmla="*/ 6 w 98"/>
                    <a:gd name="T25" fmla="*/ 9 h 58"/>
                    <a:gd name="T26" fmla="*/ 0 w 98"/>
                    <a:gd name="T27" fmla="*/ 15 h 58"/>
                    <a:gd name="T28" fmla="*/ 6 w 98"/>
                    <a:gd name="T29" fmla="*/ 22 h 58"/>
                    <a:gd name="T30" fmla="*/ 12 w 98"/>
                    <a:gd name="T31" fmla="*/ 19 h 58"/>
                    <a:gd name="T32" fmla="*/ 37 w 98"/>
                    <a:gd name="T33" fmla="*/ 29 h 58"/>
                    <a:gd name="T34" fmla="*/ 12 w 98"/>
                    <a:gd name="T35" fmla="*/ 40 h 58"/>
                    <a:gd name="T36" fmla="*/ 6 w 98"/>
                    <a:gd name="T37" fmla="*/ 36 h 58"/>
                    <a:gd name="T38" fmla="*/ 0 w 98"/>
                    <a:gd name="T39" fmla="*/ 42 h 58"/>
                    <a:gd name="T40" fmla="*/ 6 w 98"/>
                    <a:gd name="T41" fmla="*/ 48 h 58"/>
                    <a:gd name="T42" fmla="*/ 5 w 98"/>
                    <a:gd name="T43" fmla="*/ 51 h 58"/>
                    <a:gd name="T44" fmla="*/ 11 w 98"/>
                    <a:gd name="T45" fmla="*/ 58 h 58"/>
                    <a:gd name="T46" fmla="*/ 18 w 98"/>
                    <a:gd name="T47" fmla="*/ 51 h 58"/>
                    <a:gd name="T48" fmla="*/ 17 w 98"/>
                    <a:gd name="T49" fmla="*/ 48 h 58"/>
                    <a:gd name="T50" fmla="*/ 17 w 98"/>
                    <a:gd name="T51" fmla="*/ 48 h 58"/>
                    <a:gd name="T52" fmla="*/ 17 w 98"/>
                    <a:gd name="T53" fmla="*/ 48 h 58"/>
                    <a:gd name="T54" fmla="*/ 49 w 98"/>
                    <a:gd name="T55" fmla="*/ 34 h 58"/>
                    <a:gd name="T56" fmla="*/ 80 w 98"/>
                    <a:gd name="T57" fmla="*/ 48 h 58"/>
                    <a:gd name="T58" fmla="*/ 80 w 98"/>
                    <a:gd name="T59" fmla="*/ 48 h 58"/>
                    <a:gd name="T60" fmla="*/ 80 w 98"/>
                    <a:gd name="T61" fmla="*/ 48 h 58"/>
                    <a:gd name="T62" fmla="*/ 79 w 98"/>
                    <a:gd name="T63" fmla="*/ 51 h 58"/>
                    <a:gd name="T64" fmla="*/ 86 w 98"/>
                    <a:gd name="T65" fmla="*/ 58 h 58"/>
                    <a:gd name="T66" fmla="*/ 92 w 98"/>
                    <a:gd name="T67" fmla="*/ 51 h 58"/>
                    <a:gd name="T68" fmla="*/ 92 w 98"/>
                    <a:gd name="T69" fmla="*/ 48 h 58"/>
                    <a:gd name="T70" fmla="*/ 98 w 98"/>
                    <a:gd name="T71" fmla="*/ 42 h 58"/>
                    <a:gd name="T72" fmla="*/ 91 w 98"/>
                    <a:gd name="T73" fmla="*/ 36 h 58"/>
                    <a:gd name="T74" fmla="*/ 85 w 98"/>
                    <a:gd name="T75" fmla="*/ 40 h 58"/>
                    <a:gd name="T76" fmla="*/ 60 w 98"/>
                    <a:gd name="T77" fmla="*/ 29 h 58"/>
                    <a:gd name="T78" fmla="*/ 85 w 98"/>
                    <a:gd name="T79" fmla="*/ 19 h 58"/>
                    <a:gd name="T80" fmla="*/ 91 w 98"/>
                    <a:gd name="T81" fmla="*/ 22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98" h="58">
                      <a:moveTo>
                        <a:pt x="91" y="22"/>
                      </a:moveTo>
                      <a:cubicBezTo>
                        <a:pt x="95" y="22"/>
                        <a:pt x="98" y="19"/>
                        <a:pt x="98" y="15"/>
                      </a:cubicBezTo>
                      <a:cubicBezTo>
                        <a:pt x="98" y="12"/>
                        <a:pt x="95" y="9"/>
                        <a:pt x="92" y="9"/>
                      </a:cubicBezTo>
                      <a:cubicBezTo>
                        <a:pt x="92" y="8"/>
                        <a:pt x="92" y="7"/>
                        <a:pt x="92" y="6"/>
                      </a:cubicBezTo>
                      <a:cubicBezTo>
                        <a:pt x="92" y="3"/>
                        <a:pt x="90" y="0"/>
                        <a:pt x="86" y="0"/>
                      </a:cubicBezTo>
                      <a:cubicBezTo>
                        <a:pt x="82" y="0"/>
                        <a:pt x="79" y="3"/>
                        <a:pt x="79" y="6"/>
                      </a:cubicBezTo>
                      <a:cubicBezTo>
                        <a:pt x="79" y="8"/>
                        <a:pt x="80" y="9"/>
                        <a:pt x="81" y="10"/>
                      </a:cubicBezTo>
                      <a:cubicBezTo>
                        <a:pt x="49" y="24"/>
                        <a:pt x="49" y="24"/>
                        <a:pt x="49" y="24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17" y="9"/>
                        <a:pt x="18" y="8"/>
                        <a:pt x="18" y="6"/>
                      </a:cubicBezTo>
                      <a:cubicBezTo>
                        <a:pt x="18" y="3"/>
                        <a:pt x="15" y="0"/>
                        <a:pt x="11" y="0"/>
                      </a:cubicBezTo>
                      <a:cubicBezTo>
                        <a:pt x="8" y="0"/>
                        <a:pt x="5" y="3"/>
                        <a:pt x="5" y="6"/>
                      </a:cubicBezTo>
                      <a:cubicBezTo>
                        <a:pt x="5" y="7"/>
                        <a:pt x="5" y="8"/>
                        <a:pt x="6" y="9"/>
                      </a:cubicBezTo>
                      <a:cubicBezTo>
                        <a:pt x="2" y="9"/>
                        <a:pt x="0" y="12"/>
                        <a:pt x="0" y="15"/>
                      </a:cubicBezTo>
                      <a:cubicBezTo>
                        <a:pt x="0" y="19"/>
                        <a:pt x="3" y="22"/>
                        <a:pt x="6" y="22"/>
                      </a:cubicBezTo>
                      <a:cubicBezTo>
                        <a:pt x="9" y="22"/>
                        <a:pt x="11" y="21"/>
                        <a:pt x="12" y="19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37"/>
                        <a:pt x="9" y="36"/>
                        <a:pt x="6" y="36"/>
                      </a:cubicBezTo>
                      <a:cubicBezTo>
                        <a:pt x="3" y="36"/>
                        <a:pt x="0" y="38"/>
                        <a:pt x="0" y="42"/>
                      </a:cubicBezTo>
                      <a:cubicBezTo>
                        <a:pt x="0" y="45"/>
                        <a:pt x="2" y="48"/>
                        <a:pt x="6" y="48"/>
                      </a:cubicBezTo>
                      <a:cubicBezTo>
                        <a:pt x="5" y="49"/>
                        <a:pt x="5" y="50"/>
                        <a:pt x="5" y="51"/>
                      </a:cubicBezTo>
                      <a:cubicBezTo>
                        <a:pt x="5" y="55"/>
                        <a:pt x="8" y="58"/>
                        <a:pt x="11" y="58"/>
                      </a:cubicBezTo>
                      <a:cubicBezTo>
                        <a:pt x="15" y="58"/>
                        <a:pt x="18" y="55"/>
                        <a:pt x="18" y="51"/>
                      </a:cubicBezTo>
                      <a:cubicBezTo>
                        <a:pt x="18" y="50"/>
                        <a:pt x="18" y="49"/>
                        <a:pt x="17" y="48"/>
                      </a:cubicBezTo>
                      <a:cubicBezTo>
                        <a:pt x="17" y="48"/>
                        <a:pt x="17" y="48"/>
                        <a:pt x="17" y="48"/>
                      </a:cubicBezTo>
                      <a:cubicBezTo>
                        <a:pt x="17" y="48"/>
                        <a:pt x="17" y="48"/>
                        <a:pt x="17" y="48"/>
                      </a:cubicBezTo>
                      <a:cubicBezTo>
                        <a:pt x="49" y="34"/>
                        <a:pt x="49" y="34"/>
                        <a:pt x="49" y="34"/>
                      </a:cubicBezTo>
                      <a:cubicBezTo>
                        <a:pt x="80" y="48"/>
                        <a:pt x="80" y="48"/>
                        <a:pt x="80" y="48"/>
                      </a:cubicBezTo>
                      <a:cubicBezTo>
                        <a:pt x="80" y="48"/>
                        <a:pt x="80" y="48"/>
                        <a:pt x="80" y="48"/>
                      </a:cubicBezTo>
                      <a:cubicBezTo>
                        <a:pt x="80" y="48"/>
                        <a:pt x="80" y="48"/>
                        <a:pt x="80" y="48"/>
                      </a:cubicBezTo>
                      <a:cubicBezTo>
                        <a:pt x="80" y="49"/>
                        <a:pt x="79" y="50"/>
                        <a:pt x="79" y="51"/>
                      </a:cubicBezTo>
                      <a:cubicBezTo>
                        <a:pt x="79" y="55"/>
                        <a:pt x="82" y="58"/>
                        <a:pt x="86" y="58"/>
                      </a:cubicBezTo>
                      <a:cubicBezTo>
                        <a:pt x="90" y="58"/>
                        <a:pt x="92" y="55"/>
                        <a:pt x="92" y="51"/>
                      </a:cubicBezTo>
                      <a:cubicBezTo>
                        <a:pt x="92" y="50"/>
                        <a:pt x="92" y="49"/>
                        <a:pt x="92" y="48"/>
                      </a:cubicBezTo>
                      <a:cubicBezTo>
                        <a:pt x="95" y="48"/>
                        <a:pt x="98" y="45"/>
                        <a:pt x="98" y="42"/>
                      </a:cubicBezTo>
                      <a:cubicBezTo>
                        <a:pt x="98" y="38"/>
                        <a:pt x="95" y="36"/>
                        <a:pt x="91" y="36"/>
                      </a:cubicBezTo>
                      <a:cubicBezTo>
                        <a:pt x="88" y="36"/>
                        <a:pt x="86" y="37"/>
                        <a:pt x="85" y="40"/>
                      </a:cubicBezTo>
                      <a:cubicBezTo>
                        <a:pt x="60" y="29"/>
                        <a:pt x="60" y="29"/>
                        <a:pt x="60" y="29"/>
                      </a:cubicBezTo>
                      <a:cubicBezTo>
                        <a:pt x="85" y="19"/>
                        <a:pt x="85" y="19"/>
                        <a:pt x="85" y="19"/>
                      </a:cubicBezTo>
                      <a:cubicBezTo>
                        <a:pt x="87" y="21"/>
                        <a:pt x="89" y="22"/>
                        <a:pt x="91" y="2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</p:grp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xmlns="" id="{89520809-603E-4781-BC0D-55856C119790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4894519" y="2458151"/>
            <a:ext cx="451143" cy="451143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xmlns="" id="{07DEA1CB-B7AF-43EC-BB40-500297F3715A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4894519" y="2464247"/>
            <a:ext cx="451143" cy="445047"/>
          </a:xfrm>
          <a:prstGeom prst="rect">
            <a:avLst/>
          </a:prstGeom>
        </p:spPr>
      </p:pic>
      <p:pic>
        <p:nvPicPr>
          <p:cNvPr id="1615" name="Picture 1614">
            <a:extLst>
              <a:ext uri="{FF2B5EF4-FFF2-40B4-BE49-F238E27FC236}">
                <a16:creationId xmlns:a16="http://schemas.microsoft.com/office/drawing/2014/main" xmlns="" id="{26E658B8-79E6-446B-8CCB-E1709F5A19BA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4894519" y="2458151"/>
            <a:ext cx="451143" cy="451143"/>
          </a:xfrm>
          <a:prstGeom prst="rect">
            <a:avLst/>
          </a:prstGeom>
        </p:spPr>
      </p:pic>
      <p:pic>
        <p:nvPicPr>
          <p:cNvPr id="1616" name="Picture 1615">
            <a:extLst>
              <a:ext uri="{FF2B5EF4-FFF2-40B4-BE49-F238E27FC236}">
                <a16:creationId xmlns:a16="http://schemas.microsoft.com/office/drawing/2014/main" xmlns="" id="{F587ABBA-5E05-4E1F-9947-C9628E8281B3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4894519" y="2464247"/>
            <a:ext cx="451143" cy="445047"/>
          </a:xfrm>
          <a:prstGeom prst="rect">
            <a:avLst/>
          </a:prstGeom>
        </p:spPr>
      </p:pic>
      <p:grpSp>
        <p:nvGrpSpPr>
          <p:cNvPr id="1418" name="Group 1417">
            <a:extLst>
              <a:ext uri="{FF2B5EF4-FFF2-40B4-BE49-F238E27FC236}">
                <a16:creationId xmlns:a16="http://schemas.microsoft.com/office/drawing/2014/main" xmlns="" id="{F7A00218-52D4-46F8-910E-08958BD400E8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4897605" y="2467206"/>
            <a:ext cx="439947" cy="439993"/>
            <a:chOff x="542940" y="1857375"/>
            <a:chExt cx="914400" cy="914494"/>
          </a:xfrm>
        </p:grpSpPr>
        <p:sp>
          <p:nvSpPr>
            <p:cNvPr id="1419" name="Oval 1418">
              <a:extLst>
                <a:ext uri="{FF2B5EF4-FFF2-40B4-BE49-F238E27FC236}">
                  <a16:creationId xmlns:a16="http://schemas.microsoft.com/office/drawing/2014/main" xmlns="" id="{39AB390E-6E8B-4BE6-B355-05B5AFE403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2940" y="1857422"/>
              <a:ext cx="914400" cy="9144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1420" name="Group 4">
              <a:extLst>
                <a:ext uri="{FF2B5EF4-FFF2-40B4-BE49-F238E27FC236}">
                  <a16:creationId xmlns:a16="http://schemas.microsoft.com/office/drawing/2014/main" xmlns="" id="{9A6B9B31-B628-4E32-9461-D1053488ECF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43174" y="1857375"/>
              <a:ext cx="913932" cy="914494"/>
              <a:chOff x="1261" y="0"/>
              <a:chExt cx="3238" cy="3240"/>
            </a:xfrm>
            <a:solidFill>
              <a:schemeClr val="tx2"/>
            </a:solidFill>
          </p:grpSpPr>
          <p:sp>
            <p:nvSpPr>
              <p:cNvPr id="1421" name="Freeform 5">
                <a:extLst>
                  <a:ext uri="{FF2B5EF4-FFF2-40B4-BE49-F238E27FC236}">
                    <a16:creationId xmlns:a16="http://schemas.microsoft.com/office/drawing/2014/main" xmlns="" id="{AEB16B68-2A5C-4970-9F03-D09FD6E8EB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1" y="443"/>
                <a:ext cx="36" cy="37"/>
              </a:xfrm>
              <a:custGeom>
                <a:avLst/>
                <a:gdLst>
                  <a:gd name="T0" fmla="*/ 0 w 29"/>
                  <a:gd name="T1" fmla="*/ 30 h 30"/>
                  <a:gd name="T2" fmla="*/ 29 w 29"/>
                  <a:gd name="T3" fmla="*/ 0 h 30"/>
                  <a:gd name="T4" fmla="*/ 0 w 29"/>
                  <a:gd name="T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0">
                    <a:moveTo>
                      <a:pt x="0" y="30"/>
                    </a:moveTo>
                    <a:cubicBezTo>
                      <a:pt x="15" y="27"/>
                      <a:pt x="26" y="15"/>
                      <a:pt x="29" y="0"/>
                    </a:cubicBezTo>
                    <a:cubicBezTo>
                      <a:pt x="19" y="10"/>
                      <a:pt x="10" y="20"/>
                      <a:pt x="0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22" name="Freeform 6">
                <a:extLst>
                  <a:ext uri="{FF2B5EF4-FFF2-40B4-BE49-F238E27FC236}">
                    <a16:creationId xmlns:a16="http://schemas.microsoft.com/office/drawing/2014/main" xmlns="" id="{F17FC72A-7432-4B59-B70B-A1F1539AF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3" y="0"/>
                <a:ext cx="1056" cy="480"/>
              </a:xfrm>
              <a:custGeom>
                <a:avLst/>
                <a:gdLst>
                  <a:gd name="T0" fmla="*/ 0 w 845"/>
                  <a:gd name="T1" fmla="*/ 346 h 384"/>
                  <a:gd name="T2" fmla="*/ 38 w 845"/>
                  <a:gd name="T3" fmla="*/ 384 h 384"/>
                  <a:gd name="T4" fmla="*/ 807 w 845"/>
                  <a:gd name="T5" fmla="*/ 384 h 384"/>
                  <a:gd name="T6" fmla="*/ 845 w 845"/>
                  <a:gd name="T7" fmla="*/ 346 h 384"/>
                  <a:gd name="T8" fmla="*/ 845 w 845"/>
                  <a:gd name="T9" fmla="*/ 38 h 384"/>
                  <a:gd name="T10" fmla="*/ 812 w 845"/>
                  <a:gd name="T11" fmla="*/ 0 h 384"/>
                  <a:gd name="T12" fmla="*/ 0 w 845"/>
                  <a:gd name="T13" fmla="*/ 308 h 384"/>
                  <a:gd name="T14" fmla="*/ 0 w 845"/>
                  <a:gd name="T15" fmla="*/ 346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5" h="384">
                    <a:moveTo>
                      <a:pt x="0" y="346"/>
                    </a:moveTo>
                    <a:cubicBezTo>
                      <a:pt x="0" y="367"/>
                      <a:pt x="17" y="384"/>
                      <a:pt x="38" y="384"/>
                    </a:cubicBezTo>
                    <a:cubicBezTo>
                      <a:pt x="807" y="384"/>
                      <a:pt x="807" y="384"/>
                      <a:pt x="807" y="384"/>
                    </a:cubicBezTo>
                    <a:cubicBezTo>
                      <a:pt x="828" y="384"/>
                      <a:pt x="845" y="367"/>
                      <a:pt x="845" y="346"/>
                    </a:cubicBezTo>
                    <a:cubicBezTo>
                      <a:pt x="845" y="38"/>
                      <a:pt x="845" y="38"/>
                      <a:pt x="845" y="38"/>
                    </a:cubicBezTo>
                    <a:cubicBezTo>
                      <a:pt x="845" y="19"/>
                      <a:pt x="830" y="3"/>
                      <a:pt x="812" y="0"/>
                    </a:cubicBezTo>
                    <a:cubicBezTo>
                      <a:pt x="502" y="6"/>
                      <a:pt x="219" y="121"/>
                      <a:pt x="0" y="308"/>
                    </a:cubicBezTo>
                    <a:lnTo>
                      <a:pt x="0" y="3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23" name="Freeform 7">
                <a:extLst>
                  <a:ext uri="{FF2B5EF4-FFF2-40B4-BE49-F238E27FC236}">
                    <a16:creationId xmlns:a16="http://schemas.microsoft.com/office/drawing/2014/main" xmlns="" id="{7650F42C-B221-40FD-9D38-1DED392E79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" y="4"/>
                <a:ext cx="1051" cy="476"/>
              </a:xfrm>
              <a:custGeom>
                <a:avLst/>
                <a:gdLst>
                  <a:gd name="T0" fmla="*/ 24 w 841"/>
                  <a:gd name="T1" fmla="*/ 0 h 381"/>
                  <a:gd name="T2" fmla="*/ 0 w 841"/>
                  <a:gd name="T3" fmla="*/ 35 h 381"/>
                  <a:gd name="T4" fmla="*/ 0 w 841"/>
                  <a:gd name="T5" fmla="*/ 343 h 381"/>
                  <a:gd name="T6" fmla="*/ 38 w 841"/>
                  <a:gd name="T7" fmla="*/ 381 h 381"/>
                  <a:gd name="T8" fmla="*/ 807 w 841"/>
                  <a:gd name="T9" fmla="*/ 381 h 381"/>
                  <a:gd name="T10" fmla="*/ 841 w 841"/>
                  <a:gd name="T11" fmla="*/ 360 h 381"/>
                  <a:gd name="T12" fmla="*/ 24 w 841"/>
                  <a:gd name="T13" fmla="*/ 0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1" h="381">
                    <a:moveTo>
                      <a:pt x="24" y="0"/>
                    </a:moveTo>
                    <a:cubicBezTo>
                      <a:pt x="10" y="5"/>
                      <a:pt x="0" y="19"/>
                      <a:pt x="0" y="35"/>
                    </a:cubicBezTo>
                    <a:cubicBezTo>
                      <a:pt x="0" y="343"/>
                      <a:pt x="0" y="343"/>
                      <a:pt x="0" y="343"/>
                    </a:cubicBezTo>
                    <a:cubicBezTo>
                      <a:pt x="0" y="364"/>
                      <a:pt x="17" y="381"/>
                      <a:pt x="38" y="381"/>
                    </a:cubicBezTo>
                    <a:cubicBezTo>
                      <a:pt x="807" y="381"/>
                      <a:pt x="807" y="381"/>
                      <a:pt x="807" y="381"/>
                    </a:cubicBezTo>
                    <a:cubicBezTo>
                      <a:pt x="822" y="381"/>
                      <a:pt x="835" y="373"/>
                      <a:pt x="841" y="360"/>
                    </a:cubicBezTo>
                    <a:cubicBezTo>
                      <a:pt x="627" y="153"/>
                      <a:pt x="341" y="2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24" name="Freeform 8">
                <a:extLst>
                  <a:ext uri="{FF2B5EF4-FFF2-40B4-BE49-F238E27FC236}">
                    <a16:creationId xmlns:a16="http://schemas.microsoft.com/office/drawing/2014/main" xmlns="" id="{D0749339-F799-41C7-83BF-148500DD41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0" y="555"/>
                <a:ext cx="943" cy="480"/>
              </a:xfrm>
              <a:custGeom>
                <a:avLst/>
                <a:gdLst>
                  <a:gd name="T0" fmla="*/ 717 w 755"/>
                  <a:gd name="T1" fmla="*/ 0 h 384"/>
                  <a:gd name="T2" fmla="*/ 233 w 755"/>
                  <a:gd name="T3" fmla="*/ 0 h 384"/>
                  <a:gd name="T4" fmla="*/ 0 w 755"/>
                  <a:gd name="T5" fmla="*/ 384 h 384"/>
                  <a:gd name="T6" fmla="*/ 717 w 755"/>
                  <a:gd name="T7" fmla="*/ 384 h 384"/>
                  <a:gd name="T8" fmla="*/ 755 w 755"/>
                  <a:gd name="T9" fmla="*/ 346 h 384"/>
                  <a:gd name="T10" fmla="*/ 755 w 755"/>
                  <a:gd name="T11" fmla="*/ 38 h 384"/>
                  <a:gd name="T12" fmla="*/ 717 w 755"/>
                  <a:gd name="T13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55" h="384">
                    <a:moveTo>
                      <a:pt x="717" y="0"/>
                    </a:moveTo>
                    <a:cubicBezTo>
                      <a:pt x="233" y="0"/>
                      <a:pt x="233" y="0"/>
                      <a:pt x="233" y="0"/>
                    </a:cubicBezTo>
                    <a:cubicBezTo>
                      <a:pt x="134" y="113"/>
                      <a:pt x="55" y="242"/>
                      <a:pt x="0" y="384"/>
                    </a:cubicBezTo>
                    <a:cubicBezTo>
                      <a:pt x="717" y="384"/>
                      <a:pt x="717" y="384"/>
                      <a:pt x="717" y="384"/>
                    </a:cubicBezTo>
                    <a:cubicBezTo>
                      <a:pt x="738" y="384"/>
                      <a:pt x="755" y="367"/>
                      <a:pt x="755" y="346"/>
                    </a:cubicBezTo>
                    <a:cubicBezTo>
                      <a:pt x="755" y="38"/>
                      <a:pt x="755" y="38"/>
                      <a:pt x="755" y="38"/>
                    </a:cubicBezTo>
                    <a:cubicBezTo>
                      <a:pt x="755" y="17"/>
                      <a:pt x="738" y="0"/>
                      <a:pt x="7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25" name="Freeform 9">
                <a:extLst>
                  <a:ext uri="{FF2B5EF4-FFF2-40B4-BE49-F238E27FC236}">
                    <a16:creationId xmlns:a16="http://schemas.microsoft.com/office/drawing/2014/main" xmlns="" id="{D0A35997-6EC8-45E5-97B4-0C9901B68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7" y="555"/>
                <a:ext cx="1055" cy="480"/>
              </a:xfrm>
              <a:custGeom>
                <a:avLst/>
                <a:gdLst>
                  <a:gd name="T0" fmla="*/ 807 w 845"/>
                  <a:gd name="T1" fmla="*/ 0 h 384"/>
                  <a:gd name="T2" fmla="*/ 38 w 845"/>
                  <a:gd name="T3" fmla="*/ 0 h 384"/>
                  <a:gd name="T4" fmla="*/ 0 w 845"/>
                  <a:gd name="T5" fmla="*/ 38 h 384"/>
                  <a:gd name="T6" fmla="*/ 0 w 845"/>
                  <a:gd name="T7" fmla="*/ 346 h 384"/>
                  <a:gd name="T8" fmla="*/ 38 w 845"/>
                  <a:gd name="T9" fmla="*/ 384 h 384"/>
                  <a:gd name="T10" fmla="*/ 807 w 845"/>
                  <a:gd name="T11" fmla="*/ 384 h 384"/>
                  <a:gd name="T12" fmla="*/ 845 w 845"/>
                  <a:gd name="T13" fmla="*/ 346 h 384"/>
                  <a:gd name="T14" fmla="*/ 845 w 845"/>
                  <a:gd name="T15" fmla="*/ 38 h 384"/>
                  <a:gd name="T16" fmla="*/ 807 w 845"/>
                  <a:gd name="T1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5" h="384">
                    <a:moveTo>
                      <a:pt x="807" y="0"/>
                    </a:move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ubicBezTo>
                      <a:pt x="807" y="384"/>
                      <a:pt x="807" y="384"/>
                      <a:pt x="807" y="384"/>
                    </a:cubicBezTo>
                    <a:cubicBezTo>
                      <a:pt x="828" y="384"/>
                      <a:pt x="845" y="367"/>
                      <a:pt x="845" y="346"/>
                    </a:cubicBezTo>
                    <a:cubicBezTo>
                      <a:pt x="845" y="38"/>
                      <a:pt x="845" y="38"/>
                      <a:pt x="845" y="38"/>
                    </a:cubicBezTo>
                    <a:cubicBezTo>
                      <a:pt x="845" y="17"/>
                      <a:pt x="828" y="0"/>
                      <a:pt x="80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26" name="Freeform 10">
                <a:extLst>
                  <a:ext uri="{FF2B5EF4-FFF2-40B4-BE49-F238E27FC236}">
                    <a16:creationId xmlns:a16="http://schemas.microsoft.com/office/drawing/2014/main" xmlns="" id="{5D7AA0DE-B492-45DD-B1B5-374EBDCDE8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7" y="555"/>
                <a:ext cx="893" cy="480"/>
              </a:xfrm>
              <a:custGeom>
                <a:avLst/>
                <a:gdLst>
                  <a:gd name="T0" fmla="*/ 0 w 715"/>
                  <a:gd name="T1" fmla="*/ 38 h 384"/>
                  <a:gd name="T2" fmla="*/ 0 w 715"/>
                  <a:gd name="T3" fmla="*/ 346 h 384"/>
                  <a:gd name="T4" fmla="*/ 38 w 715"/>
                  <a:gd name="T5" fmla="*/ 384 h 384"/>
                  <a:gd name="T6" fmla="*/ 715 w 715"/>
                  <a:gd name="T7" fmla="*/ 384 h 384"/>
                  <a:gd name="T8" fmla="*/ 482 w 715"/>
                  <a:gd name="T9" fmla="*/ 0 h 384"/>
                  <a:gd name="T10" fmla="*/ 38 w 715"/>
                  <a:gd name="T11" fmla="*/ 0 h 384"/>
                  <a:gd name="T12" fmla="*/ 0 w 715"/>
                  <a:gd name="T13" fmla="*/ 38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5" h="384">
                    <a:moveTo>
                      <a:pt x="0" y="38"/>
                    </a:move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ubicBezTo>
                      <a:pt x="715" y="384"/>
                      <a:pt x="715" y="384"/>
                      <a:pt x="715" y="384"/>
                    </a:cubicBezTo>
                    <a:cubicBezTo>
                      <a:pt x="660" y="242"/>
                      <a:pt x="581" y="113"/>
                      <a:pt x="482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27" name="Freeform 11">
                <a:extLst>
                  <a:ext uri="{FF2B5EF4-FFF2-40B4-BE49-F238E27FC236}">
                    <a16:creationId xmlns:a16="http://schemas.microsoft.com/office/drawing/2014/main" xmlns="" id="{0FC26F32-AC8C-4888-B023-AC66ED9EEF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110"/>
                <a:ext cx="507" cy="480"/>
              </a:xfrm>
              <a:custGeom>
                <a:avLst/>
                <a:gdLst>
                  <a:gd name="T0" fmla="*/ 368 w 406"/>
                  <a:gd name="T1" fmla="*/ 384 h 384"/>
                  <a:gd name="T2" fmla="*/ 406 w 406"/>
                  <a:gd name="T3" fmla="*/ 346 h 384"/>
                  <a:gd name="T4" fmla="*/ 406 w 406"/>
                  <a:gd name="T5" fmla="*/ 38 h 384"/>
                  <a:gd name="T6" fmla="*/ 368 w 406"/>
                  <a:gd name="T7" fmla="*/ 0 h 384"/>
                  <a:gd name="T8" fmla="*/ 66 w 406"/>
                  <a:gd name="T9" fmla="*/ 0 h 384"/>
                  <a:gd name="T10" fmla="*/ 0 w 406"/>
                  <a:gd name="T11" fmla="*/ 384 h 384"/>
                  <a:gd name="T12" fmla="*/ 368 w 406"/>
                  <a:gd name="T13" fmla="*/ 38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6" h="384">
                    <a:moveTo>
                      <a:pt x="368" y="384"/>
                    </a:moveTo>
                    <a:cubicBezTo>
                      <a:pt x="389" y="384"/>
                      <a:pt x="406" y="367"/>
                      <a:pt x="406" y="346"/>
                    </a:cubicBezTo>
                    <a:cubicBezTo>
                      <a:pt x="406" y="38"/>
                      <a:pt x="406" y="38"/>
                      <a:pt x="406" y="38"/>
                    </a:cubicBezTo>
                    <a:cubicBezTo>
                      <a:pt x="406" y="17"/>
                      <a:pt x="389" y="0"/>
                      <a:pt x="368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25" y="121"/>
                      <a:pt x="3" y="250"/>
                      <a:pt x="0" y="384"/>
                    </a:cubicBezTo>
                    <a:lnTo>
                      <a:pt x="368" y="3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28" name="Freeform 12">
                <a:extLst>
                  <a:ext uri="{FF2B5EF4-FFF2-40B4-BE49-F238E27FC236}">
                    <a16:creationId xmlns:a16="http://schemas.microsoft.com/office/drawing/2014/main" xmlns="" id="{3ACA78E0-AC09-442E-AA3E-6975699060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3" y="1110"/>
                <a:ext cx="1056" cy="480"/>
              </a:xfrm>
              <a:custGeom>
                <a:avLst/>
                <a:gdLst>
                  <a:gd name="T0" fmla="*/ 0 w 845"/>
                  <a:gd name="T1" fmla="*/ 38 h 384"/>
                  <a:gd name="T2" fmla="*/ 0 w 845"/>
                  <a:gd name="T3" fmla="*/ 346 h 384"/>
                  <a:gd name="T4" fmla="*/ 38 w 845"/>
                  <a:gd name="T5" fmla="*/ 384 h 384"/>
                  <a:gd name="T6" fmla="*/ 807 w 845"/>
                  <a:gd name="T7" fmla="*/ 384 h 384"/>
                  <a:gd name="T8" fmla="*/ 845 w 845"/>
                  <a:gd name="T9" fmla="*/ 346 h 384"/>
                  <a:gd name="T10" fmla="*/ 845 w 845"/>
                  <a:gd name="T11" fmla="*/ 38 h 384"/>
                  <a:gd name="T12" fmla="*/ 807 w 845"/>
                  <a:gd name="T13" fmla="*/ 0 h 384"/>
                  <a:gd name="T14" fmla="*/ 38 w 845"/>
                  <a:gd name="T15" fmla="*/ 0 h 384"/>
                  <a:gd name="T16" fmla="*/ 0 w 845"/>
                  <a:gd name="T17" fmla="*/ 38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5" h="384">
                    <a:moveTo>
                      <a:pt x="0" y="38"/>
                    </a:move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ubicBezTo>
                      <a:pt x="807" y="384"/>
                      <a:pt x="807" y="384"/>
                      <a:pt x="807" y="384"/>
                    </a:cubicBezTo>
                    <a:cubicBezTo>
                      <a:pt x="828" y="384"/>
                      <a:pt x="845" y="367"/>
                      <a:pt x="845" y="346"/>
                    </a:cubicBezTo>
                    <a:cubicBezTo>
                      <a:pt x="845" y="38"/>
                      <a:pt x="845" y="38"/>
                      <a:pt x="845" y="38"/>
                    </a:cubicBezTo>
                    <a:cubicBezTo>
                      <a:pt x="845" y="17"/>
                      <a:pt x="828" y="0"/>
                      <a:pt x="807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29" name="Freeform 13">
                <a:extLst>
                  <a:ext uri="{FF2B5EF4-FFF2-40B4-BE49-F238E27FC236}">
                    <a16:creationId xmlns:a16="http://schemas.microsoft.com/office/drawing/2014/main" xmlns="" id="{79EE4A5D-3619-4D75-9489-4D835F954C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" y="1110"/>
                <a:ext cx="1056" cy="480"/>
              </a:xfrm>
              <a:custGeom>
                <a:avLst/>
                <a:gdLst>
                  <a:gd name="T0" fmla="*/ 0 w 845"/>
                  <a:gd name="T1" fmla="*/ 38 h 384"/>
                  <a:gd name="T2" fmla="*/ 0 w 845"/>
                  <a:gd name="T3" fmla="*/ 346 h 384"/>
                  <a:gd name="T4" fmla="*/ 38 w 845"/>
                  <a:gd name="T5" fmla="*/ 384 h 384"/>
                  <a:gd name="T6" fmla="*/ 807 w 845"/>
                  <a:gd name="T7" fmla="*/ 384 h 384"/>
                  <a:gd name="T8" fmla="*/ 845 w 845"/>
                  <a:gd name="T9" fmla="*/ 346 h 384"/>
                  <a:gd name="T10" fmla="*/ 845 w 845"/>
                  <a:gd name="T11" fmla="*/ 38 h 384"/>
                  <a:gd name="T12" fmla="*/ 807 w 845"/>
                  <a:gd name="T13" fmla="*/ 0 h 384"/>
                  <a:gd name="T14" fmla="*/ 38 w 845"/>
                  <a:gd name="T15" fmla="*/ 0 h 384"/>
                  <a:gd name="T16" fmla="*/ 0 w 845"/>
                  <a:gd name="T17" fmla="*/ 38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5" h="384">
                    <a:moveTo>
                      <a:pt x="0" y="38"/>
                    </a:move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ubicBezTo>
                      <a:pt x="807" y="384"/>
                      <a:pt x="807" y="384"/>
                      <a:pt x="807" y="384"/>
                    </a:cubicBezTo>
                    <a:cubicBezTo>
                      <a:pt x="828" y="384"/>
                      <a:pt x="845" y="367"/>
                      <a:pt x="845" y="346"/>
                    </a:cubicBezTo>
                    <a:cubicBezTo>
                      <a:pt x="845" y="38"/>
                      <a:pt x="845" y="38"/>
                      <a:pt x="845" y="38"/>
                    </a:cubicBezTo>
                    <a:cubicBezTo>
                      <a:pt x="845" y="17"/>
                      <a:pt x="828" y="0"/>
                      <a:pt x="807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30" name="Freeform 14">
                <a:extLst>
                  <a:ext uri="{FF2B5EF4-FFF2-40B4-BE49-F238E27FC236}">
                    <a16:creationId xmlns:a16="http://schemas.microsoft.com/office/drawing/2014/main" xmlns="" id="{855F9C07-F5A6-4669-BD70-FF23182FDB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3" y="1110"/>
                <a:ext cx="426" cy="480"/>
              </a:xfrm>
              <a:custGeom>
                <a:avLst/>
                <a:gdLst>
                  <a:gd name="T0" fmla="*/ 38 w 341"/>
                  <a:gd name="T1" fmla="*/ 0 h 384"/>
                  <a:gd name="T2" fmla="*/ 0 w 341"/>
                  <a:gd name="T3" fmla="*/ 38 h 384"/>
                  <a:gd name="T4" fmla="*/ 0 w 341"/>
                  <a:gd name="T5" fmla="*/ 346 h 384"/>
                  <a:gd name="T6" fmla="*/ 38 w 341"/>
                  <a:gd name="T7" fmla="*/ 384 h 384"/>
                  <a:gd name="T8" fmla="*/ 341 w 341"/>
                  <a:gd name="T9" fmla="*/ 384 h 384"/>
                  <a:gd name="T10" fmla="*/ 275 w 341"/>
                  <a:gd name="T11" fmla="*/ 0 h 384"/>
                  <a:gd name="T12" fmla="*/ 38 w 341"/>
                  <a:gd name="T13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1" h="384">
                    <a:moveTo>
                      <a:pt x="38" y="0"/>
                    </a:moveTo>
                    <a:cubicBezTo>
                      <a:pt x="17" y="0"/>
                      <a:pt x="0" y="17"/>
                      <a:pt x="0" y="38"/>
                    </a:cubicBez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ubicBezTo>
                      <a:pt x="341" y="384"/>
                      <a:pt x="341" y="384"/>
                      <a:pt x="341" y="384"/>
                    </a:cubicBezTo>
                    <a:cubicBezTo>
                      <a:pt x="338" y="250"/>
                      <a:pt x="316" y="121"/>
                      <a:pt x="275" y="0"/>
                    </a:cubicBezTo>
                    <a:lnTo>
                      <a:pt x="3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31" name="Freeform 15">
                <a:extLst>
                  <a:ext uri="{FF2B5EF4-FFF2-40B4-BE49-F238E27FC236}">
                    <a16:creationId xmlns:a16="http://schemas.microsoft.com/office/drawing/2014/main" xmlns="" id="{84C24FA2-171F-4F1D-9D88-08F370799F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2" y="1665"/>
                <a:ext cx="1051" cy="480"/>
              </a:xfrm>
              <a:custGeom>
                <a:avLst/>
                <a:gdLst>
                  <a:gd name="T0" fmla="*/ 841 w 841"/>
                  <a:gd name="T1" fmla="*/ 346 h 384"/>
                  <a:gd name="T2" fmla="*/ 841 w 841"/>
                  <a:gd name="T3" fmla="*/ 38 h 384"/>
                  <a:gd name="T4" fmla="*/ 803 w 841"/>
                  <a:gd name="T5" fmla="*/ 0 h 384"/>
                  <a:gd name="T6" fmla="*/ 34 w 841"/>
                  <a:gd name="T7" fmla="*/ 0 h 384"/>
                  <a:gd name="T8" fmla="*/ 0 w 841"/>
                  <a:gd name="T9" fmla="*/ 19 h 384"/>
                  <a:gd name="T10" fmla="*/ 69 w 841"/>
                  <a:gd name="T11" fmla="*/ 384 h 384"/>
                  <a:gd name="T12" fmla="*/ 803 w 841"/>
                  <a:gd name="T13" fmla="*/ 384 h 384"/>
                  <a:gd name="T14" fmla="*/ 841 w 841"/>
                  <a:gd name="T15" fmla="*/ 346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1" h="384">
                    <a:moveTo>
                      <a:pt x="841" y="346"/>
                    </a:moveTo>
                    <a:cubicBezTo>
                      <a:pt x="841" y="38"/>
                      <a:pt x="841" y="38"/>
                      <a:pt x="841" y="38"/>
                    </a:cubicBezTo>
                    <a:cubicBezTo>
                      <a:pt x="841" y="17"/>
                      <a:pt x="824" y="0"/>
                      <a:pt x="803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19" y="0"/>
                      <a:pt x="7" y="8"/>
                      <a:pt x="0" y="19"/>
                    </a:cubicBezTo>
                    <a:cubicBezTo>
                      <a:pt x="6" y="147"/>
                      <a:pt x="29" y="269"/>
                      <a:pt x="69" y="384"/>
                    </a:cubicBezTo>
                    <a:cubicBezTo>
                      <a:pt x="803" y="384"/>
                      <a:pt x="803" y="384"/>
                      <a:pt x="803" y="384"/>
                    </a:cubicBezTo>
                    <a:cubicBezTo>
                      <a:pt x="824" y="384"/>
                      <a:pt x="841" y="367"/>
                      <a:pt x="841" y="3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32" name="Freeform 16">
                <a:extLst>
                  <a:ext uri="{FF2B5EF4-FFF2-40B4-BE49-F238E27FC236}">
                    <a16:creationId xmlns:a16="http://schemas.microsoft.com/office/drawing/2014/main" xmlns="" id="{4C240F2A-66B2-440D-9664-8F5607B61F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7" y="1665"/>
                <a:ext cx="1055" cy="480"/>
              </a:xfrm>
              <a:custGeom>
                <a:avLst/>
                <a:gdLst>
                  <a:gd name="T0" fmla="*/ 845 w 845"/>
                  <a:gd name="T1" fmla="*/ 346 h 384"/>
                  <a:gd name="T2" fmla="*/ 845 w 845"/>
                  <a:gd name="T3" fmla="*/ 38 h 384"/>
                  <a:gd name="T4" fmla="*/ 807 w 845"/>
                  <a:gd name="T5" fmla="*/ 0 h 384"/>
                  <a:gd name="T6" fmla="*/ 38 w 845"/>
                  <a:gd name="T7" fmla="*/ 0 h 384"/>
                  <a:gd name="T8" fmla="*/ 0 w 845"/>
                  <a:gd name="T9" fmla="*/ 38 h 384"/>
                  <a:gd name="T10" fmla="*/ 0 w 845"/>
                  <a:gd name="T11" fmla="*/ 346 h 384"/>
                  <a:gd name="T12" fmla="*/ 38 w 845"/>
                  <a:gd name="T13" fmla="*/ 384 h 384"/>
                  <a:gd name="T14" fmla="*/ 807 w 845"/>
                  <a:gd name="T15" fmla="*/ 384 h 384"/>
                  <a:gd name="T16" fmla="*/ 845 w 845"/>
                  <a:gd name="T17" fmla="*/ 346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5" h="384">
                    <a:moveTo>
                      <a:pt x="845" y="346"/>
                    </a:moveTo>
                    <a:cubicBezTo>
                      <a:pt x="845" y="38"/>
                      <a:pt x="845" y="38"/>
                      <a:pt x="845" y="38"/>
                    </a:cubicBezTo>
                    <a:cubicBezTo>
                      <a:pt x="845" y="17"/>
                      <a:pt x="828" y="0"/>
                      <a:pt x="807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ubicBezTo>
                      <a:pt x="807" y="384"/>
                      <a:pt x="807" y="384"/>
                      <a:pt x="807" y="384"/>
                    </a:cubicBezTo>
                    <a:cubicBezTo>
                      <a:pt x="828" y="384"/>
                      <a:pt x="845" y="367"/>
                      <a:pt x="845" y="3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33" name="Freeform 17">
                <a:extLst>
                  <a:ext uri="{FF2B5EF4-FFF2-40B4-BE49-F238E27FC236}">
                    <a16:creationId xmlns:a16="http://schemas.microsoft.com/office/drawing/2014/main" xmlns="" id="{1B9B0794-4663-47EE-8819-A0A5A5A34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7" y="1665"/>
                <a:ext cx="1001" cy="480"/>
              </a:xfrm>
              <a:custGeom>
                <a:avLst/>
                <a:gdLst>
                  <a:gd name="T0" fmla="*/ 801 w 801"/>
                  <a:gd name="T1" fmla="*/ 0 h 384"/>
                  <a:gd name="T2" fmla="*/ 38 w 801"/>
                  <a:gd name="T3" fmla="*/ 0 h 384"/>
                  <a:gd name="T4" fmla="*/ 0 w 801"/>
                  <a:gd name="T5" fmla="*/ 38 h 384"/>
                  <a:gd name="T6" fmla="*/ 0 w 801"/>
                  <a:gd name="T7" fmla="*/ 346 h 384"/>
                  <a:gd name="T8" fmla="*/ 38 w 801"/>
                  <a:gd name="T9" fmla="*/ 384 h 384"/>
                  <a:gd name="T10" fmla="*/ 732 w 801"/>
                  <a:gd name="T11" fmla="*/ 384 h 384"/>
                  <a:gd name="T12" fmla="*/ 801 w 801"/>
                  <a:gd name="T13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1" h="384">
                    <a:moveTo>
                      <a:pt x="801" y="0"/>
                    </a:move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ubicBezTo>
                      <a:pt x="732" y="384"/>
                      <a:pt x="732" y="384"/>
                      <a:pt x="732" y="384"/>
                    </a:cubicBezTo>
                    <a:cubicBezTo>
                      <a:pt x="774" y="263"/>
                      <a:pt x="798" y="134"/>
                      <a:pt x="80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34" name="Freeform 18">
                <a:extLst>
                  <a:ext uri="{FF2B5EF4-FFF2-40B4-BE49-F238E27FC236}">
                    <a16:creationId xmlns:a16="http://schemas.microsoft.com/office/drawing/2014/main" xmlns="" id="{02C82707-C5C5-40DE-A971-12092F1B9C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6" y="2220"/>
                <a:ext cx="392" cy="480"/>
              </a:xfrm>
              <a:custGeom>
                <a:avLst/>
                <a:gdLst>
                  <a:gd name="T0" fmla="*/ 314 w 314"/>
                  <a:gd name="T1" fmla="*/ 346 h 384"/>
                  <a:gd name="T2" fmla="*/ 314 w 314"/>
                  <a:gd name="T3" fmla="*/ 38 h 384"/>
                  <a:gd name="T4" fmla="*/ 276 w 314"/>
                  <a:gd name="T5" fmla="*/ 0 h 384"/>
                  <a:gd name="T6" fmla="*/ 0 w 314"/>
                  <a:gd name="T7" fmla="*/ 0 h 384"/>
                  <a:gd name="T8" fmla="*/ 238 w 314"/>
                  <a:gd name="T9" fmla="*/ 384 h 384"/>
                  <a:gd name="T10" fmla="*/ 276 w 314"/>
                  <a:gd name="T11" fmla="*/ 384 h 384"/>
                  <a:gd name="T12" fmla="*/ 314 w 314"/>
                  <a:gd name="T13" fmla="*/ 346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4" h="384">
                    <a:moveTo>
                      <a:pt x="314" y="346"/>
                    </a:moveTo>
                    <a:cubicBezTo>
                      <a:pt x="314" y="38"/>
                      <a:pt x="314" y="38"/>
                      <a:pt x="314" y="38"/>
                    </a:cubicBezTo>
                    <a:cubicBezTo>
                      <a:pt x="314" y="17"/>
                      <a:pt x="297" y="0"/>
                      <a:pt x="27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6" y="142"/>
                      <a:pt x="138" y="272"/>
                      <a:pt x="238" y="384"/>
                    </a:cubicBezTo>
                    <a:cubicBezTo>
                      <a:pt x="276" y="384"/>
                      <a:pt x="276" y="384"/>
                      <a:pt x="276" y="384"/>
                    </a:cubicBezTo>
                    <a:cubicBezTo>
                      <a:pt x="297" y="384"/>
                      <a:pt x="314" y="367"/>
                      <a:pt x="314" y="3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35" name="Freeform 19">
                <a:extLst>
                  <a:ext uri="{FF2B5EF4-FFF2-40B4-BE49-F238E27FC236}">
                    <a16:creationId xmlns:a16="http://schemas.microsoft.com/office/drawing/2014/main" xmlns="" id="{70D370F5-21B4-4A00-81BB-131551FF64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3" y="2220"/>
                <a:ext cx="1056" cy="480"/>
              </a:xfrm>
              <a:custGeom>
                <a:avLst/>
                <a:gdLst>
                  <a:gd name="T0" fmla="*/ 38 w 845"/>
                  <a:gd name="T1" fmla="*/ 384 h 384"/>
                  <a:gd name="T2" fmla="*/ 807 w 845"/>
                  <a:gd name="T3" fmla="*/ 384 h 384"/>
                  <a:gd name="T4" fmla="*/ 845 w 845"/>
                  <a:gd name="T5" fmla="*/ 346 h 384"/>
                  <a:gd name="T6" fmla="*/ 845 w 845"/>
                  <a:gd name="T7" fmla="*/ 38 h 384"/>
                  <a:gd name="T8" fmla="*/ 807 w 845"/>
                  <a:gd name="T9" fmla="*/ 0 h 384"/>
                  <a:gd name="T10" fmla="*/ 38 w 845"/>
                  <a:gd name="T11" fmla="*/ 0 h 384"/>
                  <a:gd name="T12" fmla="*/ 0 w 845"/>
                  <a:gd name="T13" fmla="*/ 38 h 384"/>
                  <a:gd name="T14" fmla="*/ 0 w 845"/>
                  <a:gd name="T15" fmla="*/ 346 h 384"/>
                  <a:gd name="T16" fmla="*/ 38 w 845"/>
                  <a:gd name="T17" fmla="*/ 38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5" h="384">
                    <a:moveTo>
                      <a:pt x="38" y="384"/>
                    </a:moveTo>
                    <a:cubicBezTo>
                      <a:pt x="807" y="384"/>
                      <a:pt x="807" y="384"/>
                      <a:pt x="807" y="384"/>
                    </a:cubicBezTo>
                    <a:cubicBezTo>
                      <a:pt x="828" y="384"/>
                      <a:pt x="845" y="367"/>
                      <a:pt x="845" y="346"/>
                    </a:cubicBezTo>
                    <a:cubicBezTo>
                      <a:pt x="845" y="38"/>
                      <a:pt x="845" y="38"/>
                      <a:pt x="845" y="38"/>
                    </a:cubicBezTo>
                    <a:cubicBezTo>
                      <a:pt x="845" y="17"/>
                      <a:pt x="828" y="0"/>
                      <a:pt x="807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36" name="Freeform 20">
                <a:extLst>
                  <a:ext uri="{FF2B5EF4-FFF2-40B4-BE49-F238E27FC236}">
                    <a16:creationId xmlns:a16="http://schemas.microsoft.com/office/drawing/2014/main" xmlns="" id="{E2F1CC23-F5B9-499A-A535-BD0D66A589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" y="2220"/>
                <a:ext cx="1056" cy="480"/>
              </a:xfrm>
              <a:custGeom>
                <a:avLst/>
                <a:gdLst>
                  <a:gd name="T0" fmla="*/ 38 w 845"/>
                  <a:gd name="T1" fmla="*/ 384 h 384"/>
                  <a:gd name="T2" fmla="*/ 807 w 845"/>
                  <a:gd name="T3" fmla="*/ 384 h 384"/>
                  <a:gd name="T4" fmla="*/ 845 w 845"/>
                  <a:gd name="T5" fmla="*/ 346 h 384"/>
                  <a:gd name="T6" fmla="*/ 845 w 845"/>
                  <a:gd name="T7" fmla="*/ 38 h 384"/>
                  <a:gd name="T8" fmla="*/ 807 w 845"/>
                  <a:gd name="T9" fmla="*/ 0 h 384"/>
                  <a:gd name="T10" fmla="*/ 38 w 845"/>
                  <a:gd name="T11" fmla="*/ 0 h 384"/>
                  <a:gd name="T12" fmla="*/ 0 w 845"/>
                  <a:gd name="T13" fmla="*/ 38 h 384"/>
                  <a:gd name="T14" fmla="*/ 0 w 845"/>
                  <a:gd name="T15" fmla="*/ 346 h 384"/>
                  <a:gd name="T16" fmla="*/ 38 w 845"/>
                  <a:gd name="T17" fmla="*/ 38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5" h="384">
                    <a:moveTo>
                      <a:pt x="38" y="384"/>
                    </a:moveTo>
                    <a:cubicBezTo>
                      <a:pt x="807" y="384"/>
                      <a:pt x="807" y="384"/>
                      <a:pt x="807" y="384"/>
                    </a:cubicBezTo>
                    <a:cubicBezTo>
                      <a:pt x="828" y="384"/>
                      <a:pt x="845" y="367"/>
                      <a:pt x="845" y="346"/>
                    </a:cubicBezTo>
                    <a:cubicBezTo>
                      <a:pt x="845" y="38"/>
                      <a:pt x="845" y="38"/>
                      <a:pt x="845" y="38"/>
                    </a:cubicBezTo>
                    <a:cubicBezTo>
                      <a:pt x="845" y="17"/>
                      <a:pt x="828" y="0"/>
                      <a:pt x="807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37" name="Freeform 21">
                <a:extLst>
                  <a:ext uri="{FF2B5EF4-FFF2-40B4-BE49-F238E27FC236}">
                    <a16:creationId xmlns:a16="http://schemas.microsoft.com/office/drawing/2014/main" xmlns="" id="{F73FEED3-7453-4D77-820E-0A6482CD65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3" y="2220"/>
                <a:ext cx="311" cy="473"/>
              </a:xfrm>
              <a:custGeom>
                <a:avLst/>
                <a:gdLst>
                  <a:gd name="T0" fmla="*/ 38 w 249"/>
                  <a:gd name="T1" fmla="*/ 0 h 378"/>
                  <a:gd name="T2" fmla="*/ 0 w 249"/>
                  <a:gd name="T3" fmla="*/ 38 h 378"/>
                  <a:gd name="T4" fmla="*/ 0 w 249"/>
                  <a:gd name="T5" fmla="*/ 346 h 378"/>
                  <a:gd name="T6" fmla="*/ 17 w 249"/>
                  <a:gd name="T7" fmla="*/ 378 h 378"/>
                  <a:gd name="T8" fmla="*/ 249 w 249"/>
                  <a:gd name="T9" fmla="*/ 0 h 378"/>
                  <a:gd name="T10" fmla="*/ 38 w 249"/>
                  <a:gd name="T11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9" h="378">
                    <a:moveTo>
                      <a:pt x="38" y="0"/>
                    </a:moveTo>
                    <a:cubicBezTo>
                      <a:pt x="17" y="0"/>
                      <a:pt x="0" y="17"/>
                      <a:pt x="0" y="38"/>
                    </a:cubicBez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59"/>
                      <a:pt x="6" y="371"/>
                      <a:pt x="17" y="378"/>
                    </a:cubicBezTo>
                    <a:cubicBezTo>
                      <a:pt x="114" y="267"/>
                      <a:pt x="194" y="139"/>
                      <a:pt x="249" y="0"/>
                    </a:cubicBezTo>
                    <a:lnTo>
                      <a:pt x="3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38" name="Freeform 22">
                <a:extLst>
                  <a:ext uri="{FF2B5EF4-FFF2-40B4-BE49-F238E27FC236}">
                    <a16:creationId xmlns:a16="http://schemas.microsoft.com/office/drawing/2014/main" xmlns="" id="{AA1B80A2-5E72-48F3-8191-D1023D8271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4" y="2775"/>
                <a:ext cx="569" cy="363"/>
              </a:xfrm>
              <a:custGeom>
                <a:avLst/>
                <a:gdLst>
                  <a:gd name="T0" fmla="*/ 455 w 455"/>
                  <a:gd name="T1" fmla="*/ 38 h 290"/>
                  <a:gd name="T2" fmla="*/ 417 w 455"/>
                  <a:gd name="T3" fmla="*/ 0 h 290"/>
                  <a:gd name="T4" fmla="*/ 0 w 455"/>
                  <a:gd name="T5" fmla="*/ 0 h 290"/>
                  <a:gd name="T6" fmla="*/ 455 w 455"/>
                  <a:gd name="T7" fmla="*/ 290 h 290"/>
                  <a:gd name="T8" fmla="*/ 455 w 455"/>
                  <a:gd name="T9" fmla="*/ 38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5" h="290">
                    <a:moveTo>
                      <a:pt x="455" y="38"/>
                    </a:moveTo>
                    <a:cubicBezTo>
                      <a:pt x="455" y="17"/>
                      <a:pt x="438" y="0"/>
                      <a:pt x="4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8" y="126"/>
                      <a:pt x="283" y="226"/>
                      <a:pt x="455" y="290"/>
                    </a:cubicBezTo>
                    <a:lnTo>
                      <a:pt x="455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39" name="Freeform 23">
                <a:extLst>
                  <a:ext uri="{FF2B5EF4-FFF2-40B4-BE49-F238E27FC236}">
                    <a16:creationId xmlns:a16="http://schemas.microsoft.com/office/drawing/2014/main" xmlns="" id="{D32A2791-2680-4431-B730-A7D534D567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7" y="2775"/>
                <a:ext cx="1055" cy="465"/>
              </a:xfrm>
              <a:custGeom>
                <a:avLst/>
                <a:gdLst>
                  <a:gd name="T0" fmla="*/ 845 w 845"/>
                  <a:gd name="T1" fmla="*/ 294 h 372"/>
                  <a:gd name="T2" fmla="*/ 845 w 845"/>
                  <a:gd name="T3" fmla="*/ 38 h 372"/>
                  <a:gd name="T4" fmla="*/ 807 w 845"/>
                  <a:gd name="T5" fmla="*/ 0 h 372"/>
                  <a:gd name="T6" fmla="*/ 38 w 845"/>
                  <a:gd name="T7" fmla="*/ 0 h 372"/>
                  <a:gd name="T8" fmla="*/ 0 w 845"/>
                  <a:gd name="T9" fmla="*/ 38 h 372"/>
                  <a:gd name="T10" fmla="*/ 0 w 845"/>
                  <a:gd name="T11" fmla="*/ 308 h 372"/>
                  <a:gd name="T12" fmla="*/ 403 w 845"/>
                  <a:gd name="T13" fmla="*/ 372 h 372"/>
                  <a:gd name="T14" fmla="*/ 845 w 845"/>
                  <a:gd name="T15" fmla="*/ 294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5" h="372">
                    <a:moveTo>
                      <a:pt x="845" y="294"/>
                    </a:moveTo>
                    <a:cubicBezTo>
                      <a:pt x="845" y="38"/>
                      <a:pt x="845" y="38"/>
                      <a:pt x="845" y="38"/>
                    </a:cubicBezTo>
                    <a:cubicBezTo>
                      <a:pt x="845" y="17"/>
                      <a:pt x="828" y="0"/>
                      <a:pt x="807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308"/>
                      <a:pt x="0" y="308"/>
                      <a:pt x="0" y="308"/>
                    </a:cubicBezTo>
                    <a:cubicBezTo>
                      <a:pt x="127" y="349"/>
                      <a:pt x="262" y="372"/>
                      <a:pt x="403" y="372"/>
                    </a:cubicBezTo>
                    <a:cubicBezTo>
                      <a:pt x="558" y="372"/>
                      <a:pt x="707" y="345"/>
                      <a:pt x="845" y="29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40" name="Freeform 24">
                <a:extLst>
                  <a:ext uri="{FF2B5EF4-FFF2-40B4-BE49-F238E27FC236}">
                    <a16:creationId xmlns:a16="http://schemas.microsoft.com/office/drawing/2014/main" xmlns="" id="{4AA6DC12-4A72-4A09-8FC4-97B624ECE1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7" y="2775"/>
                <a:ext cx="519" cy="344"/>
              </a:xfrm>
              <a:custGeom>
                <a:avLst/>
                <a:gdLst>
                  <a:gd name="T0" fmla="*/ 38 w 415"/>
                  <a:gd name="T1" fmla="*/ 0 h 275"/>
                  <a:gd name="T2" fmla="*/ 0 w 415"/>
                  <a:gd name="T3" fmla="*/ 38 h 275"/>
                  <a:gd name="T4" fmla="*/ 0 w 415"/>
                  <a:gd name="T5" fmla="*/ 275 h 275"/>
                  <a:gd name="T6" fmla="*/ 415 w 415"/>
                  <a:gd name="T7" fmla="*/ 0 h 275"/>
                  <a:gd name="T8" fmla="*/ 38 w 415"/>
                  <a:gd name="T9" fmla="*/ 0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5" h="275">
                    <a:moveTo>
                      <a:pt x="38" y="0"/>
                    </a:moveTo>
                    <a:cubicBezTo>
                      <a:pt x="17" y="0"/>
                      <a:pt x="0" y="17"/>
                      <a:pt x="0" y="38"/>
                    </a:cubicBezTo>
                    <a:cubicBezTo>
                      <a:pt x="0" y="275"/>
                      <a:pt x="0" y="275"/>
                      <a:pt x="0" y="275"/>
                    </a:cubicBezTo>
                    <a:cubicBezTo>
                      <a:pt x="156" y="210"/>
                      <a:pt x="297" y="116"/>
                      <a:pt x="415" y="0"/>
                    </a:cubicBezTo>
                    <a:lnTo>
                      <a:pt x="3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grpSp>
        <p:nvGrpSpPr>
          <p:cNvPr id="1618" name="Group 1617">
            <a:extLst>
              <a:ext uri="{FF2B5EF4-FFF2-40B4-BE49-F238E27FC236}">
                <a16:creationId xmlns:a16="http://schemas.microsoft.com/office/drawing/2014/main" xmlns="" id="{3BF811DD-457D-4C6F-A5E6-493C3647B936}"/>
              </a:ext>
            </a:extLst>
          </p:cNvPr>
          <p:cNvGrpSpPr/>
          <p:nvPr/>
        </p:nvGrpSpPr>
        <p:grpSpPr>
          <a:xfrm>
            <a:off x="4897606" y="1560778"/>
            <a:ext cx="894738" cy="465927"/>
            <a:chOff x="3719147" y="303257"/>
            <a:chExt cx="531191" cy="465927"/>
          </a:xfrm>
        </p:grpSpPr>
        <p:sp>
          <p:nvSpPr>
            <p:cNvPr id="1625" name="Isosceles Triangle 1624">
              <a:extLst>
                <a:ext uri="{FF2B5EF4-FFF2-40B4-BE49-F238E27FC236}">
                  <a16:creationId xmlns:a16="http://schemas.microsoft.com/office/drawing/2014/main" xmlns="" id="{3FD22C94-A7C0-4247-8259-B838A55C2DA0}"/>
                </a:ext>
              </a:extLst>
            </p:cNvPr>
            <p:cNvSpPr/>
            <p:nvPr/>
          </p:nvSpPr>
          <p:spPr>
            <a:xfrm flipV="1">
              <a:off x="3995204" y="600121"/>
              <a:ext cx="196113" cy="169063"/>
            </a:xfrm>
            <a:prstGeom prst="triangl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24" name="Rectangle: Rounded Corners 1623">
              <a:extLst>
                <a:ext uri="{FF2B5EF4-FFF2-40B4-BE49-F238E27FC236}">
                  <a16:creationId xmlns:a16="http://schemas.microsoft.com/office/drawing/2014/main" xmlns="" id="{3A6A2455-86F5-4604-8733-AB0435C09CEF}"/>
                </a:ext>
              </a:extLst>
            </p:cNvPr>
            <p:cNvSpPr/>
            <p:nvPr/>
          </p:nvSpPr>
          <p:spPr>
            <a:xfrm>
              <a:off x="3719147" y="303257"/>
              <a:ext cx="531191" cy="379815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East-West</a:t>
              </a:r>
              <a:endParaRPr lang="en-US" sz="11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grpSp>
        <p:nvGrpSpPr>
          <p:cNvPr id="1626" name="Group 1625">
            <a:extLst>
              <a:ext uri="{FF2B5EF4-FFF2-40B4-BE49-F238E27FC236}">
                <a16:creationId xmlns:a16="http://schemas.microsoft.com/office/drawing/2014/main" xmlns="" id="{2004528E-C52D-43E9-A740-733B99C62F11}"/>
              </a:ext>
            </a:extLst>
          </p:cNvPr>
          <p:cNvGrpSpPr/>
          <p:nvPr/>
        </p:nvGrpSpPr>
        <p:grpSpPr>
          <a:xfrm flipH="1">
            <a:off x="6300157" y="1743106"/>
            <a:ext cx="1050138" cy="379815"/>
            <a:chOff x="3744119" y="303257"/>
            <a:chExt cx="579787" cy="379815"/>
          </a:xfrm>
          <a:solidFill>
            <a:schemeClr val="accent5"/>
          </a:solidFill>
        </p:grpSpPr>
        <p:sp>
          <p:nvSpPr>
            <p:cNvPr id="1628" name="Isosceles Triangle 1627">
              <a:extLst>
                <a:ext uri="{FF2B5EF4-FFF2-40B4-BE49-F238E27FC236}">
                  <a16:creationId xmlns:a16="http://schemas.microsoft.com/office/drawing/2014/main" xmlns="" id="{B5309D6E-917E-4DCE-802D-24DCFB6B6080}"/>
                </a:ext>
              </a:extLst>
            </p:cNvPr>
            <p:cNvSpPr/>
            <p:nvPr/>
          </p:nvSpPr>
          <p:spPr>
            <a:xfrm rot="16200000" flipV="1">
              <a:off x="4151235" y="445280"/>
              <a:ext cx="212595" cy="132747"/>
            </a:xfrm>
            <a:prstGeom prst="triangl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27" name="Rectangle: Rounded Corners 1626">
              <a:extLst>
                <a:ext uri="{FF2B5EF4-FFF2-40B4-BE49-F238E27FC236}">
                  <a16:creationId xmlns:a16="http://schemas.microsoft.com/office/drawing/2014/main" xmlns="" id="{7BB8A895-0374-47CB-BF45-EF153BB989CE}"/>
                </a:ext>
              </a:extLst>
            </p:cNvPr>
            <p:cNvSpPr/>
            <p:nvPr/>
          </p:nvSpPr>
          <p:spPr>
            <a:xfrm>
              <a:off x="3744119" y="303257"/>
              <a:ext cx="506219" cy="379815"/>
            </a:xfrm>
            <a:prstGeom prst="round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Process to Process</a:t>
              </a:r>
              <a:endParaRPr lang="en-US" sz="11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grpSp>
        <p:nvGrpSpPr>
          <p:cNvPr id="1629" name="Group 1628">
            <a:extLst>
              <a:ext uri="{FF2B5EF4-FFF2-40B4-BE49-F238E27FC236}">
                <a16:creationId xmlns:a16="http://schemas.microsoft.com/office/drawing/2014/main" xmlns="" id="{79D1BBD6-E1DA-4F95-8BF1-4D83764287B5}"/>
              </a:ext>
            </a:extLst>
          </p:cNvPr>
          <p:cNvGrpSpPr/>
          <p:nvPr/>
        </p:nvGrpSpPr>
        <p:grpSpPr>
          <a:xfrm>
            <a:off x="4191316" y="2974615"/>
            <a:ext cx="1038941" cy="547377"/>
            <a:chOff x="3257983" y="200071"/>
            <a:chExt cx="992354" cy="547377"/>
          </a:xfrm>
        </p:grpSpPr>
        <p:sp>
          <p:nvSpPr>
            <p:cNvPr id="1630" name="Isosceles Triangle 1629">
              <a:extLst>
                <a:ext uri="{FF2B5EF4-FFF2-40B4-BE49-F238E27FC236}">
                  <a16:creationId xmlns:a16="http://schemas.microsoft.com/office/drawing/2014/main" xmlns="" id="{94BECC64-0268-4D1A-B6E1-1355063CD487}"/>
                </a:ext>
              </a:extLst>
            </p:cNvPr>
            <p:cNvSpPr/>
            <p:nvPr/>
          </p:nvSpPr>
          <p:spPr>
            <a:xfrm>
              <a:off x="3995204" y="200071"/>
              <a:ext cx="196113" cy="169063"/>
            </a:xfrm>
            <a:prstGeom prst="triangl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31" name="Rectangle: Rounded Corners 1630">
              <a:extLst>
                <a:ext uri="{FF2B5EF4-FFF2-40B4-BE49-F238E27FC236}">
                  <a16:creationId xmlns:a16="http://schemas.microsoft.com/office/drawing/2014/main" xmlns="" id="{ACAC4AA5-906A-4C13-804E-055A5E615FB2}"/>
                </a:ext>
              </a:extLst>
            </p:cNvPr>
            <p:cNvSpPr/>
            <p:nvPr/>
          </p:nvSpPr>
          <p:spPr>
            <a:xfrm>
              <a:off x="3257983" y="303257"/>
              <a:ext cx="992354" cy="444191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 smtClean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North-South Perimeter</a:t>
              </a:r>
              <a:endParaRPr lang="en-US" sz="11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sp>
        <p:nvSpPr>
          <p:cNvPr id="1416" name="Rectangle: Rounded Corners 30">
            <a:extLst>
              <a:ext uri="{FF2B5EF4-FFF2-40B4-BE49-F238E27FC236}">
                <a16:creationId xmlns:a16="http://schemas.microsoft.com/office/drawing/2014/main" xmlns="" id="{BDD1837A-886D-40A3-8B58-B970F3C1C40C}"/>
              </a:ext>
            </a:extLst>
          </p:cNvPr>
          <p:cNvSpPr/>
          <p:nvPr/>
        </p:nvSpPr>
        <p:spPr>
          <a:xfrm>
            <a:off x="453012" y="3582441"/>
            <a:ext cx="1224049" cy="269045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55159" y="3170348"/>
            <a:ext cx="1224049" cy="269045"/>
            <a:chOff x="455159" y="3170348"/>
            <a:chExt cx="1224049" cy="269045"/>
          </a:xfrm>
          <a:solidFill>
            <a:schemeClr val="accent2"/>
          </a:solidFill>
        </p:grpSpPr>
        <p:sp>
          <p:nvSpPr>
            <p:cNvPr id="1415" name="Rectangle: Rounded Corners 30">
              <a:extLst>
                <a:ext uri="{FF2B5EF4-FFF2-40B4-BE49-F238E27FC236}">
                  <a16:creationId xmlns:a16="http://schemas.microsoft.com/office/drawing/2014/main" xmlns="" id="{BDD1837A-886D-40A3-8B58-B970F3C1C40C}"/>
                </a:ext>
              </a:extLst>
            </p:cNvPr>
            <p:cNvSpPr/>
            <p:nvPr/>
          </p:nvSpPr>
          <p:spPr>
            <a:xfrm>
              <a:off x="455159" y="3170348"/>
              <a:ext cx="1224049" cy="269045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417" name="Rectangle 1416">
              <a:extLst>
                <a:ext uri="{FF2B5EF4-FFF2-40B4-BE49-F238E27FC236}">
                  <a16:creationId xmlns:a16="http://schemas.microsoft.com/office/drawing/2014/main" xmlns="" id="{67B3A002-29DF-4AAC-B80F-4975850276B9}"/>
                </a:ext>
              </a:extLst>
            </p:cNvPr>
            <p:cNvSpPr/>
            <p:nvPr/>
          </p:nvSpPr>
          <p:spPr>
            <a:xfrm>
              <a:off x="510757" y="3171720"/>
              <a:ext cx="808235" cy="261610"/>
            </a:xfrm>
            <a:prstGeom prst="rect">
              <a:avLst/>
            </a:prstGeom>
            <a:grpFill/>
          </p:spPr>
          <p:txBody>
            <a:bodyPr wrap="none" anchor="ctr">
              <a:spAutoFit/>
            </a:bodyPr>
            <a:lstStyle/>
            <a:p>
              <a:r>
                <a:rPr lang="en-US" sz="1100" dirty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Cisco </a:t>
              </a:r>
              <a:r>
                <a:rPr lang="en-US" sz="1100" dirty="0" smtClean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ACI</a:t>
              </a:r>
              <a:endParaRPr lang="en-US" sz="14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sp>
        <p:nvSpPr>
          <p:cNvPr id="1441" name="Rectangle 1440">
            <a:extLst>
              <a:ext uri="{FF2B5EF4-FFF2-40B4-BE49-F238E27FC236}">
                <a16:creationId xmlns:a16="http://schemas.microsoft.com/office/drawing/2014/main" xmlns="" id="{67B3A002-29DF-4AAC-B80F-4975850276B9}"/>
              </a:ext>
            </a:extLst>
          </p:cNvPr>
          <p:cNvSpPr/>
          <p:nvPr/>
        </p:nvSpPr>
        <p:spPr>
          <a:xfrm>
            <a:off x="479719" y="3579357"/>
            <a:ext cx="1184940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1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Cisco </a:t>
            </a:r>
            <a:r>
              <a:rPr lang="en-US" sz="1100" dirty="0" err="1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Tetration</a:t>
            </a:r>
            <a:r>
              <a:rPr lang="en-US" sz="11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 </a:t>
            </a:r>
            <a:endParaRPr lang="en-US" sz="1400" dirty="0">
              <a:solidFill>
                <a:schemeClr val="bg2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615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4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10" fill="hold"/>
                                        <p:tgtEl>
                                          <p:spTgt spid="1075"/>
                                        </p:tgtEl>
                                      </p:cBhvr>
                                      <p:by x="75190" y="7519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3.7037E-6 L -0.23854 0.00124 " pathEditMode="relative" rAng="0" ptsTypes="AA">
                                      <p:cBhvr>
                                        <p:cTn id="11" dur="10" fill="hold"/>
                                        <p:tgtEl>
                                          <p:spTgt spid="10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927" y="62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42" presetClass="path" presetSubtype="0" accel="50000" decel="50000" fill="hold" grpId="2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1.66667E-6 -3.7037E-6 L -0.23854 0.00124 " pathEditMode="relative" rAng="0" ptsTypes="AA">
                                      <p:cBhvr>
                                        <p:cTn id="13" dur="2000" spd="-100000" fill="hold"/>
                                        <p:tgtEl>
                                          <p:spTgt spid="10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927" y="62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6" presetClass="emph" presetSubtype="0" accel="50000" decel="50000" fill="hold" grpId="3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5" dur="2000" fill="hold"/>
                                        <p:tgtEl>
                                          <p:spTgt spid="1075"/>
                                        </p:tgtEl>
                                      </p:cBhvr>
                                      <p:by x="133000" y="133000"/>
                                    </p:animScale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1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1000"/>
                                        <p:tgtEl>
                                          <p:spTgt spid="34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4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0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10" fill="hold"/>
                                        <p:tgtEl>
                                          <p:spTgt spid="1087"/>
                                        </p:tgtEl>
                                      </p:cBhvr>
                                      <p:by x="75190" y="7519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3.7037E-6 L -0.23854 0.00124 " pathEditMode="relative" rAng="0" ptsTypes="AA">
                                      <p:cBhvr>
                                        <p:cTn id="25" dur="10" fill="hold"/>
                                        <p:tgtEl>
                                          <p:spTgt spid="10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927" y="62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42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1.66667E-6 -3.7037E-6 L -0.23854 0.00124 " pathEditMode="relative" rAng="0" ptsTypes="AA">
                                      <p:cBhvr>
                                        <p:cTn id="27" dur="2000" spd="-100000" fill="hold"/>
                                        <p:tgtEl>
                                          <p:spTgt spid="10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927" y="62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6" presetClass="emp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29" dur="2000" fill="hold"/>
                                        <p:tgtEl>
                                          <p:spTgt spid="1087"/>
                                        </p:tgtEl>
                                      </p:cBhvr>
                                      <p:by x="133000" y="133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10" presetClass="exit" presetSubtype="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4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5" presetClass="emph" presetSubtype="0" repeatCount="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44" dur="1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63" presetClass="path" presetSubtype="0" ac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1.23457E-7 L 0.01094 1.23457E-7 " pathEditMode="relative" rAng="0" ptsTypes="AA">
                                      <p:cBhvr>
                                        <p:cTn id="46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38" y="0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1094 1.23457E-7 L 3.88889E-6 1.23457E-7 " pathEditMode="relative" rAng="0" ptsTypes="AA">
                                      <p:cBhvr>
                                        <p:cTn id="48" dur="75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750"/>
                            </p:stCondLst>
                            <p:childTnLst>
                              <p:par>
                                <p:cTn id="5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1000"/>
                                        <p:tgtEl>
                                          <p:spTgt spid="38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8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6" presetClass="emph" presetSubtype="0" repeatCount="indefinite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6" dur="1000" fill="hold"/>
                                        <p:tgtEl>
                                          <p:spTgt spid="3831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38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38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250"/>
                                        <p:tgtEl>
                                          <p:spTgt spid="38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6" presetClass="entr" presetSubtype="4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1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grpId="1" nodeType="withEffect">
                                  <p:stCondLst>
                                    <p:cond delay="24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ntr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42" presetClass="path" presetSubtype="0" decel="10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4.16667E-6 -2.22222E-6 L 0.05625 0.03395 " pathEditMode="relative" rAng="0" ptsTypes="AA">
                                      <p:cBhvr>
                                        <p:cTn id="88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1698"/>
                                    </p:animMotion>
                                  </p:childTnLst>
                                </p:cTn>
                              </p:par>
                              <p:par>
                                <p:cTn id="89" presetID="6" presetClass="emph" presetSubtype="0" decel="10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Scale>
                                      <p:cBhvr>
                                        <p:cTn id="90" dur="2000" fill="hold"/>
                                        <p:tgtEl>
                                          <p:spTgt spid="34"/>
                                        </p:tgtEl>
                                      </p:cBhvr>
                                      <p:by x="35000" y="35000"/>
                                    </p:animScale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6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42" presetClass="path" presetSubtype="0" decel="10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4.16667E-6 -2.22222E-6 L 0.05607 -0.11234 " pathEditMode="relative" rAng="0" ptsTypes="AA">
                                      <p:cBhvr>
                                        <p:cTn id="95" dur="2000" fill="hold"/>
                                        <p:tgtEl>
                                          <p:spTgt spid="16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95" y="-5617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6" presetClass="emph" presetSubtype="0" decel="10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Scale>
                                      <p:cBhvr>
                                        <p:cTn id="97" dur="2000" fill="hold"/>
                                        <p:tgtEl>
                                          <p:spTgt spid="1616"/>
                                        </p:tgtEl>
                                      </p:cBhvr>
                                      <p:by x="35000" y="35000"/>
                                    </p:animScale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42" presetClass="path" presetSubtype="0" decel="10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4.16667E-6 -4.93827E-6 L 0.11145 0.00865 " pathEditMode="relative" rAng="0" ptsTypes="AA">
                                      <p:cBhvr>
                                        <p:cTn id="102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573" y="432"/>
                                    </p:animMotion>
                                  </p:childTnLst>
                                </p:cTn>
                              </p:par>
                              <p:par>
                                <p:cTn id="103" presetID="6" presetClass="emph" presetSubtype="0" decel="100000" fill="hold" nodeType="withEffect">
                                  <p:stCondLst>
                                    <p:cond delay="1240"/>
                                  </p:stCondLst>
                                  <p:childTnLst>
                                    <p:animScale>
                                      <p:cBhvr>
                                        <p:cTn id="104" dur="2000" fill="hold"/>
                                        <p:tgtEl>
                                          <p:spTgt spid="33"/>
                                        </p:tgtEl>
                                      </p:cBhvr>
                                      <p:by x="35000" y="35000"/>
                                    </p:animScale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6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42" presetClass="path" presetSubtype="0" decel="10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4.16667E-6 -4.93827E-6 L 0.11145 -0.13549 " pathEditMode="relative" rAng="0" ptsTypes="AA">
                                      <p:cBhvr>
                                        <p:cTn id="109" dur="2000" fill="hold"/>
                                        <p:tgtEl>
                                          <p:spTgt spid="16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573" y="-6790"/>
                                    </p:animMotion>
                                  </p:childTnLst>
                                </p:cTn>
                              </p:par>
                              <p:par>
                                <p:cTn id="110" presetID="6" presetClass="emph" presetSubtype="0" decel="10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Scale>
                                      <p:cBhvr>
                                        <p:cTn id="111" dur="2000" fill="hold"/>
                                        <p:tgtEl>
                                          <p:spTgt spid="1615"/>
                                        </p:tgtEl>
                                      </p:cBhvr>
                                      <p:by x="35000" y="35000"/>
                                    </p:animScale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6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6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6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0" presetClass="path" presetSubtype="0" repeatCount="indefinite" fill="hold" grpId="0" nodeType="withEffect">
                                  <p:stCondLst>
                                    <p:cond delay="4500"/>
                                  </p:stCondLst>
                                  <p:childTnLst>
                                    <p:animMotion origin="layout" path="M 0.00035 -0.00123 L 0.12535 -0.00123 L 0.12535 -0.07284 L 0.23368 -0.07284 L 0.23368 -2.22222E-6 L 0.59549 -2.22222E-6 L 0.59549 -0.07284 L 0.62466 -0.07284 " pathEditMode="relative" ptsTypes="AAAAAAAA">
                                      <p:cBhvr>
                                        <p:cTn id="122" dur="4000" fill="hold"/>
                                        <p:tgtEl>
                                          <p:spTgt spid="39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23" presetID="0" presetClass="path" presetSubtype="0" repeatCount="indefinite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00035 -0.00123 L 0.12535 -0.00123 L 0.12535 -0.07284 L 0.23368 -0.07284 L 0.23368 -2.22222E-6 L 0.59549 -2.22222E-6 L 0.59549 -0.07284 L 0.62466 -0.07284 " pathEditMode="relative" rAng="0" ptsTypes="AAAAAAAA">
                                      <p:cBhvr>
                                        <p:cTn id="124" dur="3740" fill="hold"/>
                                        <p:tgtEl>
                                          <p:spTgt spid="39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215" y="-3519"/>
                                    </p:animMotion>
                                  </p:childTnLst>
                                </p:cTn>
                              </p:par>
                              <p:par>
                                <p:cTn id="125" presetID="0" presetClass="path" presetSubtype="0" repeatCount="indefinite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.00035 -0.00123 L 0.12535 -0.00123 L 0.12535 -0.07284 L 0.23368 -0.07284 L 0.23368 -2.22222E-6 L 0.59549 -2.22222E-6 L 0.59549 -0.07284 L 0.62466 -0.07284 " pathEditMode="relative" rAng="0" ptsTypes="AAAAAAAA">
                                      <p:cBhvr>
                                        <p:cTn id="126" dur="4250" fill="hold"/>
                                        <p:tgtEl>
                                          <p:spTgt spid="39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215" y="-3519"/>
                                    </p:animMotion>
                                  </p:childTnLst>
                                </p:cTn>
                              </p:par>
                              <p:par>
                                <p:cTn id="127" presetID="0" presetClass="path" presetSubtype="0" repeatCount="indefinite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00035 -0.00123 L 0.12535 -0.00123 L 0.12535 -0.07284 L 0.23368 -0.07284 L 0.23368 -2.22222E-6 L 0.59549 -2.22222E-6 L 0.59549 -0.07284 L 0.62466 -0.07284 " pathEditMode="relative" rAng="0" ptsTypes="AAAAAAAA">
                                      <p:cBhvr>
                                        <p:cTn id="128" dur="3740" fill="hold"/>
                                        <p:tgtEl>
                                          <p:spTgt spid="39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215" y="-3519"/>
                                    </p:animMotion>
                                  </p:childTnLst>
                                </p:cTn>
                              </p:par>
                              <p:par>
                                <p:cTn id="129" presetID="0" presetClass="path" presetSubtype="0" repeatCount="indefinite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animMotion origin="layout" path="M 0.00035 -0.00123 L 0.12535 -0.00123 L 0.12535 -0.07284 L 0.23368 -0.07284 L 0.23368 -2.22222E-6 L 0.59549 -2.22222E-6 L 0.59549 -0.07284 L 0.62466 -0.07284 " pathEditMode="relative" rAng="0" ptsTypes="AAAAAAAA">
                                      <p:cBhvr>
                                        <p:cTn id="130" dur="3750" fill="hold"/>
                                        <p:tgtEl>
                                          <p:spTgt spid="39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215" y="-3519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0" presetClass="path" presetSubtype="0" repeatCount="indefinite" fill="hold" grpId="0" nodeType="withEffect">
                                  <p:stCondLst>
                                    <p:cond delay="2750"/>
                                  </p:stCondLst>
                                  <p:childTnLst>
                                    <p:animMotion origin="layout" path="M 0.00035 -0.00123 L 0.12535 -0.00123 L 0.12535 -0.07284 L 0.23368 -0.07284 L 0.23368 -2.22222E-6 L 0.59549 -2.22222E-6 L 0.59549 -0.07284 L 0.62466 -0.07284 " pathEditMode="relative" rAng="0" ptsTypes="AAAAAAAA">
                                      <p:cBhvr>
                                        <p:cTn id="132" dur="4250" fill="hold"/>
                                        <p:tgtEl>
                                          <p:spTgt spid="39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215" y="-35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44" grpId="0" animBg="1"/>
      <p:bldP spid="3923" grpId="0" animBg="1"/>
      <p:bldP spid="3923" grpId="1" animBg="1"/>
      <p:bldP spid="3924" grpId="0" animBg="1"/>
      <p:bldP spid="3924" grpId="1" animBg="1"/>
      <p:bldP spid="3925" grpId="0" animBg="1"/>
      <p:bldP spid="3925" grpId="1" animBg="1"/>
      <p:bldP spid="3926" grpId="0" animBg="1"/>
      <p:bldP spid="3926" grpId="1" animBg="1"/>
      <p:bldP spid="3927" grpId="0" animBg="1"/>
      <p:bldP spid="3927" grpId="1" animBg="1"/>
      <p:bldP spid="3928" grpId="0" animBg="1"/>
      <p:bldP spid="3928" grpId="1" animBg="1"/>
      <p:bldP spid="1075" grpId="0" animBg="1"/>
      <p:bldP spid="1075" grpId="1" animBg="1"/>
      <p:bldP spid="1075" grpId="2" animBg="1"/>
      <p:bldP spid="1075" grpId="3" animBg="1"/>
      <p:bldP spid="1075" grpId="4" animBg="1"/>
      <p:bldP spid="48" grpId="0" animBg="1"/>
      <p:bldP spid="3818" grpId="0" animBg="1"/>
      <p:bldP spid="3819" grpId="0" animBg="1"/>
      <p:bldP spid="3820" grpId="0" animBg="1"/>
      <p:bldP spid="3831" grpId="0" animBg="1"/>
      <p:bldP spid="3831" grpId="1" animBg="1"/>
      <p:bldP spid="3831" grpId="2" animBg="1"/>
      <p:bldP spid="6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9A1242C5-353F-4E0D-B96B-F4B4FCB66C4E}"/>
              </a:ext>
            </a:extLst>
          </p:cNvPr>
          <p:cNvSpPr/>
          <p:nvPr/>
        </p:nvSpPr>
        <p:spPr>
          <a:xfrm>
            <a:off x="0" y="4533900"/>
            <a:ext cx="4048125" cy="6096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2602" name="Group 2380">
            <a:extLst>
              <a:ext uri="{FF2B5EF4-FFF2-40B4-BE49-F238E27FC236}">
                <a16:creationId xmlns:a16="http://schemas.microsoft.com/office/drawing/2014/main" xmlns="" id="{0EDEE642-4793-44E0-94E8-2A77AECB015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37917" y="-212530"/>
            <a:ext cx="6429375" cy="6374289"/>
            <a:chOff x="1246" y="0"/>
            <a:chExt cx="3268" cy="3240"/>
          </a:xfrm>
        </p:grpSpPr>
        <p:grpSp>
          <p:nvGrpSpPr>
            <p:cNvPr id="2604" name="Group 2581">
              <a:extLst>
                <a:ext uri="{FF2B5EF4-FFF2-40B4-BE49-F238E27FC236}">
                  <a16:creationId xmlns:a16="http://schemas.microsoft.com/office/drawing/2014/main" xmlns="" id="{EEF02138-350E-4B6F-A9F9-3E6ABF8E47A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76" y="30"/>
              <a:ext cx="3178" cy="3180"/>
              <a:chOff x="1276" y="30"/>
              <a:chExt cx="3178" cy="3180"/>
            </a:xfrm>
          </p:grpSpPr>
          <p:sp>
            <p:nvSpPr>
              <p:cNvPr id="3192" name="Line 2381">
                <a:extLst>
                  <a:ext uri="{FF2B5EF4-FFF2-40B4-BE49-F238E27FC236}">
                    <a16:creationId xmlns:a16="http://schemas.microsoft.com/office/drawing/2014/main" xmlns="" id="{1ECBEB15-D25A-4424-9F12-6EAB46551E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47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3" name="Freeform 2382">
                <a:extLst>
                  <a:ext uri="{FF2B5EF4-FFF2-40B4-BE49-F238E27FC236}">
                    <a16:creationId xmlns:a16="http://schemas.microsoft.com/office/drawing/2014/main" xmlns="" id="{8D1389BA-1FA9-4EA6-94FA-166A13A3F3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1410"/>
                <a:ext cx="300" cy="210"/>
              </a:xfrm>
              <a:custGeom>
                <a:avLst/>
                <a:gdLst>
                  <a:gd name="T0" fmla="*/ 210 w 300"/>
                  <a:gd name="T1" fmla="*/ 90 h 210"/>
                  <a:gd name="T2" fmla="*/ 300 w 300"/>
                  <a:gd name="T3" fmla="*/ 30 h 210"/>
                  <a:gd name="T4" fmla="*/ 300 w 300"/>
                  <a:gd name="T5" fmla="*/ 120 h 210"/>
                  <a:gd name="T6" fmla="*/ 240 w 300"/>
                  <a:gd name="T7" fmla="*/ 210 h 210"/>
                  <a:gd name="T8" fmla="*/ 150 w 300"/>
                  <a:gd name="T9" fmla="*/ 150 h 210"/>
                  <a:gd name="T10" fmla="*/ 60 w 300"/>
                  <a:gd name="T11" fmla="*/ 90 h 210"/>
                  <a:gd name="T12" fmla="*/ 0 w 300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0" h="210">
                    <a:moveTo>
                      <a:pt x="210" y="90"/>
                    </a:moveTo>
                    <a:lnTo>
                      <a:pt x="300" y="30"/>
                    </a:lnTo>
                    <a:lnTo>
                      <a:pt x="300" y="120"/>
                    </a:lnTo>
                    <a:lnTo>
                      <a:pt x="240" y="210"/>
                    </a:lnTo>
                    <a:lnTo>
                      <a:pt x="150" y="150"/>
                    </a:lnTo>
                    <a:lnTo>
                      <a:pt x="60" y="9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4" name="Freeform 2383">
                <a:extLst>
                  <a:ext uri="{FF2B5EF4-FFF2-40B4-BE49-F238E27FC236}">
                    <a16:creationId xmlns:a16="http://schemas.microsoft.com/office/drawing/2014/main" xmlns="" id="{A5EAB024-A9DB-41F4-85FA-3DEC21014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5" y="1292"/>
                <a:ext cx="180" cy="208"/>
              </a:xfrm>
              <a:custGeom>
                <a:avLst/>
                <a:gdLst>
                  <a:gd name="T0" fmla="*/ 0 w 180"/>
                  <a:gd name="T1" fmla="*/ 149 h 208"/>
                  <a:gd name="T2" fmla="*/ 150 w 180"/>
                  <a:gd name="T3" fmla="*/ 208 h 208"/>
                  <a:gd name="T4" fmla="*/ 180 w 180"/>
                  <a:gd name="T5" fmla="*/ 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08">
                    <a:moveTo>
                      <a:pt x="0" y="149"/>
                    </a:moveTo>
                    <a:lnTo>
                      <a:pt x="150" y="208"/>
                    </a:lnTo>
                    <a:lnTo>
                      <a:pt x="1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5" name="Line 2384">
                <a:extLst>
                  <a:ext uri="{FF2B5EF4-FFF2-40B4-BE49-F238E27FC236}">
                    <a16:creationId xmlns:a16="http://schemas.microsoft.com/office/drawing/2014/main" xmlns="" id="{C0105CE3-91E4-49BD-A09C-133AA6C6EE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535" y="1620"/>
                <a:ext cx="18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6" name="Line 2385">
                <a:extLst>
                  <a:ext uri="{FF2B5EF4-FFF2-40B4-BE49-F238E27FC236}">
                    <a16:creationId xmlns:a16="http://schemas.microsoft.com/office/drawing/2014/main" xmlns="" id="{00FD4591-1FAA-4A52-BF05-0A469113DA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560"/>
                <a:ext cx="6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7" name="Freeform 2386">
                <a:extLst>
                  <a:ext uri="{FF2B5EF4-FFF2-40B4-BE49-F238E27FC236}">
                    <a16:creationId xmlns:a16="http://schemas.microsoft.com/office/drawing/2014/main" xmlns="" id="{3DC532BC-999E-4E57-A580-8052E03F79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5" y="1650"/>
                <a:ext cx="210" cy="330"/>
              </a:xfrm>
              <a:custGeom>
                <a:avLst/>
                <a:gdLst>
                  <a:gd name="T0" fmla="*/ 120 w 210"/>
                  <a:gd name="T1" fmla="*/ 60 h 330"/>
                  <a:gd name="T2" fmla="*/ 0 w 210"/>
                  <a:gd name="T3" fmla="*/ 0 h 330"/>
                  <a:gd name="T4" fmla="*/ 0 w 210"/>
                  <a:gd name="T5" fmla="*/ 330 h 330"/>
                  <a:gd name="T6" fmla="*/ 210 w 210"/>
                  <a:gd name="T7" fmla="*/ 270 h 330"/>
                  <a:gd name="T8" fmla="*/ 119 w 210"/>
                  <a:gd name="T9" fmla="*/ 182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0" h="330">
                    <a:moveTo>
                      <a:pt x="120" y="60"/>
                    </a:moveTo>
                    <a:lnTo>
                      <a:pt x="0" y="0"/>
                    </a:lnTo>
                    <a:lnTo>
                      <a:pt x="0" y="330"/>
                    </a:lnTo>
                    <a:lnTo>
                      <a:pt x="210" y="270"/>
                    </a:lnTo>
                    <a:lnTo>
                      <a:pt x="119" y="18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8" name="Freeform 2387">
                <a:extLst>
                  <a:ext uri="{FF2B5EF4-FFF2-40B4-BE49-F238E27FC236}">
                    <a16:creationId xmlns:a16="http://schemas.microsoft.com/office/drawing/2014/main" xmlns="" id="{0AB008BF-00BD-4037-B5DC-D9802EF350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4" y="1680"/>
                <a:ext cx="151" cy="152"/>
              </a:xfrm>
              <a:custGeom>
                <a:avLst/>
                <a:gdLst>
                  <a:gd name="T0" fmla="*/ 121 w 151"/>
                  <a:gd name="T1" fmla="*/ 0 h 152"/>
                  <a:gd name="T2" fmla="*/ 151 w 151"/>
                  <a:gd name="T3" fmla="*/ 120 h 152"/>
                  <a:gd name="T4" fmla="*/ 0 w 151"/>
                  <a:gd name="T5" fmla="*/ 152 h 152"/>
                  <a:gd name="T6" fmla="*/ 1 w 151"/>
                  <a:gd name="T7" fmla="*/ 30 h 152"/>
                  <a:gd name="T8" fmla="*/ 121 w 151"/>
                  <a:gd name="T9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1" h="152">
                    <a:moveTo>
                      <a:pt x="121" y="0"/>
                    </a:moveTo>
                    <a:lnTo>
                      <a:pt x="151" y="120"/>
                    </a:lnTo>
                    <a:lnTo>
                      <a:pt x="0" y="152"/>
                    </a:lnTo>
                    <a:lnTo>
                      <a:pt x="1" y="30"/>
                    </a:lnTo>
                    <a:lnTo>
                      <a:pt x="121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9" name="Freeform 2388">
                <a:extLst>
                  <a:ext uri="{FF2B5EF4-FFF2-40B4-BE49-F238E27FC236}">
                    <a16:creationId xmlns:a16="http://schemas.microsoft.com/office/drawing/2014/main" xmlns="" id="{25E9705F-6348-40DE-9BCD-3F90416B8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620"/>
                <a:ext cx="240" cy="270"/>
              </a:xfrm>
              <a:custGeom>
                <a:avLst/>
                <a:gdLst>
                  <a:gd name="T0" fmla="*/ 0 w 240"/>
                  <a:gd name="T1" fmla="*/ 180 h 270"/>
                  <a:gd name="T2" fmla="*/ 60 w 240"/>
                  <a:gd name="T3" fmla="*/ 0 h 270"/>
                  <a:gd name="T4" fmla="*/ 90 w 240"/>
                  <a:gd name="T5" fmla="*/ 90 h 270"/>
                  <a:gd name="T6" fmla="*/ 120 w 240"/>
                  <a:gd name="T7" fmla="*/ 180 h 270"/>
                  <a:gd name="T8" fmla="*/ 150 w 240"/>
                  <a:gd name="T9" fmla="*/ 270 h 270"/>
                  <a:gd name="T10" fmla="*/ 240 w 240"/>
                  <a:gd name="T11" fmla="*/ 15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0" h="270">
                    <a:moveTo>
                      <a:pt x="0" y="180"/>
                    </a:moveTo>
                    <a:lnTo>
                      <a:pt x="60" y="0"/>
                    </a:lnTo>
                    <a:lnTo>
                      <a:pt x="90" y="90"/>
                    </a:lnTo>
                    <a:lnTo>
                      <a:pt x="120" y="180"/>
                    </a:lnTo>
                    <a:lnTo>
                      <a:pt x="150" y="270"/>
                    </a:lnTo>
                    <a:lnTo>
                      <a:pt x="24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0" name="Freeform 2389">
                <a:extLst>
                  <a:ext uri="{FF2B5EF4-FFF2-40B4-BE49-F238E27FC236}">
                    <a16:creationId xmlns:a16="http://schemas.microsoft.com/office/drawing/2014/main" xmlns="" id="{AE724297-FBA2-4E6F-AD6E-ADDAD1291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8" y="1800"/>
                <a:ext cx="237" cy="270"/>
              </a:xfrm>
              <a:custGeom>
                <a:avLst/>
                <a:gdLst>
                  <a:gd name="T0" fmla="*/ 237 w 237"/>
                  <a:gd name="T1" fmla="*/ 0 h 270"/>
                  <a:gd name="T2" fmla="*/ 177 w 237"/>
                  <a:gd name="T3" fmla="*/ 122 h 270"/>
                  <a:gd name="T4" fmla="*/ 117 w 237"/>
                  <a:gd name="T5" fmla="*/ 0 h 270"/>
                  <a:gd name="T6" fmla="*/ 57 w 237"/>
                  <a:gd name="T7" fmla="*/ 120 h 270"/>
                  <a:gd name="T8" fmla="*/ 147 w 237"/>
                  <a:gd name="T9" fmla="*/ 270 h 270"/>
                  <a:gd name="T10" fmla="*/ 0 w 237"/>
                  <a:gd name="T11" fmla="*/ 213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7" h="270">
                    <a:moveTo>
                      <a:pt x="237" y="0"/>
                    </a:moveTo>
                    <a:lnTo>
                      <a:pt x="177" y="122"/>
                    </a:lnTo>
                    <a:lnTo>
                      <a:pt x="117" y="0"/>
                    </a:lnTo>
                    <a:lnTo>
                      <a:pt x="57" y="120"/>
                    </a:lnTo>
                    <a:lnTo>
                      <a:pt x="147" y="270"/>
                    </a:lnTo>
                    <a:lnTo>
                      <a:pt x="0" y="213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1" name="Freeform 2390">
                <a:extLst>
                  <a:ext uri="{FF2B5EF4-FFF2-40B4-BE49-F238E27FC236}">
                    <a16:creationId xmlns:a16="http://schemas.microsoft.com/office/drawing/2014/main" xmlns="" id="{1ECF84DE-5057-4ECA-BDC7-6E65C89328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440"/>
                <a:ext cx="390" cy="570"/>
              </a:xfrm>
              <a:custGeom>
                <a:avLst/>
                <a:gdLst>
                  <a:gd name="T0" fmla="*/ 390 w 390"/>
                  <a:gd name="T1" fmla="*/ 480 h 570"/>
                  <a:gd name="T2" fmla="*/ 330 w 390"/>
                  <a:gd name="T3" fmla="*/ 570 h 570"/>
                  <a:gd name="T4" fmla="*/ 180 w 390"/>
                  <a:gd name="T5" fmla="*/ 540 h 570"/>
                  <a:gd name="T6" fmla="*/ 300 w 390"/>
                  <a:gd name="T7" fmla="*/ 390 h 570"/>
                  <a:gd name="T8" fmla="*/ 120 w 390"/>
                  <a:gd name="T9" fmla="*/ 390 h 570"/>
                  <a:gd name="T10" fmla="*/ 180 w 390"/>
                  <a:gd name="T11" fmla="*/ 210 h 570"/>
                  <a:gd name="T12" fmla="*/ 60 w 390"/>
                  <a:gd name="T13" fmla="*/ 330 h 570"/>
                  <a:gd name="T14" fmla="*/ 0 w 390"/>
                  <a:gd name="T15" fmla="*/ 180 h 570"/>
                  <a:gd name="T16" fmla="*/ 60 w 390"/>
                  <a:gd name="T17" fmla="*/ 60 h 570"/>
                  <a:gd name="T18" fmla="*/ 240 w 390"/>
                  <a:gd name="T19" fmla="*/ 120 h 570"/>
                  <a:gd name="T20" fmla="*/ 180 w 390"/>
                  <a:gd name="T21" fmla="*/ 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0" h="570">
                    <a:moveTo>
                      <a:pt x="390" y="480"/>
                    </a:moveTo>
                    <a:lnTo>
                      <a:pt x="330" y="570"/>
                    </a:lnTo>
                    <a:lnTo>
                      <a:pt x="180" y="540"/>
                    </a:lnTo>
                    <a:lnTo>
                      <a:pt x="300" y="390"/>
                    </a:lnTo>
                    <a:lnTo>
                      <a:pt x="120" y="390"/>
                    </a:lnTo>
                    <a:lnTo>
                      <a:pt x="180" y="210"/>
                    </a:lnTo>
                    <a:lnTo>
                      <a:pt x="60" y="330"/>
                    </a:lnTo>
                    <a:lnTo>
                      <a:pt x="0" y="180"/>
                    </a:lnTo>
                    <a:lnTo>
                      <a:pt x="60" y="60"/>
                    </a:lnTo>
                    <a:lnTo>
                      <a:pt x="240" y="120"/>
                    </a:lnTo>
                    <a:lnTo>
                      <a:pt x="1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2" name="Freeform 2391">
                <a:extLst>
                  <a:ext uri="{FF2B5EF4-FFF2-40B4-BE49-F238E27FC236}">
                    <a16:creationId xmlns:a16="http://schemas.microsoft.com/office/drawing/2014/main" xmlns="" id="{CA331197-3057-4A48-A8AA-7C9771DE5F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410"/>
                <a:ext cx="480" cy="420"/>
              </a:xfrm>
              <a:custGeom>
                <a:avLst/>
                <a:gdLst>
                  <a:gd name="T0" fmla="*/ 300 w 480"/>
                  <a:gd name="T1" fmla="*/ 420 h 420"/>
                  <a:gd name="T2" fmla="*/ 0 w 480"/>
                  <a:gd name="T3" fmla="*/ 210 h 420"/>
                  <a:gd name="T4" fmla="*/ 180 w 480"/>
                  <a:gd name="T5" fmla="*/ 240 h 420"/>
                  <a:gd name="T6" fmla="*/ 90 w 480"/>
                  <a:gd name="T7" fmla="*/ 0 h 420"/>
                  <a:gd name="T8" fmla="*/ 240 w 480"/>
                  <a:gd name="T9" fmla="*/ 150 h 420"/>
                  <a:gd name="T10" fmla="*/ 270 w 480"/>
                  <a:gd name="T11" fmla="*/ 0 h 420"/>
                  <a:gd name="T12" fmla="*/ 420 w 480"/>
                  <a:gd name="T13" fmla="*/ 0 h 420"/>
                  <a:gd name="T14" fmla="*/ 480 w 480"/>
                  <a:gd name="T15" fmla="*/ 9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0" h="420">
                    <a:moveTo>
                      <a:pt x="300" y="420"/>
                    </a:moveTo>
                    <a:lnTo>
                      <a:pt x="0" y="210"/>
                    </a:lnTo>
                    <a:lnTo>
                      <a:pt x="180" y="240"/>
                    </a:lnTo>
                    <a:lnTo>
                      <a:pt x="90" y="0"/>
                    </a:lnTo>
                    <a:lnTo>
                      <a:pt x="240" y="150"/>
                    </a:lnTo>
                    <a:lnTo>
                      <a:pt x="270" y="0"/>
                    </a:lnTo>
                    <a:lnTo>
                      <a:pt x="420" y="0"/>
                    </a:lnTo>
                    <a:lnTo>
                      <a:pt x="4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3" name="Freeform 2392">
                <a:extLst>
                  <a:ext uri="{FF2B5EF4-FFF2-40B4-BE49-F238E27FC236}">
                    <a16:creationId xmlns:a16="http://schemas.microsoft.com/office/drawing/2014/main" xmlns="" id="{C52AF545-197E-476E-AA37-6F3453FE4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" y="1260"/>
                <a:ext cx="120" cy="300"/>
              </a:xfrm>
              <a:custGeom>
                <a:avLst/>
                <a:gdLst>
                  <a:gd name="T0" fmla="*/ 0 w 120"/>
                  <a:gd name="T1" fmla="*/ 0 h 300"/>
                  <a:gd name="T2" fmla="*/ 0 w 120"/>
                  <a:gd name="T3" fmla="*/ 180 h 300"/>
                  <a:gd name="T4" fmla="*/ 120 w 120"/>
                  <a:gd name="T5" fmla="*/ 90 h 300"/>
                  <a:gd name="T6" fmla="*/ 120 w 120"/>
                  <a:gd name="T7" fmla="*/ 210 h 300"/>
                  <a:gd name="T8" fmla="*/ 90 w 120"/>
                  <a:gd name="T9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300">
                    <a:moveTo>
                      <a:pt x="0" y="0"/>
                    </a:moveTo>
                    <a:lnTo>
                      <a:pt x="0" y="180"/>
                    </a:lnTo>
                    <a:lnTo>
                      <a:pt x="120" y="90"/>
                    </a:lnTo>
                    <a:lnTo>
                      <a:pt x="120" y="210"/>
                    </a:lnTo>
                    <a:lnTo>
                      <a:pt x="9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4" name="Freeform 2393">
                <a:extLst>
                  <a:ext uri="{FF2B5EF4-FFF2-40B4-BE49-F238E27FC236}">
                    <a16:creationId xmlns:a16="http://schemas.microsoft.com/office/drawing/2014/main" xmlns="" id="{81E07F59-EA5D-467C-BA5F-96E5C3CA15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292"/>
                <a:ext cx="330" cy="178"/>
              </a:xfrm>
              <a:custGeom>
                <a:avLst/>
                <a:gdLst>
                  <a:gd name="T0" fmla="*/ 0 w 330"/>
                  <a:gd name="T1" fmla="*/ 0 h 178"/>
                  <a:gd name="T2" fmla="*/ 60 w 330"/>
                  <a:gd name="T3" fmla="*/ 118 h 178"/>
                  <a:gd name="T4" fmla="*/ 150 w 330"/>
                  <a:gd name="T5" fmla="*/ 28 h 178"/>
                  <a:gd name="T6" fmla="*/ 330 w 330"/>
                  <a:gd name="T7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0" h="178">
                    <a:moveTo>
                      <a:pt x="0" y="0"/>
                    </a:moveTo>
                    <a:lnTo>
                      <a:pt x="60" y="118"/>
                    </a:lnTo>
                    <a:lnTo>
                      <a:pt x="150" y="28"/>
                    </a:lnTo>
                    <a:lnTo>
                      <a:pt x="330" y="17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5" name="Line 2394">
                <a:extLst>
                  <a:ext uri="{FF2B5EF4-FFF2-40B4-BE49-F238E27FC236}">
                    <a16:creationId xmlns:a16="http://schemas.microsoft.com/office/drawing/2014/main" xmlns="" id="{92DFA82E-4DE7-4F77-9605-15DB7A7C7D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925" y="1410"/>
                <a:ext cx="24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6" name="Freeform 2395">
                <a:extLst>
                  <a:ext uri="{FF2B5EF4-FFF2-40B4-BE49-F238E27FC236}">
                    <a16:creationId xmlns:a16="http://schemas.microsoft.com/office/drawing/2014/main" xmlns="" id="{5606F496-2131-455D-BE54-2E2164F78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2070"/>
                <a:ext cx="899" cy="720"/>
              </a:xfrm>
              <a:custGeom>
                <a:avLst/>
                <a:gdLst>
                  <a:gd name="T0" fmla="*/ 59 w 899"/>
                  <a:gd name="T1" fmla="*/ 240 h 720"/>
                  <a:gd name="T2" fmla="*/ 179 w 899"/>
                  <a:gd name="T3" fmla="*/ 390 h 720"/>
                  <a:gd name="T4" fmla="*/ 239 w 899"/>
                  <a:gd name="T5" fmla="*/ 300 h 720"/>
                  <a:gd name="T6" fmla="*/ 329 w 899"/>
                  <a:gd name="T7" fmla="*/ 360 h 720"/>
                  <a:gd name="T8" fmla="*/ 329 w 899"/>
                  <a:gd name="T9" fmla="*/ 240 h 720"/>
                  <a:gd name="T10" fmla="*/ 179 w 899"/>
                  <a:gd name="T11" fmla="*/ 181 h 720"/>
                  <a:gd name="T12" fmla="*/ 269 w 899"/>
                  <a:gd name="T13" fmla="*/ 150 h 720"/>
                  <a:gd name="T14" fmla="*/ 389 w 899"/>
                  <a:gd name="T15" fmla="*/ 120 h 720"/>
                  <a:gd name="T16" fmla="*/ 449 w 899"/>
                  <a:gd name="T17" fmla="*/ 300 h 720"/>
                  <a:gd name="T18" fmla="*/ 539 w 899"/>
                  <a:gd name="T19" fmla="*/ 180 h 720"/>
                  <a:gd name="T20" fmla="*/ 509 w 899"/>
                  <a:gd name="T21" fmla="*/ 60 h 720"/>
                  <a:gd name="T22" fmla="*/ 359 w 899"/>
                  <a:gd name="T23" fmla="*/ 30 h 720"/>
                  <a:gd name="T24" fmla="*/ 569 w 899"/>
                  <a:gd name="T25" fmla="*/ 0 h 720"/>
                  <a:gd name="T26" fmla="*/ 689 w 899"/>
                  <a:gd name="T27" fmla="*/ 90 h 720"/>
                  <a:gd name="T28" fmla="*/ 659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89 w 899"/>
                  <a:gd name="T41" fmla="*/ 390 h 720"/>
                  <a:gd name="T42" fmla="*/ 539 w 899"/>
                  <a:gd name="T43" fmla="*/ 330 h 720"/>
                  <a:gd name="T44" fmla="*/ 569 w 899"/>
                  <a:gd name="T45" fmla="*/ 450 h 720"/>
                  <a:gd name="T46" fmla="*/ 419 w 899"/>
                  <a:gd name="T47" fmla="*/ 420 h 720"/>
                  <a:gd name="T48" fmla="*/ 389 w 899"/>
                  <a:gd name="T49" fmla="*/ 540 h 720"/>
                  <a:gd name="T50" fmla="*/ 509 w 899"/>
                  <a:gd name="T51" fmla="*/ 570 h 720"/>
                  <a:gd name="T52" fmla="*/ 659 w 899"/>
                  <a:gd name="T53" fmla="*/ 570 h 720"/>
                  <a:gd name="T54" fmla="*/ 599 w 899"/>
                  <a:gd name="T55" fmla="*/ 720 h 720"/>
                  <a:gd name="T56" fmla="*/ 299 w 899"/>
                  <a:gd name="T57" fmla="*/ 630 h 720"/>
                  <a:gd name="T58" fmla="*/ 268 w 899"/>
                  <a:gd name="T59" fmla="*/ 482 h 720"/>
                  <a:gd name="T60" fmla="*/ 179 w 899"/>
                  <a:gd name="T61" fmla="*/ 570 h 720"/>
                  <a:gd name="T62" fmla="*/ 59 w 899"/>
                  <a:gd name="T63" fmla="*/ 480 h 720"/>
                  <a:gd name="T64" fmla="*/ 0 w 899"/>
                  <a:gd name="T65" fmla="*/ 360 h 720"/>
                  <a:gd name="T66" fmla="*/ 59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59" y="240"/>
                    </a:moveTo>
                    <a:lnTo>
                      <a:pt x="179" y="390"/>
                    </a:lnTo>
                    <a:lnTo>
                      <a:pt x="239" y="300"/>
                    </a:lnTo>
                    <a:lnTo>
                      <a:pt x="329" y="360"/>
                    </a:lnTo>
                    <a:lnTo>
                      <a:pt x="329" y="240"/>
                    </a:lnTo>
                    <a:lnTo>
                      <a:pt x="179" y="181"/>
                    </a:lnTo>
                    <a:lnTo>
                      <a:pt x="269" y="150"/>
                    </a:lnTo>
                    <a:lnTo>
                      <a:pt x="389" y="120"/>
                    </a:lnTo>
                    <a:lnTo>
                      <a:pt x="449" y="300"/>
                    </a:lnTo>
                    <a:lnTo>
                      <a:pt x="539" y="180"/>
                    </a:lnTo>
                    <a:lnTo>
                      <a:pt x="509" y="60"/>
                    </a:lnTo>
                    <a:lnTo>
                      <a:pt x="359" y="30"/>
                    </a:lnTo>
                    <a:lnTo>
                      <a:pt x="569" y="0"/>
                    </a:lnTo>
                    <a:lnTo>
                      <a:pt x="689" y="90"/>
                    </a:lnTo>
                    <a:lnTo>
                      <a:pt x="659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89" y="390"/>
                    </a:lnTo>
                    <a:lnTo>
                      <a:pt x="539" y="330"/>
                    </a:lnTo>
                    <a:lnTo>
                      <a:pt x="569" y="450"/>
                    </a:lnTo>
                    <a:lnTo>
                      <a:pt x="419" y="420"/>
                    </a:lnTo>
                    <a:lnTo>
                      <a:pt x="389" y="540"/>
                    </a:lnTo>
                    <a:lnTo>
                      <a:pt x="509" y="570"/>
                    </a:lnTo>
                    <a:lnTo>
                      <a:pt x="659" y="570"/>
                    </a:lnTo>
                    <a:lnTo>
                      <a:pt x="599" y="720"/>
                    </a:lnTo>
                    <a:lnTo>
                      <a:pt x="299" y="630"/>
                    </a:lnTo>
                    <a:lnTo>
                      <a:pt x="268" y="482"/>
                    </a:lnTo>
                    <a:lnTo>
                      <a:pt x="179" y="570"/>
                    </a:lnTo>
                    <a:lnTo>
                      <a:pt x="59" y="480"/>
                    </a:lnTo>
                    <a:lnTo>
                      <a:pt x="0" y="360"/>
                    </a:lnTo>
                    <a:lnTo>
                      <a:pt x="59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7" name="Line 2396">
                <a:extLst>
                  <a:ext uri="{FF2B5EF4-FFF2-40B4-BE49-F238E27FC236}">
                    <a16:creationId xmlns:a16="http://schemas.microsoft.com/office/drawing/2014/main" xmlns="" id="{A046A652-3A64-44DE-9578-0270B723AF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145" y="2251"/>
                <a:ext cx="120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8" name="Freeform 2397">
                <a:extLst>
                  <a:ext uri="{FF2B5EF4-FFF2-40B4-BE49-F238E27FC236}">
                    <a16:creationId xmlns:a16="http://schemas.microsoft.com/office/drawing/2014/main" xmlns="" id="{07F41C8C-7EB2-46E4-9D3F-BB63074A61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4" y="2430"/>
                <a:ext cx="121" cy="180"/>
              </a:xfrm>
              <a:custGeom>
                <a:avLst/>
                <a:gdLst>
                  <a:gd name="T0" fmla="*/ 61 w 121"/>
                  <a:gd name="T1" fmla="*/ 0 h 180"/>
                  <a:gd name="T2" fmla="*/ 121 w 121"/>
                  <a:gd name="T3" fmla="*/ 180 h 180"/>
                  <a:gd name="T4" fmla="*/ 0 w 121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1" h="180">
                    <a:moveTo>
                      <a:pt x="61" y="0"/>
                    </a:moveTo>
                    <a:lnTo>
                      <a:pt x="121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9" name="Freeform 2398">
                <a:extLst>
                  <a:ext uri="{FF2B5EF4-FFF2-40B4-BE49-F238E27FC236}">
                    <a16:creationId xmlns:a16="http://schemas.microsoft.com/office/drawing/2014/main" xmlns="" id="{8FC47CB8-19B4-404B-BAB5-8DB9752FBB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5" y="1980"/>
                <a:ext cx="240" cy="330"/>
              </a:xfrm>
              <a:custGeom>
                <a:avLst/>
                <a:gdLst>
                  <a:gd name="T0" fmla="*/ 180 w 240"/>
                  <a:gd name="T1" fmla="*/ 150 h 330"/>
                  <a:gd name="T2" fmla="*/ 120 w 240"/>
                  <a:gd name="T3" fmla="*/ 0 h 330"/>
                  <a:gd name="T4" fmla="*/ 240 w 240"/>
                  <a:gd name="T5" fmla="*/ 90 h 330"/>
                  <a:gd name="T6" fmla="*/ 210 w 240"/>
                  <a:gd name="T7" fmla="*/ 270 h 330"/>
                  <a:gd name="T8" fmla="*/ 0 w 240"/>
                  <a:gd name="T9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30">
                    <a:moveTo>
                      <a:pt x="180" y="150"/>
                    </a:moveTo>
                    <a:lnTo>
                      <a:pt x="120" y="0"/>
                    </a:lnTo>
                    <a:lnTo>
                      <a:pt x="240" y="90"/>
                    </a:lnTo>
                    <a:lnTo>
                      <a:pt x="210" y="270"/>
                    </a:lnTo>
                    <a:lnTo>
                      <a:pt x="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0" name="Line 2399">
                <a:extLst>
                  <a:ext uri="{FF2B5EF4-FFF2-40B4-BE49-F238E27FC236}">
                    <a16:creationId xmlns:a16="http://schemas.microsoft.com/office/drawing/2014/main" xmlns="" id="{3C76CECA-7678-4B73-B96B-032E5152AF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5" y="219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1" name="Freeform 2400">
                <a:extLst>
                  <a:ext uri="{FF2B5EF4-FFF2-40B4-BE49-F238E27FC236}">
                    <a16:creationId xmlns:a16="http://schemas.microsoft.com/office/drawing/2014/main" xmlns="" id="{F543B3C8-6283-486A-AB6C-3DBF593E85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2070"/>
                <a:ext cx="899" cy="720"/>
              </a:xfrm>
              <a:custGeom>
                <a:avLst/>
                <a:gdLst>
                  <a:gd name="T0" fmla="*/ 60 w 899"/>
                  <a:gd name="T1" fmla="*/ 240 h 720"/>
                  <a:gd name="T2" fmla="*/ 180 w 899"/>
                  <a:gd name="T3" fmla="*/ 390 h 720"/>
                  <a:gd name="T4" fmla="*/ 240 w 899"/>
                  <a:gd name="T5" fmla="*/ 300 h 720"/>
                  <a:gd name="T6" fmla="*/ 330 w 899"/>
                  <a:gd name="T7" fmla="*/ 360 h 720"/>
                  <a:gd name="T8" fmla="*/ 330 w 899"/>
                  <a:gd name="T9" fmla="*/ 240 h 720"/>
                  <a:gd name="T10" fmla="*/ 180 w 899"/>
                  <a:gd name="T11" fmla="*/ 181 h 720"/>
                  <a:gd name="T12" fmla="*/ 270 w 899"/>
                  <a:gd name="T13" fmla="*/ 150 h 720"/>
                  <a:gd name="T14" fmla="*/ 390 w 899"/>
                  <a:gd name="T15" fmla="*/ 120 h 720"/>
                  <a:gd name="T16" fmla="*/ 450 w 899"/>
                  <a:gd name="T17" fmla="*/ 300 h 720"/>
                  <a:gd name="T18" fmla="*/ 540 w 899"/>
                  <a:gd name="T19" fmla="*/ 180 h 720"/>
                  <a:gd name="T20" fmla="*/ 510 w 899"/>
                  <a:gd name="T21" fmla="*/ 60 h 720"/>
                  <a:gd name="T22" fmla="*/ 360 w 899"/>
                  <a:gd name="T23" fmla="*/ 30 h 720"/>
                  <a:gd name="T24" fmla="*/ 570 w 899"/>
                  <a:gd name="T25" fmla="*/ 0 h 720"/>
                  <a:gd name="T26" fmla="*/ 690 w 899"/>
                  <a:gd name="T27" fmla="*/ 90 h 720"/>
                  <a:gd name="T28" fmla="*/ 660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90 w 899"/>
                  <a:gd name="T41" fmla="*/ 390 h 720"/>
                  <a:gd name="T42" fmla="*/ 540 w 899"/>
                  <a:gd name="T43" fmla="*/ 330 h 720"/>
                  <a:gd name="T44" fmla="*/ 570 w 899"/>
                  <a:gd name="T45" fmla="*/ 450 h 720"/>
                  <a:gd name="T46" fmla="*/ 420 w 899"/>
                  <a:gd name="T47" fmla="*/ 420 h 720"/>
                  <a:gd name="T48" fmla="*/ 390 w 899"/>
                  <a:gd name="T49" fmla="*/ 540 h 720"/>
                  <a:gd name="T50" fmla="*/ 510 w 899"/>
                  <a:gd name="T51" fmla="*/ 570 h 720"/>
                  <a:gd name="T52" fmla="*/ 660 w 899"/>
                  <a:gd name="T53" fmla="*/ 570 h 720"/>
                  <a:gd name="T54" fmla="*/ 600 w 899"/>
                  <a:gd name="T55" fmla="*/ 720 h 720"/>
                  <a:gd name="T56" fmla="*/ 300 w 899"/>
                  <a:gd name="T57" fmla="*/ 630 h 720"/>
                  <a:gd name="T58" fmla="*/ 268 w 899"/>
                  <a:gd name="T59" fmla="*/ 482 h 720"/>
                  <a:gd name="T60" fmla="*/ 180 w 899"/>
                  <a:gd name="T61" fmla="*/ 570 h 720"/>
                  <a:gd name="T62" fmla="*/ 60 w 899"/>
                  <a:gd name="T63" fmla="*/ 480 h 720"/>
                  <a:gd name="T64" fmla="*/ 0 w 899"/>
                  <a:gd name="T65" fmla="*/ 360 h 720"/>
                  <a:gd name="T66" fmla="*/ 60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60" y="240"/>
                    </a:moveTo>
                    <a:lnTo>
                      <a:pt x="180" y="390"/>
                    </a:lnTo>
                    <a:lnTo>
                      <a:pt x="240" y="300"/>
                    </a:lnTo>
                    <a:lnTo>
                      <a:pt x="330" y="360"/>
                    </a:lnTo>
                    <a:lnTo>
                      <a:pt x="330" y="240"/>
                    </a:lnTo>
                    <a:lnTo>
                      <a:pt x="180" y="181"/>
                    </a:lnTo>
                    <a:lnTo>
                      <a:pt x="270" y="150"/>
                    </a:lnTo>
                    <a:lnTo>
                      <a:pt x="390" y="120"/>
                    </a:lnTo>
                    <a:lnTo>
                      <a:pt x="450" y="300"/>
                    </a:lnTo>
                    <a:lnTo>
                      <a:pt x="540" y="180"/>
                    </a:lnTo>
                    <a:lnTo>
                      <a:pt x="510" y="60"/>
                    </a:lnTo>
                    <a:lnTo>
                      <a:pt x="360" y="30"/>
                    </a:lnTo>
                    <a:lnTo>
                      <a:pt x="570" y="0"/>
                    </a:lnTo>
                    <a:lnTo>
                      <a:pt x="690" y="90"/>
                    </a:lnTo>
                    <a:lnTo>
                      <a:pt x="660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90" y="390"/>
                    </a:lnTo>
                    <a:lnTo>
                      <a:pt x="540" y="330"/>
                    </a:lnTo>
                    <a:lnTo>
                      <a:pt x="570" y="450"/>
                    </a:lnTo>
                    <a:lnTo>
                      <a:pt x="420" y="420"/>
                    </a:lnTo>
                    <a:lnTo>
                      <a:pt x="390" y="540"/>
                    </a:lnTo>
                    <a:lnTo>
                      <a:pt x="510" y="570"/>
                    </a:lnTo>
                    <a:lnTo>
                      <a:pt x="660" y="570"/>
                    </a:lnTo>
                    <a:lnTo>
                      <a:pt x="600" y="720"/>
                    </a:lnTo>
                    <a:lnTo>
                      <a:pt x="300" y="630"/>
                    </a:lnTo>
                    <a:lnTo>
                      <a:pt x="268" y="482"/>
                    </a:lnTo>
                    <a:lnTo>
                      <a:pt x="180" y="570"/>
                    </a:lnTo>
                    <a:lnTo>
                      <a:pt x="60" y="480"/>
                    </a:lnTo>
                    <a:lnTo>
                      <a:pt x="0" y="360"/>
                    </a:lnTo>
                    <a:lnTo>
                      <a:pt x="6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2" name="Freeform 2401">
                <a:extLst>
                  <a:ext uri="{FF2B5EF4-FFF2-40B4-BE49-F238E27FC236}">
                    <a16:creationId xmlns:a16="http://schemas.microsoft.com/office/drawing/2014/main" xmlns="" id="{83E96365-B4AE-414A-B221-31F44F7461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2220"/>
                <a:ext cx="210" cy="150"/>
              </a:xfrm>
              <a:custGeom>
                <a:avLst/>
                <a:gdLst>
                  <a:gd name="T0" fmla="*/ 0 w 210"/>
                  <a:gd name="T1" fmla="*/ 90 h 150"/>
                  <a:gd name="T2" fmla="*/ 180 w 210"/>
                  <a:gd name="T3" fmla="*/ 150 h 150"/>
                  <a:gd name="T4" fmla="*/ 210 w 210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150">
                    <a:moveTo>
                      <a:pt x="0" y="90"/>
                    </a:moveTo>
                    <a:lnTo>
                      <a:pt x="180" y="150"/>
                    </a:lnTo>
                    <a:lnTo>
                      <a:pt x="21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3" name="Freeform 2402">
                <a:extLst>
                  <a:ext uri="{FF2B5EF4-FFF2-40B4-BE49-F238E27FC236}">
                    <a16:creationId xmlns:a16="http://schemas.microsoft.com/office/drawing/2014/main" xmlns="" id="{B76B3836-D7A6-40D4-A0BF-6142C522CF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5" y="2251"/>
                <a:ext cx="240" cy="389"/>
              </a:xfrm>
              <a:custGeom>
                <a:avLst/>
                <a:gdLst>
                  <a:gd name="T0" fmla="*/ 240 w 240"/>
                  <a:gd name="T1" fmla="*/ 0 h 389"/>
                  <a:gd name="T2" fmla="*/ 120 w 240"/>
                  <a:gd name="T3" fmla="*/ 299 h 389"/>
                  <a:gd name="T4" fmla="*/ 0 w 240"/>
                  <a:gd name="T5" fmla="*/ 389 h 389"/>
                  <a:gd name="T6" fmla="*/ 60 w 240"/>
                  <a:gd name="T7" fmla="*/ 179 h 389"/>
                  <a:gd name="T8" fmla="*/ 0 w 240"/>
                  <a:gd name="T9" fmla="*/ 59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89">
                    <a:moveTo>
                      <a:pt x="240" y="0"/>
                    </a:moveTo>
                    <a:lnTo>
                      <a:pt x="120" y="299"/>
                    </a:lnTo>
                    <a:lnTo>
                      <a:pt x="0" y="389"/>
                    </a:lnTo>
                    <a:lnTo>
                      <a:pt x="60" y="179"/>
                    </a:lnTo>
                    <a:lnTo>
                      <a:pt x="0" y="5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4" name="Freeform 2403">
                <a:extLst>
                  <a:ext uri="{FF2B5EF4-FFF2-40B4-BE49-F238E27FC236}">
                    <a16:creationId xmlns:a16="http://schemas.microsoft.com/office/drawing/2014/main" xmlns="" id="{1DA23454-0E94-40AF-9820-8835AE7651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2430"/>
                <a:ext cx="122" cy="180"/>
              </a:xfrm>
              <a:custGeom>
                <a:avLst/>
                <a:gdLst>
                  <a:gd name="T0" fmla="*/ 62 w 122"/>
                  <a:gd name="T1" fmla="*/ 0 h 180"/>
                  <a:gd name="T2" fmla="*/ 122 w 122"/>
                  <a:gd name="T3" fmla="*/ 180 h 180"/>
                  <a:gd name="T4" fmla="*/ 0 w 122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2" h="180">
                    <a:moveTo>
                      <a:pt x="62" y="0"/>
                    </a:moveTo>
                    <a:lnTo>
                      <a:pt x="122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5" name="Freeform 2404">
                <a:extLst>
                  <a:ext uri="{FF2B5EF4-FFF2-40B4-BE49-F238E27FC236}">
                    <a16:creationId xmlns:a16="http://schemas.microsoft.com/office/drawing/2014/main" xmlns="" id="{93B04752-F4EB-4780-B5D9-DEC6C341A0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5" y="204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6" name="Line 2405">
                <a:extLst>
                  <a:ext uri="{FF2B5EF4-FFF2-40B4-BE49-F238E27FC236}">
                    <a16:creationId xmlns:a16="http://schemas.microsoft.com/office/drawing/2014/main" xmlns="" id="{FE780FEF-FA2C-4405-8C0F-01647448EE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35" y="219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7" name="Line 2406">
                <a:extLst>
                  <a:ext uri="{FF2B5EF4-FFF2-40B4-BE49-F238E27FC236}">
                    <a16:creationId xmlns:a16="http://schemas.microsoft.com/office/drawing/2014/main" xmlns="" id="{50B6133D-07FF-4912-8183-F5B1543668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55" y="18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8" name="Line 2407">
                <a:extLst>
                  <a:ext uri="{FF2B5EF4-FFF2-40B4-BE49-F238E27FC236}">
                    <a16:creationId xmlns:a16="http://schemas.microsoft.com/office/drawing/2014/main" xmlns="" id="{05130E31-ABC3-4967-B247-520CBE2B74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55" y="183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9" name="Line 2408">
                <a:extLst>
                  <a:ext uri="{FF2B5EF4-FFF2-40B4-BE49-F238E27FC236}">
                    <a16:creationId xmlns:a16="http://schemas.microsoft.com/office/drawing/2014/main" xmlns="" id="{65CF0AE6-463B-4F6D-81A3-E8BAA8DCEF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77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0" name="Line 2409">
                <a:extLst>
                  <a:ext uri="{FF2B5EF4-FFF2-40B4-BE49-F238E27FC236}">
                    <a16:creationId xmlns:a16="http://schemas.microsoft.com/office/drawing/2014/main" xmlns="" id="{36088EEA-A2BC-4B8C-B584-417F228A56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3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1" name="Line 2410">
                <a:extLst>
                  <a:ext uri="{FF2B5EF4-FFF2-40B4-BE49-F238E27FC236}">
                    <a16:creationId xmlns:a16="http://schemas.microsoft.com/office/drawing/2014/main" xmlns="" id="{CBEDC4F8-D87D-4585-94AD-B3273D72A2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415" y="1770"/>
                <a:ext cx="6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2" name="Line 2411">
                <a:extLst>
                  <a:ext uri="{FF2B5EF4-FFF2-40B4-BE49-F238E27FC236}">
                    <a16:creationId xmlns:a16="http://schemas.microsoft.com/office/drawing/2014/main" xmlns="" id="{7386F278-D864-4A24-AF11-6A613C6130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5" y="1830"/>
                <a:ext cx="21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3" name="Line 2412">
                <a:extLst>
                  <a:ext uri="{FF2B5EF4-FFF2-40B4-BE49-F238E27FC236}">
                    <a16:creationId xmlns:a16="http://schemas.microsoft.com/office/drawing/2014/main" xmlns="" id="{FBA35497-967B-4C8E-9DDB-07510B11B4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35" y="165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4" name="Line 2413">
                <a:extLst>
                  <a:ext uri="{FF2B5EF4-FFF2-40B4-BE49-F238E27FC236}">
                    <a16:creationId xmlns:a16="http://schemas.microsoft.com/office/drawing/2014/main" xmlns="" id="{B68F6885-E3B4-4F95-92F1-99F635B85E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35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5" name="Line 2414">
                <a:extLst>
                  <a:ext uri="{FF2B5EF4-FFF2-40B4-BE49-F238E27FC236}">
                    <a16:creationId xmlns:a16="http://schemas.microsoft.com/office/drawing/2014/main" xmlns="" id="{985E2B84-1458-4E20-8324-91D9A3E76F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25" y="12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6" name="Freeform 2415">
                <a:extLst>
                  <a:ext uri="{FF2B5EF4-FFF2-40B4-BE49-F238E27FC236}">
                    <a16:creationId xmlns:a16="http://schemas.microsoft.com/office/drawing/2014/main" xmlns="" id="{266283E5-D104-4D07-A65C-C7ED37E89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5" y="1710"/>
                <a:ext cx="240" cy="240"/>
              </a:xfrm>
              <a:custGeom>
                <a:avLst/>
                <a:gdLst>
                  <a:gd name="T0" fmla="*/ 240 w 240"/>
                  <a:gd name="T1" fmla="*/ 0 h 240"/>
                  <a:gd name="T2" fmla="*/ 210 w 240"/>
                  <a:gd name="T3" fmla="*/ 180 h 240"/>
                  <a:gd name="T4" fmla="*/ 180 w 240"/>
                  <a:gd name="T5" fmla="*/ 60 h 240"/>
                  <a:gd name="T6" fmla="*/ 150 w 240"/>
                  <a:gd name="T7" fmla="*/ 240 h 240"/>
                  <a:gd name="T8" fmla="*/ 90 w 240"/>
                  <a:gd name="T9" fmla="*/ 180 h 240"/>
                  <a:gd name="T10" fmla="*/ 0 w 240"/>
                  <a:gd name="T11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0" h="240">
                    <a:moveTo>
                      <a:pt x="240" y="0"/>
                    </a:moveTo>
                    <a:lnTo>
                      <a:pt x="210" y="180"/>
                    </a:lnTo>
                    <a:lnTo>
                      <a:pt x="180" y="60"/>
                    </a:lnTo>
                    <a:lnTo>
                      <a:pt x="150" y="240"/>
                    </a:lnTo>
                    <a:lnTo>
                      <a:pt x="90" y="18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7" name="Line 2416">
                <a:extLst>
                  <a:ext uri="{FF2B5EF4-FFF2-40B4-BE49-F238E27FC236}">
                    <a16:creationId xmlns:a16="http://schemas.microsoft.com/office/drawing/2014/main" xmlns="" id="{28670604-1B2A-4183-8F39-350929E7C2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9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8" name="Freeform 2417">
                <a:extLst>
                  <a:ext uri="{FF2B5EF4-FFF2-40B4-BE49-F238E27FC236}">
                    <a16:creationId xmlns:a16="http://schemas.microsoft.com/office/drawing/2014/main" xmlns="" id="{980F12FC-73EF-4A49-AE96-140F9C0BC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1770"/>
                <a:ext cx="180" cy="120"/>
              </a:xfrm>
              <a:custGeom>
                <a:avLst/>
                <a:gdLst>
                  <a:gd name="T0" fmla="*/ 150 w 180"/>
                  <a:gd name="T1" fmla="*/ 120 h 120"/>
                  <a:gd name="T2" fmla="*/ 180 w 180"/>
                  <a:gd name="T3" fmla="*/ 0 h 120"/>
                  <a:gd name="T4" fmla="*/ 30 w 180"/>
                  <a:gd name="T5" fmla="*/ 120 h 120"/>
                  <a:gd name="T6" fmla="*/ 150 w 180"/>
                  <a:gd name="T7" fmla="*/ 120 h 120"/>
                  <a:gd name="T8" fmla="*/ 0 w 180"/>
                  <a:gd name="T9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120">
                    <a:moveTo>
                      <a:pt x="150" y="120"/>
                    </a:moveTo>
                    <a:lnTo>
                      <a:pt x="180" y="0"/>
                    </a:lnTo>
                    <a:lnTo>
                      <a:pt x="30" y="120"/>
                    </a:lnTo>
                    <a:lnTo>
                      <a:pt x="150" y="12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9" name="Freeform 2418">
                <a:extLst>
                  <a:ext uri="{FF2B5EF4-FFF2-40B4-BE49-F238E27FC236}">
                    <a16:creationId xmlns:a16="http://schemas.microsoft.com/office/drawing/2014/main" xmlns="" id="{D3F81549-A5B3-40F7-BF58-FB5FE82F13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530"/>
                <a:ext cx="240" cy="360"/>
              </a:xfrm>
              <a:custGeom>
                <a:avLst/>
                <a:gdLst>
                  <a:gd name="T0" fmla="*/ 120 w 240"/>
                  <a:gd name="T1" fmla="*/ 240 h 360"/>
                  <a:gd name="T2" fmla="*/ 90 w 240"/>
                  <a:gd name="T3" fmla="*/ 120 h 360"/>
                  <a:gd name="T4" fmla="*/ 90 w 240"/>
                  <a:gd name="T5" fmla="*/ 0 h 360"/>
                  <a:gd name="T6" fmla="*/ 210 w 240"/>
                  <a:gd name="T7" fmla="*/ 30 h 360"/>
                  <a:gd name="T8" fmla="*/ 240 w 240"/>
                  <a:gd name="T9" fmla="*/ 180 h 360"/>
                  <a:gd name="T10" fmla="*/ 120 w 240"/>
                  <a:gd name="T11" fmla="*/ 240 h 360"/>
                  <a:gd name="T12" fmla="*/ 210 w 240"/>
                  <a:gd name="T13" fmla="*/ 330 h 360"/>
                  <a:gd name="T14" fmla="*/ 90 w 240"/>
                  <a:gd name="T15" fmla="*/ 360 h 360"/>
                  <a:gd name="T16" fmla="*/ 0 w 240"/>
                  <a:gd name="T17" fmla="*/ 18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360">
                    <a:moveTo>
                      <a:pt x="120" y="240"/>
                    </a:moveTo>
                    <a:lnTo>
                      <a:pt x="90" y="120"/>
                    </a:lnTo>
                    <a:lnTo>
                      <a:pt x="90" y="0"/>
                    </a:lnTo>
                    <a:lnTo>
                      <a:pt x="210" y="30"/>
                    </a:lnTo>
                    <a:lnTo>
                      <a:pt x="240" y="180"/>
                    </a:lnTo>
                    <a:lnTo>
                      <a:pt x="120" y="240"/>
                    </a:lnTo>
                    <a:lnTo>
                      <a:pt x="210" y="330"/>
                    </a:lnTo>
                    <a:lnTo>
                      <a:pt x="90" y="36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0" name="Freeform 2419">
                <a:extLst>
                  <a:ext uri="{FF2B5EF4-FFF2-40B4-BE49-F238E27FC236}">
                    <a16:creationId xmlns:a16="http://schemas.microsoft.com/office/drawing/2014/main" xmlns="" id="{396FE12F-3DEC-4E47-A37C-9FE894434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590"/>
                <a:ext cx="90" cy="120"/>
              </a:xfrm>
              <a:custGeom>
                <a:avLst/>
                <a:gdLst>
                  <a:gd name="T0" fmla="*/ 0 w 90"/>
                  <a:gd name="T1" fmla="*/ 120 h 120"/>
                  <a:gd name="T2" fmla="*/ 90 w 90"/>
                  <a:gd name="T3" fmla="*/ 60 h 120"/>
                  <a:gd name="T4" fmla="*/ 0 w 90"/>
                  <a:gd name="T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120">
                    <a:moveTo>
                      <a:pt x="0" y="120"/>
                    </a:moveTo>
                    <a:lnTo>
                      <a:pt x="9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1" name="Line 2420">
                <a:extLst>
                  <a:ext uri="{FF2B5EF4-FFF2-40B4-BE49-F238E27FC236}">
                    <a16:creationId xmlns:a16="http://schemas.microsoft.com/office/drawing/2014/main" xmlns="" id="{7509DD0B-388A-4FBE-AC16-5FA915C93A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5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2" name="Freeform 2421">
                <a:extLst>
                  <a:ext uri="{FF2B5EF4-FFF2-40B4-BE49-F238E27FC236}">
                    <a16:creationId xmlns:a16="http://schemas.microsoft.com/office/drawing/2014/main" xmlns="" id="{1E9738AE-A95A-473B-A072-85395EC12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230"/>
                <a:ext cx="450" cy="180"/>
              </a:xfrm>
              <a:custGeom>
                <a:avLst/>
                <a:gdLst>
                  <a:gd name="T0" fmla="*/ 450 w 450"/>
                  <a:gd name="T1" fmla="*/ 180 h 180"/>
                  <a:gd name="T2" fmla="*/ 450 w 450"/>
                  <a:gd name="T3" fmla="*/ 60 h 180"/>
                  <a:gd name="T4" fmla="*/ 330 w 450"/>
                  <a:gd name="T5" fmla="*/ 120 h 180"/>
                  <a:gd name="T6" fmla="*/ 210 w 450"/>
                  <a:gd name="T7" fmla="*/ 30 h 180"/>
                  <a:gd name="T8" fmla="*/ 90 w 450"/>
                  <a:gd name="T9" fmla="*/ 0 h 180"/>
                  <a:gd name="T10" fmla="*/ 150 w 450"/>
                  <a:gd name="T11" fmla="*/ 90 h 180"/>
                  <a:gd name="T12" fmla="*/ 0 w 450"/>
                  <a:gd name="T13" fmla="*/ 6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0" h="180">
                    <a:moveTo>
                      <a:pt x="450" y="180"/>
                    </a:moveTo>
                    <a:lnTo>
                      <a:pt x="450" y="60"/>
                    </a:lnTo>
                    <a:lnTo>
                      <a:pt x="330" y="120"/>
                    </a:lnTo>
                    <a:lnTo>
                      <a:pt x="210" y="30"/>
                    </a:lnTo>
                    <a:lnTo>
                      <a:pt x="90" y="0"/>
                    </a:lnTo>
                    <a:lnTo>
                      <a:pt x="150" y="9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3" name="Freeform 2422">
                <a:extLst>
                  <a:ext uri="{FF2B5EF4-FFF2-40B4-BE49-F238E27FC236}">
                    <a16:creationId xmlns:a16="http://schemas.microsoft.com/office/drawing/2014/main" xmlns="" id="{5DA8B0CF-EC86-4160-AB0A-AEE84A1A93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440"/>
                <a:ext cx="180" cy="150"/>
              </a:xfrm>
              <a:custGeom>
                <a:avLst/>
                <a:gdLst>
                  <a:gd name="T0" fmla="*/ 180 w 180"/>
                  <a:gd name="T1" fmla="*/ 0 h 150"/>
                  <a:gd name="T2" fmla="*/ 90 w 180"/>
                  <a:gd name="T3" fmla="*/ 90 h 150"/>
                  <a:gd name="T4" fmla="*/ 0 w 180"/>
                  <a:gd name="T5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180" y="0"/>
                    </a:moveTo>
                    <a:lnTo>
                      <a:pt x="90" y="90"/>
                    </a:lnTo>
                    <a:lnTo>
                      <a:pt x="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4" name="Freeform 2423">
                <a:extLst>
                  <a:ext uri="{FF2B5EF4-FFF2-40B4-BE49-F238E27FC236}">
                    <a16:creationId xmlns:a16="http://schemas.microsoft.com/office/drawing/2014/main" xmlns="" id="{BB18136F-6660-4F40-B0F0-C6A3AC5528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" y="1260"/>
                <a:ext cx="390" cy="390"/>
              </a:xfrm>
              <a:custGeom>
                <a:avLst/>
                <a:gdLst>
                  <a:gd name="T0" fmla="*/ 270 w 390"/>
                  <a:gd name="T1" fmla="*/ 390 h 390"/>
                  <a:gd name="T2" fmla="*/ 390 w 390"/>
                  <a:gd name="T3" fmla="*/ 300 h 390"/>
                  <a:gd name="T4" fmla="*/ 360 w 390"/>
                  <a:gd name="T5" fmla="*/ 180 h 390"/>
                  <a:gd name="T6" fmla="*/ 240 w 390"/>
                  <a:gd name="T7" fmla="*/ 30 h 390"/>
                  <a:gd name="T8" fmla="*/ 0 w 390"/>
                  <a:gd name="T9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0" h="390">
                    <a:moveTo>
                      <a:pt x="270" y="390"/>
                    </a:moveTo>
                    <a:lnTo>
                      <a:pt x="390" y="300"/>
                    </a:lnTo>
                    <a:lnTo>
                      <a:pt x="360" y="180"/>
                    </a:lnTo>
                    <a:lnTo>
                      <a:pt x="24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5" name="Freeform 2424">
                <a:extLst>
                  <a:ext uri="{FF2B5EF4-FFF2-40B4-BE49-F238E27FC236}">
                    <a16:creationId xmlns:a16="http://schemas.microsoft.com/office/drawing/2014/main" xmlns="" id="{27911EAA-6238-49F0-84A5-CD151891CD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5" y="1230"/>
                <a:ext cx="360" cy="210"/>
              </a:xfrm>
              <a:custGeom>
                <a:avLst/>
                <a:gdLst>
                  <a:gd name="T0" fmla="*/ 90 w 360"/>
                  <a:gd name="T1" fmla="*/ 60 h 210"/>
                  <a:gd name="T2" fmla="*/ 0 w 360"/>
                  <a:gd name="T3" fmla="*/ 180 h 210"/>
                  <a:gd name="T4" fmla="*/ 90 w 360"/>
                  <a:gd name="T5" fmla="*/ 210 h 210"/>
                  <a:gd name="T6" fmla="*/ 180 w 360"/>
                  <a:gd name="T7" fmla="*/ 180 h 210"/>
                  <a:gd name="T8" fmla="*/ 90 w 360"/>
                  <a:gd name="T9" fmla="*/ 60 h 210"/>
                  <a:gd name="T10" fmla="*/ 270 w 360"/>
                  <a:gd name="T11" fmla="*/ 60 h 210"/>
                  <a:gd name="T12" fmla="*/ 360 w 360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0" h="210">
                    <a:moveTo>
                      <a:pt x="90" y="60"/>
                    </a:moveTo>
                    <a:lnTo>
                      <a:pt x="0" y="180"/>
                    </a:lnTo>
                    <a:lnTo>
                      <a:pt x="90" y="210"/>
                    </a:lnTo>
                    <a:lnTo>
                      <a:pt x="180" y="180"/>
                    </a:lnTo>
                    <a:lnTo>
                      <a:pt x="90" y="60"/>
                    </a:lnTo>
                    <a:lnTo>
                      <a:pt x="270" y="60"/>
                    </a:lnTo>
                    <a:lnTo>
                      <a:pt x="3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6" name="Line 2425">
                <a:extLst>
                  <a:ext uri="{FF2B5EF4-FFF2-40B4-BE49-F238E27FC236}">
                    <a16:creationId xmlns:a16="http://schemas.microsoft.com/office/drawing/2014/main" xmlns="" id="{8268A157-E1C8-4D59-AFE0-DDDD9A5385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3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7" name="Line 2426">
                <a:extLst>
                  <a:ext uri="{FF2B5EF4-FFF2-40B4-BE49-F238E27FC236}">
                    <a16:creationId xmlns:a16="http://schemas.microsoft.com/office/drawing/2014/main" xmlns="" id="{1E3FDC2D-37DE-4D8C-972B-A7826AEF96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105" y="141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8" name="Freeform 2427">
                <a:extLst>
                  <a:ext uri="{FF2B5EF4-FFF2-40B4-BE49-F238E27FC236}">
                    <a16:creationId xmlns:a16="http://schemas.microsoft.com/office/drawing/2014/main" xmlns="" id="{BE99F115-7C58-4FD2-8DD9-6C40DC005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5" y="2490"/>
                <a:ext cx="450" cy="300"/>
              </a:xfrm>
              <a:custGeom>
                <a:avLst/>
                <a:gdLst>
                  <a:gd name="T0" fmla="*/ 180 w 450"/>
                  <a:gd name="T1" fmla="*/ 300 h 300"/>
                  <a:gd name="T2" fmla="*/ 300 w 450"/>
                  <a:gd name="T3" fmla="*/ 240 h 300"/>
                  <a:gd name="T4" fmla="*/ 450 w 450"/>
                  <a:gd name="T5" fmla="*/ 300 h 300"/>
                  <a:gd name="T6" fmla="*/ 360 w 450"/>
                  <a:gd name="T7" fmla="*/ 90 h 300"/>
                  <a:gd name="T8" fmla="*/ 240 w 450"/>
                  <a:gd name="T9" fmla="*/ 150 h 300"/>
                  <a:gd name="T10" fmla="*/ 0 w 450"/>
                  <a:gd name="T11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0" h="300">
                    <a:moveTo>
                      <a:pt x="180" y="300"/>
                    </a:moveTo>
                    <a:lnTo>
                      <a:pt x="300" y="240"/>
                    </a:lnTo>
                    <a:lnTo>
                      <a:pt x="450" y="300"/>
                    </a:lnTo>
                    <a:lnTo>
                      <a:pt x="360" y="9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9" name="Line 2428">
                <a:extLst>
                  <a:ext uri="{FF2B5EF4-FFF2-40B4-BE49-F238E27FC236}">
                    <a16:creationId xmlns:a16="http://schemas.microsoft.com/office/drawing/2014/main" xmlns="" id="{4FA8AFF8-3D78-4FF6-9F8A-1DC6F40571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925" y="243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0" name="Freeform 2429">
                <a:extLst>
                  <a:ext uri="{FF2B5EF4-FFF2-40B4-BE49-F238E27FC236}">
                    <a16:creationId xmlns:a16="http://schemas.microsoft.com/office/drawing/2014/main" xmlns="" id="{EA568BC4-F458-45E1-87EB-7CE82BC4E2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2070"/>
                <a:ext cx="300" cy="240"/>
              </a:xfrm>
              <a:custGeom>
                <a:avLst/>
                <a:gdLst>
                  <a:gd name="T0" fmla="*/ 180 w 300"/>
                  <a:gd name="T1" fmla="*/ 0 h 240"/>
                  <a:gd name="T2" fmla="*/ 0 w 300"/>
                  <a:gd name="T3" fmla="*/ 0 h 240"/>
                  <a:gd name="T4" fmla="*/ 60 w 300"/>
                  <a:gd name="T5" fmla="*/ 120 h 240"/>
                  <a:gd name="T6" fmla="*/ 180 w 300"/>
                  <a:gd name="T7" fmla="*/ 0 h 240"/>
                  <a:gd name="T8" fmla="*/ 300 w 300"/>
                  <a:gd name="T9" fmla="*/ 150 h 240"/>
                  <a:gd name="T10" fmla="*/ 150 w 300"/>
                  <a:gd name="T11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0" h="240">
                    <a:moveTo>
                      <a:pt x="180" y="0"/>
                    </a:moveTo>
                    <a:lnTo>
                      <a:pt x="0" y="0"/>
                    </a:lnTo>
                    <a:lnTo>
                      <a:pt x="60" y="120"/>
                    </a:lnTo>
                    <a:lnTo>
                      <a:pt x="180" y="0"/>
                    </a:lnTo>
                    <a:lnTo>
                      <a:pt x="300" y="150"/>
                    </a:lnTo>
                    <a:lnTo>
                      <a:pt x="15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1" name="Line 2430">
                <a:extLst>
                  <a:ext uri="{FF2B5EF4-FFF2-40B4-BE49-F238E27FC236}">
                    <a16:creationId xmlns:a16="http://schemas.microsoft.com/office/drawing/2014/main" xmlns="" id="{DAFC6CC4-FC5E-4EDA-9957-AA350D3D31C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35" y="2040"/>
                <a:ext cx="90" cy="21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2" name="Freeform 2431">
                <a:extLst>
                  <a:ext uri="{FF2B5EF4-FFF2-40B4-BE49-F238E27FC236}">
                    <a16:creationId xmlns:a16="http://schemas.microsoft.com/office/drawing/2014/main" xmlns="" id="{33356E3A-DA1D-4CF0-82AA-2DF76CECF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2310"/>
                <a:ext cx="690" cy="420"/>
              </a:xfrm>
              <a:custGeom>
                <a:avLst/>
                <a:gdLst>
                  <a:gd name="T0" fmla="*/ 120 w 690"/>
                  <a:gd name="T1" fmla="*/ 150 h 420"/>
                  <a:gd name="T2" fmla="*/ 330 w 690"/>
                  <a:gd name="T3" fmla="*/ 0 h 420"/>
                  <a:gd name="T4" fmla="*/ 180 w 690"/>
                  <a:gd name="T5" fmla="*/ 30 h 420"/>
                  <a:gd name="T6" fmla="*/ 270 w 690"/>
                  <a:gd name="T7" fmla="*/ 180 h 420"/>
                  <a:gd name="T8" fmla="*/ 0 w 690"/>
                  <a:gd name="T9" fmla="*/ 210 h 420"/>
                  <a:gd name="T10" fmla="*/ 210 w 690"/>
                  <a:gd name="T11" fmla="*/ 270 h 420"/>
                  <a:gd name="T12" fmla="*/ 330 w 690"/>
                  <a:gd name="T13" fmla="*/ 330 h 420"/>
                  <a:gd name="T14" fmla="*/ 420 w 690"/>
                  <a:gd name="T15" fmla="*/ 420 h 420"/>
                  <a:gd name="T16" fmla="*/ 450 w 690"/>
                  <a:gd name="T17" fmla="*/ 240 h 420"/>
                  <a:gd name="T18" fmla="*/ 570 w 690"/>
                  <a:gd name="T19" fmla="*/ 420 h 420"/>
                  <a:gd name="T20" fmla="*/ 690 w 690"/>
                  <a:gd name="T21" fmla="*/ 39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0" h="420">
                    <a:moveTo>
                      <a:pt x="120" y="150"/>
                    </a:moveTo>
                    <a:lnTo>
                      <a:pt x="330" y="0"/>
                    </a:lnTo>
                    <a:lnTo>
                      <a:pt x="180" y="30"/>
                    </a:lnTo>
                    <a:lnTo>
                      <a:pt x="270" y="180"/>
                    </a:lnTo>
                    <a:lnTo>
                      <a:pt x="0" y="210"/>
                    </a:lnTo>
                    <a:lnTo>
                      <a:pt x="210" y="270"/>
                    </a:lnTo>
                    <a:lnTo>
                      <a:pt x="330" y="330"/>
                    </a:lnTo>
                    <a:lnTo>
                      <a:pt x="420" y="420"/>
                    </a:lnTo>
                    <a:lnTo>
                      <a:pt x="450" y="240"/>
                    </a:lnTo>
                    <a:lnTo>
                      <a:pt x="570" y="420"/>
                    </a:lnTo>
                    <a:lnTo>
                      <a:pt x="690" y="3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3" name="Freeform 2432">
                <a:extLst>
                  <a:ext uri="{FF2B5EF4-FFF2-40B4-BE49-F238E27FC236}">
                    <a16:creationId xmlns:a16="http://schemas.microsoft.com/office/drawing/2014/main" xmlns="" id="{F106D933-6D5B-4BC9-9A44-8076B60F6D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" y="2490"/>
                <a:ext cx="389" cy="300"/>
              </a:xfrm>
              <a:custGeom>
                <a:avLst/>
                <a:gdLst>
                  <a:gd name="T0" fmla="*/ 180 w 389"/>
                  <a:gd name="T1" fmla="*/ 300 h 300"/>
                  <a:gd name="T2" fmla="*/ 389 w 389"/>
                  <a:gd name="T3" fmla="*/ 270 h 300"/>
                  <a:gd name="T4" fmla="*/ 240 w 389"/>
                  <a:gd name="T5" fmla="*/ 150 h 300"/>
                  <a:gd name="T6" fmla="*/ 0 w 389"/>
                  <a:gd name="T7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9" h="300">
                    <a:moveTo>
                      <a:pt x="180" y="300"/>
                    </a:moveTo>
                    <a:lnTo>
                      <a:pt x="389" y="27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4" name="Freeform 2433">
                <a:extLst>
                  <a:ext uri="{FF2B5EF4-FFF2-40B4-BE49-F238E27FC236}">
                    <a16:creationId xmlns:a16="http://schemas.microsoft.com/office/drawing/2014/main" xmlns="" id="{44884E62-54B7-4F19-B6A0-D82BDC70E4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5" y="2310"/>
                <a:ext cx="389" cy="360"/>
              </a:xfrm>
              <a:custGeom>
                <a:avLst/>
                <a:gdLst>
                  <a:gd name="T0" fmla="*/ 90 w 389"/>
                  <a:gd name="T1" fmla="*/ 330 h 360"/>
                  <a:gd name="T2" fmla="*/ 389 w 389"/>
                  <a:gd name="T3" fmla="*/ 360 h 360"/>
                  <a:gd name="T4" fmla="*/ 359 w 389"/>
                  <a:gd name="T5" fmla="*/ 240 h 360"/>
                  <a:gd name="T6" fmla="*/ 209 w 389"/>
                  <a:gd name="T7" fmla="*/ 270 h 360"/>
                  <a:gd name="T8" fmla="*/ 0 w 389"/>
                  <a:gd name="T9" fmla="*/ 210 h 360"/>
                  <a:gd name="T10" fmla="*/ 269 w 389"/>
                  <a:gd name="T11" fmla="*/ 180 h 360"/>
                  <a:gd name="T12" fmla="*/ 179 w 389"/>
                  <a:gd name="T13" fmla="*/ 30 h 360"/>
                  <a:gd name="T14" fmla="*/ 329 w 389"/>
                  <a:gd name="T15" fmla="*/ 0 h 360"/>
                  <a:gd name="T16" fmla="*/ 120 w 389"/>
                  <a:gd name="T17" fmla="*/ 15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9" h="360">
                    <a:moveTo>
                      <a:pt x="90" y="330"/>
                    </a:moveTo>
                    <a:lnTo>
                      <a:pt x="389" y="360"/>
                    </a:lnTo>
                    <a:lnTo>
                      <a:pt x="359" y="240"/>
                    </a:lnTo>
                    <a:lnTo>
                      <a:pt x="209" y="270"/>
                    </a:lnTo>
                    <a:lnTo>
                      <a:pt x="0" y="210"/>
                    </a:lnTo>
                    <a:lnTo>
                      <a:pt x="269" y="180"/>
                    </a:lnTo>
                    <a:lnTo>
                      <a:pt x="179" y="30"/>
                    </a:lnTo>
                    <a:lnTo>
                      <a:pt x="329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5" name="Line 2434">
                <a:extLst>
                  <a:ext uri="{FF2B5EF4-FFF2-40B4-BE49-F238E27FC236}">
                    <a16:creationId xmlns:a16="http://schemas.microsoft.com/office/drawing/2014/main" xmlns="" id="{D9606FCA-BC61-413D-9665-B66D3BA837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44" y="2310"/>
                <a:ext cx="30" cy="24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6" name="Freeform 2435">
                <a:extLst>
                  <a:ext uri="{FF2B5EF4-FFF2-40B4-BE49-F238E27FC236}">
                    <a16:creationId xmlns:a16="http://schemas.microsoft.com/office/drawing/2014/main" xmlns="" id="{0B02F323-3A65-434C-8981-11C1CAB4C7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5" y="2160"/>
                <a:ext cx="239" cy="30"/>
              </a:xfrm>
              <a:custGeom>
                <a:avLst/>
                <a:gdLst>
                  <a:gd name="T0" fmla="*/ 0 w 239"/>
                  <a:gd name="T1" fmla="*/ 0 h 30"/>
                  <a:gd name="T2" fmla="*/ 119 w 239"/>
                  <a:gd name="T3" fmla="*/ 30 h 30"/>
                  <a:gd name="T4" fmla="*/ 239 w 239"/>
                  <a:gd name="T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30">
                    <a:moveTo>
                      <a:pt x="0" y="0"/>
                    </a:moveTo>
                    <a:lnTo>
                      <a:pt x="119" y="30"/>
                    </a:lnTo>
                    <a:lnTo>
                      <a:pt x="23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7" name="Freeform 2436">
                <a:extLst>
                  <a:ext uri="{FF2B5EF4-FFF2-40B4-BE49-F238E27FC236}">
                    <a16:creationId xmlns:a16="http://schemas.microsoft.com/office/drawing/2014/main" xmlns="" id="{B5CDCA35-4247-47AD-9321-E5575BF93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2160"/>
                <a:ext cx="210" cy="510"/>
              </a:xfrm>
              <a:custGeom>
                <a:avLst/>
                <a:gdLst>
                  <a:gd name="T0" fmla="*/ 210 w 210"/>
                  <a:gd name="T1" fmla="*/ 180 h 510"/>
                  <a:gd name="T2" fmla="*/ 0 w 210"/>
                  <a:gd name="T3" fmla="*/ 510 h 510"/>
                  <a:gd name="T4" fmla="*/ 120 w 210"/>
                  <a:gd name="T5" fmla="*/ 480 h 510"/>
                  <a:gd name="T6" fmla="*/ 30 w 210"/>
                  <a:gd name="T7" fmla="*/ 330 h 510"/>
                  <a:gd name="T8" fmla="*/ 120 w 210"/>
                  <a:gd name="T9" fmla="*/ 240 h 510"/>
                  <a:gd name="T10" fmla="*/ 0 w 210"/>
                  <a:gd name="T11" fmla="*/ 180 h 510"/>
                  <a:gd name="T12" fmla="*/ 90 w 210"/>
                  <a:gd name="T13" fmla="*/ 0 h 510"/>
                  <a:gd name="T14" fmla="*/ 210 w 210"/>
                  <a:gd name="T15" fmla="*/ 18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0" h="510">
                    <a:moveTo>
                      <a:pt x="210" y="180"/>
                    </a:moveTo>
                    <a:lnTo>
                      <a:pt x="0" y="510"/>
                    </a:lnTo>
                    <a:lnTo>
                      <a:pt x="120" y="480"/>
                    </a:lnTo>
                    <a:lnTo>
                      <a:pt x="30" y="330"/>
                    </a:lnTo>
                    <a:lnTo>
                      <a:pt x="120" y="240"/>
                    </a:lnTo>
                    <a:lnTo>
                      <a:pt x="0" y="180"/>
                    </a:lnTo>
                    <a:lnTo>
                      <a:pt x="90" y="0"/>
                    </a:lnTo>
                    <a:lnTo>
                      <a:pt x="210" y="18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8" name="Freeform 2437">
                <a:extLst>
                  <a:ext uri="{FF2B5EF4-FFF2-40B4-BE49-F238E27FC236}">
                    <a16:creationId xmlns:a16="http://schemas.microsoft.com/office/drawing/2014/main" xmlns="" id="{EA6A00EF-E27E-4FB9-9FB8-26C402021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2100"/>
                <a:ext cx="719" cy="690"/>
              </a:xfrm>
              <a:custGeom>
                <a:avLst/>
                <a:gdLst>
                  <a:gd name="T0" fmla="*/ 119 w 719"/>
                  <a:gd name="T1" fmla="*/ 120 h 690"/>
                  <a:gd name="T2" fmla="*/ 0 w 719"/>
                  <a:gd name="T3" fmla="*/ 30 h 690"/>
                  <a:gd name="T4" fmla="*/ 209 w 719"/>
                  <a:gd name="T5" fmla="*/ 0 h 690"/>
                  <a:gd name="T6" fmla="*/ 299 w 719"/>
                  <a:gd name="T7" fmla="*/ 120 h 690"/>
                  <a:gd name="T8" fmla="*/ 389 w 719"/>
                  <a:gd name="T9" fmla="*/ 0 h 690"/>
                  <a:gd name="T10" fmla="*/ 209 w 719"/>
                  <a:gd name="T11" fmla="*/ 0 h 690"/>
                  <a:gd name="T12" fmla="*/ 209 w 719"/>
                  <a:gd name="T13" fmla="*/ 151 h 690"/>
                  <a:gd name="T14" fmla="*/ 119 w 719"/>
                  <a:gd name="T15" fmla="*/ 120 h 690"/>
                  <a:gd name="T16" fmla="*/ 89 w 719"/>
                  <a:gd name="T17" fmla="*/ 210 h 690"/>
                  <a:gd name="T18" fmla="*/ 89 w 719"/>
                  <a:gd name="T19" fmla="*/ 450 h 690"/>
                  <a:gd name="T20" fmla="*/ 209 w 719"/>
                  <a:gd name="T21" fmla="*/ 360 h 690"/>
                  <a:gd name="T22" fmla="*/ 298 w 719"/>
                  <a:gd name="T23" fmla="*/ 452 h 690"/>
                  <a:gd name="T24" fmla="*/ 269 w 719"/>
                  <a:gd name="T25" fmla="*/ 270 h 690"/>
                  <a:gd name="T26" fmla="*/ 359 w 719"/>
                  <a:gd name="T27" fmla="*/ 210 h 690"/>
                  <a:gd name="T28" fmla="*/ 479 w 719"/>
                  <a:gd name="T29" fmla="*/ 270 h 690"/>
                  <a:gd name="T30" fmla="*/ 359 w 719"/>
                  <a:gd name="T31" fmla="*/ 330 h 690"/>
                  <a:gd name="T32" fmla="*/ 449 w 719"/>
                  <a:gd name="T33" fmla="*/ 390 h 690"/>
                  <a:gd name="T34" fmla="*/ 719 w 719"/>
                  <a:gd name="T35" fmla="*/ 360 h 690"/>
                  <a:gd name="T36" fmla="*/ 599 w 719"/>
                  <a:gd name="T37" fmla="*/ 420 h 690"/>
                  <a:gd name="T38" fmla="*/ 629 w 719"/>
                  <a:gd name="T39" fmla="*/ 690 h 690"/>
                  <a:gd name="T40" fmla="*/ 419 w 719"/>
                  <a:gd name="T41" fmla="*/ 510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9" h="690">
                    <a:moveTo>
                      <a:pt x="119" y="120"/>
                    </a:moveTo>
                    <a:lnTo>
                      <a:pt x="0" y="30"/>
                    </a:lnTo>
                    <a:lnTo>
                      <a:pt x="209" y="0"/>
                    </a:lnTo>
                    <a:lnTo>
                      <a:pt x="299" y="120"/>
                    </a:lnTo>
                    <a:lnTo>
                      <a:pt x="389" y="0"/>
                    </a:lnTo>
                    <a:lnTo>
                      <a:pt x="209" y="0"/>
                    </a:lnTo>
                    <a:lnTo>
                      <a:pt x="209" y="151"/>
                    </a:lnTo>
                    <a:lnTo>
                      <a:pt x="119" y="120"/>
                    </a:lnTo>
                    <a:lnTo>
                      <a:pt x="89" y="210"/>
                    </a:lnTo>
                    <a:lnTo>
                      <a:pt x="89" y="450"/>
                    </a:lnTo>
                    <a:lnTo>
                      <a:pt x="209" y="360"/>
                    </a:lnTo>
                    <a:lnTo>
                      <a:pt x="298" y="452"/>
                    </a:lnTo>
                    <a:lnTo>
                      <a:pt x="269" y="270"/>
                    </a:lnTo>
                    <a:lnTo>
                      <a:pt x="359" y="210"/>
                    </a:lnTo>
                    <a:lnTo>
                      <a:pt x="479" y="270"/>
                    </a:lnTo>
                    <a:lnTo>
                      <a:pt x="359" y="330"/>
                    </a:lnTo>
                    <a:lnTo>
                      <a:pt x="449" y="390"/>
                    </a:lnTo>
                    <a:lnTo>
                      <a:pt x="719" y="360"/>
                    </a:lnTo>
                    <a:lnTo>
                      <a:pt x="599" y="420"/>
                    </a:lnTo>
                    <a:lnTo>
                      <a:pt x="629" y="690"/>
                    </a:lnTo>
                    <a:lnTo>
                      <a:pt x="419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9" name="Freeform 2438">
                <a:extLst>
                  <a:ext uri="{FF2B5EF4-FFF2-40B4-BE49-F238E27FC236}">
                    <a16:creationId xmlns:a16="http://schemas.microsoft.com/office/drawing/2014/main" xmlns="" id="{D0DFAE96-F160-43D0-9D72-9FD883AAFD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2190"/>
                <a:ext cx="359" cy="330"/>
              </a:xfrm>
              <a:custGeom>
                <a:avLst/>
                <a:gdLst>
                  <a:gd name="T0" fmla="*/ 300 w 359"/>
                  <a:gd name="T1" fmla="*/ 240 h 330"/>
                  <a:gd name="T2" fmla="*/ 210 w 359"/>
                  <a:gd name="T3" fmla="*/ 330 h 330"/>
                  <a:gd name="T4" fmla="*/ 30 w 359"/>
                  <a:gd name="T5" fmla="*/ 300 h 330"/>
                  <a:gd name="T6" fmla="*/ 0 w 359"/>
                  <a:gd name="T7" fmla="*/ 150 h 330"/>
                  <a:gd name="T8" fmla="*/ 210 w 359"/>
                  <a:gd name="T9" fmla="*/ 0 h 330"/>
                  <a:gd name="T10" fmla="*/ 359 w 359"/>
                  <a:gd name="T11" fmla="*/ 12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9" h="330">
                    <a:moveTo>
                      <a:pt x="300" y="240"/>
                    </a:moveTo>
                    <a:lnTo>
                      <a:pt x="210" y="330"/>
                    </a:lnTo>
                    <a:lnTo>
                      <a:pt x="30" y="300"/>
                    </a:lnTo>
                    <a:lnTo>
                      <a:pt x="0" y="150"/>
                    </a:lnTo>
                    <a:lnTo>
                      <a:pt x="210" y="0"/>
                    </a:lnTo>
                    <a:lnTo>
                      <a:pt x="359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0" name="Freeform 2439">
                <a:extLst>
                  <a:ext uri="{FF2B5EF4-FFF2-40B4-BE49-F238E27FC236}">
                    <a16:creationId xmlns:a16="http://schemas.microsoft.com/office/drawing/2014/main" xmlns="" id="{65B028FD-571D-4DF0-8134-6B6AD565FE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6" y="2520"/>
                <a:ext cx="239" cy="120"/>
              </a:xfrm>
              <a:custGeom>
                <a:avLst/>
                <a:gdLst>
                  <a:gd name="T0" fmla="*/ 90 w 239"/>
                  <a:gd name="T1" fmla="*/ 0 h 120"/>
                  <a:gd name="T2" fmla="*/ 0 w 239"/>
                  <a:gd name="T3" fmla="*/ 120 h 120"/>
                  <a:gd name="T4" fmla="*/ 239 w 239"/>
                  <a:gd name="T5" fmla="*/ 3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120">
                    <a:moveTo>
                      <a:pt x="90" y="0"/>
                    </a:moveTo>
                    <a:lnTo>
                      <a:pt x="0" y="120"/>
                    </a:lnTo>
                    <a:lnTo>
                      <a:pt x="23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1" name="Freeform 2440">
                <a:extLst>
                  <a:ext uri="{FF2B5EF4-FFF2-40B4-BE49-F238E27FC236}">
                    <a16:creationId xmlns:a16="http://schemas.microsoft.com/office/drawing/2014/main" xmlns="" id="{BD49CB6C-8549-40C8-B788-AC7EBB9165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540"/>
                <a:ext cx="899" cy="750"/>
              </a:xfrm>
              <a:custGeom>
                <a:avLst/>
                <a:gdLst>
                  <a:gd name="T0" fmla="*/ 299 w 899"/>
                  <a:gd name="T1" fmla="*/ 630 h 750"/>
                  <a:gd name="T2" fmla="*/ 268 w 899"/>
                  <a:gd name="T3" fmla="*/ 482 h 750"/>
                  <a:gd name="T4" fmla="*/ 179 w 899"/>
                  <a:gd name="T5" fmla="*/ 570 h 750"/>
                  <a:gd name="T6" fmla="*/ 59 w 899"/>
                  <a:gd name="T7" fmla="*/ 480 h 750"/>
                  <a:gd name="T8" fmla="*/ 0 w 899"/>
                  <a:gd name="T9" fmla="*/ 360 h 750"/>
                  <a:gd name="T10" fmla="*/ 59 w 899"/>
                  <a:gd name="T11" fmla="*/ 240 h 750"/>
                  <a:gd name="T12" fmla="*/ 179 w 899"/>
                  <a:gd name="T13" fmla="*/ 390 h 750"/>
                  <a:gd name="T14" fmla="*/ 239 w 899"/>
                  <a:gd name="T15" fmla="*/ 300 h 750"/>
                  <a:gd name="T16" fmla="*/ 329 w 899"/>
                  <a:gd name="T17" fmla="*/ 360 h 750"/>
                  <a:gd name="T18" fmla="*/ 329 w 899"/>
                  <a:gd name="T19" fmla="*/ 240 h 750"/>
                  <a:gd name="T20" fmla="*/ 179 w 899"/>
                  <a:gd name="T21" fmla="*/ 181 h 750"/>
                  <a:gd name="T22" fmla="*/ 269 w 899"/>
                  <a:gd name="T23" fmla="*/ 150 h 750"/>
                  <a:gd name="T24" fmla="*/ 389 w 899"/>
                  <a:gd name="T25" fmla="*/ 120 h 750"/>
                  <a:gd name="T26" fmla="*/ 449 w 899"/>
                  <a:gd name="T27" fmla="*/ 300 h 750"/>
                  <a:gd name="T28" fmla="*/ 539 w 899"/>
                  <a:gd name="T29" fmla="*/ 180 h 750"/>
                  <a:gd name="T30" fmla="*/ 509 w 899"/>
                  <a:gd name="T31" fmla="*/ 60 h 750"/>
                  <a:gd name="T32" fmla="*/ 359 w 899"/>
                  <a:gd name="T33" fmla="*/ 30 h 750"/>
                  <a:gd name="T34" fmla="*/ 569 w 899"/>
                  <a:gd name="T35" fmla="*/ 0 h 750"/>
                  <a:gd name="T36" fmla="*/ 689 w 899"/>
                  <a:gd name="T37" fmla="*/ 90 h 750"/>
                  <a:gd name="T38" fmla="*/ 659 w 899"/>
                  <a:gd name="T39" fmla="*/ 240 h 750"/>
                  <a:gd name="T40" fmla="*/ 749 w 899"/>
                  <a:gd name="T41" fmla="*/ 270 h 750"/>
                  <a:gd name="T42" fmla="*/ 809 w 899"/>
                  <a:gd name="T43" fmla="*/ 120 h 750"/>
                  <a:gd name="T44" fmla="*/ 899 w 899"/>
                  <a:gd name="T45" fmla="*/ 240 h 750"/>
                  <a:gd name="T46" fmla="*/ 839 w 899"/>
                  <a:gd name="T47" fmla="*/ 420 h 750"/>
                  <a:gd name="T48" fmla="*/ 779 w 899"/>
                  <a:gd name="T49" fmla="*/ 510 h 750"/>
                  <a:gd name="T50" fmla="*/ 689 w 899"/>
                  <a:gd name="T51" fmla="*/ 390 h 750"/>
                  <a:gd name="T52" fmla="*/ 539 w 899"/>
                  <a:gd name="T53" fmla="*/ 330 h 750"/>
                  <a:gd name="T54" fmla="*/ 569 w 899"/>
                  <a:gd name="T55" fmla="*/ 450 h 750"/>
                  <a:gd name="T56" fmla="*/ 419 w 899"/>
                  <a:gd name="T57" fmla="*/ 420 h 750"/>
                  <a:gd name="T58" fmla="*/ 389 w 899"/>
                  <a:gd name="T59" fmla="*/ 540 h 750"/>
                  <a:gd name="T60" fmla="*/ 509 w 899"/>
                  <a:gd name="T61" fmla="*/ 570 h 750"/>
                  <a:gd name="T62" fmla="*/ 659 w 899"/>
                  <a:gd name="T63" fmla="*/ 570 h 750"/>
                  <a:gd name="T64" fmla="*/ 659 w 899"/>
                  <a:gd name="T65" fmla="*/ 75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99" h="750">
                    <a:moveTo>
                      <a:pt x="299" y="630"/>
                    </a:moveTo>
                    <a:lnTo>
                      <a:pt x="268" y="482"/>
                    </a:lnTo>
                    <a:lnTo>
                      <a:pt x="179" y="570"/>
                    </a:lnTo>
                    <a:lnTo>
                      <a:pt x="59" y="480"/>
                    </a:lnTo>
                    <a:lnTo>
                      <a:pt x="0" y="360"/>
                    </a:lnTo>
                    <a:lnTo>
                      <a:pt x="59" y="240"/>
                    </a:lnTo>
                    <a:lnTo>
                      <a:pt x="179" y="390"/>
                    </a:lnTo>
                    <a:lnTo>
                      <a:pt x="239" y="300"/>
                    </a:lnTo>
                    <a:lnTo>
                      <a:pt x="329" y="360"/>
                    </a:lnTo>
                    <a:lnTo>
                      <a:pt x="329" y="240"/>
                    </a:lnTo>
                    <a:lnTo>
                      <a:pt x="179" y="181"/>
                    </a:lnTo>
                    <a:lnTo>
                      <a:pt x="269" y="150"/>
                    </a:lnTo>
                    <a:lnTo>
                      <a:pt x="389" y="120"/>
                    </a:lnTo>
                    <a:lnTo>
                      <a:pt x="449" y="300"/>
                    </a:lnTo>
                    <a:lnTo>
                      <a:pt x="539" y="180"/>
                    </a:lnTo>
                    <a:lnTo>
                      <a:pt x="509" y="60"/>
                    </a:lnTo>
                    <a:lnTo>
                      <a:pt x="359" y="30"/>
                    </a:lnTo>
                    <a:lnTo>
                      <a:pt x="569" y="0"/>
                    </a:lnTo>
                    <a:lnTo>
                      <a:pt x="689" y="90"/>
                    </a:lnTo>
                    <a:lnTo>
                      <a:pt x="659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89" y="390"/>
                    </a:lnTo>
                    <a:lnTo>
                      <a:pt x="539" y="330"/>
                    </a:lnTo>
                    <a:lnTo>
                      <a:pt x="569" y="450"/>
                    </a:lnTo>
                    <a:lnTo>
                      <a:pt x="419" y="420"/>
                    </a:lnTo>
                    <a:lnTo>
                      <a:pt x="389" y="540"/>
                    </a:lnTo>
                    <a:lnTo>
                      <a:pt x="509" y="570"/>
                    </a:lnTo>
                    <a:lnTo>
                      <a:pt x="659" y="570"/>
                    </a:lnTo>
                    <a:lnTo>
                      <a:pt x="659" y="7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2" name="Line 2441">
                <a:extLst>
                  <a:ext uri="{FF2B5EF4-FFF2-40B4-BE49-F238E27FC236}">
                    <a16:creationId xmlns:a16="http://schemas.microsoft.com/office/drawing/2014/main" xmlns="" id="{183CE9D6-EEB1-4E8B-8141-69B7E29FEC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115" y="721"/>
                <a:ext cx="120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3" name="Freeform 2442">
                <a:extLst>
                  <a:ext uri="{FF2B5EF4-FFF2-40B4-BE49-F238E27FC236}">
                    <a16:creationId xmlns:a16="http://schemas.microsoft.com/office/drawing/2014/main" xmlns="" id="{4A9B83AF-3F9B-41BF-A242-68F66EAC58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" y="900"/>
                <a:ext cx="121" cy="180"/>
              </a:xfrm>
              <a:custGeom>
                <a:avLst/>
                <a:gdLst>
                  <a:gd name="T0" fmla="*/ 61 w 121"/>
                  <a:gd name="T1" fmla="*/ 0 h 180"/>
                  <a:gd name="T2" fmla="*/ 121 w 121"/>
                  <a:gd name="T3" fmla="*/ 180 h 180"/>
                  <a:gd name="T4" fmla="*/ 0 w 121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1" h="180">
                    <a:moveTo>
                      <a:pt x="61" y="0"/>
                    </a:moveTo>
                    <a:lnTo>
                      <a:pt x="121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4" name="Freeform 2443">
                <a:extLst>
                  <a:ext uri="{FF2B5EF4-FFF2-40B4-BE49-F238E27FC236}">
                    <a16:creationId xmlns:a16="http://schemas.microsoft.com/office/drawing/2014/main" xmlns="" id="{04D7D19B-7BC1-4157-BDCF-F9C5E6F0A1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5" y="51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5" name="Line 2444">
                <a:extLst>
                  <a:ext uri="{FF2B5EF4-FFF2-40B4-BE49-F238E27FC236}">
                    <a16:creationId xmlns:a16="http://schemas.microsoft.com/office/drawing/2014/main" xmlns="" id="{9094EBC4-2634-48FA-8434-417FD3EFBC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45" y="6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6" name="Freeform 2445">
                <a:extLst>
                  <a:ext uri="{FF2B5EF4-FFF2-40B4-BE49-F238E27FC236}">
                    <a16:creationId xmlns:a16="http://schemas.microsoft.com/office/drawing/2014/main" xmlns="" id="{1FB9E07E-C9CE-4AA7-927A-F7DC054E96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6" y="600"/>
                <a:ext cx="599" cy="630"/>
              </a:xfrm>
              <a:custGeom>
                <a:avLst/>
                <a:gdLst>
                  <a:gd name="T0" fmla="*/ 599 w 599"/>
                  <a:gd name="T1" fmla="*/ 510 h 630"/>
                  <a:gd name="T2" fmla="*/ 389 w 599"/>
                  <a:gd name="T3" fmla="*/ 570 h 630"/>
                  <a:gd name="T4" fmla="*/ 269 w 599"/>
                  <a:gd name="T5" fmla="*/ 510 h 630"/>
                  <a:gd name="T6" fmla="*/ 90 w 599"/>
                  <a:gd name="T7" fmla="*/ 540 h 630"/>
                  <a:gd name="T8" fmla="*/ 0 w 599"/>
                  <a:gd name="T9" fmla="*/ 390 h 630"/>
                  <a:gd name="T10" fmla="*/ 0 w 599"/>
                  <a:gd name="T11" fmla="*/ 630 h 630"/>
                  <a:gd name="T12" fmla="*/ 90 w 599"/>
                  <a:gd name="T13" fmla="*/ 300 h 630"/>
                  <a:gd name="T14" fmla="*/ 0 w 599"/>
                  <a:gd name="T15" fmla="*/ 210 h 630"/>
                  <a:gd name="T16" fmla="*/ 0 w 599"/>
                  <a:gd name="T17" fmla="*/ 60 h 630"/>
                  <a:gd name="T18" fmla="*/ 60 w 599"/>
                  <a:gd name="T19" fmla="*/ 0 h 630"/>
                  <a:gd name="T20" fmla="*/ 149 w 599"/>
                  <a:gd name="T21" fmla="*/ 180 h 630"/>
                  <a:gd name="T22" fmla="*/ 329 w 599"/>
                  <a:gd name="T23" fmla="*/ 240 h 630"/>
                  <a:gd name="T24" fmla="*/ 359 w 599"/>
                  <a:gd name="T25" fmla="*/ 9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9" h="630">
                    <a:moveTo>
                      <a:pt x="599" y="510"/>
                    </a:moveTo>
                    <a:lnTo>
                      <a:pt x="389" y="570"/>
                    </a:lnTo>
                    <a:lnTo>
                      <a:pt x="269" y="510"/>
                    </a:lnTo>
                    <a:lnTo>
                      <a:pt x="90" y="540"/>
                    </a:lnTo>
                    <a:lnTo>
                      <a:pt x="0" y="390"/>
                    </a:lnTo>
                    <a:lnTo>
                      <a:pt x="0" y="630"/>
                    </a:lnTo>
                    <a:lnTo>
                      <a:pt x="90" y="300"/>
                    </a:lnTo>
                    <a:lnTo>
                      <a:pt x="0" y="210"/>
                    </a:lnTo>
                    <a:lnTo>
                      <a:pt x="0" y="60"/>
                    </a:lnTo>
                    <a:lnTo>
                      <a:pt x="60" y="0"/>
                    </a:lnTo>
                    <a:lnTo>
                      <a:pt x="149" y="180"/>
                    </a:lnTo>
                    <a:lnTo>
                      <a:pt x="329" y="240"/>
                    </a:lnTo>
                    <a:lnTo>
                      <a:pt x="359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7" name="Freeform 2446">
                <a:extLst>
                  <a:ext uri="{FF2B5EF4-FFF2-40B4-BE49-F238E27FC236}">
                    <a16:creationId xmlns:a16="http://schemas.microsoft.com/office/drawing/2014/main" xmlns="" id="{4CC2CCE0-8B45-4306-9D02-24739493D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5" y="540"/>
                <a:ext cx="899" cy="720"/>
              </a:xfrm>
              <a:custGeom>
                <a:avLst/>
                <a:gdLst>
                  <a:gd name="T0" fmla="*/ 60 w 899"/>
                  <a:gd name="T1" fmla="*/ 240 h 720"/>
                  <a:gd name="T2" fmla="*/ 180 w 899"/>
                  <a:gd name="T3" fmla="*/ 390 h 720"/>
                  <a:gd name="T4" fmla="*/ 240 w 899"/>
                  <a:gd name="T5" fmla="*/ 300 h 720"/>
                  <a:gd name="T6" fmla="*/ 330 w 899"/>
                  <a:gd name="T7" fmla="*/ 360 h 720"/>
                  <a:gd name="T8" fmla="*/ 330 w 899"/>
                  <a:gd name="T9" fmla="*/ 240 h 720"/>
                  <a:gd name="T10" fmla="*/ 180 w 899"/>
                  <a:gd name="T11" fmla="*/ 181 h 720"/>
                  <a:gd name="T12" fmla="*/ 270 w 899"/>
                  <a:gd name="T13" fmla="*/ 150 h 720"/>
                  <a:gd name="T14" fmla="*/ 390 w 899"/>
                  <a:gd name="T15" fmla="*/ 120 h 720"/>
                  <a:gd name="T16" fmla="*/ 450 w 899"/>
                  <a:gd name="T17" fmla="*/ 300 h 720"/>
                  <a:gd name="T18" fmla="*/ 540 w 899"/>
                  <a:gd name="T19" fmla="*/ 180 h 720"/>
                  <a:gd name="T20" fmla="*/ 510 w 899"/>
                  <a:gd name="T21" fmla="*/ 60 h 720"/>
                  <a:gd name="T22" fmla="*/ 360 w 899"/>
                  <a:gd name="T23" fmla="*/ 30 h 720"/>
                  <a:gd name="T24" fmla="*/ 570 w 899"/>
                  <a:gd name="T25" fmla="*/ 0 h 720"/>
                  <a:gd name="T26" fmla="*/ 690 w 899"/>
                  <a:gd name="T27" fmla="*/ 90 h 720"/>
                  <a:gd name="T28" fmla="*/ 660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90 w 899"/>
                  <a:gd name="T41" fmla="*/ 390 h 720"/>
                  <a:gd name="T42" fmla="*/ 540 w 899"/>
                  <a:gd name="T43" fmla="*/ 330 h 720"/>
                  <a:gd name="T44" fmla="*/ 570 w 899"/>
                  <a:gd name="T45" fmla="*/ 450 h 720"/>
                  <a:gd name="T46" fmla="*/ 420 w 899"/>
                  <a:gd name="T47" fmla="*/ 420 h 720"/>
                  <a:gd name="T48" fmla="*/ 390 w 899"/>
                  <a:gd name="T49" fmla="*/ 540 h 720"/>
                  <a:gd name="T50" fmla="*/ 510 w 899"/>
                  <a:gd name="T51" fmla="*/ 570 h 720"/>
                  <a:gd name="T52" fmla="*/ 660 w 899"/>
                  <a:gd name="T53" fmla="*/ 570 h 720"/>
                  <a:gd name="T54" fmla="*/ 600 w 899"/>
                  <a:gd name="T55" fmla="*/ 720 h 720"/>
                  <a:gd name="T56" fmla="*/ 300 w 899"/>
                  <a:gd name="T57" fmla="*/ 630 h 720"/>
                  <a:gd name="T58" fmla="*/ 268 w 899"/>
                  <a:gd name="T59" fmla="*/ 482 h 720"/>
                  <a:gd name="T60" fmla="*/ 180 w 899"/>
                  <a:gd name="T61" fmla="*/ 570 h 720"/>
                  <a:gd name="T62" fmla="*/ 60 w 899"/>
                  <a:gd name="T63" fmla="*/ 480 h 720"/>
                  <a:gd name="T64" fmla="*/ 0 w 899"/>
                  <a:gd name="T65" fmla="*/ 360 h 720"/>
                  <a:gd name="T66" fmla="*/ 60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60" y="240"/>
                    </a:moveTo>
                    <a:lnTo>
                      <a:pt x="180" y="390"/>
                    </a:lnTo>
                    <a:lnTo>
                      <a:pt x="240" y="300"/>
                    </a:lnTo>
                    <a:lnTo>
                      <a:pt x="330" y="360"/>
                    </a:lnTo>
                    <a:lnTo>
                      <a:pt x="330" y="240"/>
                    </a:lnTo>
                    <a:lnTo>
                      <a:pt x="180" y="181"/>
                    </a:lnTo>
                    <a:lnTo>
                      <a:pt x="270" y="150"/>
                    </a:lnTo>
                    <a:lnTo>
                      <a:pt x="390" y="120"/>
                    </a:lnTo>
                    <a:lnTo>
                      <a:pt x="450" y="300"/>
                    </a:lnTo>
                    <a:lnTo>
                      <a:pt x="540" y="180"/>
                    </a:lnTo>
                    <a:lnTo>
                      <a:pt x="510" y="60"/>
                    </a:lnTo>
                    <a:lnTo>
                      <a:pt x="360" y="30"/>
                    </a:lnTo>
                    <a:lnTo>
                      <a:pt x="570" y="0"/>
                    </a:lnTo>
                    <a:lnTo>
                      <a:pt x="690" y="90"/>
                    </a:lnTo>
                    <a:lnTo>
                      <a:pt x="660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90" y="390"/>
                    </a:lnTo>
                    <a:lnTo>
                      <a:pt x="540" y="330"/>
                    </a:lnTo>
                    <a:lnTo>
                      <a:pt x="570" y="450"/>
                    </a:lnTo>
                    <a:lnTo>
                      <a:pt x="420" y="420"/>
                    </a:lnTo>
                    <a:lnTo>
                      <a:pt x="390" y="540"/>
                    </a:lnTo>
                    <a:lnTo>
                      <a:pt x="510" y="570"/>
                    </a:lnTo>
                    <a:lnTo>
                      <a:pt x="660" y="570"/>
                    </a:lnTo>
                    <a:lnTo>
                      <a:pt x="600" y="720"/>
                    </a:lnTo>
                    <a:lnTo>
                      <a:pt x="300" y="630"/>
                    </a:lnTo>
                    <a:lnTo>
                      <a:pt x="268" y="482"/>
                    </a:lnTo>
                    <a:lnTo>
                      <a:pt x="180" y="570"/>
                    </a:lnTo>
                    <a:lnTo>
                      <a:pt x="60" y="480"/>
                    </a:lnTo>
                    <a:lnTo>
                      <a:pt x="0" y="360"/>
                    </a:lnTo>
                    <a:lnTo>
                      <a:pt x="6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8" name="Freeform 2447">
                <a:extLst>
                  <a:ext uri="{FF2B5EF4-FFF2-40B4-BE49-F238E27FC236}">
                    <a16:creationId xmlns:a16="http://schemas.microsoft.com/office/drawing/2014/main" xmlns="" id="{54130A2D-79C4-485A-B64E-0A4DA5ED7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690"/>
                <a:ext cx="210" cy="150"/>
              </a:xfrm>
              <a:custGeom>
                <a:avLst/>
                <a:gdLst>
                  <a:gd name="T0" fmla="*/ 0 w 210"/>
                  <a:gd name="T1" fmla="*/ 90 h 150"/>
                  <a:gd name="T2" fmla="*/ 180 w 210"/>
                  <a:gd name="T3" fmla="*/ 150 h 150"/>
                  <a:gd name="T4" fmla="*/ 210 w 210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150">
                    <a:moveTo>
                      <a:pt x="0" y="90"/>
                    </a:moveTo>
                    <a:lnTo>
                      <a:pt x="180" y="150"/>
                    </a:lnTo>
                    <a:lnTo>
                      <a:pt x="21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9" name="Freeform 2448">
                <a:extLst>
                  <a:ext uri="{FF2B5EF4-FFF2-40B4-BE49-F238E27FC236}">
                    <a16:creationId xmlns:a16="http://schemas.microsoft.com/office/drawing/2014/main" xmlns="" id="{FD9594E0-7F0E-4412-B167-5CB9DB84C7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721"/>
                <a:ext cx="240" cy="389"/>
              </a:xfrm>
              <a:custGeom>
                <a:avLst/>
                <a:gdLst>
                  <a:gd name="T0" fmla="*/ 240 w 240"/>
                  <a:gd name="T1" fmla="*/ 0 h 389"/>
                  <a:gd name="T2" fmla="*/ 120 w 240"/>
                  <a:gd name="T3" fmla="*/ 299 h 389"/>
                  <a:gd name="T4" fmla="*/ 0 w 240"/>
                  <a:gd name="T5" fmla="*/ 389 h 389"/>
                  <a:gd name="T6" fmla="*/ 60 w 240"/>
                  <a:gd name="T7" fmla="*/ 179 h 389"/>
                  <a:gd name="T8" fmla="*/ 0 w 240"/>
                  <a:gd name="T9" fmla="*/ 59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89">
                    <a:moveTo>
                      <a:pt x="240" y="0"/>
                    </a:moveTo>
                    <a:lnTo>
                      <a:pt x="120" y="299"/>
                    </a:lnTo>
                    <a:lnTo>
                      <a:pt x="0" y="389"/>
                    </a:lnTo>
                    <a:lnTo>
                      <a:pt x="60" y="179"/>
                    </a:lnTo>
                    <a:lnTo>
                      <a:pt x="0" y="5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0" name="Freeform 2449">
                <a:extLst>
                  <a:ext uri="{FF2B5EF4-FFF2-40B4-BE49-F238E27FC236}">
                    <a16:creationId xmlns:a16="http://schemas.microsoft.com/office/drawing/2014/main" xmlns="" id="{C99822E5-027C-49C7-9956-5F103E28C1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3" y="900"/>
                <a:ext cx="122" cy="180"/>
              </a:xfrm>
              <a:custGeom>
                <a:avLst/>
                <a:gdLst>
                  <a:gd name="T0" fmla="*/ 62 w 122"/>
                  <a:gd name="T1" fmla="*/ 0 h 180"/>
                  <a:gd name="T2" fmla="*/ 122 w 122"/>
                  <a:gd name="T3" fmla="*/ 180 h 180"/>
                  <a:gd name="T4" fmla="*/ 0 w 122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2" h="180">
                    <a:moveTo>
                      <a:pt x="62" y="0"/>
                    </a:moveTo>
                    <a:lnTo>
                      <a:pt x="122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1" name="Freeform 2450">
                <a:extLst>
                  <a:ext uri="{FF2B5EF4-FFF2-40B4-BE49-F238E27FC236}">
                    <a16:creationId xmlns:a16="http://schemas.microsoft.com/office/drawing/2014/main" xmlns="" id="{D7C0589B-DFCB-41F1-82E6-76CA946C9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5" y="51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2" name="Line 2451">
                <a:extLst>
                  <a:ext uri="{FF2B5EF4-FFF2-40B4-BE49-F238E27FC236}">
                    <a16:creationId xmlns:a16="http://schemas.microsoft.com/office/drawing/2014/main" xmlns="" id="{C914DC24-B310-4F88-BFEC-7973009206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05" y="6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3" name="Freeform 2452">
                <a:extLst>
                  <a:ext uri="{FF2B5EF4-FFF2-40B4-BE49-F238E27FC236}">
                    <a16:creationId xmlns:a16="http://schemas.microsoft.com/office/drawing/2014/main" xmlns="" id="{EE6D7AC2-9EC1-4687-B84A-1679CF17C1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780"/>
                <a:ext cx="450" cy="390"/>
              </a:xfrm>
              <a:custGeom>
                <a:avLst/>
                <a:gdLst>
                  <a:gd name="T0" fmla="*/ 450 w 450"/>
                  <a:gd name="T1" fmla="*/ 330 h 390"/>
                  <a:gd name="T2" fmla="*/ 240 w 450"/>
                  <a:gd name="T3" fmla="*/ 390 h 390"/>
                  <a:gd name="T4" fmla="*/ 120 w 450"/>
                  <a:gd name="T5" fmla="*/ 330 h 390"/>
                  <a:gd name="T6" fmla="*/ 0 w 450"/>
                  <a:gd name="T7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0" h="390">
                    <a:moveTo>
                      <a:pt x="450" y="330"/>
                    </a:moveTo>
                    <a:lnTo>
                      <a:pt x="240" y="390"/>
                    </a:lnTo>
                    <a:lnTo>
                      <a:pt x="120" y="3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4" name="Freeform 2453">
                <a:extLst>
                  <a:ext uri="{FF2B5EF4-FFF2-40B4-BE49-F238E27FC236}">
                    <a16:creationId xmlns:a16="http://schemas.microsoft.com/office/drawing/2014/main" xmlns="" id="{453F4DEF-66A3-402A-BE8B-BC695A171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960"/>
                <a:ext cx="570" cy="300"/>
              </a:xfrm>
              <a:custGeom>
                <a:avLst/>
                <a:gdLst>
                  <a:gd name="T0" fmla="*/ 0 w 570"/>
                  <a:gd name="T1" fmla="*/ 0 h 300"/>
                  <a:gd name="T2" fmla="*/ 240 w 570"/>
                  <a:gd name="T3" fmla="*/ 150 h 300"/>
                  <a:gd name="T4" fmla="*/ 360 w 570"/>
                  <a:gd name="T5" fmla="*/ 90 h 300"/>
                  <a:gd name="T6" fmla="*/ 450 w 570"/>
                  <a:gd name="T7" fmla="*/ 300 h 300"/>
                  <a:gd name="T8" fmla="*/ 570 w 570"/>
                  <a:gd name="T9" fmla="*/ 24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0" h="300">
                    <a:moveTo>
                      <a:pt x="0" y="0"/>
                    </a:moveTo>
                    <a:lnTo>
                      <a:pt x="240" y="150"/>
                    </a:lnTo>
                    <a:lnTo>
                      <a:pt x="360" y="90"/>
                    </a:lnTo>
                    <a:lnTo>
                      <a:pt x="450" y="300"/>
                    </a:lnTo>
                    <a:lnTo>
                      <a:pt x="57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5" name="Line 2454">
                <a:extLst>
                  <a:ext uri="{FF2B5EF4-FFF2-40B4-BE49-F238E27FC236}">
                    <a16:creationId xmlns:a16="http://schemas.microsoft.com/office/drawing/2014/main" xmlns="" id="{0BDC0ABA-FB6D-402B-BAAE-498CDFB75C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95" y="90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6" name="Line 2455">
                <a:extLst>
                  <a:ext uri="{FF2B5EF4-FFF2-40B4-BE49-F238E27FC236}">
                    <a16:creationId xmlns:a16="http://schemas.microsoft.com/office/drawing/2014/main" xmlns="" id="{8758586D-C798-4FB9-A631-CBC7419311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05" y="510"/>
                <a:ext cx="90" cy="21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7" name="Freeform 2456">
                <a:extLst>
                  <a:ext uri="{FF2B5EF4-FFF2-40B4-BE49-F238E27FC236}">
                    <a16:creationId xmlns:a16="http://schemas.microsoft.com/office/drawing/2014/main" xmlns="" id="{D3C5BE8C-9E1C-47E0-AB74-2DE1D7A75F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5" y="960"/>
                <a:ext cx="389" cy="300"/>
              </a:xfrm>
              <a:custGeom>
                <a:avLst/>
                <a:gdLst>
                  <a:gd name="T0" fmla="*/ 180 w 389"/>
                  <a:gd name="T1" fmla="*/ 300 h 300"/>
                  <a:gd name="T2" fmla="*/ 389 w 389"/>
                  <a:gd name="T3" fmla="*/ 270 h 300"/>
                  <a:gd name="T4" fmla="*/ 240 w 389"/>
                  <a:gd name="T5" fmla="*/ 150 h 300"/>
                  <a:gd name="T6" fmla="*/ 0 w 389"/>
                  <a:gd name="T7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9" h="300">
                    <a:moveTo>
                      <a:pt x="180" y="300"/>
                    </a:moveTo>
                    <a:lnTo>
                      <a:pt x="389" y="27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8" name="Freeform 2457">
                <a:extLst>
                  <a:ext uri="{FF2B5EF4-FFF2-40B4-BE49-F238E27FC236}">
                    <a16:creationId xmlns:a16="http://schemas.microsoft.com/office/drawing/2014/main" xmlns="" id="{547E6695-D628-4002-8368-E35D0D4B0A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780"/>
                <a:ext cx="389" cy="360"/>
              </a:xfrm>
              <a:custGeom>
                <a:avLst/>
                <a:gdLst>
                  <a:gd name="T0" fmla="*/ 90 w 389"/>
                  <a:gd name="T1" fmla="*/ 330 h 360"/>
                  <a:gd name="T2" fmla="*/ 389 w 389"/>
                  <a:gd name="T3" fmla="*/ 360 h 360"/>
                  <a:gd name="T4" fmla="*/ 359 w 389"/>
                  <a:gd name="T5" fmla="*/ 240 h 360"/>
                  <a:gd name="T6" fmla="*/ 209 w 389"/>
                  <a:gd name="T7" fmla="*/ 270 h 360"/>
                  <a:gd name="T8" fmla="*/ 0 w 389"/>
                  <a:gd name="T9" fmla="*/ 210 h 360"/>
                  <a:gd name="T10" fmla="*/ 269 w 389"/>
                  <a:gd name="T11" fmla="*/ 180 h 360"/>
                  <a:gd name="T12" fmla="*/ 179 w 389"/>
                  <a:gd name="T13" fmla="*/ 30 h 360"/>
                  <a:gd name="T14" fmla="*/ 329 w 389"/>
                  <a:gd name="T15" fmla="*/ 0 h 360"/>
                  <a:gd name="T16" fmla="*/ 120 w 389"/>
                  <a:gd name="T17" fmla="*/ 15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9" h="360">
                    <a:moveTo>
                      <a:pt x="90" y="330"/>
                    </a:moveTo>
                    <a:lnTo>
                      <a:pt x="389" y="360"/>
                    </a:lnTo>
                    <a:lnTo>
                      <a:pt x="359" y="240"/>
                    </a:lnTo>
                    <a:lnTo>
                      <a:pt x="209" y="270"/>
                    </a:lnTo>
                    <a:lnTo>
                      <a:pt x="0" y="210"/>
                    </a:lnTo>
                    <a:lnTo>
                      <a:pt x="269" y="180"/>
                    </a:lnTo>
                    <a:lnTo>
                      <a:pt x="179" y="30"/>
                    </a:lnTo>
                    <a:lnTo>
                      <a:pt x="329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9" name="Line 2458">
                <a:extLst>
                  <a:ext uri="{FF2B5EF4-FFF2-40B4-BE49-F238E27FC236}">
                    <a16:creationId xmlns:a16="http://schemas.microsoft.com/office/drawing/2014/main" xmlns="" id="{43FE14E3-2E67-4ECD-97AE-C4A9E8F6631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14" y="780"/>
                <a:ext cx="30" cy="24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0" name="Freeform 2459">
                <a:extLst>
                  <a:ext uri="{FF2B5EF4-FFF2-40B4-BE49-F238E27FC236}">
                    <a16:creationId xmlns:a16="http://schemas.microsoft.com/office/drawing/2014/main" xmlns="" id="{B90B6BC7-1C66-4DBB-A4C0-E4B67C321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5" y="630"/>
                <a:ext cx="239" cy="30"/>
              </a:xfrm>
              <a:custGeom>
                <a:avLst/>
                <a:gdLst>
                  <a:gd name="T0" fmla="*/ 0 w 239"/>
                  <a:gd name="T1" fmla="*/ 0 h 30"/>
                  <a:gd name="T2" fmla="*/ 119 w 239"/>
                  <a:gd name="T3" fmla="*/ 30 h 30"/>
                  <a:gd name="T4" fmla="*/ 239 w 239"/>
                  <a:gd name="T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30">
                    <a:moveTo>
                      <a:pt x="0" y="0"/>
                    </a:moveTo>
                    <a:lnTo>
                      <a:pt x="119" y="30"/>
                    </a:lnTo>
                    <a:lnTo>
                      <a:pt x="23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1" name="Freeform 2460">
                <a:extLst>
                  <a:ext uri="{FF2B5EF4-FFF2-40B4-BE49-F238E27FC236}">
                    <a16:creationId xmlns:a16="http://schemas.microsoft.com/office/drawing/2014/main" xmlns="" id="{55E51B30-2F75-44DE-B2FD-280F797D22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630"/>
                <a:ext cx="210" cy="510"/>
              </a:xfrm>
              <a:custGeom>
                <a:avLst/>
                <a:gdLst>
                  <a:gd name="T0" fmla="*/ 210 w 210"/>
                  <a:gd name="T1" fmla="*/ 180 h 510"/>
                  <a:gd name="T2" fmla="*/ 0 w 210"/>
                  <a:gd name="T3" fmla="*/ 510 h 510"/>
                  <a:gd name="T4" fmla="*/ 120 w 210"/>
                  <a:gd name="T5" fmla="*/ 480 h 510"/>
                  <a:gd name="T6" fmla="*/ 30 w 210"/>
                  <a:gd name="T7" fmla="*/ 330 h 510"/>
                  <a:gd name="T8" fmla="*/ 120 w 210"/>
                  <a:gd name="T9" fmla="*/ 240 h 510"/>
                  <a:gd name="T10" fmla="*/ 0 w 210"/>
                  <a:gd name="T11" fmla="*/ 180 h 510"/>
                  <a:gd name="T12" fmla="*/ 90 w 210"/>
                  <a:gd name="T13" fmla="*/ 0 h 510"/>
                  <a:gd name="T14" fmla="*/ 210 w 210"/>
                  <a:gd name="T15" fmla="*/ 18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0" h="510">
                    <a:moveTo>
                      <a:pt x="210" y="180"/>
                    </a:moveTo>
                    <a:lnTo>
                      <a:pt x="0" y="510"/>
                    </a:lnTo>
                    <a:lnTo>
                      <a:pt x="120" y="480"/>
                    </a:lnTo>
                    <a:lnTo>
                      <a:pt x="30" y="330"/>
                    </a:lnTo>
                    <a:lnTo>
                      <a:pt x="120" y="240"/>
                    </a:lnTo>
                    <a:lnTo>
                      <a:pt x="0" y="180"/>
                    </a:lnTo>
                    <a:lnTo>
                      <a:pt x="90" y="0"/>
                    </a:lnTo>
                    <a:lnTo>
                      <a:pt x="210" y="18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2" name="Freeform 2461">
                <a:extLst>
                  <a:ext uri="{FF2B5EF4-FFF2-40B4-BE49-F238E27FC236}">
                    <a16:creationId xmlns:a16="http://schemas.microsoft.com/office/drawing/2014/main" xmlns="" id="{6C203705-0D95-4727-9620-DDF5F3972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6" y="570"/>
                <a:ext cx="719" cy="720"/>
              </a:xfrm>
              <a:custGeom>
                <a:avLst/>
                <a:gdLst>
                  <a:gd name="T0" fmla="*/ 119 w 719"/>
                  <a:gd name="T1" fmla="*/ 120 h 720"/>
                  <a:gd name="T2" fmla="*/ 0 w 719"/>
                  <a:gd name="T3" fmla="*/ 30 h 720"/>
                  <a:gd name="T4" fmla="*/ 209 w 719"/>
                  <a:gd name="T5" fmla="*/ 0 h 720"/>
                  <a:gd name="T6" fmla="*/ 299 w 719"/>
                  <a:gd name="T7" fmla="*/ 120 h 720"/>
                  <a:gd name="T8" fmla="*/ 389 w 719"/>
                  <a:gd name="T9" fmla="*/ 0 h 720"/>
                  <a:gd name="T10" fmla="*/ 209 w 719"/>
                  <a:gd name="T11" fmla="*/ 0 h 720"/>
                  <a:gd name="T12" fmla="*/ 209 w 719"/>
                  <a:gd name="T13" fmla="*/ 151 h 720"/>
                  <a:gd name="T14" fmla="*/ 119 w 719"/>
                  <a:gd name="T15" fmla="*/ 120 h 720"/>
                  <a:gd name="T16" fmla="*/ 89 w 719"/>
                  <a:gd name="T17" fmla="*/ 210 h 720"/>
                  <a:gd name="T18" fmla="*/ 89 w 719"/>
                  <a:gd name="T19" fmla="*/ 450 h 720"/>
                  <a:gd name="T20" fmla="*/ 209 w 719"/>
                  <a:gd name="T21" fmla="*/ 360 h 720"/>
                  <a:gd name="T22" fmla="*/ 298 w 719"/>
                  <a:gd name="T23" fmla="*/ 452 h 720"/>
                  <a:gd name="T24" fmla="*/ 269 w 719"/>
                  <a:gd name="T25" fmla="*/ 270 h 720"/>
                  <a:gd name="T26" fmla="*/ 359 w 719"/>
                  <a:gd name="T27" fmla="*/ 210 h 720"/>
                  <a:gd name="T28" fmla="*/ 479 w 719"/>
                  <a:gd name="T29" fmla="*/ 270 h 720"/>
                  <a:gd name="T30" fmla="*/ 359 w 719"/>
                  <a:gd name="T31" fmla="*/ 330 h 720"/>
                  <a:gd name="T32" fmla="*/ 449 w 719"/>
                  <a:gd name="T33" fmla="*/ 390 h 720"/>
                  <a:gd name="T34" fmla="*/ 719 w 719"/>
                  <a:gd name="T35" fmla="*/ 360 h 720"/>
                  <a:gd name="T36" fmla="*/ 599 w 719"/>
                  <a:gd name="T37" fmla="*/ 420 h 720"/>
                  <a:gd name="T38" fmla="*/ 689 w 719"/>
                  <a:gd name="T39" fmla="*/ 720 h 720"/>
                  <a:gd name="T40" fmla="*/ 419 w 719"/>
                  <a:gd name="T41" fmla="*/ 51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9" h="720">
                    <a:moveTo>
                      <a:pt x="119" y="120"/>
                    </a:moveTo>
                    <a:lnTo>
                      <a:pt x="0" y="30"/>
                    </a:lnTo>
                    <a:lnTo>
                      <a:pt x="209" y="0"/>
                    </a:lnTo>
                    <a:lnTo>
                      <a:pt x="299" y="120"/>
                    </a:lnTo>
                    <a:lnTo>
                      <a:pt x="389" y="0"/>
                    </a:lnTo>
                    <a:lnTo>
                      <a:pt x="209" y="0"/>
                    </a:lnTo>
                    <a:lnTo>
                      <a:pt x="209" y="151"/>
                    </a:lnTo>
                    <a:lnTo>
                      <a:pt x="119" y="120"/>
                    </a:lnTo>
                    <a:lnTo>
                      <a:pt x="89" y="210"/>
                    </a:lnTo>
                    <a:lnTo>
                      <a:pt x="89" y="450"/>
                    </a:lnTo>
                    <a:lnTo>
                      <a:pt x="209" y="360"/>
                    </a:lnTo>
                    <a:lnTo>
                      <a:pt x="298" y="452"/>
                    </a:lnTo>
                    <a:lnTo>
                      <a:pt x="269" y="270"/>
                    </a:lnTo>
                    <a:lnTo>
                      <a:pt x="359" y="210"/>
                    </a:lnTo>
                    <a:lnTo>
                      <a:pt x="479" y="270"/>
                    </a:lnTo>
                    <a:lnTo>
                      <a:pt x="359" y="330"/>
                    </a:lnTo>
                    <a:lnTo>
                      <a:pt x="449" y="390"/>
                    </a:lnTo>
                    <a:lnTo>
                      <a:pt x="719" y="360"/>
                    </a:lnTo>
                    <a:lnTo>
                      <a:pt x="599" y="420"/>
                    </a:lnTo>
                    <a:lnTo>
                      <a:pt x="689" y="720"/>
                    </a:lnTo>
                    <a:lnTo>
                      <a:pt x="419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3" name="Freeform 2462">
                <a:extLst>
                  <a:ext uri="{FF2B5EF4-FFF2-40B4-BE49-F238E27FC236}">
                    <a16:creationId xmlns:a16="http://schemas.microsoft.com/office/drawing/2014/main" xmlns="" id="{BD7618C3-9C37-46B1-B4E3-A1E68D632C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660"/>
                <a:ext cx="359" cy="330"/>
              </a:xfrm>
              <a:custGeom>
                <a:avLst/>
                <a:gdLst>
                  <a:gd name="T0" fmla="*/ 300 w 359"/>
                  <a:gd name="T1" fmla="*/ 240 h 330"/>
                  <a:gd name="T2" fmla="*/ 210 w 359"/>
                  <a:gd name="T3" fmla="*/ 330 h 330"/>
                  <a:gd name="T4" fmla="*/ 30 w 359"/>
                  <a:gd name="T5" fmla="*/ 300 h 330"/>
                  <a:gd name="T6" fmla="*/ 0 w 359"/>
                  <a:gd name="T7" fmla="*/ 150 h 330"/>
                  <a:gd name="T8" fmla="*/ 210 w 359"/>
                  <a:gd name="T9" fmla="*/ 0 h 330"/>
                  <a:gd name="T10" fmla="*/ 359 w 359"/>
                  <a:gd name="T11" fmla="*/ 12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9" h="330">
                    <a:moveTo>
                      <a:pt x="300" y="240"/>
                    </a:moveTo>
                    <a:lnTo>
                      <a:pt x="210" y="330"/>
                    </a:lnTo>
                    <a:lnTo>
                      <a:pt x="30" y="300"/>
                    </a:lnTo>
                    <a:lnTo>
                      <a:pt x="0" y="150"/>
                    </a:lnTo>
                    <a:lnTo>
                      <a:pt x="210" y="0"/>
                    </a:lnTo>
                    <a:lnTo>
                      <a:pt x="359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4" name="Freeform 2463">
                <a:extLst>
                  <a:ext uri="{FF2B5EF4-FFF2-40B4-BE49-F238E27FC236}">
                    <a16:creationId xmlns:a16="http://schemas.microsoft.com/office/drawing/2014/main" xmlns="" id="{B16FE604-9235-4727-87F9-759D91ACF5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990"/>
                <a:ext cx="239" cy="120"/>
              </a:xfrm>
              <a:custGeom>
                <a:avLst/>
                <a:gdLst>
                  <a:gd name="T0" fmla="*/ 90 w 239"/>
                  <a:gd name="T1" fmla="*/ 0 h 120"/>
                  <a:gd name="T2" fmla="*/ 0 w 239"/>
                  <a:gd name="T3" fmla="*/ 120 h 120"/>
                  <a:gd name="T4" fmla="*/ 239 w 239"/>
                  <a:gd name="T5" fmla="*/ 3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120">
                    <a:moveTo>
                      <a:pt x="90" y="0"/>
                    </a:moveTo>
                    <a:lnTo>
                      <a:pt x="0" y="120"/>
                    </a:lnTo>
                    <a:lnTo>
                      <a:pt x="23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5" name="Freeform 2464">
                <a:extLst>
                  <a:ext uri="{FF2B5EF4-FFF2-40B4-BE49-F238E27FC236}">
                    <a16:creationId xmlns:a16="http://schemas.microsoft.com/office/drawing/2014/main" xmlns="" id="{612D1B63-B3A0-4658-8F3E-914CBA90DF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170"/>
                <a:ext cx="360" cy="120"/>
              </a:xfrm>
              <a:custGeom>
                <a:avLst/>
                <a:gdLst>
                  <a:gd name="T0" fmla="*/ 360 w 360"/>
                  <a:gd name="T1" fmla="*/ 120 h 120"/>
                  <a:gd name="T2" fmla="*/ 150 w 360"/>
                  <a:gd name="T3" fmla="*/ 30 h 120"/>
                  <a:gd name="T4" fmla="*/ 0 w 360"/>
                  <a:gd name="T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120">
                    <a:moveTo>
                      <a:pt x="360" y="120"/>
                    </a:moveTo>
                    <a:lnTo>
                      <a:pt x="15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6" name="Freeform 2465">
                <a:extLst>
                  <a:ext uri="{FF2B5EF4-FFF2-40B4-BE49-F238E27FC236}">
                    <a16:creationId xmlns:a16="http://schemas.microsoft.com/office/drawing/2014/main" xmlns="" id="{F5644EB5-924F-40F7-894B-2368DAF2D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5" y="930"/>
                <a:ext cx="720" cy="360"/>
              </a:xfrm>
              <a:custGeom>
                <a:avLst/>
                <a:gdLst>
                  <a:gd name="T0" fmla="*/ 510 w 720"/>
                  <a:gd name="T1" fmla="*/ 0 h 360"/>
                  <a:gd name="T2" fmla="*/ 570 w 720"/>
                  <a:gd name="T3" fmla="*/ 300 h 360"/>
                  <a:gd name="T4" fmla="*/ 720 w 720"/>
                  <a:gd name="T5" fmla="*/ 180 h 360"/>
                  <a:gd name="T6" fmla="*/ 480 w 720"/>
                  <a:gd name="T7" fmla="*/ 180 h 360"/>
                  <a:gd name="T8" fmla="*/ 300 w 720"/>
                  <a:gd name="T9" fmla="*/ 360 h 360"/>
                  <a:gd name="T10" fmla="*/ 270 w 720"/>
                  <a:gd name="T11" fmla="*/ 270 h 360"/>
                  <a:gd name="T12" fmla="*/ 120 w 720"/>
                  <a:gd name="T13" fmla="*/ 360 h 360"/>
                  <a:gd name="T14" fmla="*/ 0 w 720"/>
                  <a:gd name="T15" fmla="*/ 301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0" h="360">
                    <a:moveTo>
                      <a:pt x="510" y="0"/>
                    </a:moveTo>
                    <a:lnTo>
                      <a:pt x="570" y="300"/>
                    </a:lnTo>
                    <a:lnTo>
                      <a:pt x="720" y="180"/>
                    </a:lnTo>
                    <a:lnTo>
                      <a:pt x="480" y="180"/>
                    </a:lnTo>
                    <a:lnTo>
                      <a:pt x="300" y="360"/>
                    </a:lnTo>
                    <a:lnTo>
                      <a:pt x="270" y="270"/>
                    </a:lnTo>
                    <a:lnTo>
                      <a:pt x="120" y="360"/>
                    </a:lnTo>
                    <a:lnTo>
                      <a:pt x="0" y="301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7" name="Freeform 2466">
                <a:extLst>
                  <a:ext uri="{FF2B5EF4-FFF2-40B4-BE49-F238E27FC236}">
                    <a16:creationId xmlns:a16="http://schemas.microsoft.com/office/drawing/2014/main" xmlns="" id="{8C92DF9F-924E-42F5-AF42-B258E50E5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1200"/>
                <a:ext cx="150" cy="90"/>
              </a:xfrm>
              <a:custGeom>
                <a:avLst/>
                <a:gdLst>
                  <a:gd name="T0" fmla="*/ 150 w 150"/>
                  <a:gd name="T1" fmla="*/ 0 h 90"/>
                  <a:gd name="T2" fmla="*/ 0 w 150"/>
                  <a:gd name="T3" fmla="*/ 0 h 90"/>
                  <a:gd name="T4" fmla="*/ 120 w 150"/>
                  <a:gd name="T5" fmla="*/ 90 h 90"/>
                  <a:gd name="T6" fmla="*/ 150 w 150"/>
                  <a:gd name="T7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0" h="90">
                    <a:moveTo>
                      <a:pt x="150" y="0"/>
                    </a:moveTo>
                    <a:lnTo>
                      <a:pt x="0" y="0"/>
                    </a:lnTo>
                    <a:lnTo>
                      <a:pt x="120" y="90"/>
                    </a:lnTo>
                    <a:lnTo>
                      <a:pt x="15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8" name="Freeform 2467">
                <a:extLst>
                  <a:ext uri="{FF2B5EF4-FFF2-40B4-BE49-F238E27FC236}">
                    <a16:creationId xmlns:a16="http://schemas.microsoft.com/office/drawing/2014/main" xmlns="" id="{3B105C70-C5B0-462A-AC67-DFAA8804A8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480"/>
                <a:ext cx="390" cy="360"/>
              </a:xfrm>
              <a:custGeom>
                <a:avLst/>
                <a:gdLst>
                  <a:gd name="T0" fmla="*/ 180 w 390"/>
                  <a:gd name="T1" fmla="*/ 360 h 360"/>
                  <a:gd name="T2" fmla="*/ 150 w 390"/>
                  <a:gd name="T3" fmla="*/ 150 h 360"/>
                  <a:gd name="T4" fmla="*/ 30 w 390"/>
                  <a:gd name="T5" fmla="*/ 0 h 360"/>
                  <a:gd name="T6" fmla="*/ 330 w 390"/>
                  <a:gd name="T7" fmla="*/ 120 h 360"/>
                  <a:gd name="T8" fmla="*/ 390 w 390"/>
                  <a:gd name="T9" fmla="*/ 0 h 360"/>
                  <a:gd name="T10" fmla="*/ 210 w 390"/>
                  <a:gd name="T11" fmla="*/ 30 h 360"/>
                  <a:gd name="T12" fmla="*/ 0 w 390"/>
                  <a:gd name="T13" fmla="*/ 180 h 360"/>
                  <a:gd name="T14" fmla="*/ 270 w 390"/>
                  <a:gd name="T15" fmla="*/ 33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0" h="360">
                    <a:moveTo>
                      <a:pt x="180" y="360"/>
                    </a:moveTo>
                    <a:lnTo>
                      <a:pt x="150" y="150"/>
                    </a:lnTo>
                    <a:lnTo>
                      <a:pt x="30" y="0"/>
                    </a:lnTo>
                    <a:lnTo>
                      <a:pt x="330" y="120"/>
                    </a:lnTo>
                    <a:lnTo>
                      <a:pt x="390" y="0"/>
                    </a:lnTo>
                    <a:lnTo>
                      <a:pt x="210" y="30"/>
                    </a:lnTo>
                    <a:lnTo>
                      <a:pt x="0" y="180"/>
                    </a:lnTo>
                    <a:lnTo>
                      <a:pt x="27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9" name="Line 2468">
                <a:extLst>
                  <a:ext uri="{FF2B5EF4-FFF2-40B4-BE49-F238E27FC236}">
                    <a16:creationId xmlns:a16="http://schemas.microsoft.com/office/drawing/2014/main" xmlns="" id="{B7264139-EDBF-4394-B406-77CE40E755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846" y="510"/>
                <a:ext cx="6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0" name="Freeform 2469">
                <a:extLst>
                  <a:ext uri="{FF2B5EF4-FFF2-40B4-BE49-F238E27FC236}">
                    <a16:creationId xmlns:a16="http://schemas.microsoft.com/office/drawing/2014/main" xmlns="" id="{6F30AE07-F97D-4839-A090-FE26085F94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450"/>
                <a:ext cx="239" cy="120"/>
              </a:xfrm>
              <a:custGeom>
                <a:avLst/>
                <a:gdLst>
                  <a:gd name="T0" fmla="*/ 239 w 239"/>
                  <a:gd name="T1" fmla="*/ 0 h 120"/>
                  <a:gd name="T2" fmla="*/ 0 w 239"/>
                  <a:gd name="T3" fmla="*/ 30 h 120"/>
                  <a:gd name="T4" fmla="*/ 149 w 239"/>
                  <a:gd name="T5" fmla="*/ 120 h 120"/>
                  <a:gd name="T6" fmla="*/ 239 w 239"/>
                  <a:gd name="T7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9" h="120">
                    <a:moveTo>
                      <a:pt x="239" y="0"/>
                    </a:moveTo>
                    <a:lnTo>
                      <a:pt x="0" y="30"/>
                    </a:lnTo>
                    <a:lnTo>
                      <a:pt x="149" y="120"/>
                    </a:lnTo>
                    <a:lnTo>
                      <a:pt x="239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1" name="Line 2470">
                <a:extLst>
                  <a:ext uri="{FF2B5EF4-FFF2-40B4-BE49-F238E27FC236}">
                    <a16:creationId xmlns:a16="http://schemas.microsoft.com/office/drawing/2014/main" xmlns="" id="{1E35B2BA-D7F8-4B95-ACE7-9041ACFB5E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25" y="540"/>
                <a:ext cx="18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2" name="Freeform 2471">
                <a:extLst>
                  <a:ext uri="{FF2B5EF4-FFF2-40B4-BE49-F238E27FC236}">
                    <a16:creationId xmlns:a16="http://schemas.microsoft.com/office/drawing/2014/main" xmlns="" id="{937699B8-0284-405C-9E7B-7704F6076B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450"/>
                <a:ext cx="300" cy="330"/>
              </a:xfrm>
              <a:custGeom>
                <a:avLst/>
                <a:gdLst>
                  <a:gd name="T0" fmla="*/ 90 w 300"/>
                  <a:gd name="T1" fmla="*/ 0 h 330"/>
                  <a:gd name="T2" fmla="*/ 180 w 300"/>
                  <a:gd name="T3" fmla="*/ 90 h 330"/>
                  <a:gd name="T4" fmla="*/ 0 w 300"/>
                  <a:gd name="T5" fmla="*/ 90 h 330"/>
                  <a:gd name="T6" fmla="*/ 60 w 300"/>
                  <a:gd name="T7" fmla="*/ 210 h 330"/>
                  <a:gd name="T8" fmla="*/ 180 w 300"/>
                  <a:gd name="T9" fmla="*/ 90 h 330"/>
                  <a:gd name="T10" fmla="*/ 300 w 300"/>
                  <a:gd name="T11" fmla="*/ 240 h 330"/>
                  <a:gd name="T12" fmla="*/ 150 w 300"/>
                  <a:gd name="T13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0" h="330">
                    <a:moveTo>
                      <a:pt x="90" y="0"/>
                    </a:moveTo>
                    <a:lnTo>
                      <a:pt x="180" y="90"/>
                    </a:lnTo>
                    <a:lnTo>
                      <a:pt x="0" y="90"/>
                    </a:lnTo>
                    <a:lnTo>
                      <a:pt x="60" y="210"/>
                    </a:lnTo>
                    <a:lnTo>
                      <a:pt x="180" y="90"/>
                    </a:lnTo>
                    <a:lnTo>
                      <a:pt x="300" y="240"/>
                    </a:lnTo>
                    <a:lnTo>
                      <a:pt x="15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3" name="Freeform 2472">
                <a:extLst>
                  <a:ext uri="{FF2B5EF4-FFF2-40B4-BE49-F238E27FC236}">
                    <a16:creationId xmlns:a16="http://schemas.microsoft.com/office/drawing/2014/main" xmlns="" id="{7B66893D-5ECB-40C0-B698-DBBC02AD78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480"/>
                <a:ext cx="180" cy="90"/>
              </a:xfrm>
              <a:custGeom>
                <a:avLst/>
                <a:gdLst>
                  <a:gd name="T0" fmla="*/ 0 w 180"/>
                  <a:gd name="T1" fmla="*/ 90 h 90"/>
                  <a:gd name="T2" fmla="*/ 90 w 180"/>
                  <a:gd name="T3" fmla="*/ 0 h 90"/>
                  <a:gd name="T4" fmla="*/ 180 w 180"/>
                  <a:gd name="T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90">
                    <a:moveTo>
                      <a:pt x="0" y="90"/>
                    </a:moveTo>
                    <a:lnTo>
                      <a:pt x="90" y="0"/>
                    </a:lnTo>
                    <a:lnTo>
                      <a:pt x="1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4" name="Freeform 2473">
                <a:extLst>
                  <a:ext uri="{FF2B5EF4-FFF2-40B4-BE49-F238E27FC236}">
                    <a16:creationId xmlns:a16="http://schemas.microsoft.com/office/drawing/2014/main" xmlns="" id="{436E07E4-ED01-4251-8726-24822D3A7B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450"/>
                <a:ext cx="269" cy="210"/>
              </a:xfrm>
              <a:custGeom>
                <a:avLst/>
                <a:gdLst>
                  <a:gd name="T0" fmla="*/ 119 w 269"/>
                  <a:gd name="T1" fmla="*/ 60 h 210"/>
                  <a:gd name="T2" fmla="*/ 269 w 269"/>
                  <a:gd name="T3" fmla="*/ 30 h 210"/>
                  <a:gd name="T4" fmla="*/ 149 w 269"/>
                  <a:gd name="T5" fmla="*/ 210 h 210"/>
                  <a:gd name="T6" fmla="*/ 0 w 269"/>
                  <a:gd name="T7" fmla="*/ 0 h 210"/>
                  <a:gd name="T8" fmla="*/ 30 w 269"/>
                  <a:gd name="T9" fmla="*/ 18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9" h="210">
                    <a:moveTo>
                      <a:pt x="119" y="60"/>
                    </a:moveTo>
                    <a:lnTo>
                      <a:pt x="269" y="30"/>
                    </a:lnTo>
                    <a:lnTo>
                      <a:pt x="149" y="210"/>
                    </a:lnTo>
                    <a:lnTo>
                      <a:pt x="0" y="0"/>
                    </a:lnTo>
                    <a:lnTo>
                      <a:pt x="3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5" name="Freeform 2474">
                <a:extLst>
                  <a:ext uri="{FF2B5EF4-FFF2-40B4-BE49-F238E27FC236}">
                    <a16:creationId xmlns:a16="http://schemas.microsoft.com/office/drawing/2014/main" xmlns="" id="{AD16E3E4-9F4F-4448-8609-8B3F57A20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1530"/>
                <a:ext cx="180" cy="390"/>
              </a:xfrm>
              <a:custGeom>
                <a:avLst/>
                <a:gdLst>
                  <a:gd name="T0" fmla="*/ 0 w 216"/>
                  <a:gd name="T1" fmla="*/ 468 h 468"/>
                  <a:gd name="T2" fmla="*/ 216 w 216"/>
                  <a:gd name="T3" fmla="*/ 0 h 468"/>
                  <a:gd name="T4" fmla="*/ 36 w 216"/>
                  <a:gd name="T5" fmla="*/ 7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" h="468">
                    <a:moveTo>
                      <a:pt x="0" y="468"/>
                    </a:moveTo>
                    <a:cubicBezTo>
                      <a:pt x="0" y="432"/>
                      <a:pt x="216" y="0"/>
                      <a:pt x="216" y="0"/>
                    </a:cubicBezTo>
                    <a:cubicBezTo>
                      <a:pt x="36" y="72"/>
                      <a:pt x="36" y="72"/>
                      <a:pt x="36" y="72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6" name="Freeform 2475">
                <a:extLst>
                  <a:ext uri="{FF2B5EF4-FFF2-40B4-BE49-F238E27FC236}">
                    <a16:creationId xmlns:a16="http://schemas.microsoft.com/office/drawing/2014/main" xmlns="" id="{09F4CC8A-09C6-4525-B73B-256F23FBB8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" y="1470"/>
                <a:ext cx="179" cy="210"/>
              </a:xfrm>
              <a:custGeom>
                <a:avLst/>
                <a:gdLst>
                  <a:gd name="T0" fmla="*/ 0 w 179"/>
                  <a:gd name="T1" fmla="*/ 210 h 210"/>
                  <a:gd name="T2" fmla="*/ 120 w 179"/>
                  <a:gd name="T3" fmla="*/ 0 h 210"/>
                  <a:gd name="T4" fmla="*/ 179 w 179"/>
                  <a:gd name="T5" fmla="*/ 150 h 210"/>
                  <a:gd name="T6" fmla="*/ 0 w 179"/>
                  <a:gd name="T7" fmla="*/ 210 h 210"/>
                  <a:gd name="T8" fmla="*/ 0 w 179"/>
                  <a:gd name="T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210">
                    <a:moveTo>
                      <a:pt x="0" y="210"/>
                    </a:moveTo>
                    <a:lnTo>
                      <a:pt x="120" y="0"/>
                    </a:lnTo>
                    <a:lnTo>
                      <a:pt x="179" y="150"/>
                    </a:lnTo>
                    <a:lnTo>
                      <a:pt x="0" y="21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7" name="Freeform 2476">
                <a:extLst>
                  <a:ext uri="{FF2B5EF4-FFF2-40B4-BE49-F238E27FC236}">
                    <a16:creationId xmlns:a16="http://schemas.microsoft.com/office/drawing/2014/main" xmlns="" id="{B5FEF867-BBE3-41BF-82B2-6EA92B493C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1740"/>
                <a:ext cx="479" cy="270"/>
              </a:xfrm>
              <a:custGeom>
                <a:avLst/>
                <a:gdLst>
                  <a:gd name="T0" fmla="*/ 0 w 479"/>
                  <a:gd name="T1" fmla="*/ 90 h 270"/>
                  <a:gd name="T2" fmla="*/ 180 w 479"/>
                  <a:gd name="T3" fmla="*/ 30 h 270"/>
                  <a:gd name="T4" fmla="*/ 299 w 479"/>
                  <a:gd name="T5" fmla="*/ 150 h 270"/>
                  <a:gd name="T6" fmla="*/ 210 w 479"/>
                  <a:gd name="T7" fmla="*/ 270 h 270"/>
                  <a:gd name="T8" fmla="*/ 30 w 479"/>
                  <a:gd name="T9" fmla="*/ 270 h 270"/>
                  <a:gd name="T10" fmla="*/ 0 w 479"/>
                  <a:gd name="T11" fmla="*/ 90 h 270"/>
                  <a:gd name="T12" fmla="*/ 150 w 479"/>
                  <a:gd name="T13" fmla="*/ 150 h 270"/>
                  <a:gd name="T14" fmla="*/ 299 w 479"/>
                  <a:gd name="T15" fmla="*/ 0 h 270"/>
                  <a:gd name="T16" fmla="*/ 479 w 479"/>
                  <a:gd name="T17" fmla="*/ 210 h 270"/>
                  <a:gd name="T18" fmla="*/ 419 w 479"/>
                  <a:gd name="T19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9" h="270">
                    <a:moveTo>
                      <a:pt x="0" y="90"/>
                    </a:moveTo>
                    <a:lnTo>
                      <a:pt x="180" y="30"/>
                    </a:lnTo>
                    <a:lnTo>
                      <a:pt x="299" y="150"/>
                    </a:lnTo>
                    <a:lnTo>
                      <a:pt x="210" y="270"/>
                    </a:lnTo>
                    <a:lnTo>
                      <a:pt x="30" y="270"/>
                    </a:lnTo>
                    <a:lnTo>
                      <a:pt x="0" y="90"/>
                    </a:lnTo>
                    <a:lnTo>
                      <a:pt x="150" y="150"/>
                    </a:lnTo>
                    <a:lnTo>
                      <a:pt x="299" y="0"/>
                    </a:lnTo>
                    <a:lnTo>
                      <a:pt x="479" y="210"/>
                    </a:lnTo>
                    <a:lnTo>
                      <a:pt x="41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8" name="Freeform 2477">
                <a:extLst>
                  <a:ext uri="{FF2B5EF4-FFF2-40B4-BE49-F238E27FC236}">
                    <a16:creationId xmlns:a16="http://schemas.microsoft.com/office/drawing/2014/main" xmlns="" id="{C4D9D6AE-FC18-46E9-8BF5-61AE849F0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6" y="1740"/>
                <a:ext cx="149" cy="150"/>
              </a:xfrm>
              <a:custGeom>
                <a:avLst/>
                <a:gdLst>
                  <a:gd name="T0" fmla="*/ 0 w 149"/>
                  <a:gd name="T1" fmla="*/ 150 h 150"/>
                  <a:gd name="T2" fmla="*/ 30 w 149"/>
                  <a:gd name="T3" fmla="*/ 30 h 150"/>
                  <a:gd name="T4" fmla="*/ 149 w 149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150"/>
                    </a:moveTo>
                    <a:lnTo>
                      <a:pt x="30" y="30"/>
                    </a:lnTo>
                    <a:lnTo>
                      <a:pt x="14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9" name="Freeform 2478">
                <a:extLst>
                  <a:ext uri="{FF2B5EF4-FFF2-40B4-BE49-F238E27FC236}">
                    <a16:creationId xmlns:a16="http://schemas.microsoft.com/office/drawing/2014/main" xmlns="" id="{234DC8D1-F4E2-423B-8A58-EDC6BFD7AD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530"/>
                <a:ext cx="180" cy="390"/>
              </a:xfrm>
              <a:custGeom>
                <a:avLst/>
                <a:gdLst>
                  <a:gd name="T0" fmla="*/ 0 w 216"/>
                  <a:gd name="T1" fmla="*/ 468 h 468"/>
                  <a:gd name="T2" fmla="*/ 216 w 216"/>
                  <a:gd name="T3" fmla="*/ 0 h 468"/>
                  <a:gd name="T4" fmla="*/ 36 w 216"/>
                  <a:gd name="T5" fmla="*/ 7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" h="468">
                    <a:moveTo>
                      <a:pt x="0" y="468"/>
                    </a:moveTo>
                    <a:cubicBezTo>
                      <a:pt x="0" y="432"/>
                      <a:pt x="216" y="0"/>
                      <a:pt x="216" y="0"/>
                    </a:cubicBezTo>
                    <a:cubicBezTo>
                      <a:pt x="36" y="72"/>
                      <a:pt x="36" y="72"/>
                      <a:pt x="36" y="72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0" name="Freeform 2479">
                <a:extLst>
                  <a:ext uri="{FF2B5EF4-FFF2-40B4-BE49-F238E27FC236}">
                    <a16:creationId xmlns:a16="http://schemas.microsoft.com/office/drawing/2014/main" xmlns="" id="{6AB3E43C-CAA1-4681-A538-065FAA506D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290"/>
                <a:ext cx="300" cy="540"/>
              </a:xfrm>
              <a:custGeom>
                <a:avLst/>
                <a:gdLst>
                  <a:gd name="T0" fmla="*/ 0 w 300"/>
                  <a:gd name="T1" fmla="*/ 390 h 540"/>
                  <a:gd name="T2" fmla="*/ 180 w 300"/>
                  <a:gd name="T3" fmla="*/ 240 h 540"/>
                  <a:gd name="T4" fmla="*/ 0 w 300"/>
                  <a:gd name="T5" fmla="*/ 150 h 540"/>
                  <a:gd name="T6" fmla="*/ 120 w 300"/>
                  <a:gd name="T7" fmla="*/ 120 h 540"/>
                  <a:gd name="T8" fmla="*/ 300 w 300"/>
                  <a:gd name="T9" fmla="*/ 180 h 540"/>
                  <a:gd name="T10" fmla="*/ 270 w 300"/>
                  <a:gd name="T11" fmla="*/ 30 h 540"/>
                  <a:gd name="T12" fmla="*/ 120 w 300"/>
                  <a:gd name="T13" fmla="*/ 120 h 540"/>
                  <a:gd name="T14" fmla="*/ 30 w 300"/>
                  <a:gd name="T15" fmla="*/ 0 h 540"/>
                  <a:gd name="T16" fmla="*/ 0 w 300"/>
                  <a:gd name="T17" fmla="*/ 150 h 540"/>
                  <a:gd name="T18" fmla="*/ 30 w 300"/>
                  <a:gd name="T19" fmla="*/ 300 h 540"/>
                  <a:gd name="T20" fmla="*/ 0 w 300"/>
                  <a:gd name="T21" fmla="*/ 390 h 540"/>
                  <a:gd name="T22" fmla="*/ 120 w 300"/>
                  <a:gd name="T23" fmla="*/ 54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00" h="540">
                    <a:moveTo>
                      <a:pt x="0" y="390"/>
                    </a:moveTo>
                    <a:lnTo>
                      <a:pt x="180" y="240"/>
                    </a:lnTo>
                    <a:lnTo>
                      <a:pt x="0" y="150"/>
                    </a:lnTo>
                    <a:lnTo>
                      <a:pt x="120" y="120"/>
                    </a:lnTo>
                    <a:lnTo>
                      <a:pt x="300" y="180"/>
                    </a:lnTo>
                    <a:lnTo>
                      <a:pt x="270" y="30"/>
                    </a:lnTo>
                    <a:lnTo>
                      <a:pt x="120" y="120"/>
                    </a:lnTo>
                    <a:lnTo>
                      <a:pt x="30" y="0"/>
                    </a:lnTo>
                    <a:lnTo>
                      <a:pt x="0" y="150"/>
                    </a:lnTo>
                    <a:lnTo>
                      <a:pt x="30" y="300"/>
                    </a:lnTo>
                    <a:lnTo>
                      <a:pt x="0" y="390"/>
                    </a:lnTo>
                    <a:lnTo>
                      <a:pt x="12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1" name="Freeform 2480">
                <a:extLst>
                  <a:ext uri="{FF2B5EF4-FFF2-40B4-BE49-F238E27FC236}">
                    <a16:creationId xmlns:a16="http://schemas.microsoft.com/office/drawing/2014/main" xmlns="" id="{5C3CD6F2-A262-4CFA-9F87-FD26EA0694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1470"/>
                <a:ext cx="179" cy="210"/>
              </a:xfrm>
              <a:custGeom>
                <a:avLst/>
                <a:gdLst>
                  <a:gd name="T0" fmla="*/ 0 w 179"/>
                  <a:gd name="T1" fmla="*/ 210 h 210"/>
                  <a:gd name="T2" fmla="*/ 120 w 179"/>
                  <a:gd name="T3" fmla="*/ 0 h 210"/>
                  <a:gd name="T4" fmla="*/ 179 w 179"/>
                  <a:gd name="T5" fmla="*/ 150 h 210"/>
                  <a:gd name="T6" fmla="*/ 0 w 179"/>
                  <a:gd name="T7" fmla="*/ 210 h 210"/>
                  <a:gd name="T8" fmla="*/ 0 w 179"/>
                  <a:gd name="T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210">
                    <a:moveTo>
                      <a:pt x="0" y="210"/>
                    </a:moveTo>
                    <a:lnTo>
                      <a:pt x="120" y="0"/>
                    </a:lnTo>
                    <a:lnTo>
                      <a:pt x="179" y="150"/>
                    </a:lnTo>
                    <a:lnTo>
                      <a:pt x="0" y="21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2" name="Freeform 2481">
                <a:extLst>
                  <a:ext uri="{FF2B5EF4-FFF2-40B4-BE49-F238E27FC236}">
                    <a16:creationId xmlns:a16="http://schemas.microsoft.com/office/drawing/2014/main" xmlns="" id="{A1800979-E0E2-4522-ACEF-170FDF76F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320"/>
                <a:ext cx="599" cy="750"/>
              </a:xfrm>
              <a:custGeom>
                <a:avLst/>
                <a:gdLst>
                  <a:gd name="T0" fmla="*/ 300 w 599"/>
                  <a:gd name="T1" fmla="*/ 150 h 750"/>
                  <a:gd name="T2" fmla="*/ 479 w 599"/>
                  <a:gd name="T3" fmla="*/ 210 h 750"/>
                  <a:gd name="T4" fmla="*/ 479 w 599"/>
                  <a:gd name="T5" fmla="*/ 60 h 750"/>
                  <a:gd name="T6" fmla="*/ 359 w 599"/>
                  <a:gd name="T7" fmla="*/ 300 h 750"/>
                  <a:gd name="T8" fmla="*/ 419 w 599"/>
                  <a:gd name="T9" fmla="*/ 420 h 750"/>
                  <a:gd name="T10" fmla="*/ 539 w 599"/>
                  <a:gd name="T11" fmla="*/ 480 h 750"/>
                  <a:gd name="T12" fmla="*/ 479 w 599"/>
                  <a:gd name="T13" fmla="*/ 210 h 750"/>
                  <a:gd name="T14" fmla="*/ 419 w 599"/>
                  <a:gd name="T15" fmla="*/ 420 h 750"/>
                  <a:gd name="T16" fmla="*/ 419 w 599"/>
                  <a:gd name="T17" fmla="*/ 570 h 750"/>
                  <a:gd name="T18" fmla="*/ 599 w 599"/>
                  <a:gd name="T19" fmla="*/ 630 h 750"/>
                  <a:gd name="T20" fmla="*/ 300 w 599"/>
                  <a:gd name="T21" fmla="*/ 660 h 750"/>
                  <a:gd name="T22" fmla="*/ 270 w 599"/>
                  <a:gd name="T23" fmla="*/ 570 h 750"/>
                  <a:gd name="T24" fmla="*/ 210 w 599"/>
                  <a:gd name="T25" fmla="*/ 750 h 750"/>
                  <a:gd name="T26" fmla="*/ 0 w 599"/>
                  <a:gd name="T27" fmla="*/ 600 h 750"/>
                  <a:gd name="T28" fmla="*/ 120 w 599"/>
                  <a:gd name="T29" fmla="*/ 510 h 750"/>
                  <a:gd name="T30" fmla="*/ 180 w 599"/>
                  <a:gd name="T31" fmla="*/ 360 h 750"/>
                  <a:gd name="T32" fmla="*/ 300 w 599"/>
                  <a:gd name="T33" fmla="*/ 450 h 750"/>
                  <a:gd name="T34" fmla="*/ 359 w 599"/>
                  <a:gd name="T35" fmla="*/ 300 h 750"/>
                  <a:gd name="T36" fmla="*/ 180 w 599"/>
                  <a:gd name="T37" fmla="*/ 210 h 750"/>
                  <a:gd name="T38" fmla="*/ 300 w 599"/>
                  <a:gd name="T39" fmla="*/ 150 h 750"/>
                  <a:gd name="T40" fmla="*/ 389 w 599"/>
                  <a:gd name="T41" fmla="*/ 90 h 750"/>
                  <a:gd name="T42" fmla="*/ 270 w 599"/>
                  <a:gd name="T43" fmla="*/ 0 h 750"/>
                  <a:gd name="T44" fmla="*/ 479 w 599"/>
                  <a:gd name="T45" fmla="*/ 6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99" h="750">
                    <a:moveTo>
                      <a:pt x="300" y="150"/>
                    </a:moveTo>
                    <a:lnTo>
                      <a:pt x="479" y="210"/>
                    </a:lnTo>
                    <a:lnTo>
                      <a:pt x="479" y="60"/>
                    </a:lnTo>
                    <a:lnTo>
                      <a:pt x="359" y="300"/>
                    </a:lnTo>
                    <a:lnTo>
                      <a:pt x="419" y="420"/>
                    </a:lnTo>
                    <a:lnTo>
                      <a:pt x="539" y="480"/>
                    </a:lnTo>
                    <a:lnTo>
                      <a:pt x="479" y="210"/>
                    </a:lnTo>
                    <a:lnTo>
                      <a:pt x="419" y="420"/>
                    </a:lnTo>
                    <a:lnTo>
                      <a:pt x="419" y="570"/>
                    </a:lnTo>
                    <a:lnTo>
                      <a:pt x="599" y="630"/>
                    </a:lnTo>
                    <a:lnTo>
                      <a:pt x="300" y="660"/>
                    </a:lnTo>
                    <a:lnTo>
                      <a:pt x="270" y="570"/>
                    </a:lnTo>
                    <a:lnTo>
                      <a:pt x="210" y="750"/>
                    </a:lnTo>
                    <a:lnTo>
                      <a:pt x="0" y="600"/>
                    </a:lnTo>
                    <a:lnTo>
                      <a:pt x="120" y="510"/>
                    </a:lnTo>
                    <a:lnTo>
                      <a:pt x="180" y="360"/>
                    </a:lnTo>
                    <a:lnTo>
                      <a:pt x="300" y="450"/>
                    </a:lnTo>
                    <a:lnTo>
                      <a:pt x="359" y="300"/>
                    </a:lnTo>
                    <a:lnTo>
                      <a:pt x="180" y="210"/>
                    </a:lnTo>
                    <a:lnTo>
                      <a:pt x="300" y="150"/>
                    </a:lnTo>
                    <a:lnTo>
                      <a:pt x="389" y="90"/>
                    </a:lnTo>
                    <a:lnTo>
                      <a:pt x="270" y="0"/>
                    </a:lnTo>
                    <a:lnTo>
                      <a:pt x="47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3" name="Freeform 2482">
                <a:extLst>
                  <a:ext uri="{FF2B5EF4-FFF2-40B4-BE49-F238E27FC236}">
                    <a16:creationId xmlns:a16="http://schemas.microsoft.com/office/drawing/2014/main" xmlns="" id="{FDB5CEE2-CFA7-46C2-B09A-68E9275E91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" y="1770"/>
                <a:ext cx="299" cy="210"/>
              </a:xfrm>
              <a:custGeom>
                <a:avLst/>
                <a:gdLst>
                  <a:gd name="T0" fmla="*/ 0 w 299"/>
                  <a:gd name="T1" fmla="*/ 60 h 210"/>
                  <a:gd name="T2" fmla="*/ 180 w 299"/>
                  <a:gd name="T3" fmla="*/ 0 h 210"/>
                  <a:gd name="T4" fmla="*/ 299 w 299"/>
                  <a:gd name="T5" fmla="*/ 120 h 210"/>
                  <a:gd name="T6" fmla="*/ 180 w 299"/>
                  <a:gd name="T7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9" h="210">
                    <a:moveTo>
                      <a:pt x="0" y="60"/>
                    </a:moveTo>
                    <a:lnTo>
                      <a:pt x="180" y="0"/>
                    </a:lnTo>
                    <a:lnTo>
                      <a:pt x="299" y="120"/>
                    </a:lnTo>
                    <a:lnTo>
                      <a:pt x="18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4" name="Freeform 2483">
                <a:extLst>
                  <a:ext uri="{FF2B5EF4-FFF2-40B4-BE49-F238E27FC236}">
                    <a16:creationId xmlns:a16="http://schemas.microsoft.com/office/drawing/2014/main" xmlns="" id="{BED12907-96DD-4899-A874-84764769C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1740"/>
                <a:ext cx="149" cy="150"/>
              </a:xfrm>
              <a:custGeom>
                <a:avLst/>
                <a:gdLst>
                  <a:gd name="T0" fmla="*/ 0 w 149"/>
                  <a:gd name="T1" fmla="*/ 150 h 150"/>
                  <a:gd name="T2" fmla="*/ 30 w 149"/>
                  <a:gd name="T3" fmla="*/ 30 h 150"/>
                  <a:gd name="T4" fmla="*/ 149 w 149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150"/>
                    </a:moveTo>
                    <a:lnTo>
                      <a:pt x="30" y="30"/>
                    </a:lnTo>
                    <a:lnTo>
                      <a:pt x="14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5" name="Line 2484">
                <a:extLst>
                  <a:ext uri="{FF2B5EF4-FFF2-40B4-BE49-F238E27FC236}">
                    <a16:creationId xmlns:a16="http://schemas.microsoft.com/office/drawing/2014/main" xmlns="" id="{51A0CA5D-B038-481A-9808-152286CEEF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786" y="1233"/>
                <a:ext cx="181" cy="57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6" name="Line 2485">
                <a:extLst>
                  <a:ext uri="{FF2B5EF4-FFF2-40B4-BE49-F238E27FC236}">
                    <a16:creationId xmlns:a16="http://schemas.microsoft.com/office/drawing/2014/main" xmlns="" id="{4896A9F5-6CA1-4864-A3F7-9A61F2441B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936" y="1233"/>
                <a:ext cx="31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7" name="Freeform 2486">
                <a:extLst>
                  <a:ext uri="{FF2B5EF4-FFF2-40B4-BE49-F238E27FC236}">
                    <a16:creationId xmlns:a16="http://schemas.microsoft.com/office/drawing/2014/main" xmlns="" id="{F64ECFFD-D15C-4AB6-9C2F-137E4FC9A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5" y="1231"/>
                <a:ext cx="210" cy="302"/>
              </a:xfrm>
              <a:custGeom>
                <a:avLst/>
                <a:gdLst>
                  <a:gd name="T0" fmla="*/ 0 w 210"/>
                  <a:gd name="T1" fmla="*/ 0 h 302"/>
                  <a:gd name="T2" fmla="*/ 180 w 210"/>
                  <a:gd name="T3" fmla="*/ 269 h 302"/>
                  <a:gd name="T4" fmla="*/ 2 w 210"/>
                  <a:gd name="T5" fmla="*/ 302 h 302"/>
                  <a:gd name="T6" fmla="*/ 210 w 210"/>
                  <a:gd name="T7" fmla="*/ 179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0" h="302">
                    <a:moveTo>
                      <a:pt x="0" y="0"/>
                    </a:moveTo>
                    <a:lnTo>
                      <a:pt x="180" y="269"/>
                    </a:lnTo>
                    <a:lnTo>
                      <a:pt x="2" y="302"/>
                    </a:lnTo>
                    <a:lnTo>
                      <a:pt x="210" y="17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8" name="Line 2487">
                <a:extLst>
                  <a:ext uri="{FF2B5EF4-FFF2-40B4-BE49-F238E27FC236}">
                    <a16:creationId xmlns:a16="http://schemas.microsoft.com/office/drawing/2014/main" xmlns="" id="{1B0F1571-3CCD-4A6B-819A-6D42D7AE2B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35" y="1380"/>
                <a:ext cx="21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9" name="Freeform 2488">
                <a:extLst>
                  <a:ext uri="{FF2B5EF4-FFF2-40B4-BE49-F238E27FC236}">
                    <a16:creationId xmlns:a16="http://schemas.microsoft.com/office/drawing/2014/main" xmlns="" id="{40125F09-49A9-45F0-B31A-1F483C140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1140"/>
                <a:ext cx="599" cy="870"/>
              </a:xfrm>
              <a:custGeom>
                <a:avLst/>
                <a:gdLst>
                  <a:gd name="T0" fmla="*/ 300 w 599"/>
                  <a:gd name="T1" fmla="*/ 0 h 870"/>
                  <a:gd name="T2" fmla="*/ 479 w 599"/>
                  <a:gd name="T3" fmla="*/ 91 h 870"/>
                  <a:gd name="T4" fmla="*/ 300 w 599"/>
                  <a:gd name="T5" fmla="*/ 330 h 870"/>
                  <a:gd name="T6" fmla="*/ 479 w 599"/>
                  <a:gd name="T7" fmla="*/ 390 h 870"/>
                  <a:gd name="T8" fmla="*/ 479 w 599"/>
                  <a:gd name="T9" fmla="*/ 240 h 870"/>
                  <a:gd name="T10" fmla="*/ 359 w 599"/>
                  <a:gd name="T11" fmla="*/ 480 h 870"/>
                  <a:gd name="T12" fmla="*/ 419 w 599"/>
                  <a:gd name="T13" fmla="*/ 600 h 870"/>
                  <a:gd name="T14" fmla="*/ 539 w 599"/>
                  <a:gd name="T15" fmla="*/ 660 h 870"/>
                  <a:gd name="T16" fmla="*/ 479 w 599"/>
                  <a:gd name="T17" fmla="*/ 390 h 870"/>
                  <a:gd name="T18" fmla="*/ 419 w 599"/>
                  <a:gd name="T19" fmla="*/ 600 h 870"/>
                  <a:gd name="T20" fmla="*/ 419 w 599"/>
                  <a:gd name="T21" fmla="*/ 750 h 870"/>
                  <a:gd name="T22" fmla="*/ 599 w 599"/>
                  <a:gd name="T23" fmla="*/ 810 h 870"/>
                  <a:gd name="T24" fmla="*/ 330 w 599"/>
                  <a:gd name="T25" fmla="*/ 870 h 870"/>
                  <a:gd name="T26" fmla="*/ 270 w 599"/>
                  <a:gd name="T27" fmla="*/ 750 h 870"/>
                  <a:gd name="T28" fmla="*/ 150 w 599"/>
                  <a:gd name="T29" fmla="*/ 870 h 870"/>
                  <a:gd name="T30" fmla="*/ 0 w 599"/>
                  <a:gd name="T31" fmla="*/ 780 h 870"/>
                  <a:gd name="T32" fmla="*/ 120 w 599"/>
                  <a:gd name="T33" fmla="*/ 690 h 870"/>
                  <a:gd name="T34" fmla="*/ 180 w 599"/>
                  <a:gd name="T35" fmla="*/ 540 h 870"/>
                  <a:gd name="T36" fmla="*/ 300 w 599"/>
                  <a:gd name="T37" fmla="*/ 630 h 870"/>
                  <a:gd name="T38" fmla="*/ 359 w 599"/>
                  <a:gd name="T39" fmla="*/ 480 h 870"/>
                  <a:gd name="T40" fmla="*/ 180 w 599"/>
                  <a:gd name="T41" fmla="*/ 390 h 870"/>
                  <a:gd name="T42" fmla="*/ 300 w 599"/>
                  <a:gd name="T43" fmla="*/ 330 h 870"/>
                  <a:gd name="T44" fmla="*/ 389 w 599"/>
                  <a:gd name="T45" fmla="*/ 270 h 870"/>
                  <a:gd name="T46" fmla="*/ 270 w 599"/>
                  <a:gd name="T47" fmla="*/ 180 h 870"/>
                  <a:gd name="T48" fmla="*/ 479 w 599"/>
                  <a:gd name="T49" fmla="*/ 240 h 870"/>
                  <a:gd name="T50" fmla="*/ 479 w 599"/>
                  <a:gd name="T51" fmla="*/ 90 h 870"/>
                  <a:gd name="T52" fmla="*/ 210 w 599"/>
                  <a:gd name="T53" fmla="*/ 90 h 8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99" h="870">
                    <a:moveTo>
                      <a:pt x="300" y="0"/>
                    </a:moveTo>
                    <a:lnTo>
                      <a:pt x="479" y="91"/>
                    </a:lnTo>
                    <a:lnTo>
                      <a:pt x="300" y="330"/>
                    </a:lnTo>
                    <a:lnTo>
                      <a:pt x="479" y="390"/>
                    </a:lnTo>
                    <a:lnTo>
                      <a:pt x="479" y="240"/>
                    </a:lnTo>
                    <a:lnTo>
                      <a:pt x="359" y="480"/>
                    </a:lnTo>
                    <a:lnTo>
                      <a:pt x="419" y="600"/>
                    </a:lnTo>
                    <a:lnTo>
                      <a:pt x="539" y="660"/>
                    </a:lnTo>
                    <a:lnTo>
                      <a:pt x="479" y="390"/>
                    </a:lnTo>
                    <a:lnTo>
                      <a:pt x="419" y="600"/>
                    </a:lnTo>
                    <a:lnTo>
                      <a:pt x="419" y="750"/>
                    </a:lnTo>
                    <a:lnTo>
                      <a:pt x="599" y="810"/>
                    </a:lnTo>
                    <a:lnTo>
                      <a:pt x="330" y="870"/>
                    </a:lnTo>
                    <a:lnTo>
                      <a:pt x="270" y="750"/>
                    </a:lnTo>
                    <a:lnTo>
                      <a:pt x="150" y="870"/>
                    </a:lnTo>
                    <a:lnTo>
                      <a:pt x="0" y="780"/>
                    </a:lnTo>
                    <a:lnTo>
                      <a:pt x="120" y="690"/>
                    </a:lnTo>
                    <a:lnTo>
                      <a:pt x="180" y="540"/>
                    </a:lnTo>
                    <a:lnTo>
                      <a:pt x="300" y="630"/>
                    </a:lnTo>
                    <a:lnTo>
                      <a:pt x="359" y="480"/>
                    </a:lnTo>
                    <a:lnTo>
                      <a:pt x="180" y="390"/>
                    </a:lnTo>
                    <a:lnTo>
                      <a:pt x="300" y="330"/>
                    </a:lnTo>
                    <a:lnTo>
                      <a:pt x="389" y="270"/>
                    </a:lnTo>
                    <a:lnTo>
                      <a:pt x="270" y="180"/>
                    </a:lnTo>
                    <a:lnTo>
                      <a:pt x="479" y="240"/>
                    </a:lnTo>
                    <a:lnTo>
                      <a:pt x="479" y="90"/>
                    </a:lnTo>
                    <a:lnTo>
                      <a:pt x="21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0" name="Line 2489">
                <a:extLst>
                  <a:ext uri="{FF2B5EF4-FFF2-40B4-BE49-F238E27FC236}">
                    <a16:creationId xmlns:a16="http://schemas.microsoft.com/office/drawing/2014/main" xmlns="" id="{F988E886-021C-415A-A371-14F2459FD6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026" y="1110"/>
                <a:ext cx="209" cy="21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1" name="Freeform 2490">
                <a:extLst>
                  <a:ext uri="{FF2B5EF4-FFF2-40B4-BE49-F238E27FC236}">
                    <a16:creationId xmlns:a16="http://schemas.microsoft.com/office/drawing/2014/main" xmlns="" id="{892D0493-1FC9-48C7-92AC-5589A98A0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290"/>
                <a:ext cx="780" cy="1080"/>
              </a:xfrm>
              <a:custGeom>
                <a:avLst/>
                <a:gdLst>
                  <a:gd name="T0" fmla="*/ 630 w 780"/>
                  <a:gd name="T1" fmla="*/ 1080 h 1080"/>
                  <a:gd name="T2" fmla="*/ 600 w 780"/>
                  <a:gd name="T3" fmla="*/ 870 h 1080"/>
                  <a:gd name="T4" fmla="*/ 480 w 780"/>
                  <a:gd name="T5" fmla="*/ 630 h 1080"/>
                  <a:gd name="T6" fmla="*/ 390 w 780"/>
                  <a:gd name="T7" fmla="*/ 720 h 1080"/>
                  <a:gd name="T8" fmla="*/ 270 w 780"/>
                  <a:gd name="T9" fmla="*/ 870 h 1080"/>
                  <a:gd name="T10" fmla="*/ 180 w 780"/>
                  <a:gd name="T11" fmla="*/ 750 h 1080"/>
                  <a:gd name="T12" fmla="*/ 210 w 780"/>
                  <a:gd name="T13" fmla="*/ 600 h 1080"/>
                  <a:gd name="T14" fmla="*/ 90 w 780"/>
                  <a:gd name="T15" fmla="*/ 660 h 1080"/>
                  <a:gd name="T16" fmla="*/ 0 w 780"/>
                  <a:gd name="T17" fmla="*/ 870 h 1080"/>
                  <a:gd name="T18" fmla="*/ 60 w 780"/>
                  <a:gd name="T19" fmla="*/ 510 h 1080"/>
                  <a:gd name="T20" fmla="*/ 0 w 780"/>
                  <a:gd name="T21" fmla="*/ 420 h 1080"/>
                  <a:gd name="T22" fmla="*/ 120 w 780"/>
                  <a:gd name="T23" fmla="*/ 330 h 1080"/>
                  <a:gd name="T24" fmla="*/ 300 w 780"/>
                  <a:gd name="T25" fmla="*/ 390 h 1080"/>
                  <a:gd name="T26" fmla="*/ 330 w 780"/>
                  <a:gd name="T27" fmla="*/ 510 h 1080"/>
                  <a:gd name="T28" fmla="*/ 480 w 780"/>
                  <a:gd name="T29" fmla="*/ 390 h 1080"/>
                  <a:gd name="T30" fmla="*/ 660 w 780"/>
                  <a:gd name="T31" fmla="*/ 240 h 1080"/>
                  <a:gd name="T32" fmla="*/ 480 w 780"/>
                  <a:gd name="T33" fmla="*/ 150 h 1080"/>
                  <a:gd name="T34" fmla="*/ 600 w 780"/>
                  <a:gd name="T35" fmla="*/ 120 h 1080"/>
                  <a:gd name="T36" fmla="*/ 780 w 780"/>
                  <a:gd name="T37" fmla="*/ 180 h 1080"/>
                  <a:gd name="T38" fmla="*/ 750 w 780"/>
                  <a:gd name="T39" fmla="*/ 30 h 1080"/>
                  <a:gd name="T40" fmla="*/ 600 w 780"/>
                  <a:gd name="T41" fmla="*/ 120 h 1080"/>
                  <a:gd name="T42" fmla="*/ 510 w 780"/>
                  <a:gd name="T43" fmla="*/ 0 h 1080"/>
                  <a:gd name="T44" fmla="*/ 480 w 780"/>
                  <a:gd name="T45" fmla="*/ 150 h 1080"/>
                  <a:gd name="T46" fmla="*/ 510 w 780"/>
                  <a:gd name="T47" fmla="*/ 300 h 1080"/>
                  <a:gd name="T48" fmla="*/ 480 w 780"/>
                  <a:gd name="T49" fmla="*/ 390 h 1080"/>
                  <a:gd name="T50" fmla="*/ 600 w 780"/>
                  <a:gd name="T51" fmla="*/ 540 h 10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80" h="1080">
                    <a:moveTo>
                      <a:pt x="630" y="1080"/>
                    </a:moveTo>
                    <a:lnTo>
                      <a:pt x="600" y="870"/>
                    </a:lnTo>
                    <a:lnTo>
                      <a:pt x="480" y="630"/>
                    </a:lnTo>
                    <a:lnTo>
                      <a:pt x="390" y="720"/>
                    </a:lnTo>
                    <a:lnTo>
                      <a:pt x="270" y="870"/>
                    </a:lnTo>
                    <a:lnTo>
                      <a:pt x="180" y="750"/>
                    </a:lnTo>
                    <a:lnTo>
                      <a:pt x="210" y="600"/>
                    </a:lnTo>
                    <a:lnTo>
                      <a:pt x="90" y="660"/>
                    </a:lnTo>
                    <a:lnTo>
                      <a:pt x="0" y="870"/>
                    </a:lnTo>
                    <a:lnTo>
                      <a:pt x="60" y="510"/>
                    </a:lnTo>
                    <a:lnTo>
                      <a:pt x="0" y="420"/>
                    </a:lnTo>
                    <a:lnTo>
                      <a:pt x="120" y="330"/>
                    </a:lnTo>
                    <a:lnTo>
                      <a:pt x="300" y="390"/>
                    </a:lnTo>
                    <a:lnTo>
                      <a:pt x="330" y="510"/>
                    </a:lnTo>
                    <a:lnTo>
                      <a:pt x="480" y="390"/>
                    </a:lnTo>
                    <a:lnTo>
                      <a:pt x="660" y="240"/>
                    </a:lnTo>
                    <a:lnTo>
                      <a:pt x="480" y="150"/>
                    </a:lnTo>
                    <a:lnTo>
                      <a:pt x="600" y="120"/>
                    </a:lnTo>
                    <a:lnTo>
                      <a:pt x="780" y="180"/>
                    </a:lnTo>
                    <a:lnTo>
                      <a:pt x="750" y="30"/>
                    </a:lnTo>
                    <a:lnTo>
                      <a:pt x="600" y="120"/>
                    </a:lnTo>
                    <a:lnTo>
                      <a:pt x="510" y="0"/>
                    </a:lnTo>
                    <a:lnTo>
                      <a:pt x="480" y="150"/>
                    </a:lnTo>
                    <a:lnTo>
                      <a:pt x="510" y="300"/>
                    </a:lnTo>
                    <a:lnTo>
                      <a:pt x="480" y="390"/>
                    </a:lnTo>
                    <a:lnTo>
                      <a:pt x="60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2" name="Line 2491">
                <a:extLst>
                  <a:ext uri="{FF2B5EF4-FFF2-40B4-BE49-F238E27FC236}">
                    <a16:creationId xmlns:a16="http://schemas.microsoft.com/office/drawing/2014/main" xmlns="" id="{FFCCED91-9206-463A-AFA7-85C01D8297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09" y="2013"/>
                <a:ext cx="87" cy="177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3" name="Freeform 2492">
                <a:extLst>
                  <a:ext uri="{FF2B5EF4-FFF2-40B4-BE49-F238E27FC236}">
                    <a16:creationId xmlns:a16="http://schemas.microsoft.com/office/drawing/2014/main" xmlns="" id="{88EC9DD2-F85E-4D92-8E39-C949F58969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1890"/>
                <a:ext cx="210" cy="270"/>
              </a:xfrm>
              <a:custGeom>
                <a:avLst/>
                <a:gdLst>
                  <a:gd name="T0" fmla="*/ 210 w 210"/>
                  <a:gd name="T1" fmla="*/ 120 h 270"/>
                  <a:gd name="T2" fmla="*/ 0 w 210"/>
                  <a:gd name="T3" fmla="*/ 270 h 270"/>
                  <a:gd name="T4" fmla="*/ 150 w 210"/>
                  <a:gd name="T5" fmla="*/ 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270">
                    <a:moveTo>
                      <a:pt x="210" y="120"/>
                    </a:moveTo>
                    <a:lnTo>
                      <a:pt x="0" y="27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4" name="Freeform 2493">
                <a:extLst>
                  <a:ext uri="{FF2B5EF4-FFF2-40B4-BE49-F238E27FC236}">
                    <a16:creationId xmlns:a16="http://schemas.microsoft.com/office/drawing/2014/main" xmlns="" id="{C83B85F5-B1C5-4AE9-9DE3-C774B5674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5" y="1620"/>
                <a:ext cx="360" cy="483"/>
              </a:xfrm>
              <a:custGeom>
                <a:avLst/>
                <a:gdLst>
                  <a:gd name="T0" fmla="*/ 0 w 432"/>
                  <a:gd name="T1" fmla="*/ 146 h 579"/>
                  <a:gd name="T2" fmla="*/ 216 w 432"/>
                  <a:gd name="T3" fmla="*/ 0 h 579"/>
                  <a:gd name="T4" fmla="*/ 144 w 432"/>
                  <a:gd name="T5" fmla="*/ 216 h 579"/>
                  <a:gd name="T6" fmla="*/ 360 w 432"/>
                  <a:gd name="T7" fmla="*/ 252 h 579"/>
                  <a:gd name="T8" fmla="*/ 324 w 432"/>
                  <a:gd name="T9" fmla="*/ 578 h 579"/>
                  <a:gd name="T10" fmla="*/ 432 w 432"/>
                  <a:gd name="T11" fmla="*/ 432 h 579"/>
                  <a:gd name="T12" fmla="*/ 220 w 432"/>
                  <a:gd name="T13" fmla="*/ 399 h 579"/>
                  <a:gd name="T14" fmla="*/ 112 w 432"/>
                  <a:gd name="T15" fmla="*/ 579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2" h="579">
                    <a:moveTo>
                      <a:pt x="0" y="146"/>
                    </a:moveTo>
                    <a:cubicBezTo>
                      <a:pt x="216" y="0"/>
                      <a:pt x="216" y="0"/>
                      <a:pt x="216" y="0"/>
                    </a:cubicBezTo>
                    <a:cubicBezTo>
                      <a:pt x="144" y="216"/>
                      <a:pt x="144" y="216"/>
                      <a:pt x="144" y="216"/>
                    </a:cubicBezTo>
                    <a:cubicBezTo>
                      <a:pt x="360" y="252"/>
                      <a:pt x="360" y="252"/>
                      <a:pt x="360" y="252"/>
                    </a:cubicBezTo>
                    <a:cubicBezTo>
                      <a:pt x="324" y="578"/>
                      <a:pt x="324" y="578"/>
                      <a:pt x="324" y="578"/>
                    </a:cubicBezTo>
                    <a:cubicBezTo>
                      <a:pt x="432" y="432"/>
                      <a:pt x="432" y="432"/>
                      <a:pt x="432" y="432"/>
                    </a:cubicBezTo>
                    <a:cubicBezTo>
                      <a:pt x="220" y="399"/>
                      <a:pt x="220" y="399"/>
                      <a:pt x="220" y="399"/>
                    </a:cubicBezTo>
                    <a:cubicBezTo>
                      <a:pt x="220" y="399"/>
                      <a:pt x="108" y="576"/>
                      <a:pt x="112" y="579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5" name="Freeform 2494">
                <a:extLst>
                  <a:ext uri="{FF2B5EF4-FFF2-40B4-BE49-F238E27FC236}">
                    <a16:creationId xmlns:a16="http://schemas.microsoft.com/office/drawing/2014/main" xmlns="" id="{67015895-6415-4558-ABDF-91BEFDF1F8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5" y="1800"/>
                <a:ext cx="120" cy="303"/>
              </a:xfrm>
              <a:custGeom>
                <a:avLst/>
                <a:gdLst>
                  <a:gd name="T0" fmla="*/ 0 w 120"/>
                  <a:gd name="T1" fmla="*/ 90 h 303"/>
                  <a:gd name="T2" fmla="*/ 120 w 120"/>
                  <a:gd name="T3" fmla="*/ 0 h 303"/>
                  <a:gd name="T4" fmla="*/ 94 w 120"/>
                  <a:gd name="T5" fmla="*/ 30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0" h="303">
                    <a:moveTo>
                      <a:pt x="0" y="90"/>
                    </a:moveTo>
                    <a:lnTo>
                      <a:pt x="120" y="0"/>
                    </a:lnTo>
                    <a:lnTo>
                      <a:pt x="94" y="303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6" name="Freeform 2495">
                <a:extLst>
                  <a:ext uri="{FF2B5EF4-FFF2-40B4-BE49-F238E27FC236}">
                    <a16:creationId xmlns:a16="http://schemas.microsoft.com/office/drawing/2014/main" xmlns="" id="{0E443648-D2B6-494A-B7A3-83D436971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1922"/>
                <a:ext cx="1110" cy="868"/>
              </a:xfrm>
              <a:custGeom>
                <a:avLst/>
                <a:gdLst>
                  <a:gd name="T0" fmla="*/ 240 w 1110"/>
                  <a:gd name="T1" fmla="*/ 0 h 868"/>
                  <a:gd name="T2" fmla="*/ 210 w 1110"/>
                  <a:gd name="T3" fmla="*/ 148 h 868"/>
                  <a:gd name="T4" fmla="*/ 150 w 1110"/>
                  <a:gd name="T5" fmla="*/ 238 h 868"/>
                  <a:gd name="T6" fmla="*/ 0 w 1110"/>
                  <a:gd name="T7" fmla="*/ 328 h 868"/>
                  <a:gd name="T8" fmla="*/ 0 w 1110"/>
                  <a:gd name="T9" fmla="*/ 478 h 868"/>
                  <a:gd name="T10" fmla="*/ 120 w 1110"/>
                  <a:gd name="T11" fmla="*/ 388 h 868"/>
                  <a:gd name="T12" fmla="*/ 270 w 1110"/>
                  <a:gd name="T13" fmla="*/ 268 h 868"/>
                  <a:gd name="T14" fmla="*/ 510 w 1110"/>
                  <a:gd name="T15" fmla="*/ 118 h 868"/>
                  <a:gd name="T16" fmla="*/ 600 w 1110"/>
                  <a:gd name="T17" fmla="*/ 178 h 868"/>
                  <a:gd name="T18" fmla="*/ 690 w 1110"/>
                  <a:gd name="T19" fmla="*/ 298 h 868"/>
                  <a:gd name="T20" fmla="*/ 780 w 1110"/>
                  <a:gd name="T21" fmla="*/ 178 h 868"/>
                  <a:gd name="T22" fmla="*/ 600 w 1110"/>
                  <a:gd name="T23" fmla="*/ 178 h 868"/>
                  <a:gd name="T24" fmla="*/ 600 w 1110"/>
                  <a:gd name="T25" fmla="*/ 329 h 868"/>
                  <a:gd name="T26" fmla="*/ 510 w 1110"/>
                  <a:gd name="T27" fmla="*/ 298 h 868"/>
                  <a:gd name="T28" fmla="*/ 480 w 1110"/>
                  <a:gd name="T29" fmla="*/ 388 h 868"/>
                  <a:gd name="T30" fmla="*/ 480 w 1110"/>
                  <a:gd name="T31" fmla="*/ 628 h 868"/>
                  <a:gd name="T32" fmla="*/ 600 w 1110"/>
                  <a:gd name="T33" fmla="*/ 538 h 868"/>
                  <a:gd name="T34" fmla="*/ 688 w 1110"/>
                  <a:gd name="T35" fmla="*/ 630 h 868"/>
                  <a:gd name="T36" fmla="*/ 660 w 1110"/>
                  <a:gd name="T37" fmla="*/ 448 h 868"/>
                  <a:gd name="T38" fmla="*/ 750 w 1110"/>
                  <a:gd name="T39" fmla="*/ 388 h 868"/>
                  <a:gd name="T40" fmla="*/ 870 w 1110"/>
                  <a:gd name="T41" fmla="*/ 448 h 868"/>
                  <a:gd name="T42" fmla="*/ 750 w 1110"/>
                  <a:gd name="T43" fmla="*/ 508 h 868"/>
                  <a:gd name="T44" fmla="*/ 840 w 1110"/>
                  <a:gd name="T45" fmla="*/ 568 h 868"/>
                  <a:gd name="T46" fmla="*/ 1110 w 1110"/>
                  <a:gd name="T47" fmla="*/ 538 h 868"/>
                  <a:gd name="T48" fmla="*/ 990 w 1110"/>
                  <a:gd name="T49" fmla="*/ 598 h 868"/>
                  <a:gd name="T50" fmla="*/ 1020 w 1110"/>
                  <a:gd name="T51" fmla="*/ 868 h 868"/>
                  <a:gd name="T52" fmla="*/ 810 w 1110"/>
                  <a:gd name="T53" fmla="*/ 688 h 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10" h="868">
                    <a:moveTo>
                      <a:pt x="240" y="0"/>
                    </a:moveTo>
                    <a:lnTo>
                      <a:pt x="210" y="148"/>
                    </a:lnTo>
                    <a:lnTo>
                      <a:pt x="150" y="238"/>
                    </a:lnTo>
                    <a:lnTo>
                      <a:pt x="0" y="328"/>
                    </a:lnTo>
                    <a:lnTo>
                      <a:pt x="0" y="478"/>
                    </a:lnTo>
                    <a:lnTo>
                      <a:pt x="120" y="388"/>
                    </a:lnTo>
                    <a:lnTo>
                      <a:pt x="270" y="268"/>
                    </a:lnTo>
                    <a:lnTo>
                      <a:pt x="510" y="118"/>
                    </a:lnTo>
                    <a:lnTo>
                      <a:pt x="600" y="178"/>
                    </a:lnTo>
                    <a:lnTo>
                      <a:pt x="690" y="298"/>
                    </a:lnTo>
                    <a:lnTo>
                      <a:pt x="780" y="178"/>
                    </a:lnTo>
                    <a:lnTo>
                      <a:pt x="600" y="178"/>
                    </a:lnTo>
                    <a:lnTo>
                      <a:pt x="600" y="329"/>
                    </a:lnTo>
                    <a:lnTo>
                      <a:pt x="510" y="298"/>
                    </a:lnTo>
                    <a:lnTo>
                      <a:pt x="480" y="388"/>
                    </a:lnTo>
                    <a:lnTo>
                      <a:pt x="480" y="628"/>
                    </a:lnTo>
                    <a:lnTo>
                      <a:pt x="600" y="538"/>
                    </a:lnTo>
                    <a:lnTo>
                      <a:pt x="688" y="630"/>
                    </a:lnTo>
                    <a:lnTo>
                      <a:pt x="660" y="448"/>
                    </a:lnTo>
                    <a:lnTo>
                      <a:pt x="750" y="388"/>
                    </a:lnTo>
                    <a:lnTo>
                      <a:pt x="870" y="448"/>
                    </a:lnTo>
                    <a:lnTo>
                      <a:pt x="750" y="508"/>
                    </a:lnTo>
                    <a:lnTo>
                      <a:pt x="840" y="568"/>
                    </a:lnTo>
                    <a:lnTo>
                      <a:pt x="1110" y="538"/>
                    </a:lnTo>
                    <a:lnTo>
                      <a:pt x="990" y="598"/>
                    </a:lnTo>
                    <a:lnTo>
                      <a:pt x="1020" y="868"/>
                    </a:lnTo>
                    <a:lnTo>
                      <a:pt x="810" y="68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7" name="Line 2496">
                <a:extLst>
                  <a:ext uri="{FF2B5EF4-FFF2-40B4-BE49-F238E27FC236}">
                    <a16:creationId xmlns:a16="http://schemas.microsoft.com/office/drawing/2014/main" xmlns="" id="{B0C312D1-7451-42D6-8F17-26EE13CDF6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35" y="1950"/>
                <a:ext cx="18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8" name="Line 2497">
                <a:extLst>
                  <a:ext uri="{FF2B5EF4-FFF2-40B4-BE49-F238E27FC236}">
                    <a16:creationId xmlns:a16="http://schemas.microsoft.com/office/drawing/2014/main" xmlns="" id="{1DEC7386-E963-42D4-9D1F-43377D35BA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865" y="1922"/>
                <a:ext cx="152" cy="15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9" name="Freeform 2498">
                <a:extLst>
                  <a:ext uri="{FF2B5EF4-FFF2-40B4-BE49-F238E27FC236}">
                    <a16:creationId xmlns:a16="http://schemas.microsoft.com/office/drawing/2014/main" xmlns="" id="{0D795EC9-1283-426D-BFAA-A3E48746F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7" y="1713"/>
                <a:ext cx="328" cy="390"/>
              </a:xfrm>
              <a:custGeom>
                <a:avLst/>
                <a:gdLst>
                  <a:gd name="T0" fmla="*/ 271 w 328"/>
                  <a:gd name="T1" fmla="*/ 0 h 390"/>
                  <a:gd name="T2" fmla="*/ 238 w 328"/>
                  <a:gd name="T3" fmla="*/ 147 h 390"/>
                  <a:gd name="T4" fmla="*/ 151 w 328"/>
                  <a:gd name="T5" fmla="*/ 390 h 390"/>
                  <a:gd name="T6" fmla="*/ 328 w 328"/>
                  <a:gd name="T7" fmla="*/ 207 h 390"/>
                  <a:gd name="T8" fmla="*/ 328 w 328"/>
                  <a:gd name="T9" fmla="*/ 389 h 390"/>
                  <a:gd name="T10" fmla="*/ 118 w 328"/>
                  <a:gd name="T11" fmla="*/ 177 h 390"/>
                  <a:gd name="T12" fmla="*/ 58 w 328"/>
                  <a:gd name="T13" fmla="*/ 327 h 390"/>
                  <a:gd name="T14" fmla="*/ 0 w 328"/>
                  <a:gd name="T15" fmla="*/ 18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8" h="390">
                    <a:moveTo>
                      <a:pt x="271" y="0"/>
                    </a:moveTo>
                    <a:lnTo>
                      <a:pt x="238" y="147"/>
                    </a:lnTo>
                    <a:lnTo>
                      <a:pt x="151" y="390"/>
                    </a:lnTo>
                    <a:lnTo>
                      <a:pt x="328" y="207"/>
                    </a:lnTo>
                    <a:lnTo>
                      <a:pt x="328" y="389"/>
                    </a:lnTo>
                    <a:lnTo>
                      <a:pt x="118" y="177"/>
                    </a:lnTo>
                    <a:lnTo>
                      <a:pt x="58" y="327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0" name="Line 2499">
                <a:extLst>
                  <a:ext uri="{FF2B5EF4-FFF2-40B4-BE49-F238E27FC236}">
                    <a16:creationId xmlns:a16="http://schemas.microsoft.com/office/drawing/2014/main" xmlns="" id="{2494AD39-37D6-4A18-B37C-27142FDF3E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348" y="1713"/>
                <a:ext cx="177" cy="11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1" name="Line 2500">
                <a:extLst>
                  <a:ext uri="{FF2B5EF4-FFF2-40B4-BE49-F238E27FC236}">
                    <a16:creationId xmlns:a16="http://schemas.microsoft.com/office/drawing/2014/main" xmlns="" id="{9540DE55-71AF-490C-9D44-161DB2BB5E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315" y="1442"/>
                <a:ext cx="88" cy="118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2" name="Freeform 2501">
                <a:extLst>
                  <a:ext uri="{FF2B5EF4-FFF2-40B4-BE49-F238E27FC236}">
                    <a16:creationId xmlns:a16="http://schemas.microsoft.com/office/drawing/2014/main" xmlns="" id="{7CDB3288-BBCE-4A1D-B460-DED4EEF7D3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780"/>
                <a:ext cx="690" cy="630"/>
              </a:xfrm>
              <a:custGeom>
                <a:avLst/>
                <a:gdLst>
                  <a:gd name="T0" fmla="*/ 660 w 690"/>
                  <a:gd name="T1" fmla="*/ 630 h 630"/>
                  <a:gd name="T2" fmla="*/ 690 w 690"/>
                  <a:gd name="T3" fmla="*/ 390 h 630"/>
                  <a:gd name="T4" fmla="*/ 570 w 690"/>
                  <a:gd name="T5" fmla="*/ 420 h 630"/>
                  <a:gd name="T6" fmla="*/ 450 w 690"/>
                  <a:gd name="T7" fmla="*/ 240 h 630"/>
                  <a:gd name="T8" fmla="*/ 420 w 690"/>
                  <a:gd name="T9" fmla="*/ 420 h 630"/>
                  <a:gd name="T10" fmla="*/ 330 w 690"/>
                  <a:gd name="T11" fmla="*/ 330 h 630"/>
                  <a:gd name="T12" fmla="*/ 210 w 690"/>
                  <a:gd name="T13" fmla="*/ 270 h 630"/>
                  <a:gd name="T14" fmla="*/ 0 w 690"/>
                  <a:gd name="T15" fmla="*/ 210 h 630"/>
                  <a:gd name="T16" fmla="*/ 270 w 690"/>
                  <a:gd name="T17" fmla="*/ 180 h 630"/>
                  <a:gd name="T18" fmla="*/ 180 w 690"/>
                  <a:gd name="T19" fmla="*/ 30 h 630"/>
                  <a:gd name="T20" fmla="*/ 330 w 690"/>
                  <a:gd name="T21" fmla="*/ 0 h 630"/>
                  <a:gd name="T22" fmla="*/ 120 w 690"/>
                  <a:gd name="T23" fmla="*/ 15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90" h="630">
                    <a:moveTo>
                      <a:pt x="660" y="630"/>
                    </a:moveTo>
                    <a:lnTo>
                      <a:pt x="690" y="390"/>
                    </a:lnTo>
                    <a:lnTo>
                      <a:pt x="570" y="420"/>
                    </a:lnTo>
                    <a:lnTo>
                      <a:pt x="450" y="240"/>
                    </a:lnTo>
                    <a:lnTo>
                      <a:pt x="420" y="420"/>
                    </a:lnTo>
                    <a:lnTo>
                      <a:pt x="330" y="330"/>
                    </a:lnTo>
                    <a:lnTo>
                      <a:pt x="210" y="270"/>
                    </a:lnTo>
                    <a:lnTo>
                      <a:pt x="0" y="210"/>
                    </a:lnTo>
                    <a:lnTo>
                      <a:pt x="270" y="180"/>
                    </a:lnTo>
                    <a:lnTo>
                      <a:pt x="180" y="30"/>
                    </a:lnTo>
                    <a:lnTo>
                      <a:pt x="330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3" name="Line 2502">
                <a:extLst>
                  <a:ext uri="{FF2B5EF4-FFF2-40B4-BE49-F238E27FC236}">
                    <a16:creationId xmlns:a16="http://schemas.microsoft.com/office/drawing/2014/main" xmlns="" id="{13AB2D93-C3EC-484F-8128-C69070FA73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285" y="1290"/>
                <a:ext cx="15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4" name="Freeform 2503">
                <a:extLst>
                  <a:ext uri="{FF2B5EF4-FFF2-40B4-BE49-F238E27FC236}">
                    <a16:creationId xmlns:a16="http://schemas.microsoft.com/office/drawing/2014/main" xmlns="" id="{E79B62DD-1ED8-4B04-A3D8-A8F487B50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1082"/>
                <a:ext cx="120" cy="208"/>
              </a:xfrm>
              <a:custGeom>
                <a:avLst/>
                <a:gdLst>
                  <a:gd name="T0" fmla="*/ 120 w 120"/>
                  <a:gd name="T1" fmla="*/ 208 h 208"/>
                  <a:gd name="T2" fmla="*/ 90 w 120"/>
                  <a:gd name="T3" fmla="*/ 0 h 208"/>
                  <a:gd name="T4" fmla="*/ 0 w 120"/>
                  <a:gd name="T5" fmla="*/ 88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0" h="208">
                    <a:moveTo>
                      <a:pt x="120" y="208"/>
                    </a:moveTo>
                    <a:lnTo>
                      <a:pt x="90" y="0"/>
                    </a:lnTo>
                    <a:lnTo>
                      <a:pt x="0" y="8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5" name="Freeform 2504">
                <a:extLst>
                  <a:ext uri="{FF2B5EF4-FFF2-40B4-BE49-F238E27FC236}">
                    <a16:creationId xmlns:a16="http://schemas.microsoft.com/office/drawing/2014/main" xmlns="" id="{E054FF8A-49B2-456A-B74E-990897C83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1200"/>
                <a:ext cx="240" cy="242"/>
              </a:xfrm>
              <a:custGeom>
                <a:avLst/>
                <a:gdLst>
                  <a:gd name="T0" fmla="*/ 240 w 240"/>
                  <a:gd name="T1" fmla="*/ 90 h 242"/>
                  <a:gd name="T2" fmla="*/ 0 w 240"/>
                  <a:gd name="T3" fmla="*/ 0 h 242"/>
                  <a:gd name="T4" fmla="*/ 208 w 240"/>
                  <a:gd name="T5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0" h="242">
                    <a:moveTo>
                      <a:pt x="240" y="90"/>
                    </a:moveTo>
                    <a:lnTo>
                      <a:pt x="0" y="0"/>
                    </a:lnTo>
                    <a:lnTo>
                      <a:pt x="208" y="24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6" name="Line 2505">
                <a:extLst>
                  <a:ext uri="{FF2B5EF4-FFF2-40B4-BE49-F238E27FC236}">
                    <a16:creationId xmlns:a16="http://schemas.microsoft.com/office/drawing/2014/main" xmlns="" id="{A945A76C-3251-4098-A845-DFDF1DA60A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85" y="1260"/>
                <a:ext cx="30" cy="272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7" name="Freeform 2506">
                <a:extLst>
                  <a:ext uri="{FF2B5EF4-FFF2-40B4-BE49-F238E27FC236}">
                    <a16:creationId xmlns:a16="http://schemas.microsoft.com/office/drawing/2014/main" xmlns="" id="{F8416B36-BAA8-4609-BA62-999BDE6CB5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5" y="450"/>
                <a:ext cx="449" cy="1140"/>
              </a:xfrm>
              <a:custGeom>
                <a:avLst/>
                <a:gdLst>
                  <a:gd name="T0" fmla="*/ 449 w 449"/>
                  <a:gd name="T1" fmla="*/ 1140 h 1140"/>
                  <a:gd name="T2" fmla="*/ 329 w 449"/>
                  <a:gd name="T3" fmla="*/ 930 h 1140"/>
                  <a:gd name="T4" fmla="*/ 419 w 449"/>
                  <a:gd name="T5" fmla="*/ 690 h 1140"/>
                  <a:gd name="T6" fmla="*/ 239 w 449"/>
                  <a:gd name="T7" fmla="*/ 600 h 1140"/>
                  <a:gd name="T8" fmla="*/ 269 w 449"/>
                  <a:gd name="T9" fmla="*/ 780 h 1140"/>
                  <a:gd name="T10" fmla="*/ 389 w 449"/>
                  <a:gd name="T11" fmla="*/ 570 h 1140"/>
                  <a:gd name="T12" fmla="*/ 419 w 449"/>
                  <a:gd name="T13" fmla="*/ 450 h 1140"/>
                  <a:gd name="T14" fmla="*/ 359 w 449"/>
                  <a:gd name="T15" fmla="*/ 330 h 1140"/>
                  <a:gd name="T16" fmla="*/ 389 w 449"/>
                  <a:gd name="T17" fmla="*/ 180 h 1140"/>
                  <a:gd name="T18" fmla="*/ 239 w 449"/>
                  <a:gd name="T19" fmla="*/ 60 h 1140"/>
                  <a:gd name="T20" fmla="*/ 150 w 449"/>
                  <a:gd name="T21" fmla="*/ 180 h 1140"/>
                  <a:gd name="T22" fmla="*/ 0 w 449"/>
                  <a:gd name="T23" fmla="*/ 270 h 1140"/>
                  <a:gd name="T24" fmla="*/ 0 w 449"/>
                  <a:gd name="T25" fmla="*/ 420 h 1140"/>
                  <a:gd name="T26" fmla="*/ 120 w 449"/>
                  <a:gd name="T27" fmla="*/ 330 h 1140"/>
                  <a:gd name="T28" fmla="*/ 269 w 449"/>
                  <a:gd name="T29" fmla="*/ 210 h 1140"/>
                  <a:gd name="T30" fmla="*/ 239 w 449"/>
                  <a:gd name="T31" fmla="*/ 60 h 1140"/>
                  <a:gd name="T32" fmla="*/ 120 w 449"/>
                  <a:gd name="T33" fmla="*/ 0 h 1140"/>
                  <a:gd name="T34" fmla="*/ 30 w 449"/>
                  <a:gd name="T35" fmla="*/ 90 h 1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9" h="1140">
                    <a:moveTo>
                      <a:pt x="449" y="1140"/>
                    </a:moveTo>
                    <a:lnTo>
                      <a:pt x="329" y="930"/>
                    </a:lnTo>
                    <a:lnTo>
                      <a:pt x="419" y="690"/>
                    </a:lnTo>
                    <a:lnTo>
                      <a:pt x="239" y="600"/>
                    </a:lnTo>
                    <a:lnTo>
                      <a:pt x="269" y="780"/>
                    </a:lnTo>
                    <a:lnTo>
                      <a:pt x="389" y="570"/>
                    </a:lnTo>
                    <a:lnTo>
                      <a:pt x="419" y="450"/>
                    </a:lnTo>
                    <a:lnTo>
                      <a:pt x="359" y="330"/>
                    </a:lnTo>
                    <a:lnTo>
                      <a:pt x="389" y="180"/>
                    </a:lnTo>
                    <a:lnTo>
                      <a:pt x="239" y="60"/>
                    </a:lnTo>
                    <a:lnTo>
                      <a:pt x="150" y="180"/>
                    </a:lnTo>
                    <a:lnTo>
                      <a:pt x="0" y="270"/>
                    </a:lnTo>
                    <a:lnTo>
                      <a:pt x="0" y="420"/>
                    </a:lnTo>
                    <a:lnTo>
                      <a:pt x="120" y="330"/>
                    </a:lnTo>
                    <a:lnTo>
                      <a:pt x="269" y="210"/>
                    </a:lnTo>
                    <a:lnTo>
                      <a:pt x="239" y="60"/>
                    </a:lnTo>
                    <a:lnTo>
                      <a:pt x="120" y="0"/>
                    </a:lnTo>
                    <a:lnTo>
                      <a:pt x="3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8" name="Line 2507">
                <a:extLst>
                  <a:ext uri="{FF2B5EF4-FFF2-40B4-BE49-F238E27FC236}">
                    <a16:creationId xmlns:a16="http://schemas.microsoft.com/office/drawing/2014/main" xmlns="" id="{286A39A2-8C80-4F5F-B812-F740D4C5DA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4" y="159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9" name="Freeform 2508">
                <a:extLst>
                  <a:ext uri="{FF2B5EF4-FFF2-40B4-BE49-F238E27FC236}">
                    <a16:creationId xmlns:a16="http://schemas.microsoft.com/office/drawing/2014/main" xmlns="" id="{89DA4A61-5A79-48B2-B6E1-B422E48145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" y="1740"/>
                <a:ext cx="659" cy="423"/>
              </a:xfrm>
              <a:custGeom>
                <a:avLst/>
                <a:gdLst>
                  <a:gd name="T0" fmla="*/ 300 w 659"/>
                  <a:gd name="T1" fmla="*/ 303 h 423"/>
                  <a:gd name="T2" fmla="*/ 299 w 659"/>
                  <a:gd name="T3" fmla="*/ 150 h 423"/>
                  <a:gd name="T4" fmla="*/ 451 w 659"/>
                  <a:gd name="T5" fmla="*/ 423 h 423"/>
                  <a:gd name="T6" fmla="*/ 483 w 659"/>
                  <a:gd name="T7" fmla="*/ 213 h 423"/>
                  <a:gd name="T8" fmla="*/ 659 w 659"/>
                  <a:gd name="T9" fmla="*/ 300 h 423"/>
                  <a:gd name="T10" fmla="*/ 419 w 659"/>
                  <a:gd name="T11" fmla="*/ 60 h 423"/>
                  <a:gd name="T12" fmla="*/ 479 w 659"/>
                  <a:gd name="T13" fmla="*/ 210 h 423"/>
                  <a:gd name="T14" fmla="*/ 299 w 659"/>
                  <a:gd name="T15" fmla="*/ 0 h 423"/>
                  <a:gd name="T16" fmla="*/ 150 w 659"/>
                  <a:gd name="T17" fmla="*/ 150 h 423"/>
                  <a:gd name="T18" fmla="*/ 0 w 659"/>
                  <a:gd name="T19" fmla="*/ 90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9" h="423">
                    <a:moveTo>
                      <a:pt x="300" y="303"/>
                    </a:moveTo>
                    <a:lnTo>
                      <a:pt x="299" y="150"/>
                    </a:lnTo>
                    <a:lnTo>
                      <a:pt x="451" y="423"/>
                    </a:lnTo>
                    <a:lnTo>
                      <a:pt x="483" y="213"/>
                    </a:lnTo>
                    <a:lnTo>
                      <a:pt x="659" y="300"/>
                    </a:lnTo>
                    <a:lnTo>
                      <a:pt x="419" y="60"/>
                    </a:lnTo>
                    <a:lnTo>
                      <a:pt x="479" y="210"/>
                    </a:lnTo>
                    <a:lnTo>
                      <a:pt x="299" y="0"/>
                    </a:lnTo>
                    <a:lnTo>
                      <a:pt x="150" y="150"/>
                    </a:lnTo>
                    <a:lnTo>
                      <a:pt x="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0" name="Freeform 2509">
                <a:extLst>
                  <a:ext uri="{FF2B5EF4-FFF2-40B4-BE49-F238E27FC236}">
                    <a16:creationId xmlns:a16="http://schemas.microsoft.com/office/drawing/2014/main" xmlns="" id="{389B0C02-E0F1-4BB9-8B6A-A41CA1C9E3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1860"/>
                <a:ext cx="393" cy="123"/>
              </a:xfrm>
              <a:custGeom>
                <a:avLst/>
                <a:gdLst>
                  <a:gd name="T0" fmla="*/ 393 w 393"/>
                  <a:gd name="T1" fmla="*/ 123 h 123"/>
                  <a:gd name="T2" fmla="*/ 90 w 393"/>
                  <a:gd name="T3" fmla="*/ 60 h 123"/>
                  <a:gd name="T4" fmla="*/ 0 w 393"/>
                  <a:gd name="T5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3" h="123">
                    <a:moveTo>
                      <a:pt x="393" y="123"/>
                    </a:moveTo>
                    <a:lnTo>
                      <a:pt x="9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1" name="Freeform 2510">
                <a:extLst>
                  <a:ext uri="{FF2B5EF4-FFF2-40B4-BE49-F238E27FC236}">
                    <a16:creationId xmlns:a16="http://schemas.microsoft.com/office/drawing/2014/main" xmlns="" id="{7F013949-2F1A-43CC-84B7-66C8E611A5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60"/>
                <a:ext cx="690" cy="600"/>
              </a:xfrm>
              <a:custGeom>
                <a:avLst/>
                <a:gdLst>
                  <a:gd name="T0" fmla="*/ 690 w 690"/>
                  <a:gd name="T1" fmla="*/ 600 h 600"/>
                  <a:gd name="T2" fmla="*/ 630 w 690"/>
                  <a:gd name="T3" fmla="*/ 450 h 600"/>
                  <a:gd name="T4" fmla="*/ 480 w 690"/>
                  <a:gd name="T5" fmla="*/ 210 h 600"/>
                  <a:gd name="T6" fmla="*/ 330 w 690"/>
                  <a:gd name="T7" fmla="*/ 0 h 600"/>
                  <a:gd name="T8" fmla="*/ 150 w 690"/>
                  <a:gd name="T9" fmla="*/ 90 h 600"/>
                  <a:gd name="T10" fmla="*/ 60 w 690"/>
                  <a:gd name="T11" fmla="*/ 210 h 600"/>
                  <a:gd name="T12" fmla="*/ 300 w 690"/>
                  <a:gd name="T13" fmla="*/ 210 h 600"/>
                  <a:gd name="T14" fmla="*/ 330 w 690"/>
                  <a:gd name="T15" fmla="*/ 0 h 600"/>
                  <a:gd name="T16" fmla="*/ 0 w 690"/>
                  <a:gd name="T17" fmla="*/ 60 h 600"/>
                  <a:gd name="T18" fmla="*/ 150 w 690"/>
                  <a:gd name="T19" fmla="*/ 90 h 600"/>
                  <a:gd name="T20" fmla="*/ 180 w 690"/>
                  <a:gd name="T21" fmla="*/ 240 h 600"/>
                  <a:gd name="T22" fmla="*/ 60 w 690"/>
                  <a:gd name="T23" fmla="*/ 210 h 600"/>
                  <a:gd name="T24" fmla="*/ 30 w 690"/>
                  <a:gd name="T25" fmla="*/ 360 h 600"/>
                  <a:gd name="T26" fmla="*/ 60 w 690"/>
                  <a:gd name="T27" fmla="*/ 51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90" h="600">
                    <a:moveTo>
                      <a:pt x="690" y="600"/>
                    </a:moveTo>
                    <a:lnTo>
                      <a:pt x="630" y="450"/>
                    </a:lnTo>
                    <a:lnTo>
                      <a:pt x="480" y="210"/>
                    </a:lnTo>
                    <a:lnTo>
                      <a:pt x="330" y="0"/>
                    </a:lnTo>
                    <a:lnTo>
                      <a:pt x="150" y="90"/>
                    </a:lnTo>
                    <a:lnTo>
                      <a:pt x="60" y="210"/>
                    </a:lnTo>
                    <a:lnTo>
                      <a:pt x="300" y="210"/>
                    </a:lnTo>
                    <a:lnTo>
                      <a:pt x="330" y="0"/>
                    </a:lnTo>
                    <a:lnTo>
                      <a:pt x="0" y="60"/>
                    </a:lnTo>
                    <a:lnTo>
                      <a:pt x="150" y="90"/>
                    </a:lnTo>
                    <a:lnTo>
                      <a:pt x="180" y="240"/>
                    </a:lnTo>
                    <a:lnTo>
                      <a:pt x="60" y="210"/>
                    </a:lnTo>
                    <a:lnTo>
                      <a:pt x="30" y="360"/>
                    </a:lnTo>
                    <a:lnTo>
                      <a:pt x="60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2" name="Freeform 2511">
                <a:extLst>
                  <a:ext uri="{FF2B5EF4-FFF2-40B4-BE49-F238E27FC236}">
                    <a16:creationId xmlns:a16="http://schemas.microsoft.com/office/drawing/2014/main" xmlns="" id="{55AC3E09-B6A8-4771-9E4C-520D4D70C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2700"/>
                <a:ext cx="600" cy="510"/>
              </a:xfrm>
              <a:custGeom>
                <a:avLst/>
                <a:gdLst>
                  <a:gd name="T0" fmla="*/ 540 w 600"/>
                  <a:gd name="T1" fmla="*/ 90 h 510"/>
                  <a:gd name="T2" fmla="*/ 600 w 600"/>
                  <a:gd name="T3" fmla="*/ 270 h 510"/>
                  <a:gd name="T4" fmla="*/ 480 w 600"/>
                  <a:gd name="T5" fmla="*/ 270 h 510"/>
                  <a:gd name="T6" fmla="*/ 570 w 600"/>
                  <a:gd name="T7" fmla="*/ 420 h 510"/>
                  <a:gd name="T8" fmla="*/ 510 w 600"/>
                  <a:gd name="T9" fmla="*/ 510 h 510"/>
                  <a:gd name="T10" fmla="*/ 420 w 600"/>
                  <a:gd name="T11" fmla="*/ 360 h 510"/>
                  <a:gd name="T12" fmla="*/ 240 w 600"/>
                  <a:gd name="T13" fmla="*/ 450 h 510"/>
                  <a:gd name="T14" fmla="*/ 300 w 600"/>
                  <a:gd name="T15" fmla="*/ 270 h 510"/>
                  <a:gd name="T16" fmla="*/ 150 w 600"/>
                  <a:gd name="T17" fmla="*/ 420 h 510"/>
                  <a:gd name="T18" fmla="*/ 180 w 600"/>
                  <a:gd name="T19" fmla="*/ 300 h 510"/>
                  <a:gd name="T20" fmla="*/ 30 w 600"/>
                  <a:gd name="T21" fmla="*/ 360 h 510"/>
                  <a:gd name="T22" fmla="*/ 0 w 600"/>
                  <a:gd name="T23" fmla="*/ 510 h 510"/>
                  <a:gd name="T24" fmla="*/ 180 w 600"/>
                  <a:gd name="T25" fmla="*/ 210 h 510"/>
                  <a:gd name="T26" fmla="*/ 60 w 600"/>
                  <a:gd name="T27" fmla="*/ 120 h 510"/>
                  <a:gd name="T28" fmla="*/ 0 w 600"/>
                  <a:gd name="T29" fmla="*/ 210 h 510"/>
                  <a:gd name="T30" fmla="*/ 0 w 600"/>
                  <a:gd name="T31" fmla="*/ 0 h 510"/>
                  <a:gd name="T32" fmla="*/ 180 w 600"/>
                  <a:gd name="T33" fmla="*/ 30 h 510"/>
                  <a:gd name="T34" fmla="*/ 270 w 600"/>
                  <a:gd name="T35" fmla="*/ 120 h 510"/>
                  <a:gd name="T36" fmla="*/ 390 w 600"/>
                  <a:gd name="T37" fmla="*/ 150 h 510"/>
                  <a:gd name="T38" fmla="*/ 540 w 600"/>
                  <a:gd name="T39" fmla="*/ 9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00" h="510">
                    <a:moveTo>
                      <a:pt x="540" y="90"/>
                    </a:moveTo>
                    <a:lnTo>
                      <a:pt x="600" y="270"/>
                    </a:lnTo>
                    <a:lnTo>
                      <a:pt x="480" y="270"/>
                    </a:lnTo>
                    <a:lnTo>
                      <a:pt x="570" y="420"/>
                    </a:lnTo>
                    <a:lnTo>
                      <a:pt x="510" y="510"/>
                    </a:lnTo>
                    <a:lnTo>
                      <a:pt x="420" y="360"/>
                    </a:lnTo>
                    <a:lnTo>
                      <a:pt x="240" y="450"/>
                    </a:lnTo>
                    <a:lnTo>
                      <a:pt x="300" y="270"/>
                    </a:lnTo>
                    <a:lnTo>
                      <a:pt x="150" y="420"/>
                    </a:lnTo>
                    <a:lnTo>
                      <a:pt x="180" y="300"/>
                    </a:lnTo>
                    <a:lnTo>
                      <a:pt x="30" y="360"/>
                    </a:lnTo>
                    <a:lnTo>
                      <a:pt x="0" y="510"/>
                    </a:lnTo>
                    <a:lnTo>
                      <a:pt x="180" y="210"/>
                    </a:lnTo>
                    <a:lnTo>
                      <a:pt x="60" y="120"/>
                    </a:lnTo>
                    <a:lnTo>
                      <a:pt x="0" y="210"/>
                    </a:lnTo>
                    <a:lnTo>
                      <a:pt x="0" y="0"/>
                    </a:lnTo>
                    <a:lnTo>
                      <a:pt x="180" y="30"/>
                    </a:lnTo>
                    <a:lnTo>
                      <a:pt x="270" y="120"/>
                    </a:lnTo>
                    <a:lnTo>
                      <a:pt x="390" y="150"/>
                    </a:lnTo>
                    <a:lnTo>
                      <a:pt x="540" y="9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3" name="Freeform 2512">
                <a:extLst>
                  <a:ext uri="{FF2B5EF4-FFF2-40B4-BE49-F238E27FC236}">
                    <a16:creationId xmlns:a16="http://schemas.microsoft.com/office/drawing/2014/main" xmlns="" id="{BFE34CC8-D34E-4EA3-BC20-57CB1B7559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6" y="2700"/>
                <a:ext cx="539" cy="360"/>
              </a:xfrm>
              <a:custGeom>
                <a:avLst/>
                <a:gdLst>
                  <a:gd name="T0" fmla="*/ 90 w 539"/>
                  <a:gd name="T1" fmla="*/ 360 h 360"/>
                  <a:gd name="T2" fmla="*/ 60 w 539"/>
                  <a:gd name="T3" fmla="*/ 150 h 360"/>
                  <a:gd name="T4" fmla="*/ 0 w 539"/>
                  <a:gd name="T5" fmla="*/ 0 h 360"/>
                  <a:gd name="T6" fmla="*/ 210 w 539"/>
                  <a:gd name="T7" fmla="*/ 90 h 360"/>
                  <a:gd name="T8" fmla="*/ 360 w 539"/>
                  <a:gd name="T9" fmla="*/ 180 h 360"/>
                  <a:gd name="T10" fmla="*/ 270 w 539"/>
                  <a:gd name="T11" fmla="*/ 270 h 360"/>
                  <a:gd name="T12" fmla="*/ 450 w 539"/>
                  <a:gd name="T13" fmla="*/ 330 h 360"/>
                  <a:gd name="T14" fmla="*/ 509 w 539"/>
                  <a:gd name="T15" fmla="*/ 210 h 360"/>
                  <a:gd name="T16" fmla="*/ 360 w 539"/>
                  <a:gd name="T17" fmla="*/ 60 h 360"/>
                  <a:gd name="T18" fmla="*/ 539 w 539"/>
                  <a:gd name="T19" fmla="*/ 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9" h="360">
                    <a:moveTo>
                      <a:pt x="90" y="360"/>
                    </a:moveTo>
                    <a:lnTo>
                      <a:pt x="60" y="150"/>
                    </a:lnTo>
                    <a:lnTo>
                      <a:pt x="0" y="0"/>
                    </a:lnTo>
                    <a:lnTo>
                      <a:pt x="210" y="90"/>
                    </a:lnTo>
                    <a:lnTo>
                      <a:pt x="360" y="180"/>
                    </a:lnTo>
                    <a:lnTo>
                      <a:pt x="270" y="270"/>
                    </a:lnTo>
                    <a:lnTo>
                      <a:pt x="450" y="330"/>
                    </a:lnTo>
                    <a:lnTo>
                      <a:pt x="509" y="210"/>
                    </a:lnTo>
                    <a:lnTo>
                      <a:pt x="360" y="60"/>
                    </a:lnTo>
                    <a:lnTo>
                      <a:pt x="53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4" name="Freeform 2513">
                <a:extLst>
                  <a:ext uri="{FF2B5EF4-FFF2-40B4-BE49-F238E27FC236}">
                    <a16:creationId xmlns:a16="http://schemas.microsoft.com/office/drawing/2014/main" xmlns="" id="{B7FE7D6A-C07A-4C29-8501-7526109E26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6" y="3120"/>
                <a:ext cx="360" cy="90"/>
              </a:xfrm>
              <a:custGeom>
                <a:avLst/>
                <a:gdLst>
                  <a:gd name="T0" fmla="*/ 360 w 360"/>
                  <a:gd name="T1" fmla="*/ 90 h 90"/>
                  <a:gd name="T2" fmla="*/ 90 w 360"/>
                  <a:gd name="T3" fmla="*/ 30 h 90"/>
                  <a:gd name="T4" fmla="*/ 0 w 360"/>
                  <a:gd name="T5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90">
                    <a:moveTo>
                      <a:pt x="360" y="90"/>
                    </a:moveTo>
                    <a:lnTo>
                      <a:pt x="9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5" name="Freeform 2514">
                <a:extLst>
                  <a:ext uri="{FF2B5EF4-FFF2-40B4-BE49-F238E27FC236}">
                    <a16:creationId xmlns:a16="http://schemas.microsoft.com/office/drawing/2014/main" xmlns="" id="{AD7F05CC-6F18-499D-8B88-DAA8A4AE69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2820"/>
                <a:ext cx="270" cy="240"/>
              </a:xfrm>
              <a:custGeom>
                <a:avLst/>
                <a:gdLst>
                  <a:gd name="T0" fmla="*/ 30 w 270"/>
                  <a:gd name="T1" fmla="*/ 240 h 240"/>
                  <a:gd name="T2" fmla="*/ 0 w 270"/>
                  <a:gd name="T3" fmla="*/ 90 h 240"/>
                  <a:gd name="T4" fmla="*/ 270 w 270"/>
                  <a:gd name="T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240">
                    <a:moveTo>
                      <a:pt x="30" y="240"/>
                    </a:moveTo>
                    <a:lnTo>
                      <a:pt x="0" y="90"/>
                    </a:lnTo>
                    <a:lnTo>
                      <a:pt x="27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6" name="Freeform 2515">
                <a:extLst>
                  <a:ext uri="{FF2B5EF4-FFF2-40B4-BE49-F238E27FC236}">
                    <a16:creationId xmlns:a16="http://schemas.microsoft.com/office/drawing/2014/main" xmlns="" id="{D56011FC-231A-4F65-893E-058D81B552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90"/>
                <a:ext cx="210" cy="240"/>
              </a:xfrm>
              <a:custGeom>
                <a:avLst/>
                <a:gdLst>
                  <a:gd name="T0" fmla="*/ 0 w 210"/>
                  <a:gd name="T1" fmla="*/ 240 h 240"/>
                  <a:gd name="T2" fmla="*/ 150 w 210"/>
                  <a:gd name="T3" fmla="*/ 210 h 240"/>
                  <a:gd name="T4" fmla="*/ 120 w 210"/>
                  <a:gd name="T5" fmla="*/ 0 h 240"/>
                  <a:gd name="T6" fmla="*/ 210 w 210"/>
                  <a:gd name="T7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0" h="240">
                    <a:moveTo>
                      <a:pt x="0" y="240"/>
                    </a:moveTo>
                    <a:lnTo>
                      <a:pt x="150" y="210"/>
                    </a:lnTo>
                    <a:lnTo>
                      <a:pt x="120" y="0"/>
                    </a:lnTo>
                    <a:lnTo>
                      <a:pt x="21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7" name="Freeform 2516">
                <a:extLst>
                  <a:ext uri="{FF2B5EF4-FFF2-40B4-BE49-F238E27FC236}">
                    <a16:creationId xmlns:a16="http://schemas.microsoft.com/office/drawing/2014/main" xmlns="" id="{F408D078-7200-44BE-B12B-F70593C6D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2190"/>
                <a:ext cx="510" cy="630"/>
              </a:xfrm>
              <a:custGeom>
                <a:avLst/>
                <a:gdLst>
                  <a:gd name="T0" fmla="*/ 270 w 510"/>
                  <a:gd name="T1" fmla="*/ 450 h 630"/>
                  <a:gd name="T2" fmla="*/ 0 w 510"/>
                  <a:gd name="T3" fmla="*/ 390 h 630"/>
                  <a:gd name="T4" fmla="*/ 30 w 510"/>
                  <a:gd name="T5" fmla="*/ 300 h 630"/>
                  <a:gd name="T6" fmla="*/ 210 w 510"/>
                  <a:gd name="T7" fmla="*/ 330 h 630"/>
                  <a:gd name="T8" fmla="*/ 150 w 510"/>
                  <a:gd name="T9" fmla="*/ 120 h 630"/>
                  <a:gd name="T10" fmla="*/ 90 w 510"/>
                  <a:gd name="T11" fmla="*/ 210 h 630"/>
                  <a:gd name="T12" fmla="*/ 60 w 510"/>
                  <a:gd name="T13" fmla="*/ 120 h 630"/>
                  <a:gd name="T14" fmla="*/ 180 w 510"/>
                  <a:gd name="T15" fmla="*/ 0 h 630"/>
                  <a:gd name="T16" fmla="*/ 300 w 510"/>
                  <a:gd name="T17" fmla="*/ 120 h 630"/>
                  <a:gd name="T18" fmla="*/ 510 w 510"/>
                  <a:gd name="T19" fmla="*/ 150 h 630"/>
                  <a:gd name="T20" fmla="*/ 330 w 510"/>
                  <a:gd name="T21" fmla="*/ 300 h 630"/>
                  <a:gd name="T22" fmla="*/ 270 w 510"/>
                  <a:gd name="T23" fmla="*/ 450 h 630"/>
                  <a:gd name="T24" fmla="*/ 30 w 510"/>
                  <a:gd name="T25" fmla="*/ 510 h 630"/>
                  <a:gd name="T26" fmla="*/ 300 w 510"/>
                  <a:gd name="T27" fmla="*/ 120 h 630"/>
                  <a:gd name="T28" fmla="*/ 30 w 510"/>
                  <a:gd name="T29" fmla="*/ 300 h 630"/>
                  <a:gd name="T30" fmla="*/ 90 w 510"/>
                  <a:gd name="T31" fmla="*/ 210 h 630"/>
                  <a:gd name="T32" fmla="*/ 330 w 510"/>
                  <a:gd name="T33" fmla="*/ 300 h 630"/>
                  <a:gd name="T34" fmla="*/ 210 w 510"/>
                  <a:gd name="T35" fmla="*/ 330 h 630"/>
                  <a:gd name="T36" fmla="*/ 270 w 510"/>
                  <a:gd name="T37" fmla="*/ 450 h 630"/>
                  <a:gd name="T38" fmla="*/ 210 w 510"/>
                  <a:gd name="T39" fmla="*/ 540 h 630"/>
                  <a:gd name="T40" fmla="*/ 90 w 510"/>
                  <a:gd name="T41" fmla="*/ 63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0" h="630">
                    <a:moveTo>
                      <a:pt x="270" y="450"/>
                    </a:moveTo>
                    <a:lnTo>
                      <a:pt x="0" y="390"/>
                    </a:lnTo>
                    <a:lnTo>
                      <a:pt x="30" y="300"/>
                    </a:lnTo>
                    <a:lnTo>
                      <a:pt x="210" y="330"/>
                    </a:lnTo>
                    <a:lnTo>
                      <a:pt x="150" y="120"/>
                    </a:lnTo>
                    <a:lnTo>
                      <a:pt x="90" y="210"/>
                    </a:lnTo>
                    <a:lnTo>
                      <a:pt x="60" y="120"/>
                    </a:lnTo>
                    <a:lnTo>
                      <a:pt x="180" y="0"/>
                    </a:lnTo>
                    <a:lnTo>
                      <a:pt x="300" y="120"/>
                    </a:lnTo>
                    <a:lnTo>
                      <a:pt x="510" y="150"/>
                    </a:lnTo>
                    <a:lnTo>
                      <a:pt x="330" y="300"/>
                    </a:lnTo>
                    <a:lnTo>
                      <a:pt x="270" y="450"/>
                    </a:lnTo>
                    <a:lnTo>
                      <a:pt x="30" y="510"/>
                    </a:lnTo>
                    <a:lnTo>
                      <a:pt x="300" y="120"/>
                    </a:lnTo>
                    <a:lnTo>
                      <a:pt x="30" y="300"/>
                    </a:lnTo>
                    <a:lnTo>
                      <a:pt x="90" y="210"/>
                    </a:lnTo>
                    <a:lnTo>
                      <a:pt x="330" y="300"/>
                    </a:lnTo>
                    <a:lnTo>
                      <a:pt x="210" y="330"/>
                    </a:lnTo>
                    <a:lnTo>
                      <a:pt x="270" y="450"/>
                    </a:lnTo>
                    <a:lnTo>
                      <a:pt x="210" y="540"/>
                    </a:lnTo>
                    <a:lnTo>
                      <a:pt x="90" y="6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8" name="Freeform 2517">
                <a:extLst>
                  <a:ext uri="{FF2B5EF4-FFF2-40B4-BE49-F238E27FC236}">
                    <a16:creationId xmlns:a16="http://schemas.microsoft.com/office/drawing/2014/main" xmlns="" id="{5709CBE7-662C-4D12-AE0B-F37BE4E15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2190"/>
                <a:ext cx="420" cy="480"/>
              </a:xfrm>
              <a:custGeom>
                <a:avLst/>
                <a:gdLst>
                  <a:gd name="T0" fmla="*/ 420 w 420"/>
                  <a:gd name="T1" fmla="*/ 150 h 480"/>
                  <a:gd name="T2" fmla="*/ 120 w 420"/>
                  <a:gd name="T3" fmla="*/ 0 h 480"/>
                  <a:gd name="T4" fmla="*/ 0 w 420"/>
                  <a:gd name="T5" fmla="*/ 120 h 480"/>
                  <a:gd name="T6" fmla="*/ 240 w 420"/>
                  <a:gd name="T7" fmla="*/ 300 h 480"/>
                  <a:gd name="T8" fmla="*/ 120 w 420"/>
                  <a:gd name="T9" fmla="*/ 360 h 480"/>
                  <a:gd name="T10" fmla="*/ 210 w 420"/>
                  <a:gd name="T11" fmla="*/ 48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0" h="480">
                    <a:moveTo>
                      <a:pt x="420" y="150"/>
                    </a:moveTo>
                    <a:lnTo>
                      <a:pt x="120" y="0"/>
                    </a:lnTo>
                    <a:lnTo>
                      <a:pt x="0" y="120"/>
                    </a:lnTo>
                    <a:lnTo>
                      <a:pt x="240" y="300"/>
                    </a:lnTo>
                    <a:lnTo>
                      <a:pt x="120" y="360"/>
                    </a:lnTo>
                    <a:lnTo>
                      <a:pt x="210" y="4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9" name="Freeform 2518">
                <a:extLst>
                  <a:ext uri="{FF2B5EF4-FFF2-40B4-BE49-F238E27FC236}">
                    <a16:creationId xmlns:a16="http://schemas.microsoft.com/office/drawing/2014/main" xmlns="" id="{354420E3-99C4-4AFE-80BA-483FA3699A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1620"/>
                <a:ext cx="420" cy="690"/>
              </a:xfrm>
              <a:custGeom>
                <a:avLst/>
                <a:gdLst>
                  <a:gd name="T0" fmla="*/ 240 w 420"/>
                  <a:gd name="T1" fmla="*/ 690 h 690"/>
                  <a:gd name="T2" fmla="*/ 210 w 420"/>
                  <a:gd name="T3" fmla="*/ 540 h 690"/>
                  <a:gd name="T4" fmla="*/ 150 w 420"/>
                  <a:gd name="T5" fmla="*/ 270 h 690"/>
                  <a:gd name="T6" fmla="*/ 60 w 420"/>
                  <a:gd name="T7" fmla="*/ 0 h 690"/>
                  <a:gd name="T8" fmla="*/ 0 w 420"/>
                  <a:gd name="T9" fmla="*/ 180 h 690"/>
                  <a:gd name="T10" fmla="*/ 150 w 420"/>
                  <a:gd name="T11" fmla="*/ 270 h 690"/>
                  <a:gd name="T12" fmla="*/ 330 w 420"/>
                  <a:gd name="T13" fmla="*/ 390 h 690"/>
                  <a:gd name="T14" fmla="*/ 270 w 420"/>
                  <a:gd name="T15" fmla="*/ 180 h 690"/>
                  <a:gd name="T16" fmla="*/ 420 w 420"/>
                  <a:gd name="T17" fmla="*/ 300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690">
                    <a:moveTo>
                      <a:pt x="240" y="690"/>
                    </a:moveTo>
                    <a:lnTo>
                      <a:pt x="210" y="540"/>
                    </a:lnTo>
                    <a:lnTo>
                      <a:pt x="150" y="270"/>
                    </a:lnTo>
                    <a:lnTo>
                      <a:pt x="60" y="0"/>
                    </a:lnTo>
                    <a:lnTo>
                      <a:pt x="0" y="180"/>
                    </a:lnTo>
                    <a:lnTo>
                      <a:pt x="150" y="270"/>
                    </a:lnTo>
                    <a:lnTo>
                      <a:pt x="330" y="390"/>
                    </a:lnTo>
                    <a:lnTo>
                      <a:pt x="270" y="180"/>
                    </a:lnTo>
                    <a:lnTo>
                      <a:pt x="42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0" name="Freeform 2519">
                <a:extLst>
                  <a:ext uri="{FF2B5EF4-FFF2-40B4-BE49-F238E27FC236}">
                    <a16:creationId xmlns:a16="http://schemas.microsoft.com/office/drawing/2014/main" xmlns="" id="{37A4CDDC-561B-4CD3-8A04-09AA347C13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6" y="2010"/>
                <a:ext cx="420" cy="180"/>
              </a:xfrm>
              <a:custGeom>
                <a:avLst/>
                <a:gdLst>
                  <a:gd name="T0" fmla="*/ 210 w 420"/>
                  <a:gd name="T1" fmla="*/ 150 h 180"/>
                  <a:gd name="T2" fmla="*/ 0 w 420"/>
                  <a:gd name="T3" fmla="*/ 0 h 180"/>
                  <a:gd name="T4" fmla="*/ 30 w 420"/>
                  <a:gd name="T5" fmla="*/ 180 h 180"/>
                  <a:gd name="T6" fmla="*/ 243 w 420"/>
                  <a:gd name="T7" fmla="*/ 3 h 180"/>
                  <a:gd name="T8" fmla="*/ 390 w 420"/>
                  <a:gd name="T9" fmla="*/ 120 h 180"/>
                  <a:gd name="T10" fmla="*/ 420 w 420"/>
                  <a:gd name="T11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0" h="180">
                    <a:moveTo>
                      <a:pt x="210" y="150"/>
                    </a:moveTo>
                    <a:lnTo>
                      <a:pt x="0" y="0"/>
                    </a:lnTo>
                    <a:lnTo>
                      <a:pt x="30" y="180"/>
                    </a:lnTo>
                    <a:lnTo>
                      <a:pt x="243" y="3"/>
                    </a:lnTo>
                    <a:lnTo>
                      <a:pt x="390" y="120"/>
                    </a:lnTo>
                    <a:lnTo>
                      <a:pt x="42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1" name="Line 2520">
                <a:extLst>
                  <a:ext uri="{FF2B5EF4-FFF2-40B4-BE49-F238E27FC236}">
                    <a16:creationId xmlns:a16="http://schemas.microsoft.com/office/drawing/2014/main" xmlns="" id="{55D3A273-7976-4321-ADC2-6CC1D1432F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96" y="2190"/>
                <a:ext cx="0" cy="3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2" name="Line 2521">
                <a:extLst>
                  <a:ext uri="{FF2B5EF4-FFF2-40B4-BE49-F238E27FC236}">
                    <a16:creationId xmlns:a16="http://schemas.microsoft.com/office/drawing/2014/main" xmlns="" id="{9D4F8BA0-7ABB-4CBD-9424-051A138A15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426" y="2310"/>
                <a:ext cx="39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3" name="Freeform 2522">
                <a:extLst>
                  <a:ext uri="{FF2B5EF4-FFF2-40B4-BE49-F238E27FC236}">
                    <a16:creationId xmlns:a16="http://schemas.microsoft.com/office/drawing/2014/main" xmlns="" id="{633F8ACE-7940-42AB-B798-5DC9B87987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950"/>
                <a:ext cx="180" cy="360"/>
              </a:xfrm>
              <a:custGeom>
                <a:avLst/>
                <a:gdLst>
                  <a:gd name="T0" fmla="*/ 180 w 180"/>
                  <a:gd name="T1" fmla="*/ 240 h 360"/>
                  <a:gd name="T2" fmla="*/ 0 w 180"/>
                  <a:gd name="T3" fmla="*/ 210 h 360"/>
                  <a:gd name="T4" fmla="*/ 60 w 180"/>
                  <a:gd name="T5" fmla="*/ 360 h 360"/>
                  <a:gd name="T6" fmla="*/ 180 w 180"/>
                  <a:gd name="T7" fmla="*/ 90 h 360"/>
                  <a:gd name="T8" fmla="*/ 90 w 180"/>
                  <a:gd name="T9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360">
                    <a:moveTo>
                      <a:pt x="180" y="240"/>
                    </a:moveTo>
                    <a:lnTo>
                      <a:pt x="0" y="210"/>
                    </a:lnTo>
                    <a:lnTo>
                      <a:pt x="60" y="360"/>
                    </a:lnTo>
                    <a:lnTo>
                      <a:pt x="180" y="90"/>
                    </a:lnTo>
                    <a:lnTo>
                      <a:pt x="9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4" name="Line 2523">
                <a:extLst>
                  <a:ext uri="{FF2B5EF4-FFF2-40B4-BE49-F238E27FC236}">
                    <a16:creationId xmlns:a16="http://schemas.microsoft.com/office/drawing/2014/main" xmlns="" id="{FAE5ED8C-2B67-4AA2-8187-9F9EFE2125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276" y="2040"/>
                <a:ext cx="18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5" name="Freeform 2524">
                <a:extLst>
                  <a:ext uri="{FF2B5EF4-FFF2-40B4-BE49-F238E27FC236}">
                    <a16:creationId xmlns:a16="http://schemas.microsoft.com/office/drawing/2014/main" xmlns="" id="{7C4482DA-292E-4F59-81E8-299CCFFCD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6" y="1260"/>
                <a:ext cx="180" cy="330"/>
              </a:xfrm>
              <a:custGeom>
                <a:avLst/>
                <a:gdLst>
                  <a:gd name="T0" fmla="*/ 60 w 180"/>
                  <a:gd name="T1" fmla="*/ 0 h 330"/>
                  <a:gd name="T2" fmla="*/ 180 w 180"/>
                  <a:gd name="T3" fmla="*/ 30 h 330"/>
                  <a:gd name="T4" fmla="*/ 0 w 180"/>
                  <a:gd name="T5" fmla="*/ 120 h 330"/>
                  <a:gd name="T6" fmla="*/ 180 w 180"/>
                  <a:gd name="T7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60" y="0"/>
                    </a:moveTo>
                    <a:lnTo>
                      <a:pt x="180" y="30"/>
                    </a:lnTo>
                    <a:lnTo>
                      <a:pt x="0" y="120"/>
                    </a:lnTo>
                    <a:lnTo>
                      <a:pt x="18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6" name="Freeform 2525">
                <a:extLst>
                  <a:ext uri="{FF2B5EF4-FFF2-40B4-BE49-F238E27FC236}">
                    <a16:creationId xmlns:a16="http://schemas.microsoft.com/office/drawing/2014/main" xmlns="" id="{941F5C55-B82E-4F18-87A6-0F7B0F830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1530"/>
                <a:ext cx="180" cy="150"/>
              </a:xfrm>
              <a:custGeom>
                <a:avLst/>
                <a:gdLst>
                  <a:gd name="T0" fmla="*/ 60 w 180"/>
                  <a:gd name="T1" fmla="*/ 0 h 150"/>
                  <a:gd name="T2" fmla="*/ 180 w 180"/>
                  <a:gd name="T3" fmla="*/ 150 h 150"/>
                  <a:gd name="T4" fmla="*/ 0 w 180"/>
                  <a:gd name="T5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60" y="0"/>
                    </a:moveTo>
                    <a:lnTo>
                      <a:pt x="180" y="150"/>
                    </a:lnTo>
                    <a:lnTo>
                      <a:pt x="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7" name="Freeform 2526">
                <a:extLst>
                  <a:ext uri="{FF2B5EF4-FFF2-40B4-BE49-F238E27FC236}">
                    <a16:creationId xmlns:a16="http://schemas.microsoft.com/office/drawing/2014/main" xmlns="" id="{4568AD27-4896-4288-9782-2E93684E6A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110"/>
                <a:ext cx="690" cy="300"/>
              </a:xfrm>
              <a:custGeom>
                <a:avLst/>
                <a:gdLst>
                  <a:gd name="T0" fmla="*/ 330 w 690"/>
                  <a:gd name="T1" fmla="*/ 270 h 300"/>
                  <a:gd name="T2" fmla="*/ 240 w 690"/>
                  <a:gd name="T3" fmla="*/ 150 h 300"/>
                  <a:gd name="T4" fmla="*/ 180 w 690"/>
                  <a:gd name="T5" fmla="*/ 300 h 300"/>
                  <a:gd name="T6" fmla="*/ 0 w 690"/>
                  <a:gd name="T7" fmla="*/ 210 h 300"/>
                  <a:gd name="T8" fmla="*/ 60 w 690"/>
                  <a:gd name="T9" fmla="*/ 90 h 300"/>
                  <a:gd name="T10" fmla="*/ 240 w 690"/>
                  <a:gd name="T11" fmla="*/ 150 h 300"/>
                  <a:gd name="T12" fmla="*/ 360 w 690"/>
                  <a:gd name="T13" fmla="*/ 30 h 300"/>
                  <a:gd name="T14" fmla="*/ 390 w 690"/>
                  <a:gd name="T15" fmla="*/ 150 h 300"/>
                  <a:gd name="T16" fmla="*/ 480 w 690"/>
                  <a:gd name="T17" fmla="*/ 30 h 300"/>
                  <a:gd name="T18" fmla="*/ 690 w 690"/>
                  <a:gd name="T19" fmla="*/ 120 h 300"/>
                  <a:gd name="T20" fmla="*/ 600 w 690"/>
                  <a:gd name="T21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0" h="300">
                    <a:moveTo>
                      <a:pt x="330" y="270"/>
                    </a:moveTo>
                    <a:lnTo>
                      <a:pt x="240" y="150"/>
                    </a:lnTo>
                    <a:lnTo>
                      <a:pt x="180" y="300"/>
                    </a:lnTo>
                    <a:lnTo>
                      <a:pt x="0" y="210"/>
                    </a:lnTo>
                    <a:lnTo>
                      <a:pt x="60" y="90"/>
                    </a:lnTo>
                    <a:lnTo>
                      <a:pt x="240" y="150"/>
                    </a:lnTo>
                    <a:lnTo>
                      <a:pt x="360" y="30"/>
                    </a:lnTo>
                    <a:lnTo>
                      <a:pt x="390" y="150"/>
                    </a:lnTo>
                    <a:lnTo>
                      <a:pt x="480" y="30"/>
                    </a:lnTo>
                    <a:lnTo>
                      <a:pt x="690" y="120"/>
                    </a:lnTo>
                    <a:lnTo>
                      <a:pt x="60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8" name="Freeform 2527">
                <a:extLst>
                  <a:ext uri="{FF2B5EF4-FFF2-40B4-BE49-F238E27FC236}">
                    <a16:creationId xmlns:a16="http://schemas.microsoft.com/office/drawing/2014/main" xmlns="" id="{25847310-7E94-4C50-9437-764091E5C7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600"/>
                <a:ext cx="480" cy="600"/>
              </a:xfrm>
              <a:custGeom>
                <a:avLst/>
                <a:gdLst>
                  <a:gd name="T0" fmla="*/ 60 w 480"/>
                  <a:gd name="T1" fmla="*/ 480 h 600"/>
                  <a:gd name="T2" fmla="*/ 180 w 480"/>
                  <a:gd name="T3" fmla="*/ 540 h 600"/>
                  <a:gd name="T4" fmla="*/ 300 w 480"/>
                  <a:gd name="T5" fmla="*/ 420 h 600"/>
                  <a:gd name="T6" fmla="*/ 330 w 480"/>
                  <a:gd name="T7" fmla="*/ 180 h 600"/>
                  <a:gd name="T8" fmla="*/ 390 w 480"/>
                  <a:gd name="T9" fmla="*/ 300 h 600"/>
                  <a:gd name="T10" fmla="*/ 480 w 480"/>
                  <a:gd name="T11" fmla="*/ 210 h 600"/>
                  <a:gd name="T12" fmla="*/ 420 w 480"/>
                  <a:gd name="T13" fmla="*/ 60 h 600"/>
                  <a:gd name="T14" fmla="*/ 300 w 480"/>
                  <a:gd name="T15" fmla="*/ 60 h 600"/>
                  <a:gd name="T16" fmla="*/ 210 w 480"/>
                  <a:gd name="T17" fmla="*/ 0 h 600"/>
                  <a:gd name="T18" fmla="*/ 150 w 480"/>
                  <a:gd name="T19" fmla="*/ 90 h 600"/>
                  <a:gd name="T20" fmla="*/ 180 w 480"/>
                  <a:gd name="T21" fmla="*/ 270 h 600"/>
                  <a:gd name="T22" fmla="*/ 30 w 480"/>
                  <a:gd name="T23" fmla="*/ 150 h 600"/>
                  <a:gd name="T24" fmla="*/ 0 w 480"/>
                  <a:gd name="T25" fmla="*/ 300 h 600"/>
                  <a:gd name="T26" fmla="*/ 120 w 480"/>
                  <a:gd name="T27" fmla="*/ 390 h 600"/>
                  <a:gd name="T28" fmla="*/ 60 w 480"/>
                  <a:gd name="T29" fmla="*/ 480 h 600"/>
                  <a:gd name="T30" fmla="*/ 60 w 480"/>
                  <a:gd name="T31" fmla="*/ 60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0" h="600">
                    <a:moveTo>
                      <a:pt x="60" y="480"/>
                    </a:moveTo>
                    <a:lnTo>
                      <a:pt x="180" y="540"/>
                    </a:lnTo>
                    <a:lnTo>
                      <a:pt x="300" y="420"/>
                    </a:lnTo>
                    <a:lnTo>
                      <a:pt x="330" y="180"/>
                    </a:lnTo>
                    <a:lnTo>
                      <a:pt x="390" y="300"/>
                    </a:lnTo>
                    <a:lnTo>
                      <a:pt x="480" y="210"/>
                    </a:lnTo>
                    <a:lnTo>
                      <a:pt x="420" y="60"/>
                    </a:lnTo>
                    <a:lnTo>
                      <a:pt x="300" y="60"/>
                    </a:lnTo>
                    <a:lnTo>
                      <a:pt x="210" y="0"/>
                    </a:lnTo>
                    <a:lnTo>
                      <a:pt x="150" y="90"/>
                    </a:lnTo>
                    <a:lnTo>
                      <a:pt x="180" y="270"/>
                    </a:lnTo>
                    <a:lnTo>
                      <a:pt x="30" y="150"/>
                    </a:lnTo>
                    <a:lnTo>
                      <a:pt x="0" y="300"/>
                    </a:lnTo>
                    <a:lnTo>
                      <a:pt x="120" y="390"/>
                    </a:lnTo>
                    <a:lnTo>
                      <a:pt x="60" y="480"/>
                    </a:lnTo>
                    <a:lnTo>
                      <a:pt x="60" y="6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9" name="Freeform 2528">
                <a:extLst>
                  <a:ext uri="{FF2B5EF4-FFF2-40B4-BE49-F238E27FC236}">
                    <a16:creationId xmlns:a16="http://schemas.microsoft.com/office/drawing/2014/main" xmlns="" id="{A7545D2F-E4DF-4F0C-AD9B-28321A7E07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450"/>
                <a:ext cx="90" cy="240"/>
              </a:xfrm>
              <a:custGeom>
                <a:avLst/>
                <a:gdLst>
                  <a:gd name="T0" fmla="*/ 0 w 90"/>
                  <a:gd name="T1" fmla="*/ 120 h 240"/>
                  <a:gd name="T2" fmla="*/ 90 w 90"/>
                  <a:gd name="T3" fmla="*/ 240 h 240"/>
                  <a:gd name="T4" fmla="*/ 60 w 90"/>
                  <a:gd name="T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240">
                    <a:moveTo>
                      <a:pt x="0" y="120"/>
                    </a:moveTo>
                    <a:lnTo>
                      <a:pt x="90" y="240"/>
                    </a:lnTo>
                    <a:lnTo>
                      <a:pt x="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0" name="Freeform 2529">
                <a:extLst>
                  <a:ext uri="{FF2B5EF4-FFF2-40B4-BE49-F238E27FC236}">
                    <a16:creationId xmlns:a16="http://schemas.microsoft.com/office/drawing/2014/main" xmlns="" id="{099591AD-98FA-4887-B4E4-2B9758E6B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6" y="690"/>
                <a:ext cx="180" cy="330"/>
              </a:xfrm>
              <a:custGeom>
                <a:avLst/>
                <a:gdLst>
                  <a:gd name="T0" fmla="*/ 180 w 180"/>
                  <a:gd name="T1" fmla="*/ 90 h 330"/>
                  <a:gd name="T2" fmla="*/ 30 w 180"/>
                  <a:gd name="T3" fmla="*/ 180 h 330"/>
                  <a:gd name="T4" fmla="*/ 150 w 180"/>
                  <a:gd name="T5" fmla="*/ 330 h 330"/>
                  <a:gd name="T6" fmla="*/ 0 w 180"/>
                  <a:gd name="T7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180" y="90"/>
                    </a:moveTo>
                    <a:lnTo>
                      <a:pt x="30" y="180"/>
                    </a:lnTo>
                    <a:lnTo>
                      <a:pt x="150" y="3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1" name="Freeform 2530">
                <a:extLst>
                  <a:ext uri="{FF2B5EF4-FFF2-40B4-BE49-F238E27FC236}">
                    <a16:creationId xmlns:a16="http://schemas.microsoft.com/office/drawing/2014/main" xmlns="" id="{73D51C8C-7161-4667-B936-D9E287074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900"/>
                <a:ext cx="210" cy="240"/>
              </a:xfrm>
              <a:custGeom>
                <a:avLst/>
                <a:gdLst>
                  <a:gd name="T0" fmla="*/ 90 w 210"/>
                  <a:gd name="T1" fmla="*/ 0 h 240"/>
                  <a:gd name="T2" fmla="*/ 60 w 210"/>
                  <a:gd name="T3" fmla="*/ 240 h 240"/>
                  <a:gd name="T4" fmla="*/ 0 w 210"/>
                  <a:gd name="T5" fmla="*/ 120 h 240"/>
                  <a:gd name="T6" fmla="*/ 180 w 210"/>
                  <a:gd name="T7" fmla="*/ 240 h 240"/>
                  <a:gd name="T8" fmla="*/ 210 w 210"/>
                  <a:gd name="T9" fmla="*/ 60 h 240"/>
                  <a:gd name="T10" fmla="*/ 90 w 210"/>
                  <a:gd name="T11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0" h="240">
                    <a:moveTo>
                      <a:pt x="90" y="0"/>
                    </a:moveTo>
                    <a:lnTo>
                      <a:pt x="60" y="240"/>
                    </a:lnTo>
                    <a:lnTo>
                      <a:pt x="0" y="120"/>
                    </a:lnTo>
                    <a:lnTo>
                      <a:pt x="180" y="240"/>
                    </a:lnTo>
                    <a:lnTo>
                      <a:pt x="210" y="60"/>
                    </a:lnTo>
                    <a:lnTo>
                      <a:pt x="9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2" name="Line 2531">
                <a:extLst>
                  <a:ext uri="{FF2B5EF4-FFF2-40B4-BE49-F238E27FC236}">
                    <a16:creationId xmlns:a16="http://schemas.microsoft.com/office/drawing/2014/main" xmlns="" id="{9E32CCDD-2F31-4FB0-B95B-44FC3119C8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576" y="960"/>
                <a:ext cx="21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3" name="Freeform 2532">
                <a:extLst>
                  <a:ext uri="{FF2B5EF4-FFF2-40B4-BE49-F238E27FC236}">
                    <a16:creationId xmlns:a16="http://schemas.microsoft.com/office/drawing/2014/main" xmlns="" id="{0CC01CF7-743A-4172-AC29-D247F576C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990"/>
                <a:ext cx="360" cy="330"/>
              </a:xfrm>
              <a:custGeom>
                <a:avLst/>
                <a:gdLst>
                  <a:gd name="T0" fmla="*/ 120 w 360"/>
                  <a:gd name="T1" fmla="*/ 0 h 330"/>
                  <a:gd name="T2" fmla="*/ 360 w 360"/>
                  <a:gd name="T3" fmla="*/ 150 h 330"/>
                  <a:gd name="T4" fmla="*/ 180 w 360"/>
                  <a:gd name="T5" fmla="*/ 150 h 330"/>
                  <a:gd name="T6" fmla="*/ 240 w 360"/>
                  <a:gd name="T7" fmla="*/ 270 h 330"/>
                  <a:gd name="T8" fmla="*/ 0 w 360"/>
                  <a:gd name="T9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0" h="330">
                    <a:moveTo>
                      <a:pt x="120" y="0"/>
                    </a:moveTo>
                    <a:lnTo>
                      <a:pt x="360" y="150"/>
                    </a:lnTo>
                    <a:lnTo>
                      <a:pt x="180" y="150"/>
                    </a:lnTo>
                    <a:lnTo>
                      <a:pt x="240" y="270"/>
                    </a:lnTo>
                    <a:lnTo>
                      <a:pt x="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4" name="Line 2533">
                <a:extLst>
                  <a:ext uri="{FF2B5EF4-FFF2-40B4-BE49-F238E27FC236}">
                    <a16:creationId xmlns:a16="http://schemas.microsoft.com/office/drawing/2014/main" xmlns="" id="{2831E7E2-6F39-47E2-AAC0-5284361BA2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336" y="1140"/>
                <a:ext cx="120" cy="3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5" name="Freeform 2534">
                <a:extLst>
                  <a:ext uri="{FF2B5EF4-FFF2-40B4-BE49-F238E27FC236}">
                    <a16:creationId xmlns:a16="http://schemas.microsoft.com/office/drawing/2014/main" xmlns="" id="{4501E274-7DE6-4D23-B3BB-9C5AEF520A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1290"/>
                <a:ext cx="450" cy="600"/>
              </a:xfrm>
              <a:custGeom>
                <a:avLst/>
                <a:gdLst>
                  <a:gd name="T0" fmla="*/ 270 w 450"/>
                  <a:gd name="T1" fmla="*/ 510 h 600"/>
                  <a:gd name="T2" fmla="*/ 150 w 450"/>
                  <a:gd name="T3" fmla="*/ 600 h 600"/>
                  <a:gd name="T4" fmla="*/ 270 w 450"/>
                  <a:gd name="T5" fmla="*/ 90 h 600"/>
                  <a:gd name="T6" fmla="*/ 60 w 450"/>
                  <a:gd name="T7" fmla="*/ 330 h 600"/>
                  <a:gd name="T8" fmla="*/ 0 w 450"/>
                  <a:gd name="T9" fmla="*/ 210 h 600"/>
                  <a:gd name="T10" fmla="*/ 120 w 450"/>
                  <a:gd name="T11" fmla="*/ 120 h 600"/>
                  <a:gd name="T12" fmla="*/ 240 w 450"/>
                  <a:gd name="T13" fmla="*/ 390 h 600"/>
                  <a:gd name="T14" fmla="*/ 300 w 450"/>
                  <a:gd name="T15" fmla="*/ 240 h 600"/>
                  <a:gd name="T16" fmla="*/ 450 w 450"/>
                  <a:gd name="T17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0" h="600">
                    <a:moveTo>
                      <a:pt x="270" y="510"/>
                    </a:moveTo>
                    <a:lnTo>
                      <a:pt x="150" y="600"/>
                    </a:lnTo>
                    <a:lnTo>
                      <a:pt x="270" y="90"/>
                    </a:lnTo>
                    <a:lnTo>
                      <a:pt x="60" y="330"/>
                    </a:lnTo>
                    <a:lnTo>
                      <a:pt x="0" y="210"/>
                    </a:lnTo>
                    <a:lnTo>
                      <a:pt x="120" y="120"/>
                    </a:lnTo>
                    <a:lnTo>
                      <a:pt x="240" y="390"/>
                    </a:lnTo>
                    <a:lnTo>
                      <a:pt x="300" y="240"/>
                    </a:lnTo>
                    <a:lnTo>
                      <a:pt x="4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6" name="Freeform 2535">
                <a:extLst>
                  <a:ext uri="{FF2B5EF4-FFF2-40B4-BE49-F238E27FC236}">
                    <a16:creationId xmlns:a16="http://schemas.microsoft.com/office/drawing/2014/main" xmlns="" id="{65855E69-BFAC-4CA9-9B86-ABE93CAA15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60"/>
                <a:ext cx="390" cy="540"/>
              </a:xfrm>
              <a:custGeom>
                <a:avLst/>
                <a:gdLst>
                  <a:gd name="T0" fmla="*/ 90 w 390"/>
                  <a:gd name="T1" fmla="*/ 210 h 540"/>
                  <a:gd name="T2" fmla="*/ 270 w 390"/>
                  <a:gd name="T3" fmla="*/ 0 h 540"/>
                  <a:gd name="T4" fmla="*/ 390 w 390"/>
                  <a:gd name="T5" fmla="*/ 90 h 540"/>
                  <a:gd name="T6" fmla="*/ 360 w 390"/>
                  <a:gd name="T7" fmla="*/ 240 h 540"/>
                  <a:gd name="T8" fmla="*/ 270 w 390"/>
                  <a:gd name="T9" fmla="*/ 210 h 540"/>
                  <a:gd name="T10" fmla="*/ 60 w 390"/>
                  <a:gd name="T11" fmla="*/ 360 h 540"/>
                  <a:gd name="T12" fmla="*/ 90 w 390"/>
                  <a:gd name="T13" fmla="*/ 210 h 540"/>
                  <a:gd name="T14" fmla="*/ 240 w 390"/>
                  <a:gd name="T15" fmla="*/ 300 h 540"/>
                  <a:gd name="T16" fmla="*/ 0 w 390"/>
                  <a:gd name="T17" fmla="*/ 54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0" h="540">
                    <a:moveTo>
                      <a:pt x="90" y="210"/>
                    </a:moveTo>
                    <a:lnTo>
                      <a:pt x="270" y="0"/>
                    </a:lnTo>
                    <a:lnTo>
                      <a:pt x="390" y="90"/>
                    </a:lnTo>
                    <a:lnTo>
                      <a:pt x="360" y="240"/>
                    </a:lnTo>
                    <a:lnTo>
                      <a:pt x="270" y="210"/>
                    </a:lnTo>
                    <a:lnTo>
                      <a:pt x="60" y="360"/>
                    </a:lnTo>
                    <a:lnTo>
                      <a:pt x="90" y="210"/>
                    </a:lnTo>
                    <a:lnTo>
                      <a:pt x="240" y="300"/>
                    </a:lnTo>
                    <a:lnTo>
                      <a:pt x="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7" name="Line 2536">
                <a:extLst>
                  <a:ext uri="{FF2B5EF4-FFF2-40B4-BE49-F238E27FC236}">
                    <a16:creationId xmlns:a16="http://schemas.microsoft.com/office/drawing/2014/main" xmlns="" id="{9070869B-C1E4-4AC6-B5EF-F6CC723729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76" y="120"/>
                <a:ext cx="6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8" name="Freeform 2537">
                <a:extLst>
                  <a:ext uri="{FF2B5EF4-FFF2-40B4-BE49-F238E27FC236}">
                    <a16:creationId xmlns:a16="http://schemas.microsoft.com/office/drawing/2014/main" xmlns="" id="{61CFEBAB-E174-48BF-ABBF-F21C43910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420"/>
                <a:ext cx="300" cy="570"/>
              </a:xfrm>
              <a:custGeom>
                <a:avLst/>
                <a:gdLst>
                  <a:gd name="T0" fmla="*/ 90 w 300"/>
                  <a:gd name="T1" fmla="*/ 30 h 570"/>
                  <a:gd name="T2" fmla="*/ 240 w 300"/>
                  <a:gd name="T3" fmla="*/ 0 h 570"/>
                  <a:gd name="T4" fmla="*/ 180 w 300"/>
                  <a:gd name="T5" fmla="*/ 180 h 570"/>
                  <a:gd name="T6" fmla="*/ 90 w 300"/>
                  <a:gd name="T7" fmla="*/ 30 h 570"/>
                  <a:gd name="T8" fmla="*/ 30 w 300"/>
                  <a:gd name="T9" fmla="*/ 150 h 570"/>
                  <a:gd name="T10" fmla="*/ 0 w 300"/>
                  <a:gd name="T11" fmla="*/ 330 h 570"/>
                  <a:gd name="T12" fmla="*/ 90 w 300"/>
                  <a:gd name="T13" fmla="*/ 570 h 570"/>
                  <a:gd name="T14" fmla="*/ 150 w 300"/>
                  <a:gd name="T15" fmla="*/ 450 h 570"/>
                  <a:gd name="T16" fmla="*/ 270 w 300"/>
                  <a:gd name="T17" fmla="*/ 240 h 570"/>
                  <a:gd name="T18" fmla="*/ 300 w 300"/>
                  <a:gd name="T19" fmla="*/ 120 h 570"/>
                  <a:gd name="T20" fmla="*/ 240 w 300"/>
                  <a:gd name="T21" fmla="*/ 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0" h="570">
                    <a:moveTo>
                      <a:pt x="90" y="30"/>
                    </a:moveTo>
                    <a:lnTo>
                      <a:pt x="240" y="0"/>
                    </a:lnTo>
                    <a:lnTo>
                      <a:pt x="180" y="180"/>
                    </a:lnTo>
                    <a:lnTo>
                      <a:pt x="90" y="30"/>
                    </a:lnTo>
                    <a:lnTo>
                      <a:pt x="30" y="150"/>
                    </a:lnTo>
                    <a:lnTo>
                      <a:pt x="0" y="330"/>
                    </a:lnTo>
                    <a:lnTo>
                      <a:pt x="90" y="570"/>
                    </a:lnTo>
                    <a:lnTo>
                      <a:pt x="150" y="450"/>
                    </a:lnTo>
                    <a:lnTo>
                      <a:pt x="270" y="240"/>
                    </a:lnTo>
                    <a:lnTo>
                      <a:pt x="300" y="120"/>
                    </a:lnTo>
                    <a:lnTo>
                      <a:pt x="24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9" name="Freeform 2538">
                <a:extLst>
                  <a:ext uri="{FF2B5EF4-FFF2-40B4-BE49-F238E27FC236}">
                    <a16:creationId xmlns:a16="http://schemas.microsoft.com/office/drawing/2014/main" xmlns="" id="{B301EB76-9BA0-4DB0-ACEC-8A77286E0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300"/>
                <a:ext cx="150" cy="360"/>
              </a:xfrm>
              <a:custGeom>
                <a:avLst/>
                <a:gdLst>
                  <a:gd name="T0" fmla="*/ 0 w 150"/>
                  <a:gd name="T1" fmla="*/ 360 h 360"/>
                  <a:gd name="T2" fmla="*/ 30 w 150"/>
                  <a:gd name="T3" fmla="*/ 180 h 360"/>
                  <a:gd name="T4" fmla="*/ 150 w 150"/>
                  <a:gd name="T5" fmla="*/ 0 h 360"/>
                  <a:gd name="T6" fmla="*/ 30 w 150"/>
                  <a:gd name="T7" fmla="*/ 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0" h="360">
                    <a:moveTo>
                      <a:pt x="0" y="360"/>
                    </a:moveTo>
                    <a:lnTo>
                      <a:pt x="30" y="180"/>
                    </a:lnTo>
                    <a:lnTo>
                      <a:pt x="150" y="0"/>
                    </a:lnTo>
                    <a:lnTo>
                      <a:pt x="3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0" name="Freeform 2539">
                <a:extLst>
                  <a:ext uri="{FF2B5EF4-FFF2-40B4-BE49-F238E27FC236}">
                    <a16:creationId xmlns:a16="http://schemas.microsoft.com/office/drawing/2014/main" xmlns="" id="{9040ABAE-77D7-43E4-914D-22CB4376F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6" y="60"/>
                <a:ext cx="390" cy="240"/>
              </a:xfrm>
              <a:custGeom>
                <a:avLst/>
                <a:gdLst>
                  <a:gd name="T0" fmla="*/ 390 w 390"/>
                  <a:gd name="T1" fmla="*/ 210 h 240"/>
                  <a:gd name="T2" fmla="*/ 300 w 390"/>
                  <a:gd name="T3" fmla="*/ 0 h 240"/>
                  <a:gd name="T4" fmla="*/ 0 w 390"/>
                  <a:gd name="T5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0" h="240">
                    <a:moveTo>
                      <a:pt x="390" y="210"/>
                    </a:moveTo>
                    <a:lnTo>
                      <a:pt x="300" y="0"/>
                    </a:lnTo>
                    <a:lnTo>
                      <a:pt x="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1" name="Freeform 2540">
                <a:extLst>
                  <a:ext uri="{FF2B5EF4-FFF2-40B4-BE49-F238E27FC236}">
                    <a16:creationId xmlns:a16="http://schemas.microsoft.com/office/drawing/2014/main" xmlns="" id="{E327E3B3-81E0-4A20-918C-55CA9D4A3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2700"/>
                <a:ext cx="480" cy="360"/>
              </a:xfrm>
              <a:custGeom>
                <a:avLst/>
                <a:gdLst>
                  <a:gd name="T0" fmla="*/ 0 w 480"/>
                  <a:gd name="T1" fmla="*/ 300 h 360"/>
                  <a:gd name="T2" fmla="*/ 30 w 480"/>
                  <a:gd name="T3" fmla="*/ 150 h 360"/>
                  <a:gd name="T4" fmla="*/ 180 w 480"/>
                  <a:gd name="T5" fmla="*/ 360 h 360"/>
                  <a:gd name="T6" fmla="*/ 330 w 480"/>
                  <a:gd name="T7" fmla="*/ 300 h 360"/>
                  <a:gd name="T8" fmla="*/ 330 w 480"/>
                  <a:gd name="T9" fmla="*/ 210 h 360"/>
                  <a:gd name="T10" fmla="*/ 150 w 480"/>
                  <a:gd name="T11" fmla="*/ 210 h 360"/>
                  <a:gd name="T12" fmla="*/ 420 w 480"/>
                  <a:gd name="T13" fmla="*/ 120 h 360"/>
                  <a:gd name="T14" fmla="*/ 450 w 480"/>
                  <a:gd name="T15" fmla="*/ 270 h 360"/>
                  <a:gd name="T16" fmla="*/ 480 w 480"/>
                  <a:gd name="T1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0" h="360">
                    <a:moveTo>
                      <a:pt x="0" y="300"/>
                    </a:moveTo>
                    <a:lnTo>
                      <a:pt x="30" y="150"/>
                    </a:lnTo>
                    <a:lnTo>
                      <a:pt x="180" y="360"/>
                    </a:lnTo>
                    <a:lnTo>
                      <a:pt x="330" y="300"/>
                    </a:lnTo>
                    <a:lnTo>
                      <a:pt x="330" y="210"/>
                    </a:lnTo>
                    <a:lnTo>
                      <a:pt x="150" y="210"/>
                    </a:lnTo>
                    <a:lnTo>
                      <a:pt x="420" y="120"/>
                    </a:lnTo>
                    <a:lnTo>
                      <a:pt x="450" y="270"/>
                    </a:lnTo>
                    <a:lnTo>
                      <a:pt x="4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2" name="Freeform 2541">
                <a:extLst>
                  <a:ext uri="{FF2B5EF4-FFF2-40B4-BE49-F238E27FC236}">
                    <a16:creationId xmlns:a16="http://schemas.microsoft.com/office/drawing/2014/main" xmlns="" id="{E7902DDA-BD61-43E0-B090-59FE11167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1950"/>
                <a:ext cx="570" cy="1260"/>
              </a:xfrm>
              <a:custGeom>
                <a:avLst/>
                <a:gdLst>
                  <a:gd name="T0" fmla="*/ 540 w 570"/>
                  <a:gd name="T1" fmla="*/ 1200 h 1260"/>
                  <a:gd name="T2" fmla="*/ 300 w 570"/>
                  <a:gd name="T3" fmla="*/ 1260 h 1260"/>
                  <a:gd name="T4" fmla="*/ 210 w 570"/>
                  <a:gd name="T5" fmla="*/ 1170 h 1260"/>
                  <a:gd name="T6" fmla="*/ 90 w 570"/>
                  <a:gd name="T7" fmla="*/ 1140 h 1260"/>
                  <a:gd name="T8" fmla="*/ 0 w 570"/>
                  <a:gd name="T9" fmla="*/ 990 h 1260"/>
                  <a:gd name="T10" fmla="*/ 180 w 570"/>
                  <a:gd name="T11" fmla="*/ 900 h 1260"/>
                  <a:gd name="T12" fmla="*/ 180 w 570"/>
                  <a:gd name="T13" fmla="*/ 720 h 1260"/>
                  <a:gd name="T14" fmla="*/ 300 w 570"/>
                  <a:gd name="T15" fmla="*/ 960 h 1260"/>
                  <a:gd name="T16" fmla="*/ 300 w 570"/>
                  <a:gd name="T17" fmla="*/ 750 h 1260"/>
                  <a:gd name="T18" fmla="*/ 480 w 570"/>
                  <a:gd name="T19" fmla="*/ 570 h 1260"/>
                  <a:gd name="T20" fmla="*/ 270 w 570"/>
                  <a:gd name="T21" fmla="*/ 630 h 1260"/>
                  <a:gd name="T22" fmla="*/ 150 w 570"/>
                  <a:gd name="T23" fmla="*/ 600 h 1260"/>
                  <a:gd name="T24" fmla="*/ 360 w 570"/>
                  <a:gd name="T25" fmla="*/ 450 h 1260"/>
                  <a:gd name="T26" fmla="*/ 240 w 570"/>
                  <a:gd name="T27" fmla="*/ 300 h 1260"/>
                  <a:gd name="T28" fmla="*/ 120 w 570"/>
                  <a:gd name="T29" fmla="*/ 360 h 1260"/>
                  <a:gd name="T30" fmla="*/ 360 w 570"/>
                  <a:gd name="T31" fmla="*/ 0 h 1260"/>
                  <a:gd name="T32" fmla="*/ 450 w 570"/>
                  <a:gd name="T33" fmla="*/ 210 h 1260"/>
                  <a:gd name="T34" fmla="*/ 570 w 570"/>
                  <a:gd name="T35" fmla="*/ 60 h 1260"/>
                  <a:gd name="T36" fmla="*/ 540 w 570"/>
                  <a:gd name="T37" fmla="*/ 420 h 1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0" h="1260">
                    <a:moveTo>
                      <a:pt x="540" y="1200"/>
                    </a:moveTo>
                    <a:lnTo>
                      <a:pt x="300" y="1260"/>
                    </a:lnTo>
                    <a:lnTo>
                      <a:pt x="210" y="1170"/>
                    </a:lnTo>
                    <a:lnTo>
                      <a:pt x="90" y="1140"/>
                    </a:lnTo>
                    <a:lnTo>
                      <a:pt x="0" y="990"/>
                    </a:lnTo>
                    <a:lnTo>
                      <a:pt x="180" y="900"/>
                    </a:lnTo>
                    <a:lnTo>
                      <a:pt x="180" y="720"/>
                    </a:lnTo>
                    <a:lnTo>
                      <a:pt x="300" y="960"/>
                    </a:lnTo>
                    <a:lnTo>
                      <a:pt x="300" y="750"/>
                    </a:lnTo>
                    <a:lnTo>
                      <a:pt x="480" y="570"/>
                    </a:lnTo>
                    <a:lnTo>
                      <a:pt x="270" y="630"/>
                    </a:lnTo>
                    <a:lnTo>
                      <a:pt x="150" y="600"/>
                    </a:lnTo>
                    <a:lnTo>
                      <a:pt x="360" y="450"/>
                    </a:lnTo>
                    <a:lnTo>
                      <a:pt x="240" y="300"/>
                    </a:lnTo>
                    <a:lnTo>
                      <a:pt x="120" y="360"/>
                    </a:lnTo>
                    <a:lnTo>
                      <a:pt x="360" y="0"/>
                    </a:lnTo>
                    <a:lnTo>
                      <a:pt x="450" y="210"/>
                    </a:lnTo>
                    <a:lnTo>
                      <a:pt x="570" y="60"/>
                    </a:lnTo>
                    <a:lnTo>
                      <a:pt x="540" y="4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3" name="Freeform 2542">
                <a:extLst>
                  <a:ext uri="{FF2B5EF4-FFF2-40B4-BE49-F238E27FC236}">
                    <a16:creationId xmlns:a16="http://schemas.microsoft.com/office/drawing/2014/main" xmlns="" id="{07C9424A-BA75-4A52-AE7C-5C3A0C714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1890"/>
                <a:ext cx="869" cy="1320"/>
              </a:xfrm>
              <a:custGeom>
                <a:avLst/>
                <a:gdLst>
                  <a:gd name="T0" fmla="*/ 869 w 869"/>
                  <a:gd name="T1" fmla="*/ 660 h 1320"/>
                  <a:gd name="T2" fmla="*/ 839 w 869"/>
                  <a:gd name="T3" fmla="*/ 300 h 1320"/>
                  <a:gd name="T4" fmla="*/ 809 w 869"/>
                  <a:gd name="T5" fmla="*/ 120 h 1320"/>
                  <a:gd name="T6" fmla="*/ 719 w 869"/>
                  <a:gd name="T7" fmla="*/ 0 h 1320"/>
                  <a:gd name="T8" fmla="*/ 599 w 869"/>
                  <a:gd name="T9" fmla="*/ 60 h 1320"/>
                  <a:gd name="T10" fmla="*/ 599 w 869"/>
                  <a:gd name="T11" fmla="*/ 150 h 1320"/>
                  <a:gd name="T12" fmla="*/ 509 w 869"/>
                  <a:gd name="T13" fmla="*/ 270 h 1320"/>
                  <a:gd name="T14" fmla="*/ 479 w 869"/>
                  <a:gd name="T15" fmla="*/ 360 h 1320"/>
                  <a:gd name="T16" fmla="*/ 599 w 869"/>
                  <a:gd name="T17" fmla="*/ 300 h 1320"/>
                  <a:gd name="T18" fmla="*/ 689 w 869"/>
                  <a:gd name="T19" fmla="*/ 270 h 1320"/>
                  <a:gd name="T20" fmla="*/ 659 w 869"/>
                  <a:gd name="T21" fmla="*/ 420 h 1320"/>
                  <a:gd name="T22" fmla="*/ 779 w 869"/>
                  <a:gd name="T23" fmla="*/ 480 h 1320"/>
                  <a:gd name="T24" fmla="*/ 869 w 869"/>
                  <a:gd name="T25" fmla="*/ 660 h 1320"/>
                  <a:gd name="T26" fmla="*/ 719 w 869"/>
                  <a:gd name="T27" fmla="*/ 630 h 1320"/>
                  <a:gd name="T28" fmla="*/ 599 w 869"/>
                  <a:gd name="T29" fmla="*/ 510 h 1320"/>
                  <a:gd name="T30" fmla="*/ 539 w 869"/>
                  <a:gd name="T31" fmla="*/ 600 h 1320"/>
                  <a:gd name="T32" fmla="*/ 509 w 869"/>
                  <a:gd name="T33" fmla="*/ 690 h 1320"/>
                  <a:gd name="T34" fmla="*/ 539 w 869"/>
                  <a:gd name="T35" fmla="*/ 810 h 1320"/>
                  <a:gd name="T36" fmla="*/ 269 w 869"/>
                  <a:gd name="T37" fmla="*/ 870 h 1320"/>
                  <a:gd name="T38" fmla="*/ 419 w 869"/>
                  <a:gd name="T39" fmla="*/ 960 h 1320"/>
                  <a:gd name="T40" fmla="*/ 539 w 869"/>
                  <a:gd name="T41" fmla="*/ 1020 h 1320"/>
                  <a:gd name="T42" fmla="*/ 599 w 869"/>
                  <a:gd name="T43" fmla="*/ 930 h 1320"/>
                  <a:gd name="T44" fmla="*/ 719 w 869"/>
                  <a:gd name="T45" fmla="*/ 840 h 1320"/>
                  <a:gd name="T46" fmla="*/ 779 w 869"/>
                  <a:gd name="T47" fmla="*/ 750 h 1320"/>
                  <a:gd name="T48" fmla="*/ 869 w 869"/>
                  <a:gd name="T49" fmla="*/ 810 h 1320"/>
                  <a:gd name="T50" fmla="*/ 809 w 869"/>
                  <a:gd name="T51" fmla="*/ 930 h 1320"/>
                  <a:gd name="T52" fmla="*/ 719 w 869"/>
                  <a:gd name="T53" fmla="*/ 1020 h 1320"/>
                  <a:gd name="T54" fmla="*/ 839 w 869"/>
                  <a:gd name="T55" fmla="*/ 1080 h 1320"/>
                  <a:gd name="T56" fmla="*/ 719 w 869"/>
                  <a:gd name="T57" fmla="*/ 1110 h 1320"/>
                  <a:gd name="T58" fmla="*/ 779 w 869"/>
                  <a:gd name="T59" fmla="*/ 1260 h 1320"/>
                  <a:gd name="T60" fmla="*/ 689 w 869"/>
                  <a:gd name="T61" fmla="*/ 1230 h 1320"/>
                  <a:gd name="T62" fmla="*/ 539 w 869"/>
                  <a:gd name="T63" fmla="*/ 1320 h 1320"/>
                  <a:gd name="T64" fmla="*/ 569 w 869"/>
                  <a:gd name="T65" fmla="*/ 1170 h 1320"/>
                  <a:gd name="T66" fmla="*/ 449 w 869"/>
                  <a:gd name="T67" fmla="*/ 1230 h 1320"/>
                  <a:gd name="T68" fmla="*/ 389 w 869"/>
                  <a:gd name="T69" fmla="*/ 1110 h 1320"/>
                  <a:gd name="T70" fmla="*/ 329 w 869"/>
                  <a:gd name="T71" fmla="*/ 1200 h 1320"/>
                  <a:gd name="T72" fmla="*/ 299 w 869"/>
                  <a:gd name="T73" fmla="*/ 960 h 1320"/>
                  <a:gd name="T74" fmla="*/ 239 w 869"/>
                  <a:gd name="T75" fmla="*/ 1050 h 1320"/>
                  <a:gd name="T76" fmla="*/ 269 w 869"/>
                  <a:gd name="T77" fmla="*/ 870 h 1320"/>
                  <a:gd name="T78" fmla="*/ 419 w 869"/>
                  <a:gd name="T79" fmla="*/ 780 h 1320"/>
                  <a:gd name="T80" fmla="*/ 239 w 869"/>
                  <a:gd name="T81" fmla="*/ 690 h 1320"/>
                  <a:gd name="T82" fmla="*/ 269 w 869"/>
                  <a:gd name="T83" fmla="*/ 870 h 1320"/>
                  <a:gd name="T84" fmla="*/ 389 w 869"/>
                  <a:gd name="T85" fmla="*/ 660 h 1320"/>
                  <a:gd name="T86" fmla="*/ 419 w 869"/>
                  <a:gd name="T87" fmla="*/ 540 h 1320"/>
                  <a:gd name="T88" fmla="*/ 359 w 869"/>
                  <a:gd name="T89" fmla="*/ 420 h 1320"/>
                  <a:gd name="T90" fmla="*/ 389 w 869"/>
                  <a:gd name="T91" fmla="*/ 270 h 1320"/>
                  <a:gd name="T92" fmla="*/ 239 w 869"/>
                  <a:gd name="T93" fmla="*/ 150 h 1320"/>
                  <a:gd name="T94" fmla="*/ 150 w 869"/>
                  <a:gd name="T95" fmla="*/ 270 h 1320"/>
                  <a:gd name="T96" fmla="*/ 0 w 869"/>
                  <a:gd name="T97" fmla="*/ 360 h 1320"/>
                  <a:gd name="T98" fmla="*/ 0 w 869"/>
                  <a:gd name="T99" fmla="*/ 510 h 1320"/>
                  <a:gd name="T100" fmla="*/ 120 w 869"/>
                  <a:gd name="T101" fmla="*/ 420 h 1320"/>
                  <a:gd name="T102" fmla="*/ 269 w 869"/>
                  <a:gd name="T103" fmla="*/ 300 h 1320"/>
                  <a:gd name="T104" fmla="*/ 239 w 869"/>
                  <a:gd name="T105" fmla="*/ 150 h 1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69" h="1320">
                    <a:moveTo>
                      <a:pt x="869" y="660"/>
                    </a:moveTo>
                    <a:lnTo>
                      <a:pt x="839" y="300"/>
                    </a:lnTo>
                    <a:lnTo>
                      <a:pt x="809" y="120"/>
                    </a:lnTo>
                    <a:lnTo>
                      <a:pt x="719" y="0"/>
                    </a:lnTo>
                    <a:lnTo>
                      <a:pt x="599" y="60"/>
                    </a:lnTo>
                    <a:lnTo>
                      <a:pt x="599" y="150"/>
                    </a:lnTo>
                    <a:lnTo>
                      <a:pt x="509" y="270"/>
                    </a:lnTo>
                    <a:lnTo>
                      <a:pt x="479" y="360"/>
                    </a:lnTo>
                    <a:lnTo>
                      <a:pt x="599" y="300"/>
                    </a:lnTo>
                    <a:lnTo>
                      <a:pt x="689" y="270"/>
                    </a:lnTo>
                    <a:lnTo>
                      <a:pt x="659" y="420"/>
                    </a:lnTo>
                    <a:lnTo>
                      <a:pt x="779" y="480"/>
                    </a:lnTo>
                    <a:lnTo>
                      <a:pt x="869" y="660"/>
                    </a:lnTo>
                    <a:lnTo>
                      <a:pt x="719" y="630"/>
                    </a:lnTo>
                    <a:lnTo>
                      <a:pt x="599" y="510"/>
                    </a:lnTo>
                    <a:lnTo>
                      <a:pt x="539" y="600"/>
                    </a:lnTo>
                    <a:lnTo>
                      <a:pt x="509" y="690"/>
                    </a:lnTo>
                    <a:lnTo>
                      <a:pt x="539" y="810"/>
                    </a:lnTo>
                    <a:lnTo>
                      <a:pt x="269" y="870"/>
                    </a:lnTo>
                    <a:lnTo>
                      <a:pt x="419" y="960"/>
                    </a:lnTo>
                    <a:lnTo>
                      <a:pt x="539" y="1020"/>
                    </a:lnTo>
                    <a:lnTo>
                      <a:pt x="599" y="930"/>
                    </a:lnTo>
                    <a:lnTo>
                      <a:pt x="719" y="840"/>
                    </a:lnTo>
                    <a:lnTo>
                      <a:pt x="779" y="750"/>
                    </a:lnTo>
                    <a:lnTo>
                      <a:pt x="869" y="810"/>
                    </a:lnTo>
                    <a:lnTo>
                      <a:pt x="809" y="930"/>
                    </a:lnTo>
                    <a:lnTo>
                      <a:pt x="719" y="1020"/>
                    </a:lnTo>
                    <a:lnTo>
                      <a:pt x="839" y="1080"/>
                    </a:lnTo>
                    <a:lnTo>
                      <a:pt x="719" y="1110"/>
                    </a:lnTo>
                    <a:lnTo>
                      <a:pt x="779" y="1260"/>
                    </a:lnTo>
                    <a:lnTo>
                      <a:pt x="689" y="1230"/>
                    </a:lnTo>
                    <a:lnTo>
                      <a:pt x="539" y="1320"/>
                    </a:lnTo>
                    <a:lnTo>
                      <a:pt x="569" y="1170"/>
                    </a:lnTo>
                    <a:lnTo>
                      <a:pt x="449" y="1230"/>
                    </a:lnTo>
                    <a:lnTo>
                      <a:pt x="389" y="1110"/>
                    </a:lnTo>
                    <a:lnTo>
                      <a:pt x="329" y="1200"/>
                    </a:lnTo>
                    <a:lnTo>
                      <a:pt x="299" y="960"/>
                    </a:lnTo>
                    <a:lnTo>
                      <a:pt x="239" y="1050"/>
                    </a:lnTo>
                    <a:lnTo>
                      <a:pt x="269" y="870"/>
                    </a:lnTo>
                    <a:lnTo>
                      <a:pt x="419" y="780"/>
                    </a:lnTo>
                    <a:lnTo>
                      <a:pt x="239" y="690"/>
                    </a:lnTo>
                    <a:lnTo>
                      <a:pt x="269" y="870"/>
                    </a:lnTo>
                    <a:lnTo>
                      <a:pt x="389" y="660"/>
                    </a:lnTo>
                    <a:lnTo>
                      <a:pt x="419" y="540"/>
                    </a:lnTo>
                    <a:lnTo>
                      <a:pt x="359" y="420"/>
                    </a:lnTo>
                    <a:lnTo>
                      <a:pt x="389" y="270"/>
                    </a:lnTo>
                    <a:lnTo>
                      <a:pt x="239" y="150"/>
                    </a:lnTo>
                    <a:lnTo>
                      <a:pt x="150" y="270"/>
                    </a:lnTo>
                    <a:lnTo>
                      <a:pt x="0" y="360"/>
                    </a:lnTo>
                    <a:lnTo>
                      <a:pt x="0" y="510"/>
                    </a:lnTo>
                    <a:lnTo>
                      <a:pt x="120" y="420"/>
                    </a:lnTo>
                    <a:lnTo>
                      <a:pt x="269" y="300"/>
                    </a:lnTo>
                    <a:lnTo>
                      <a:pt x="239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4" name="Freeform 2543">
                <a:extLst>
                  <a:ext uri="{FF2B5EF4-FFF2-40B4-BE49-F238E27FC236}">
                    <a16:creationId xmlns:a16="http://schemas.microsoft.com/office/drawing/2014/main" xmlns="" id="{9F714CCA-0BAA-4F3E-BC3D-22DAB60A90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2250"/>
                <a:ext cx="390" cy="570"/>
              </a:xfrm>
              <a:custGeom>
                <a:avLst/>
                <a:gdLst>
                  <a:gd name="T0" fmla="*/ 120 w 390"/>
                  <a:gd name="T1" fmla="*/ 450 h 570"/>
                  <a:gd name="T2" fmla="*/ 300 w 390"/>
                  <a:gd name="T3" fmla="*/ 480 h 570"/>
                  <a:gd name="T4" fmla="*/ 390 w 390"/>
                  <a:gd name="T5" fmla="*/ 570 h 570"/>
                  <a:gd name="T6" fmla="*/ 180 w 390"/>
                  <a:gd name="T7" fmla="*/ 570 h 570"/>
                  <a:gd name="T8" fmla="*/ 300 w 390"/>
                  <a:gd name="T9" fmla="*/ 270 h 570"/>
                  <a:gd name="T10" fmla="*/ 300 w 390"/>
                  <a:gd name="T11" fmla="*/ 480 h 570"/>
                  <a:gd name="T12" fmla="*/ 120 w 390"/>
                  <a:gd name="T13" fmla="*/ 240 h 570"/>
                  <a:gd name="T14" fmla="*/ 60 w 390"/>
                  <a:gd name="T15" fmla="*/ 0 h 570"/>
                  <a:gd name="T16" fmla="*/ 0 w 390"/>
                  <a:gd name="T17" fmla="*/ 18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0" h="570">
                    <a:moveTo>
                      <a:pt x="120" y="450"/>
                    </a:moveTo>
                    <a:lnTo>
                      <a:pt x="300" y="480"/>
                    </a:lnTo>
                    <a:lnTo>
                      <a:pt x="390" y="570"/>
                    </a:lnTo>
                    <a:lnTo>
                      <a:pt x="180" y="570"/>
                    </a:lnTo>
                    <a:lnTo>
                      <a:pt x="300" y="270"/>
                    </a:lnTo>
                    <a:lnTo>
                      <a:pt x="300" y="480"/>
                    </a:lnTo>
                    <a:lnTo>
                      <a:pt x="120" y="240"/>
                    </a:lnTo>
                    <a:lnTo>
                      <a:pt x="60" y="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5" name="Freeform 2544">
                <a:extLst>
                  <a:ext uri="{FF2B5EF4-FFF2-40B4-BE49-F238E27FC236}">
                    <a16:creationId xmlns:a16="http://schemas.microsoft.com/office/drawing/2014/main" xmlns="" id="{CF3D1A4B-6A7C-48CA-8070-CD0E5056A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2850"/>
                <a:ext cx="420" cy="210"/>
              </a:xfrm>
              <a:custGeom>
                <a:avLst/>
                <a:gdLst>
                  <a:gd name="T0" fmla="*/ 0 w 420"/>
                  <a:gd name="T1" fmla="*/ 0 h 210"/>
                  <a:gd name="T2" fmla="*/ 90 w 420"/>
                  <a:gd name="T3" fmla="*/ 150 h 210"/>
                  <a:gd name="T4" fmla="*/ 270 w 420"/>
                  <a:gd name="T5" fmla="*/ 210 h 210"/>
                  <a:gd name="T6" fmla="*/ 420 w 420"/>
                  <a:gd name="T7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0" h="210">
                    <a:moveTo>
                      <a:pt x="0" y="0"/>
                    </a:moveTo>
                    <a:lnTo>
                      <a:pt x="90" y="150"/>
                    </a:lnTo>
                    <a:lnTo>
                      <a:pt x="270" y="210"/>
                    </a:lnTo>
                    <a:lnTo>
                      <a:pt x="42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6" name="Freeform 2545">
                <a:extLst>
                  <a:ext uri="{FF2B5EF4-FFF2-40B4-BE49-F238E27FC236}">
                    <a16:creationId xmlns:a16="http://schemas.microsoft.com/office/drawing/2014/main" xmlns="" id="{2AE60525-0B02-44B1-8504-4B75C72BC5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" y="2910"/>
                <a:ext cx="180" cy="210"/>
              </a:xfrm>
              <a:custGeom>
                <a:avLst/>
                <a:gdLst>
                  <a:gd name="T0" fmla="*/ 150 w 180"/>
                  <a:gd name="T1" fmla="*/ 210 h 210"/>
                  <a:gd name="T2" fmla="*/ 30 w 180"/>
                  <a:gd name="T3" fmla="*/ 150 h 210"/>
                  <a:gd name="T4" fmla="*/ 0 w 180"/>
                  <a:gd name="T5" fmla="*/ 0 h 210"/>
                  <a:gd name="T6" fmla="*/ 180 w 180"/>
                  <a:gd name="T7" fmla="*/ 9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210">
                    <a:moveTo>
                      <a:pt x="150" y="210"/>
                    </a:moveTo>
                    <a:lnTo>
                      <a:pt x="30" y="150"/>
                    </a:lnTo>
                    <a:lnTo>
                      <a:pt x="0" y="0"/>
                    </a:lnTo>
                    <a:lnTo>
                      <a:pt x="1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7" name="Line 2546">
                <a:extLst>
                  <a:ext uri="{FF2B5EF4-FFF2-40B4-BE49-F238E27FC236}">
                    <a16:creationId xmlns:a16="http://schemas.microsoft.com/office/drawing/2014/main" xmlns="" id="{AE0763DA-79B2-4B34-B118-81E6169BB6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364" y="297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8" name="Freeform 2547">
                <a:extLst>
                  <a:ext uri="{FF2B5EF4-FFF2-40B4-BE49-F238E27FC236}">
                    <a16:creationId xmlns:a16="http://schemas.microsoft.com/office/drawing/2014/main" xmlns="" id="{E2360472-4FE6-4A39-B433-A4C188A50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4" y="2160"/>
                <a:ext cx="300" cy="150"/>
              </a:xfrm>
              <a:custGeom>
                <a:avLst/>
                <a:gdLst>
                  <a:gd name="T0" fmla="*/ 0 w 300"/>
                  <a:gd name="T1" fmla="*/ 150 h 150"/>
                  <a:gd name="T2" fmla="*/ 300 w 300"/>
                  <a:gd name="T3" fmla="*/ 150 h 150"/>
                  <a:gd name="T4" fmla="*/ 240 w 300"/>
                  <a:gd name="T5" fmla="*/ 30 h 150"/>
                  <a:gd name="T6" fmla="*/ 150 w 300"/>
                  <a:gd name="T7" fmla="*/ 0 h 150"/>
                  <a:gd name="T8" fmla="*/ 30 w 300"/>
                  <a:gd name="T9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0" h="150">
                    <a:moveTo>
                      <a:pt x="0" y="150"/>
                    </a:moveTo>
                    <a:lnTo>
                      <a:pt x="300" y="150"/>
                    </a:lnTo>
                    <a:lnTo>
                      <a:pt x="240" y="30"/>
                    </a:lnTo>
                    <a:lnTo>
                      <a:pt x="150" y="0"/>
                    </a:lnTo>
                    <a:lnTo>
                      <a:pt x="3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9" name="Freeform 2548">
                <a:extLst>
                  <a:ext uri="{FF2B5EF4-FFF2-40B4-BE49-F238E27FC236}">
                    <a16:creationId xmlns:a16="http://schemas.microsoft.com/office/drawing/2014/main" xmlns="" id="{6C228944-98FE-4B07-84A0-DB0AFDC852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4" y="510"/>
                <a:ext cx="180" cy="390"/>
              </a:xfrm>
              <a:custGeom>
                <a:avLst/>
                <a:gdLst>
                  <a:gd name="T0" fmla="*/ 0 w 180"/>
                  <a:gd name="T1" fmla="*/ 270 h 390"/>
                  <a:gd name="T2" fmla="*/ 180 w 180"/>
                  <a:gd name="T3" fmla="*/ 390 h 390"/>
                  <a:gd name="T4" fmla="*/ 30 w 180"/>
                  <a:gd name="T5" fmla="*/ 120 h 390"/>
                  <a:gd name="T6" fmla="*/ 150 w 180"/>
                  <a:gd name="T7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90">
                    <a:moveTo>
                      <a:pt x="0" y="270"/>
                    </a:moveTo>
                    <a:lnTo>
                      <a:pt x="180" y="390"/>
                    </a:lnTo>
                    <a:lnTo>
                      <a:pt x="30" y="12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0" name="Freeform 2549">
                <a:extLst>
                  <a:ext uri="{FF2B5EF4-FFF2-40B4-BE49-F238E27FC236}">
                    <a16:creationId xmlns:a16="http://schemas.microsoft.com/office/drawing/2014/main" xmlns="" id="{C201AA5C-8BE3-455A-BCC1-0AC4154D6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870"/>
                <a:ext cx="300" cy="330"/>
              </a:xfrm>
              <a:custGeom>
                <a:avLst/>
                <a:gdLst>
                  <a:gd name="T0" fmla="*/ 300 w 300"/>
                  <a:gd name="T1" fmla="*/ 0 h 330"/>
                  <a:gd name="T2" fmla="*/ 240 w 300"/>
                  <a:gd name="T3" fmla="*/ 120 h 330"/>
                  <a:gd name="T4" fmla="*/ 180 w 300"/>
                  <a:gd name="T5" fmla="*/ 330 h 330"/>
                  <a:gd name="T6" fmla="*/ 0 w 300"/>
                  <a:gd name="T7" fmla="*/ 27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0" h="330">
                    <a:moveTo>
                      <a:pt x="300" y="0"/>
                    </a:moveTo>
                    <a:lnTo>
                      <a:pt x="240" y="120"/>
                    </a:lnTo>
                    <a:lnTo>
                      <a:pt x="180" y="33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1" name="Freeform 2550">
                <a:extLst>
                  <a:ext uri="{FF2B5EF4-FFF2-40B4-BE49-F238E27FC236}">
                    <a16:creationId xmlns:a16="http://schemas.microsoft.com/office/drawing/2014/main" xmlns="" id="{64B2EC25-3FDE-49CC-A99B-C9F9729E2D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1050"/>
                <a:ext cx="600" cy="750"/>
              </a:xfrm>
              <a:custGeom>
                <a:avLst/>
                <a:gdLst>
                  <a:gd name="T0" fmla="*/ 600 w 600"/>
                  <a:gd name="T1" fmla="*/ 750 h 750"/>
                  <a:gd name="T2" fmla="*/ 570 w 600"/>
                  <a:gd name="T3" fmla="*/ 630 h 750"/>
                  <a:gd name="T4" fmla="*/ 330 w 600"/>
                  <a:gd name="T5" fmla="*/ 750 h 750"/>
                  <a:gd name="T6" fmla="*/ 270 w 600"/>
                  <a:gd name="T7" fmla="*/ 660 h 750"/>
                  <a:gd name="T8" fmla="*/ 180 w 600"/>
                  <a:gd name="T9" fmla="*/ 540 h 750"/>
                  <a:gd name="T10" fmla="*/ 150 w 600"/>
                  <a:gd name="T11" fmla="*/ 90 h 750"/>
                  <a:gd name="T12" fmla="*/ 0 w 600"/>
                  <a:gd name="T13" fmla="*/ 180 h 750"/>
                  <a:gd name="T14" fmla="*/ 210 w 600"/>
                  <a:gd name="T15" fmla="*/ 300 h 750"/>
                  <a:gd name="T16" fmla="*/ 240 w 600"/>
                  <a:gd name="T17" fmla="*/ 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0" h="750">
                    <a:moveTo>
                      <a:pt x="600" y="750"/>
                    </a:moveTo>
                    <a:lnTo>
                      <a:pt x="570" y="630"/>
                    </a:lnTo>
                    <a:lnTo>
                      <a:pt x="330" y="750"/>
                    </a:lnTo>
                    <a:lnTo>
                      <a:pt x="270" y="660"/>
                    </a:lnTo>
                    <a:lnTo>
                      <a:pt x="180" y="540"/>
                    </a:lnTo>
                    <a:lnTo>
                      <a:pt x="150" y="90"/>
                    </a:lnTo>
                    <a:lnTo>
                      <a:pt x="0" y="180"/>
                    </a:lnTo>
                    <a:lnTo>
                      <a:pt x="210" y="300"/>
                    </a:lnTo>
                    <a:lnTo>
                      <a:pt x="24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2" name="Freeform 2551">
                <a:extLst>
                  <a:ext uri="{FF2B5EF4-FFF2-40B4-BE49-F238E27FC236}">
                    <a16:creationId xmlns:a16="http://schemas.microsoft.com/office/drawing/2014/main" xmlns="" id="{91902815-383A-491D-AF05-7C9C7F679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1530"/>
                <a:ext cx="450" cy="420"/>
              </a:xfrm>
              <a:custGeom>
                <a:avLst/>
                <a:gdLst>
                  <a:gd name="T0" fmla="*/ 270 w 450"/>
                  <a:gd name="T1" fmla="*/ 270 h 420"/>
                  <a:gd name="T2" fmla="*/ 60 w 450"/>
                  <a:gd name="T3" fmla="*/ 270 h 420"/>
                  <a:gd name="T4" fmla="*/ 120 w 450"/>
                  <a:gd name="T5" fmla="*/ 60 h 420"/>
                  <a:gd name="T6" fmla="*/ 0 w 450"/>
                  <a:gd name="T7" fmla="*/ 0 h 420"/>
                  <a:gd name="T8" fmla="*/ 300 w 450"/>
                  <a:gd name="T9" fmla="*/ 420 h 420"/>
                  <a:gd name="T10" fmla="*/ 450 w 450"/>
                  <a:gd name="T11" fmla="*/ 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0" h="420">
                    <a:moveTo>
                      <a:pt x="270" y="270"/>
                    </a:moveTo>
                    <a:lnTo>
                      <a:pt x="60" y="270"/>
                    </a:lnTo>
                    <a:lnTo>
                      <a:pt x="120" y="60"/>
                    </a:lnTo>
                    <a:lnTo>
                      <a:pt x="0" y="0"/>
                    </a:lnTo>
                    <a:lnTo>
                      <a:pt x="300" y="420"/>
                    </a:lnTo>
                    <a:lnTo>
                      <a:pt x="4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3" name="Freeform 2552">
                <a:extLst>
                  <a:ext uri="{FF2B5EF4-FFF2-40B4-BE49-F238E27FC236}">
                    <a16:creationId xmlns:a16="http://schemas.microsoft.com/office/drawing/2014/main" xmlns="" id="{339F0E6C-98B3-4BC6-8E1B-116367BB7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1410"/>
                <a:ext cx="210" cy="210"/>
              </a:xfrm>
              <a:custGeom>
                <a:avLst/>
                <a:gdLst>
                  <a:gd name="T0" fmla="*/ 0 w 210"/>
                  <a:gd name="T1" fmla="*/ 180 h 210"/>
                  <a:gd name="T2" fmla="*/ 150 w 210"/>
                  <a:gd name="T3" fmla="*/ 0 h 210"/>
                  <a:gd name="T4" fmla="*/ 210 w 210"/>
                  <a:gd name="T5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210">
                    <a:moveTo>
                      <a:pt x="0" y="180"/>
                    </a:moveTo>
                    <a:lnTo>
                      <a:pt x="150" y="0"/>
                    </a:lnTo>
                    <a:lnTo>
                      <a:pt x="21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4" name="Freeform 2553">
                <a:extLst>
                  <a:ext uri="{FF2B5EF4-FFF2-40B4-BE49-F238E27FC236}">
                    <a16:creationId xmlns:a16="http://schemas.microsoft.com/office/drawing/2014/main" xmlns="" id="{C976AEB4-B06E-45BE-AF57-18F0F03475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1710"/>
                <a:ext cx="90" cy="450"/>
              </a:xfrm>
              <a:custGeom>
                <a:avLst/>
                <a:gdLst>
                  <a:gd name="T0" fmla="*/ 90 w 90"/>
                  <a:gd name="T1" fmla="*/ 0 h 450"/>
                  <a:gd name="T2" fmla="*/ 0 w 90"/>
                  <a:gd name="T3" fmla="*/ 240 h 450"/>
                  <a:gd name="T4" fmla="*/ 90 w 90"/>
                  <a:gd name="T5" fmla="*/ 450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450">
                    <a:moveTo>
                      <a:pt x="90" y="0"/>
                    </a:moveTo>
                    <a:lnTo>
                      <a:pt x="0" y="240"/>
                    </a:lnTo>
                    <a:lnTo>
                      <a:pt x="90" y="4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5" name="Freeform 2554">
                <a:extLst>
                  <a:ext uri="{FF2B5EF4-FFF2-40B4-BE49-F238E27FC236}">
                    <a16:creationId xmlns:a16="http://schemas.microsoft.com/office/drawing/2014/main" xmlns="" id="{E4A5CEBC-8DD2-4552-8714-D73A0145AF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4" y="2190"/>
                <a:ext cx="180" cy="330"/>
              </a:xfrm>
              <a:custGeom>
                <a:avLst/>
                <a:gdLst>
                  <a:gd name="T0" fmla="*/ 120 w 180"/>
                  <a:gd name="T1" fmla="*/ 330 h 330"/>
                  <a:gd name="T2" fmla="*/ 180 w 180"/>
                  <a:gd name="T3" fmla="*/ 180 h 330"/>
                  <a:gd name="T4" fmla="*/ 0 w 180"/>
                  <a:gd name="T5" fmla="*/ 210 h 330"/>
                  <a:gd name="T6" fmla="*/ 0 w 180"/>
                  <a:gd name="T7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120" y="330"/>
                    </a:moveTo>
                    <a:lnTo>
                      <a:pt x="180" y="180"/>
                    </a:lnTo>
                    <a:lnTo>
                      <a:pt x="0" y="21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6" name="Line 2555">
                <a:extLst>
                  <a:ext uri="{FF2B5EF4-FFF2-40B4-BE49-F238E27FC236}">
                    <a16:creationId xmlns:a16="http://schemas.microsoft.com/office/drawing/2014/main" xmlns="" id="{93B0AE6E-F2A4-4FFF-8090-0C9101FDC5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4" y="2670"/>
                <a:ext cx="18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7" name="Freeform 2556">
                <a:extLst>
                  <a:ext uri="{FF2B5EF4-FFF2-40B4-BE49-F238E27FC236}">
                    <a16:creationId xmlns:a16="http://schemas.microsoft.com/office/drawing/2014/main" xmlns="" id="{9E5C24BE-6636-4B2E-AA12-CBE1940FD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2010"/>
                <a:ext cx="180" cy="300"/>
              </a:xfrm>
              <a:custGeom>
                <a:avLst/>
                <a:gdLst>
                  <a:gd name="T0" fmla="*/ 180 w 180"/>
                  <a:gd name="T1" fmla="*/ 180 h 300"/>
                  <a:gd name="T2" fmla="*/ 0 w 180"/>
                  <a:gd name="T3" fmla="*/ 300 h 300"/>
                  <a:gd name="T4" fmla="*/ 150 w 180"/>
                  <a:gd name="T5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300">
                    <a:moveTo>
                      <a:pt x="180" y="180"/>
                    </a:moveTo>
                    <a:lnTo>
                      <a:pt x="0" y="30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8" name="Freeform 2557">
                <a:extLst>
                  <a:ext uri="{FF2B5EF4-FFF2-40B4-BE49-F238E27FC236}">
                    <a16:creationId xmlns:a16="http://schemas.microsoft.com/office/drawing/2014/main" xmlns="" id="{A35673CD-33EF-4139-9F7F-4DDBCD7120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1140"/>
                <a:ext cx="180" cy="270"/>
              </a:xfrm>
              <a:custGeom>
                <a:avLst/>
                <a:gdLst>
                  <a:gd name="T0" fmla="*/ 0 w 180"/>
                  <a:gd name="T1" fmla="*/ 0 h 270"/>
                  <a:gd name="T2" fmla="*/ 180 w 180"/>
                  <a:gd name="T3" fmla="*/ 270 h 270"/>
                  <a:gd name="T4" fmla="*/ 180 w 180"/>
                  <a:gd name="T5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70">
                    <a:moveTo>
                      <a:pt x="0" y="0"/>
                    </a:moveTo>
                    <a:lnTo>
                      <a:pt x="180" y="270"/>
                    </a:lnTo>
                    <a:lnTo>
                      <a:pt x="18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9" name="Freeform 2558">
                <a:extLst>
                  <a:ext uri="{FF2B5EF4-FFF2-40B4-BE49-F238E27FC236}">
                    <a16:creationId xmlns:a16="http://schemas.microsoft.com/office/drawing/2014/main" xmlns="" id="{B6913935-7187-42B0-AE79-3886536E94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60"/>
                <a:ext cx="540" cy="1830"/>
              </a:xfrm>
              <a:custGeom>
                <a:avLst/>
                <a:gdLst>
                  <a:gd name="T0" fmla="*/ 180 w 540"/>
                  <a:gd name="T1" fmla="*/ 990 h 1830"/>
                  <a:gd name="T2" fmla="*/ 330 w 540"/>
                  <a:gd name="T3" fmla="*/ 930 h 1830"/>
                  <a:gd name="T4" fmla="*/ 330 w 540"/>
                  <a:gd name="T5" fmla="*/ 1560 h 1830"/>
                  <a:gd name="T6" fmla="*/ 270 w 540"/>
                  <a:gd name="T7" fmla="*/ 1350 h 1830"/>
                  <a:gd name="T8" fmla="*/ 540 w 540"/>
                  <a:gd name="T9" fmla="*/ 1740 h 1830"/>
                  <a:gd name="T10" fmla="*/ 330 w 540"/>
                  <a:gd name="T11" fmla="*/ 1560 h 1830"/>
                  <a:gd name="T12" fmla="*/ 450 w 540"/>
                  <a:gd name="T13" fmla="*/ 1470 h 1830"/>
                  <a:gd name="T14" fmla="*/ 480 w 540"/>
                  <a:gd name="T15" fmla="*/ 1200 h 1830"/>
                  <a:gd name="T16" fmla="*/ 150 w 540"/>
                  <a:gd name="T17" fmla="*/ 1290 h 1830"/>
                  <a:gd name="T18" fmla="*/ 270 w 540"/>
                  <a:gd name="T19" fmla="*/ 1140 h 1830"/>
                  <a:gd name="T20" fmla="*/ 510 w 540"/>
                  <a:gd name="T21" fmla="*/ 960 h 1830"/>
                  <a:gd name="T22" fmla="*/ 180 w 540"/>
                  <a:gd name="T23" fmla="*/ 990 h 1830"/>
                  <a:gd name="T24" fmla="*/ 390 w 540"/>
                  <a:gd name="T25" fmla="*/ 810 h 1830"/>
                  <a:gd name="T26" fmla="*/ 360 w 540"/>
                  <a:gd name="T27" fmla="*/ 630 h 1830"/>
                  <a:gd name="T28" fmla="*/ 150 w 540"/>
                  <a:gd name="T29" fmla="*/ 630 h 1830"/>
                  <a:gd name="T30" fmla="*/ 270 w 540"/>
                  <a:gd name="T31" fmla="*/ 510 h 1830"/>
                  <a:gd name="T32" fmla="*/ 510 w 540"/>
                  <a:gd name="T33" fmla="*/ 600 h 1830"/>
                  <a:gd name="T34" fmla="*/ 480 w 540"/>
                  <a:gd name="T35" fmla="*/ 360 h 1830"/>
                  <a:gd name="T36" fmla="*/ 240 w 540"/>
                  <a:gd name="T37" fmla="*/ 360 h 1830"/>
                  <a:gd name="T38" fmla="*/ 60 w 540"/>
                  <a:gd name="T39" fmla="*/ 300 h 1830"/>
                  <a:gd name="T40" fmla="*/ 270 w 540"/>
                  <a:gd name="T41" fmla="*/ 210 h 1830"/>
                  <a:gd name="T42" fmla="*/ 90 w 540"/>
                  <a:gd name="T43" fmla="*/ 0 h 1830"/>
                  <a:gd name="T44" fmla="*/ 210 w 540"/>
                  <a:gd name="T45" fmla="*/ 60 h 1830"/>
                  <a:gd name="T46" fmla="*/ 510 w 540"/>
                  <a:gd name="T47" fmla="*/ 210 h 1830"/>
                  <a:gd name="T48" fmla="*/ 390 w 540"/>
                  <a:gd name="T49" fmla="*/ 240 h 1830"/>
                  <a:gd name="T50" fmla="*/ 270 w 540"/>
                  <a:gd name="T51" fmla="*/ 210 h 1830"/>
                  <a:gd name="T52" fmla="*/ 180 w 540"/>
                  <a:gd name="T53" fmla="*/ 240 h 1830"/>
                  <a:gd name="T54" fmla="*/ 60 w 540"/>
                  <a:gd name="T55" fmla="*/ 300 h 1830"/>
                  <a:gd name="T56" fmla="*/ 330 w 540"/>
                  <a:gd name="T57" fmla="*/ 390 h 1830"/>
                  <a:gd name="T58" fmla="*/ 480 w 540"/>
                  <a:gd name="T59" fmla="*/ 360 h 1830"/>
                  <a:gd name="T60" fmla="*/ 360 w 540"/>
                  <a:gd name="T61" fmla="*/ 630 h 1830"/>
                  <a:gd name="T62" fmla="*/ 90 w 540"/>
                  <a:gd name="T63" fmla="*/ 840 h 18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40" h="1830">
                    <a:moveTo>
                      <a:pt x="60" y="960"/>
                    </a:moveTo>
                    <a:lnTo>
                      <a:pt x="180" y="990"/>
                    </a:lnTo>
                    <a:lnTo>
                      <a:pt x="390" y="1080"/>
                    </a:lnTo>
                    <a:lnTo>
                      <a:pt x="330" y="930"/>
                    </a:lnTo>
                    <a:lnTo>
                      <a:pt x="0" y="1320"/>
                    </a:lnTo>
                    <a:lnTo>
                      <a:pt x="330" y="1560"/>
                    </a:lnTo>
                    <a:lnTo>
                      <a:pt x="450" y="1470"/>
                    </a:lnTo>
                    <a:lnTo>
                      <a:pt x="270" y="1350"/>
                    </a:lnTo>
                    <a:lnTo>
                      <a:pt x="210" y="1650"/>
                    </a:lnTo>
                    <a:lnTo>
                      <a:pt x="540" y="1740"/>
                    </a:lnTo>
                    <a:lnTo>
                      <a:pt x="420" y="1830"/>
                    </a:lnTo>
                    <a:lnTo>
                      <a:pt x="330" y="1560"/>
                    </a:lnTo>
                    <a:lnTo>
                      <a:pt x="510" y="1620"/>
                    </a:lnTo>
                    <a:lnTo>
                      <a:pt x="450" y="1470"/>
                    </a:lnTo>
                    <a:lnTo>
                      <a:pt x="420" y="1320"/>
                    </a:lnTo>
                    <a:lnTo>
                      <a:pt x="480" y="1200"/>
                    </a:lnTo>
                    <a:lnTo>
                      <a:pt x="270" y="1350"/>
                    </a:lnTo>
                    <a:lnTo>
                      <a:pt x="150" y="1290"/>
                    </a:lnTo>
                    <a:lnTo>
                      <a:pt x="330" y="1200"/>
                    </a:lnTo>
                    <a:lnTo>
                      <a:pt x="270" y="1140"/>
                    </a:lnTo>
                    <a:lnTo>
                      <a:pt x="390" y="1080"/>
                    </a:lnTo>
                    <a:lnTo>
                      <a:pt x="510" y="960"/>
                    </a:lnTo>
                    <a:lnTo>
                      <a:pt x="330" y="930"/>
                    </a:lnTo>
                    <a:lnTo>
                      <a:pt x="180" y="990"/>
                    </a:lnTo>
                    <a:lnTo>
                      <a:pt x="210" y="840"/>
                    </a:lnTo>
                    <a:lnTo>
                      <a:pt x="390" y="810"/>
                    </a:lnTo>
                    <a:lnTo>
                      <a:pt x="540" y="720"/>
                    </a:lnTo>
                    <a:lnTo>
                      <a:pt x="360" y="630"/>
                    </a:lnTo>
                    <a:lnTo>
                      <a:pt x="240" y="690"/>
                    </a:lnTo>
                    <a:lnTo>
                      <a:pt x="150" y="630"/>
                    </a:lnTo>
                    <a:lnTo>
                      <a:pt x="180" y="450"/>
                    </a:lnTo>
                    <a:lnTo>
                      <a:pt x="270" y="510"/>
                    </a:lnTo>
                    <a:lnTo>
                      <a:pt x="420" y="540"/>
                    </a:lnTo>
                    <a:lnTo>
                      <a:pt x="510" y="600"/>
                    </a:lnTo>
                    <a:lnTo>
                      <a:pt x="540" y="480"/>
                    </a:lnTo>
                    <a:lnTo>
                      <a:pt x="480" y="360"/>
                    </a:lnTo>
                    <a:lnTo>
                      <a:pt x="330" y="390"/>
                    </a:lnTo>
                    <a:lnTo>
                      <a:pt x="240" y="360"/>
                    </a:lnTo>
                    <a:lnTo>
                      <a:pt x="60" y="420"/>
                    </a:lnTo>
                    <a:lnTo>
                      <a:pt x="60" y="300"/>
                    </a:lnTo>
                    <a:lnTo>
                      <a:pt x="180" y="240"/>
                    </a:lnTo>
                    <a:lnTo>
                      <a:pt x="270" y="210"/>
                    </a:lnTo>
                    <a:lnTo>
                      <a:pt x="210" y="60"/>
                    </a:lnTo>
                    <a:lnTo>
                      <a:pt x="90" y="0"/>
                    </a:lnTo>
                    <a:lnTo>
                      <a:pt x="540" y="0"/>
                    </a:lnTo>
                    <a:lnTo>
                      <a:pt x="210" y="60"/>
                    </a:lnTo>
                    <a:lnTo>
                      <a:pt x="360" y="90"/>
                    </a:lnTo>
                    <a:lnTo>
                      <a:pt x="510" y="210"/>
                    </a:lnTo>
                    <a:lnTo>
                      <a:pt x="480" y="360"/>
                    </a:lnTo>
                    <a:lnTo>
                      <a:pt x="390" y="240"/>
                    </a:lnTo>
                    <a:lnTo>
                      <a:pt x="330" y="390"/>
                    </a:lnTo>
                    <a:lnTo>
                      <a:pt x="270" y="210"/>
                    </a:lnTo>
                    <a:lnTo>
                      <a:pt x="240" y="360"/>
                    </a:lnTo>
                    <a:lnTo>
                      <a:pt x="180" y="240"/>
                    </a:lnTo>
                    <a:lnTo>
                      <a:pt x="90" y="210"/>
                    </a:lnTo>
                    <a:lnTo>
                      <a:pt x="60" y="300"/>
                    </a:lnTo>
                    <a:lnTo>
                      <a:pt x="180" y="450"/>
                    </a:lnTo>
                    <a:lnTo>
                      <a:pt x="330" y="390"/>
                    </a:lnTo>
                    <a:lnTo>
                      <a:pt x="420" y="540"/>
                    </a:lnTo>
                    <a:lnTo>
                      <a:pt x="480" y="360"/>
                    </a:lnTo>
                    <a:lnTo>
                      <a:pt x="270" y="510"/>
                    </a:lnTo>
                    <a:lnTo>
                      <a:pt x="360" y="630"/>
                    </a:lnTo>
                    <a:lnTo>
                      <a:pt x="150" y="630"/>
                    </a:lnTo>
                    <a:lnTo>
                      <a:pt x="90" y="840"/>
                    </a:lnTo>
                    <a:lnTo>
                      <a:pt x="330" y="9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0" name="Freeform 2559">
                <a:extLst>
                  <a:ext uri="{FF2B5EF4-FFF2-40B4-BE49-F238E27FC236}">
                    <a16:creationId xmlns:a16="http://schemas.microsoft.com/office/drawing/2014/main" xmlns="" id="{5E52BFFC-5467-43BA-95A9-C2CA6B82EF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600"/>
                <a:ext cx="150" cy="420"/>
              </a:xfrm>
              <a:custGeom>
                <a:avLst/>
                <a:gdLst>
                  <a:gd name="T0" fmla="*/ 30 w 150"/>
                  <a:gd name="T1" fmla="*/ 270 h 420"/>
                  <a:gd name="T2" fmla="*/ 150 w 150"/>
                  <a:gd name="T3" fmla="*/ 420 h 420"/>
                  <a:gd name="T4" fmla="*/ 60 w 150"/>
                  <a:gd name="T5" fmla="*/ 0 h 420"/>
                  <a:gd name="T6" fmla="*/ 0 w 150"/>
                  <a:gd name="T7" fmla="*/ 90 h 420"/>
                  <a:gd name="T8" fmla="*/ 30 w 150"/>
                  <a:gd name="T9" fmla="*/ 27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420">
                    <a:moveTo>
                      <a:pt x="30" y="270"/>
                    </a:moveTo>
                    <a:lnTo>
                      <a:pt x="150" y="420"/>
                    </a:lnTo>
                    <a:lnTo>
                      <a:pt x="60" y="0"/>
                    </a:lnTo>
                    <a:lnTo>
                      <a:pt x="0" y="90"/>
                    </a:lnTo>
                    <a:lnTo>
                      <a:pt x="30" y="27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1" name="Freeform 2560">
                <a:extLst>
                  <a:ext uri="{FF2B5EF4-FFF2-40B4-BE49-F238E27FC236}">
                    <a16:creationId xmlns:a16="http://schemas.microsoft.com/office/drawing/2014/main" xmlns="" id="{6A5145CE-C936-467B-8592-377281CA5B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4" y="570"/>
                <a:ext cx="180" cy="420"/>
              </a:xfrm>
              <a:custGeom>
                <a:avLst/>
                <a:gdLst>
                  <a:gd name="T0" fmla="*/ 180 w 180"/>
                  <a:gd name="T1" fmla="*/ 300 h 420"/>
                  <a:gd name="T2" fmla="*/ 30 w 180"/>
                  <a:gd name="T3" fmla="*/ 180 h 420"/>
                  <a:gd name="T4" fmla="*/ 0 w 180"/>
                  <a:gd name="T5" fmla="*/ 330 h 420"/>
                  <a:gd name="T6" fmla="*/ 120 w 180"/>
                  <a:gd name="T7" fmla="*/ 420 h 420"/>
                  <a:gd name="T8" fmla="*/ 60 w 180"/>
                  <a:gd name="T9" fmla="*/ 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420">
                    <a:moveTo>
                      <a:pt x="180" y="300"/>
                    </a:moveTo>
                    <a:lnTo>
                      <a:pt x="30" y="180"/>
                    </a:lnTo>
                    <a:lnTo>
                      <a:pt x="0" y="330"/>
                    </a:lnTo>
                    <a:lnTo>
                      <a:pt x="120" y="420"/>
                    </a:lnTo>
                    <a:lnTo>
                      <a:pt x="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2" name="Freeform 2561">
                <a:extLst>
                  <a:ext uri="{FF2B5EF4-FFF2-40B4-BE49-F238E27FC236}">
                    <a16:creationId xmlns:a16="http://schemas.microsoft.com/office/drawing/2014/main" xmlns="" id="{EB3D75FA-1D70-4E4F-947F-C210370B2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60"/>
                <a:ext cx="180" cy="240"/>
              </a:xfrm>
              <a:custGeom>
                <a:avLst/>
                <a:gdLst>
                  <a:gd name="T0" fmla="*/ 30 w 180"/>
                  <a:gd name="T1" fmla="*/ 240 h 240"/>
                  <a:gd name="T2" fmla="*/ 0 w 180"/>
                  <a:gd name="T3" fmla="*/ 90 h 240"/>
                  <a:gd name="T4" fmla="*/ 180 w 180"/>
                  <a:gd name="T5" fmla="*/ 0 h 240"/>
                  <a:gd name="T6" fmla="*/ 150 w 180"/>
                  <a:gd name="T7" fmla="*/ 210 h 240"/>
                  <a:gd name="T8" fmla="*/ 30 w 180"/>
                  <a:gd name="T9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240">
                    <a:moveTo>
                      <a:pt x="30" y="240"/>
                    </a:moveTo>
                    <a:lnTo>
                      <a:pt x="0" y="90"/>
                    </a:lnTo>
                    <a:lnTo>
                      <a:pt x="180" y="0"/>
                    </a:lnTo>
                    <a:lnTo>
                      <a:pt x="150" y="210"/>
                    </a:lnTo>
                    <a:lnTo>
                      <a:pt x="3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3" name="Line 2562">
                <a:extLst>
                  <a:ext uri="{FF2B5EF4-FFF2-40B4-BE49-F238E27FC236}">
                    <a16:creationId xmlns:a16="http://schemas.microsoft.com/office/drawing/2014/main" xmlns="" id="{DD6018AD-168D-4C85-BC07-8FB628C1DD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04" y="54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4" name="Freeform 2563">
                <a:extLst>
                  <a:ext uri="{FF2B5EF4-FFF2-40B4-BE49-F238E27FC236}">
                    <a16:creationId xmlns:a16="http://schemas.microsoft.com/office/drawing/2014/main" xmlns="" id="{5B7BE2A3-83D4-4830-824B-960D39008E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5" y="330"/>
                <a:ext cx="120" cy="210"/>
              </a:xfrm>
              <a:custGeom>
                <a:avLst/>
                <a:gdLst>
                  <a:gd name="T0" fmla="*/ 90 w 120"/>
                  <a:gd name="T1" fmla="*/ 0 h 210"/>
                  <a:gd name="T2" fmla="*/ 0 w 120"/>
                  <a:gd name="T3" fmla="*/ 210 h 210"/>
                  <a:gd name="T4" fmla="*/ 120 w 120"/>
                  <a:gd name="T5" fmla="*/ 180 h 210"/>
                  <a:gd name="T6" fmla="*/ 90 w 120"/>
                  <a:gd name="T7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0">
                    <a:moveTo>
                      <a:pt x="90" y="0"/>
                    </a:moveTo>
                    <a:lnTo>
                      <a:pt x="0" y="210"/>
                    </a:lnTo>
                    <a:lnTo>
                      <a:pt x="120" y="180"/>
                    </a:lnTo>
                    <a:lnTo>
                      <a:pt x="9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5" name="Freeform 2564">
                <a:extLst>
                  <a:ext uri="{FF2B5EF4-FFF2-40B4-BE49-F238E27FC236}">
                    <a16:creationId xmlns:a16="http://schemas.microsoft.com/office/drawing/2014/main" xmlns="" id="{BD658872-8E15-41ED-B928-62F507830F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240"/>
                <a:ext cx="480" cy="270"/>
              </a:xfrm>
              <a:custGeom>
                <a:avLst/>
                <a:gdLst>
                  <a:gd name="T0" fmla="*/ 0 w 480"/>
                  <a:gd name="T1" fmla="*/ 0 h 270"/>
                  <a:gd name="T2" fmla="*/ 90 w 480"/>
                  <a:gd name="T3" fmla="*/ 240 h 270"/>
                  <a:gd name="T4" fmla="*/ 300 w 480"/>
                  <a:gd name="T5" fmla="*/ 150 h 270"/>
                  <a:gd name="T6" fmla="*/ 480 w 480"/>
                  <a:gd name="T7" fmla="*/ 210 h 270"/>
                  <a:gd name="T8" fmla="*/ 270 w 480"/>
                  <a:gd name="T9" fmla="*/ 270 h 270"/>
                  <a:gd name="T10" fmla="*/ 120 w 480"/>
                  <a:gd name="T11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0" h="270">
                    <a:moveTo>
                      <a:pt x="0" y="0"/>
                    </a:moveTo>
                    <a:lnTo>
                      <a:pt x="90" y="240"/>
                    </a:lnTo>
                    <a:lnTo>
                      <a:pt x="300" y="150"/>
                    </a:lnTo>
                    <a:lnTo>
                      <a:pt x="480" y="210"/>
                    </a:lnTo>
                    <a:lnTo>
                      <a:pt x="270" y="270"/>
                    </a:lnTo>
                    <a:lnTo>
                      <a:pt x="12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6" name="Freeform 2565">
                <a:extLst>
                  <a:ext uri="{FF2B5EF4-FFF2-40B4-BE49-F238E27FC236}">
                    <a16:creationId xmlns:a16="http://schemas.microsoft.com/office/drawing/2014/main" xmlns="" id="{9A6B4293-4CF4-4B8C-AA07-D4912B8A7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60"/>
                <a:ext cx="1289" cy="300"/>
              </a:xfrm>
              <a:custGeom>
                <a:avLst/>
                <a:gdLst>
                  <a:gd name="T0" fmla="*/ 1169 w 1289"/>
                  <a:gd name="T1" fmla="*/ 210 h 300"/>
                  <a:gd name="T2" fmla="*/ 1169 w 1289"/>
                  <a:gd name="T3" fmla="*/ 0 h 300"/>
                  <a:gd name="T4" fmla="*/ 1049 w 1289"/>
                  <a:gd name="T5" fmla="*/ 90 h 300"/>
                  <a:gd name="T6" fmla="*/ 1169 w 1289"/>
                  <a:gd name="T7" fmla="*/ 210 h 300"/>
                  <a:gd name="T8" fmla="*/ 1289 w 1289"/>
                  <a:gd name="T9" fmla="*/ 60 h 300"/>
                  <a:gd name="T10" fmla="*/ 1259 w 1289"/>
                  <a:gd name="T11" fmla="*/ 240 h 300"/>
                  <a:gd name="T12" fmla="*/ 1169 w 1289"/>
                  <a:gd name="T13" fmla="*/ 0 h 300"/>
                  <a:gd name="T14" fmla="*/ 870 w 1289"/>
                  <a:gd name="T15" fmla="*/ 30 h 300"/>
                  <a:gd name="T16" fmla="*/ 780 w 1289"/>
                  <a:gd name="T17" fmla="*/ 240 h 300"/>
                  <a:gd name="T18" fmla="*/ 660 w 1289"/>
                  <a:gd name="T19" fmla="*/ 90 h 300"/>
                  <a:gd name="T20" fmla="*/ 450 w 1289"/>
                  <a:gd name="T21" fmla="*/ 90 h 300"/>
                  <a:gd name="T22" fmla="*/ 630 w 1289"/>
                  <a:gd name="T23" fmla="*/ 210 h 300"/>
                  <a:gd name="T24" fmla="*/ 390 w 1289"/>
                  <a:gd name="T25" fmla="*/ 180 h 300"/>
                  <a:gd name="T26" fmla="*/ 270 w 1289"/>
                  <a:gd name="T27" fmla="*/ 30 h 300"/>
                  <a:gd name="T28" fmla="*/ 210 w 1289"/>
                  <a:gd name="T29" fmla="*/ 150 h 300"/>
                  <a:gd name="T30" fmla="*/ 90 w 1289"/>
                  <a:gd name="T31" fmla="*/ 210 h 300"/>
                  <a:gd name="T32" fmla="*/ 0 w 1289"/>
                  <a:gd name="T33" fmla="*/ 60 h 300"/>
                  <a:gd name="T34" fmla="*/ 150 w 1289"/>
                  <a:gd name="T35" fmla="*/ 30 h 300"/>
                  <a:gd name="T36" fmla="*/ 150 w 1289"/>
                  <a:gd name="T37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89" h="300">
                    <a:moveTo>
                      <a:pt x="1169" y="210"/>
                    </a:moveTo>
                    <a:lnTo>
                      <a:pt x="1169" y="0"/>
                    </a:lnTo>
                    <a:lnTo>
                      <a:pt x="1049" y="90"/>
                    </a:lnTo>
                    <a:lnTo>
                      <a:pt x="1169" y="210"/>
                    </a:lnTo>
                    <a:lnTo>
                      <a:pt x="1289" y="60"/>
                    </a:lnTo>
                    <a:lnTo>
                      <a:pt x="1259" y="240"/>
                    </a:lnTo>
                    <a:lnTo>
                      <a:pt x="1169" y="0"/>
                    </a:lnTo>
                    <a:lnTo>
                      <a:pt x="870" y="30"/>
                    </a:lnTo>
                    <a:lnTo>
                      <a:pt x="780" y="240"/>
                    </a:lnTo>
                    <a:lnTo>
                      <a:pt x="660" y="90"/>
                    </a:lnTo>
                    <a:lnTo>
                      <a:pt x="450" y="90"/>
                    </a:lnTo>
                    <a:lnTo>
                      <a:pt x="630" y="210"/>
                    </a:lnTo>
                    <a:lnTo>
                      <a:pt x="390" y="180"/>
                    </a:lnTo>
                    <a:lnTo>
                      <a:pt x="270" y="30"/>
                    </a:lnTo>
                    <a:lnTo>
                      <a:pt x="210" y="150"/>
                    </a:lnTo>
                    <a:lnTo>
                      <a:pt x="90" y="210"/>
                    </a:lnTo>
                    <a:lnTo>
                      <a:pt x="0" y="60"/>
                    </a:lnTo>
                    <a:lnTo>
                      <a:pt x="150" y="30"/>
                    </a:lnTo>
                    <a:lnTo>
                      <a:pt x="15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7" name="Freeform 2566">
                <a:extLst>
                  <a:ext uri="{FF2B5EF4-FFF2-40B4-BE49-F238E27FC236}">
                    <a16:creationId xmlns:a16="http://schemas.microsoft.com/office/drawing/2014/main" xmlns="" id="{12EA988E-9BC0-48A9-9EAB-60C7550070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90"/>
                <a:ext cx="269" cy="270"/>
              </a:xfrm>
              <a:custGeom>
                <a:avLst/>
                <a:gdLst>
                  <a:gd name="T0" fmla="*/ 0 w 269"/>
                  <a:gd name="T1" fmla="*/ 0 h 270"/>
                  <a:gd name="T2" fmla="*/ 179 w 269"/>
                  <a:gd name="T3" fmla="*/ 60 h 270"/>
                  <a:gd name="T4" fmla="*/ 269 w 269"/>
                  <a:gd name="T5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69" h="270">
                    <a:moveTo>
                      <a:pt x="0" y="0"/>
                    </a:moveTo>
                    <a:lnTo>
                      <a:pt x="179" y="60"/>
                    </a:lnTo>
                    <a:lnTo>
                      <a:pt x="26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8" name="Freeform 2567">
                <a:extLst>
                  <a:ext uri="{FF2B5EF4-FFF2-40B4-BE49-F238E27FC236}">
                    <a16:creationId xmlns:a16="http://schemas.microsoft.com/office/drawing/2014/main" xmlns="" id="{AB8595E3-056D-4173-A70C-FAC903A16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30"/>
                <a:ext cx="360" cy="60"/>
              </a:xfrm>
              <a:custGeom>
                <a:avLst/>
                <a:gdLst>
                  <a:gd name="T0" fmla="*/ 360 w 360"/>
                  <a:gd name="T1" fmla="*/ 0 h 60"/>
                  <a:gd name="T2" fmla="*/ 150 w 360"/>
                  <a:gd name="T3" fmla="*/ 60 h 60"/>
                  <a:gd name="T4" fmla="*/ 0 w 360"/>
                  <a:gd name="T5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60">
                    <a:moveTo>
                      <a:pt x="360" y="0"/>
                    </a:moveTo>
                    <a:lnTo>
                      <a:pt x="15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9" name="Freeform 2568">
                <a:extLst>
                  <a:ext uri="{FF2B5EF4-FFF2-40B4-BE49-F238E27FC236}">
                    <a16:creationId xmlns:a16="http://schemas.microsoft.com/office/drawing/2014/main" xmlns="" id="{8C75A92E-C945-4E61-9166-3D532CED7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6" y="210"/>
                <a:ext cx="389" cy="300"/>
              </a:xfrm>
              <a:custGeom>
                <a:avLst/>
                <a:gdLst>
                  <a:gd name="T0" fmla="*/ 120 w 389"/>
                  <a:gd name="T1" fmla="*/ 150 h 300"/>
                  <a:gd name="T2" fmla="*/ 0 w 389"/>
                  <a:gd name="T3" fmla="*/ 90 h 300"/>
                  <a:gd name="T4" fmla="*/ 60 w 389"/>
                  <a:gd name="T5" fmla="*/ 300 h 300"/>
                  <a:gd name="T6" fmla="*/ 269 w 389"/>
                  <a:gd name="T7" fmla="*/ 120 h 300"/>
                  <a:gd name="T8" fmla="*/ 389 w 389"/>
                  <a:gd name="T9" fmla="*/ 180 h 300"/>
                  <a:gd name="T10" fmla="*/ 210 w 389"/>
                  <a:gd name="T11" fmla="*/ 0 h 300"/>
                  <a:gd name="T12" fmla="*/ 0 w 389"/>
                  <a:gd name="T13" fmla="*/ 9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9" h="300">
                    <a:moveTo>
                      <a:pt x="120" y="150"/>
                    </a:moveTo>
                    <a:lnTo>
                      <a:pt x="0" y="90"/>
                    </a:lnTo>
                    <a:lnTo>
                      <a:pt x="60" y="300"/>
                    </a:lnTo>
                    <a:lnTo>
                      <a:pt x="269" y="120"/>
                    </a:lnTo>
                    <a:lnTo>
                      <a:pt x="389" y="180"/>
                    </a:lnTo>
                    <a:lnTo>
                      <a:pt x="210" y="0"/>
                    </a:lnTo>
                    <a:lnTo>
                      <a:pt x="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0" name="Freeform 2569">
                <a:extLst>
                  <a:ext uri="{FF2B5EF4-FFF2-40B4-BE49-F238E27FC236}">
                    <a16:creationId xmlns:a16="http://schemas.microsoft.com/office/drawing/2014/main" xmlns="" id="{20E2414F-4B98-49AD-B172-A93047461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6" y="60"/>
                <a:ext cx="149" cy="150"/>
              </a:xfrm>
              <a:custGeom>
                <a:avLst/>
                <a:gdLst>
                  <a:gd name="T0" fmla="*/ 0 w 149"/>
                  <a:gd name="T1" fmla="*/ 0 h 150"/>
                  <a:gd name="T2" fmla="*/ 90 w 149"/>
                  <a:gd name="T3" fmla="*/ 150 h 150"/>
                  <a:gd name="T4" fmla="*/ 149 w 149"/>
                  <a:gd name="T5" fmla="*/ 3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0"/>
                    </a:moveTo>
                    <a:lnTo>
                      <a:pt x="90" y="150"/>
                    </a:lnTo>
                    <a:lnTo>
                      <a:pt x="14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1" name="Freeform 2570">
                <a:extLst>
                  <a:ext uri="{FF2B5EF4-FFF2-40B4-BE49-F238E27FC236}">
                    <a16:creationId xmlns:a16="http://schemas.microsoft.com/office/drawing/2014/main" xmlns="" id="{B760BAE8-C52B-4A17-A6A1-4E02DCEFC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210"/>
                <a:ext cx="1649" cy="1050"/>
              </a:xfrm>
              <a:custGeom>
                <a:avLst/>
                <a:gdLst>
                  <a:gd name="T0" fmla="*/ 0 w 1649"/>
                  <a:gd name="T1" fmla="*/ 0 h 1050"/>
                  <a:gd name="T2" fmla="*/ 179 w 1649"/>
                  <a:gd name="T3" fmla="*/ 30 h 1050"/>
                  <a:gd name="T4" fmla="*/ 299 w 1649"/>
                  <a:gd name="T5" fmla="*/ 120 h 1050"/>
                  <a:gd name="T6" fmla="*/ 269 w 1649"/>
                  <a:gd name="T7" fmla="*/ 240 h 1050"/>
                  <a:gd name="T8" fmla="*/ 479 w 1649"/>
                  <a:gd name="T9" fmla="*/ 180 h 1050"/>
                  <a:gd name="T10" fmla="*/ 449 w 1649"/>
                  <a:gd name="T11" fmla="*/ 300 h 1050"/>
                  <a:gd name="T12" fmla="*/ 269 w 1649"/>
                  <a:gd name="T13" fmla="*/ 240 h 1050"/>
                  <a:gd name="T14" fmla="*/ 359 w 1649"/>
                  <a:gd name="T15" fmla="*/ 360 h 1050"/>
                  <a:gd name="T16" fmla="*/ 449 w 1649"/>
                  <a:gd name="T17" fmla="*/ 300 h 1050"/>
                  <a:gd name="T18" fmla="*/ 839 w 1649"/>
                  <a:gd name="T19" fmla="*/ 240 h 1050"/>
                  <a:gd name="T20" fmla="*/ 749 w 1649"/>
                  <a:gd name="T21" fmla="*/ 330 h 1050"/>
                  <a:gd name="T22" fmla="*/ 689 w 1649"/>
                  <a:gd name="T23" fmla="*/ 420 h 1050"/>
                  <a:gd name="T24" fmla="*/ 539 w 1649"/>
                  <a:gd name="T25" fmla="*/ 510 h 1050"/>
                  <a:gd name="T26" fmla="*/ 539 w 1649"/>
                  <a:gd name="T27" fmla="*/ 660 h 1050"/>
                  <a:gd name="T28" fmla="*/ 659 w 1649"/>
                  <a:gd name="T29" fmla="*/ 570 h 1050"/>
                  <a:gd name="T30" fmla="*/ 809 w 1649"/>
                  <a:gd name="T31" fmla="*/ 450 h 1050"/>
                  <a:gd name="T32" fmla="*/ 1049 w 1649"/>
                  <a:gd name="T33" fmla="*/ 300 h 1050"/>
                  <a:gd name="T34" fmla="*/ 1139 w 1649"/>
                  <a:gd name="T35" fmla="*/ 360 h 1050"/>
                  <a:gd name="T36" fmla="*/ 1229 w 1649"/>
                  <a:gd name="T37" fmla="*/ 480 h 1050"/>
                  <a:gd name="T38" fmla="*/ 1319 w 1649"/>
                  <a:gd name="T39" fmla="*/ 360 h 1050"/>
                  <a:gd name="T40" fmla="*/ 1139 w 1649"/>
                  <a:gd name="T41" fmla="*/ 360 h 1050"/>
                  <a:gd name="T42" fmla="*/ 1139 w 1649"/>
                  <a:gd name="T43" fmla="*/ 511 h 1050"/>
                  <a:gd name="T44" fmla="*/ 1049 w 1649"/>
                  <a:gd name="T45" fmla="*/ 480 h 1050"/>
                  <a:gd name="T46" fmla="*/ 1019 w 1649"/>
                  <a:gd name="T47" fmla="*/ 570 h 1050"/>
                  <a:gd name="T48" fmla="*/ 1019 w 1649"/>
                  <a:gd name="T49" fmla="*/ 810 h 1050"/>
                  <a:gd name="T50" fmla="*/ 1139 w 1649"/>
                  <a:gd name="T51" fmla="*/ 720 h 1050"/>
                  <a:gd name="T52" fmla="*/ 1227 w 1649"/>
                  <a:gd name="T53" fmla="*/ 812 h 1050"/>
                  <a:gd name="T54" fmla="*/ 1199 w 1649"/>
                  <a:gd name="T55" fmla="*/ 630 h 1050"/>
                  <a:gd name="T56" fmla="*/ 1289 w 1649"/>
                  <a:gd name="T57" fmla="*/ 570 h 1050"/>
                  <a:gd name="T58" fmla="*/ 1409 w 1649"/>
                  <a:gd name="T59" fmla="*/ 630 h 1050"/>
                  <a:gd name="T60" fmla="*/ 1289 w 1649"/>
                  <a:gd name="T61" fmla="*/ 690 h 1050"/>
                  <a:gd name="T62" fmla="*/ 1379 w 1649"/>
                  <a:gd name="T63" fmla="*/ 750 h 1050"/>
                  <a:gd name="T64" fmla="*/ 1649 w 1649"/>
                  <a:gd name="T65" fmla="*/ 720 h 1050"/>
                  <a:gd name="T66" fmla="*/ 1529 w 1649"/>
                  <a:gd name="T67" fmla="*/ 780 h 1050"/>
                  <a:gd name="T68" fmla="*/ 1559 w 1649"/>
                  <a:gd name="T69" fmla="*/ 1050 h 1050"/>
                  <a:gd name="T70" fmla="*/ 1349 w 1649"/>
                  <a:gd name="T71" fmla="*/ 870 h 10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649" h="1050">
                    <a:moveTo>
                      <a:pt x="0" y="0"/>
                    </a:moveTo>
                    <a:lnTo>
                      <a:pt x="179" y="30"/>
                    </a:lnTo>
                    <a:lnTo>
                      <a:pt x="299" y="120"/>
                    </a:lnTo>
                    <a:lnTo>
                      <a:pt x="269" y="240"/>
                    </a:lnTo>
                    <a:lnTo>
                      <a:pt x="479" y="180"/>
                    </a:lnTo>
                    <a:lnTo>
                      <a:pt x="449" y="300"/>
                    </a:lnTo>
                    <a:lnTo>
                      <a:pt x="269" y="240"/>
                    </a:lnTo>
                    <a:lnTo>
                      <a:pt x="359" y="360"/>
                    </a:lnTo>
                    <a:lnTo>
                      <a:pt x="449" y="300"/>
                    </a:lnTo>
                    <a:lnTo>
                      <a:pt x="839" y="240"/>
                    </a:lnTo>
                    <a:lnTo>
                      <a:pt x="749" y="330"/>
                    </a:lnTo>
                    <a:lnTo>
                      <a:pt x="689" y="420"/>
                    </a:lnTo>
                    <a:lnTo>
                      <a:pt x="539" y="510"/>
                    </a:lnTo>
                    <a:lnTo>
                      <a:pt x="539" y="660"/>
                    </a:lnTo>
                    <a:lnTo>
                      <a:pt x="659" y="570"/>
                    </a:lnTo>
                    <a:lnTo>
                      <a:pt x="809" y="450"/>
                    </a:lnTo>
                    <a:lnTo>
                      <a:pt x="1049" y="300"/>
                    </a:lnTo>
                    <a:lnTo>
                      <a:pt x="1139" y="360"/>
                    </a:lnTo>
                    <a:lnTo>
                      <a:pt x="1229" y="480"/>
                    </a:lnTo>
                    <a:lnTo>
                      <a:pt x="1319" y="360"/>
                    </a:lnTo>
                    <a:lnTo>
                      <a:pt x="1139" y="360"/>
                    </a:lnTo>
                    <a:lnTo>
                      <a:pt x="1139" y="511"/>
                    </a:lnTo>
                    <a:lnTo>
                      <a:pt x="1049" y="480"/>
                    </a:lnTo>
                    <a:lnTo>
                      <a:pt x="1019" y="570"/>
                    </a:lnTo>
                    <a:lnTo>
                      <a:pt x="1019" y="810"/>
                    </a:lnTo>
                    <a:lnTo>
                      <a:pt x="1139" y="720"/>
                    </a:lnTo>
                    <a:lnTo>
                      <a:pt x="1227" y="812"/>
                    </a:lnTo>
                    <a:lnTo>
                      <a:pt x="1199" y="630"/>
                    </a:lnTo>
                    <a:lnTo>
                      <a:pt x="1289" y="570"/>
                    </a:lnTo>
                    <a:lnTo>
                      <a:pt x="1409" y="630"/>
                    </a:lnTo>
                    <a:lnTo>
                      <a:pt x="1289" y="690"/>
                    </a:lnTo>
                    <a:lnTo>
                      <a:pt x="1379" y="750"/>
                    </a:lnTo>
                    <a:lnTo>
                      <a:pt x="1649" y="720"/>
                    </a:lnTo>
                    <a:lnTo>
                      <a:pt x="1529" y="780"/>
                    </a:lnTo>
                    <a:lnTo>
                      <a:pt x="1559" y="1050"/>
                    </a:lnTo>
                    <a:lnTo>
                      <a:pt x="1349" y="8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2" name="Freeform 2571">
                <a:extLst>
                  <a:ext uri="{FF2B5EF4-FFF2-40B4-BE49-F238E27FC236}">
                    <a16:creationId xmlns:a16="http://schemas.microsoft.com/office/drawing/2014/main" xmlns="" id="{F5ECA01B-A71B-4838-898C-7FA4AAC48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5" y="300"/>
                <a:ext cx="270" cy="210"/>
              </a:xfrm>
              <a:custGeom>
                <a:avLst/>
                <a:gdLst>
                  <a:gd name="T0" fmla="*/ 120 w 270"/>
                  <a:gd name="T1" fmla="*/ 0 h 210"/>
                  <a:gd name="T2" fmla="*/ 270 w 270"/>
                  <a:gd name="T3" fmla="*/ 60 h 210"/>
                  <a:gd name="T4" fmla="*/ 0 w 270"/>
                  <a:gd name="T5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210">
                    <a:moveTo>
                      <a:pt x="120" y="0"/>
                    </a:moveTo>
                    <a:lnTo>
                      <a:pt x="270" y="6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3" name="Freeform 2572">
                <a:extLst>
                  <a:ext uri="{FF2B5EF4-FFF2-40B4-BE49-F238E27FC236}">
                    <a16:creationId xmlns:a16="http://schemas.microsoft.com/office/drawing/2014/main" xmlns="" id="{491EBD2A-E5CE-484B-9965-9138AB4B35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5" y="360"/>
                <a:ext cx="180" cy="90"/>
              </a:xfrm>
              <a:custGeom>
                <a:avLst/>
                <a:gdLst>
                  <a:gd name="T0" fmla="*/ 120 w 180"/>
                  <a:gd name="T1" fmla="*/ 90 h 90"/>
                  <a:gd name="T2" fmla="*/ 0 w 180"/>
                  <a:gd name="T3" fmla="*/ 0 h 90"/>
                  <a:gd name="T4" fmla="*/ 180 w 180"/>
                  <a:gd name="T5" fmla="*/ 0 h 90"/>
                  <a:gd name="T6" fmla="*/ 120 w 180"/>
                  <a:gd name="T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90">
                    <a:moveTo>
                      <a:pt x="120" y="90"/>
                    </a:moveTo>
                    <a:lnTo>
                      <a:pt x="0" y="0"/>
                    </a:lnTo>
                    <a:lnTo>
                      <a:pt x="180" y="0"/>
                    </a:lnTo>
                    <a:lnTo>
                      <a:pt x="120" y="9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4" name="Freeform 2573">
                <a:extLst>
                  <a:ext uri="{FF2B5EF4-FFF2-40B4-BE49-F238E27FC236}">
                    <a16:creationId xmlns:a16="http://schemas.microsoft.com/office/drawing/2014/main" xmlns="" id="{80C0CC92-850E-42D6-ABF4-DC988BC6FE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5" y="30"/>
                <a:ext cx="210" cy="150"/>
              </a:xfrm>
              <a:custGeom>
                <a:avLst/>
                <a:gdLst>
                  <a:gd name="T0" fmla="*/ 120 w 210"/>
                  <a:gd name="T1" fmla="*/ 60 h 150"/>
                  <a:gd name="T2" fmla="*/ 210 w 210"/>
                  <a:gd name="T3" fmla="*/ 90 h 150"/>
                  <a:gd name="T4" fmla="*/ 0 w 210"/>
                  <a:gd name="T5" fmla="*/ 150 h 150"/>
                  <a:gd name="T6" fmla="*/ 0 w 210"/>
                  <a:gd name="T7" fmla="*/ 0 h 150"/>
                  <a:gd name="T8" fmla="*/ 120 w 210"/>
                  <a:gd name="T9" fmla="*/ 6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0" h="150">
                    <a:moveTo>
                      <a:pt x="120" y="60"/>
                    </a:moveTo>
                    <a:lnTo>
                      <a:pt x="210" y="90"/>
                    </a:lnTo>
                    <a:lnTo>
                      <a:pt x="0" y="150"/>
                    </a:lnTo>
                    <a:lnTo>
                      <a:pt x="0" y="0"/>
                    </a:lnTo>
                    <a:lnTo>
                      <a:pt x="120" y="6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5" name="Line 2574">
                <a:extLst>
                  <a:ext uri="{FF2B5EF4-FFF2-40B4-BE49-F238E27FC236}">
                    <a16:creationId xmlns:a16="http://schemas.microsoft.com/office/drawing/2014/main" xmlns="" id="{E7EF79C8-28F4-4FBE-87AB-BADAB398C1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385" y="15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6" name="Freeform 2575">
                <a:extLst>
                  <a:ext uri="{FF2B5EF4-FFF2-40B4-BE49-F238E27FC236}">
                    <a16:creationId xmlns:a16="http://schemas.microsoft.com/office/drawing/2014/main" xmlns="" id="{017E3464-3FE4-4F2E-9EF7-BD8E66D07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30"/>
                <a:ext cx="2398" cy="390"/>
              </a:xfrm>
              <a:custGeom>
                <a:avLst/>
                <a:gdLst>
                  <a:gd name="T0" fmla="*/ 509 w 2398"/>
                  <a:gd name="T1" fmla="*/ 60 h 390"/>
                  <a:gd name="T2" fmla="*/ 419 w 2398"/>
                  <a:gd name="T3" fmla="*/ 120 h 390"/>
                  <a:gd name="T4" fmla="*/ 239 w 2398"/>
                  <a:gd name="T5" fmla="*/ 60 h 390"/>
                  <a:gd name="T6" fmla="*/ 90 w 2398"/>
                  <a:gd name="T7" fmla="*/ 30 h 390"/>
                  <a:gd name="T8" fmla="*/ 0 w 2398"/>
                  <a:gd name="T9" fmla="*/ 120 h 390"/>
                  <a:gd name="T10" fmla="*/ 180 w 2398"/>
                  <a:gd name="T11" fmla="*/ 180 h 390"/>
                  <a:gd name="T12" fmla="*/ 90 w 2398"/>
                  <a:gd name="T13" fmla="*/ 330 h 390"/>
                  <a:gd name="T14" fmla="*/ 239 w 2398"/>
                  <a:gd name="T15" fmla="*/ 300 h 390"/>
                  <a:gd name="T16" fmla="*/ 239 w 2398"/>
                  <a:gd name="T17" fmla="*/ 60 h 390"/>
                  <a:gd name="T18" fmla="*/ 359 w 2398"/>
                  <a:gd name="T19" fmla="*/ 210 h 390"/>
                  <a:gd name="T20" fmla="*/ 359 w 2398"/>
                  <a:gd name="T21" fmla="*/ 360 h 390"/>
                  <a:gd name="T22" fmla="*/ 479 w 2398"/>
                  <a:gd name="T23" fmla="*/ 300 h 390"/>
                  <a:gd name="T24" fmla="*/ 419 w 2398"/>
                  <a:gd name="T25" fmla="*/ 120 h 390"/>
                  <a:gd name="T26" fmla="*/ 509 w 2398"/>
                  <a:gd name="T27" fmla="*/ 180 h 390"/>
                  <a:gd name="T28" fmla="*/ 509 w 2398"/>
                  <a:gd name="T29" fmla="*/ 60 h 390"/>
                  <a:gd name="T30" fmla="*/ 629 w 2398"/>
                  <a:gd name="T31" fmla="*/ 30 h 390"/>
                  <a:gd name="T32" fmla="*/ 719 w 2398"/>
                  <a:gd name="T33" fmla="*/ 0 h 390"/>
                  <a:gd name="T34" fmla="*/ 629 w 2398"/>
                  <a:gd name="T35" fmla="*/ 120 h 390"/>
                  <a:gd name="T36" fmla="*/ 719 w 2398"/>
                  <a:gd name="T37" fmla="*/ 150 h 390"/>
                  <a:gd name="T38" fmla="*/ 599 w 2398"/>
                  <a:gd name="T39" fmla="*/ 240 h 390"/>
                  <a:gd name="T40" fmla="*/ 659 w 2398"/>
                  <a:gd name="T41" fmla="*/ 360 h 390"/>
                  <a:gd name="T42" fmla="*/ 749 w 2398"/>
                  <a:gd name="T43" fmla="*/ 270 h 390"/>
                  <a:gd name="T44" fmla="*/ 839 w 2398"/>
                  <a:gd name="T45" fmla="*/ 60 h 390"/>
                  <a:gd name="T46" fmla="*/ 869 w 2398"/>
                  <a:gd name="T47" fmla="*/ 210 h 390"/>
                  <a:gd name="T48" fmla="*/ 929 w 2398"/>
                  <a:gd name="T49" fmla="*/ 90 h 390"/>
                  <a:gd name="T50" fmla="*/ 899 w 2398"/>
                  <a:gd name="T51" fmla="*/ 330 h 390"/>
                  <a:gd name="T52" fmla="*/ 1019 w 2398"/>
                  <a:gd name="T53" fmla="*/ 240 h 390"/>
                  <a:gd name="T54" fmla="*/ 1079 w 2398"/>
                  <a:gd name="T55" fmla="*/ 330 h 390"/>
                  <a:gd name="T56" fmla="*/ 1139 w 2398"/>
                  <a:gd name="T57" fmla="*/ 180 h 390"/>
                  <a:gd name="T58" fmla="*/ 1079 w 2398"/>
                  <a:gd name="T59" fmla="*/ 60 h 390"/>
                  <a:gd name="T60" fmla="*/ 1199 w 2398"/>
                  <a:gd name="T61" fmla="*/ 60 h 390"/>
                  <a:gd name="T62" fmla="*/ 1319 w 2398"/>
                  <a:gd name="T63" fmla="*/ 0 h 390"/>
                  <a:gd name="T64" fmla="*/ 1319 w 2398"/>
                  <a:gd name="T65" fmla="*/ 210 h 390"/>
                  <a:gd name="T66" fmla="*/ 1199 w 2398"/>
                  <a:gd name="T67" fmla="*/ 300 h 390"/>
                  <a:gd name="T68" fmla="*/ 1319 w 2398"/>
                  <a:gd name="T69" fmla="*/ 360 h 390"/>
                  <a:gd name="T70" fmla="*/ 1439 w 2398"/>
                  <a:gd name="T71" fmla="*/ 270 h 390"/>
                  <a:gd name="T72" fmla="*/ 1379 w 2398"/>
                  <a:gd name="T73" fmla="*/ 120 h 390"/>
                  <a:gd name="T74" fmla="*/ 1469 w 2398"/>
                  <a:gd name="T75" fmla="*/ 60 h 390"/>
                  <a:gd name="T76" fmla="*/ 1589 w 2398"/>
                  <a:gd name="T77" fmla="*/ 120 h 390"/>
                  <a:gd name="T78" fmla="*/ 1559 w 2398"/>
                  <a:gd name="T79" fmla="*/ 240 h 390"/>
                  <a:gd name="T80" fmla="*/ 1619 w 2398"/>
                  <a:gd name="T81" fmla="*/ 360 h 390"/>
                  <a:gd name="T82" fmla="*/ 1709 w 2398"/>
                  <a:gd name="T83" fmla="*/ 270 h 390"/>
                  <a:gd name="T84" fmla="*/ 1679 w 2398"/>
                  <a:gd name="T85" fmla="*/ 150 h 390"/>
                  <a:gd name="T86" fmla="*/ 1679 w 2398"/>
                  <a:gd name="T87" fmla="*/ 0 h 390"/>
                  <a:gd name="T88" fmla="*/ 1799 w 2398"/>
                  <a:gd name="T89" fmla="*/ 60 h 390"/>
                  <a:gd name="T90" fmla="*/ 1829 w 2398"/>
                  <a:gd name="T91" fmla="*/ 210 h 390"/>
                  <a:gd name="T92" fmla="*/ 1978 w 2398"/>
                  <a:gd name="T93" fmla="*/ 120 h 390"/>
                  <a:gd name="T94" fmla="*/ 1948 w 2398"/>
                  <a:gd name="T95" fmla="*/ 240 h 390"/>
                  <a:gd name="T96" fmla="*/ 1888 w 2398"/>
                  <a:gd name="T97" fmla="*/ 360 h 390"/>
                  <a:gd name="T98" fmla="*/ 2068 w 2398"/>
                  <a:gd name="T99" fmla="*/ 330 h 390"/>
                  <a:gd name="T100" fmla="*/ 2248 w 2398"/>
                  <a:gd name="T101" fmla="*/ 390 h 390"/>
                  <a:gd name="T102" fmla="*/ 2398 w 2398"/>
                  <a:gd name="T103" fmla="*/ 270 h 390"/>
                  <a:gd name="T104" fmla="*/ 2278 w 2398"/>
                  <a:gd name="T105" fmla="*/ 240 h 390"/>
                  <a:gd name="T106" fmla="*/ 2368 w 2398"/>
                  <a:gd name="T107" fmla="*/ 12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98" h="390">
                    <a:moveTo>
                      <a:pt x="509" y="60"/>
                    </a:moveTo>
                    <a:lnTo>
                      <a:pt x="419" y="120"/>
                    </a:lnTo>
                    <a:lnTo>
                      <a:pt x="239" y="60"/>
                    </a:lnTo>
                    <a:lnTo>
                      <a:pt x="90" y="30"/>
                    </a:lnTo>
                    <a:lnTo>
                      <a:pt x="0" y="120"/>
                    </a:lnTo>
                    <a:lnTo>
                      <a:pt x="180" y="180"/>
                    </a:lnTo>
                    <a:lnTo>
                      <a:pt x="90" y="330"/>
                    </a:lnTo>
                    <a:lnTo>
                      <a:pt x="239" y="300"/>
                    </a:lnTo>
                    <a:lnTo>
                      <a:pt x="239" y="60"/>
                    </a:lnTo>
                    <a:lnTo>
                      <a:pt x="359" y="210"/>
                    </a:lnTo>
                    <a:lnTo>
                      <a:pt x="359" y="360"/>
                    </a:lnTo>
                    <a:lnTo>
                      <a:pt x="479" y="300"/>
                    </a:lnTo>
                    <a:lnTo>
                      <a:pt x="419" y="120"/>
                    </a:lnTo>
                    <a:lnTo>
                      <a:pt x="509" y="180"/>
                    </a:lnTo>
                    <a:lnTo>
                      <a:pt x="509" y="60"/>
                    </a:lnTo>
                    <a:lnTo>
                      <a:pt x="629" y="30"/>
                    </a:lnTo>
                    <a:lnTo>
                      <a:pt x="719" y="0"/>
                    </a:lnTo>
                    <a:lnTo>
                      <a:pt x="629" y="120"/>
                    </a:lnTo>
                    <a:lnTo>
                      <a:pt x="719" y="150"/>
                    </a:lnTo>
                    <a:lnTo>
                      <a:pt x="599" y="240"/>
                    </a:lnTo>
                    <a:lnTo>
                      <a:pt x="659" y="360"/>
                    </a:lnTo>
                    <a:lnTo>
                      <a:pt x="749" y="270"/>
                    </a:lnTo>
                    <a:lnTo>
                      <a:pt x="839" y="60"/>
                    </a:lnTo>
                    <a:lnTo>
                      <a:pt x="869" y="210"/>
                    </a:lnTo>
                    <a:lnTo>
                      <a:pt x="929" y="90"/>
                    </a:lnTo>
                    <a:lnTo>
                      <a:pt x="899" y="330"/>
                    </a:lnTo>
                    <a:lnTo>
                      <a:pt x="1019" y="240"/>
                    </a:lnTo>
                    <a:lnTo>
                      <a:pt x="1079" y="330"/>
                    </a:lnTo>
                    <a:lnTo>
                      <a:pt x="1139" y="180"/>
                    </a:lnTo>
                    <a:lnTo>
                      <a:pt x="1079" y="60"/>
                    </a:lnTo>
                    <a:lnTo>
                      <a:pt x="1199" y="60"/>
                    </a:lnTo>
                    <a:lnTo>
                      <a:pt x="1319" y="0"/>
                    </a:lnTo>
                    <a:lnTo>
                      <a:pt x="1319" y="210"/>
                    </a:lnTo>
                    <a:lnTo>
                      <a:pt x="1199" y="300"/>
                    </a:lnTo>
                    <a:lnTo>
                      <a:pt x="1319" y="360"/>
                    </a:lnTo>
                    <a:lnTo>
                      <a:pt x="1439" y="270"/>
                    </a:lnTo>
                    <a:lnTo>
                      <a:pt x="1379" y="120"/>
                    </a:lnTo>
                    <a:lnTo>
                      <a:pt x="1469" y="60"/>
                    </a:lnTo>
                    <a:lnTo>
                      <a:pt x="1589" y="120"/>
                    </a:lnTo>
                    <a:lnTo>
                      <a:pt x="1559" y="240"/>
                    </a:lnTo>
                    <a:lnTo>
                      <a:pt x="1619" y="360"/>
                    </a:lnTo>
                    <a:lnTo>
                      <a:pt x="1709" y="270"/>
                    </a:lnTo>
                    <a:lnTo>
                      <a:pt x="1679" y="150"/>
                    </a:lnTo>
                    <a:lnTo>
                      <a:pt x="1679" y="0"/>
                    </a:lnTo>
                    <a:lnTo>
                      <a:pt x="1799" y="60"/>
                    </a:lnTo>
                    <a:lnTo>
                      <a:pt x="1829" y="210"/>
                    </a:lnTo>
                    <a:lnTo>
                      <a:pt x="1978" y="120"/>
                    </a:lnTo>
                    <a:lnTo>
                      <a:pt x="1948" y="240"/>
                    </a:lnTo>
                    <a:lnTo>
                      <a:pt x="1888" y="360"/>
                    </a:lnTo>
                    <a:lnTo>
                      <a:pt x="2068" y="330"/>
                    </a:lnTo>
                    <a:lnTo>
                      <a:pt x="2248" y="390"/>
                    </a:lnTo>
                    <a:lnTo>
                      <a:pt x="2398" y="270"/>
                    </a:lnTo>
                    <a:lnTo>
                      <a:pt x="2278" y="240"/>
                    </a:lnTo>
                    <a:lnTo>
                      <a:pt x="2368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7" name="Line 2576">
                <a:extLst>
                  <a:ext uri="{FF2B5EF4-FFF2-40B4-BE49-F238E27FC236}">
                    <a16:creationId xmlns:a16="http://schemas.microsoft.com/office/drawing/2014/main" xmlns="" id="{8DBF2DF5-1590-440E-A50F-C4126532EE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35" y="150"/>
                <a:ext cx="60" cy="9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8" name="Freeform 2577">
                <a:extLst>
                  <a:ext uri="{FF2B5EF4-FFF2-40B4-BE49-F238E27FC236}">
                    <a16:creationId xmlns:a16="http://schemas.microsoft.com/office/drawing/2014/main" xmlns="" id="{C65A8C78-B657-4918-82D9-4BF9B381C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210"/>
                <a:ext cx="180" cy="360"/>
              </a:xfrm>
              <a:custGeom>
                <a:avLst/>
                <a:gdLst>
                  <a:gd name="T0" fmla="*/ 180 w 180"/>
                  <a:gd name="T1" fmla="*/ 180 h 360"/>
                  <a:gd name="T2" fmla="*/ 0 w 180"/>
                  <a:gd name="T3" fmla="*/ 120 h 360"/>
                  <a:gd name="T4" fmla="*/ 30 w 180"/>
                  <a:gd name="T5" fmla="*/ 0 h 360"/>
                  <a:gd name="T6" fmla="*/ 120 w 180"/>
                  <a:gd name="T7" fmla="*/ 60 h 360"/>
                  <a:gd name="T8" fmla="*/ 60 w 180"/>
                  <a:gd name="T9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360">
                    <a:moveTo>
                      <a:pt x="180" y="180"/>
                    </a:moveTo>
                    <a:lnTo>
                      <a:pt x="0" y="120"/>
                    </a:lnTo>
                    <a:lnTo>
                      <a:pt x="30" y="0"/>
                    </a:lnTo>
                    <a:lnTo>
                      <a:pt x="120" y="60"/>
                    </a:lnTo>
                    <a:lnTo>
                      <a:pt x="60" y="3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9" name="Line 2578">
                <a:extLst>
                  <a:ext uri="{FF2B5EF4-FFF2-40B4-BE49-F238E27FC236}">
                    <a16:creationId xmlns:a16="http://schemas.microsoft.com/office/drawing/2014/main" xmlns="" id="{41AD668A-7D9D-45E3-AE5B-9C587F264E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35" y="390"/>
                <a:ext cx="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90" name="Freeform 2579">
                <a:extLst>
                  <a:ext uri="{FF2B5EF4-FFF2-40B4-BE49-F238E27FC236}">
                    <a16:creationId xmlns:a16="http://schemas.microsoft.com/office/drawing/2014/main" xmlns="" id="{FE0ED69F-107E-45EA-9B41-DB628022BB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300"/>
                <a:ext cx="180" cy="330"/>
              </a:xfrm>
              <a:custGeom>
                <a:avLst/>
                <a:gdLst>
                  <a:gd name="T0" fmla="*/ 180 w 180"/>
                  <a:gd name="T1" fmla="*/ 240 h 330"/>
                  <a:gd name="T2" fmla="*/ 0 w 180"/>
                  <a:gd name="T3" fmla="*/ 0 h 330"/>
                  <a:gd name="T4" fmla="*/ 120 w 180"/>
                  <a:gd name="T5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330">
                    <a:moveTo>
                      <a:pt x="180" y="240"/>
                    </a:moveTo>
                    <a:lnTo>
                      <a:pt x="0" y="0"/>
                    </a:lnTo>
                    <a:lnTo>
                      <a:pt x="12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91" name="Line 2580">
                <a:extLst>
                  <a:ext uri="{FF2B5EF4-FFF2-40B4-BE49-F238E27FC236}">
                    <a16:creationId xmlns:a16="http://schemas.microsoft.com/office/drawing/2014/main" xmlns="" id="{9B4AE8E5-A80D-4ACB-A0D3-298B880940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80"/>
                <a:ext cx="3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grpSp>
          <p:nvGrpSpPr>
            <p:cNvPr id="2605" name="Group 2782">
              <a:extLst>
                <a:ext uri="{FF2B5EF4-FFF2-40B4-BE49-F238E27FC236}">
                  <a16:creationId xmlns:a16="http://schemas.microsoft.com/office/drawing/2014/main" xmlns="" id="{A556337D-0371-43B3-996A-8EDCA23E7E4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46" y="0"/>
              <a:ext cx="3268" cy="3210"/>
              <a:chOff x="1246" y="0"/>
              <a:chExt cx="3268" cy="3210"/>
            </a:xfrm>
          </p:grpSpPr>
          <p:sp>
            <p:nvSpPr>
              <p:cNvPr id="2992" name="Freeform 2582">
                <a:extLst>
                  <a:ext uri="{FF2B5EF4-FFF2-40B4-BE49-F238E27FC236}">
                    <a16:creationId xmlns:a16="http://schemas.microsoft.com/office/drawing/2014/main" xmlns="" id="{11A3552C-3620-4963-A46F-DE2C924C5D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90"/>
                <a:ext cx="180" cy="240"/>
              </a:xfrm>
              <a:custGeom>
                <a:avLst/>
                <a:gdLst>
                  <a:gd name="T0" fmla="*/ 180 w 180"/>
                  <a:gd name="T1" fmla="*/ 0 h 240"/>
                  <a:gd name="T2" fmla="*/ 180 w 180"/>
                  <a:gd name="T3" fmla="*/ 240 h 240"/>
                  <a:gd name="T4" fmla="*/ 0 w 180"/>
                  <a:gd name="T5" fmla="*/ 18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40">
                    <a:moveTo>
                      <a:pt x="180" y="0"/>
                    </a:moveTo>
                    <a:lnTo>
                      <a:pt x="180" y="24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3" name="Freeform 2583">
                <a:extLst>
                  <a:ext uri="{FF2B5EF4-FFF2-40B4-BE49-F238E27FC236}">
                    <a16:creationId xmlns:a16="http://schemas.microsoft.com/office/drawing/2014/main" xmlns="" id="{36185F14-2C67-45D8-88A4-FA649636A9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20"/>
                <a:ext cx="450" cy="90"/>
              </a:xfrm>
              <a:custGeom>
                <a:avLst/>
                <a:gdLst>
                  <a:gd name="T0" fmla="*/ 0 w 450"/>
                  <a:gd name="T1" fmla="*/ 0 h 90"/>
                  <a:gd name="T2" fmla="*/ 210 w 450"/>
                  <a:gd name="T3" fmla="*/ 90 h 90"/>
                  <a:gd name="T4" fmla="*/ 450 w 450"/>
                  <a:gd name="T5" fmla="*/ 3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50" h="90">
                    <a:moveTo>
                      <a:pt x="0" y="0"/>
                    </a:moveTo>
                    <a:lnTo>
                      <a:pt x="210" y="90"/>
                    </a:lnTo>
                    <a:lnTo>
                      <a:pt x="45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4" name="Freeform 2584">
                <a:extLst>
                  <a:ext uri="{FF2B5EF4-FFF2-40B4-BE49-F238E27FC236}">
                    <a16:creationId xmlns:a16="http://schemas.microsoft.com/office/drawing/2014/main" xmlns="" id="{0386EE2F-5186-4568-9CBE-E9FD42A954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270"/>
                <a:ext cx="480" cy="240"/>
              </a:xfrm>
              <a:custGeom>
                <a:avLst/>
                <a:gdLst>
                  <a:gd name="T0" fmla="*/ 480 w 480"/>
                  <a:gd name="T1" fmla="*/ 0 h 240"/>
                  <a:gd name="T2" fmla="*/ 330 w 480"/>
                  <a:gd name="T3" fmla="*/ 210 h 240"/>
                  <a:gd name="T4" fmla="*/ 0 w 480"/>
                  <a:gd name="T5" fmla="*/ 90 h 240"/>
                  <a:gd name="T6" fmla="*/ 150 w 480"/>
                  <a:gd name="T7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0" h="240">
                    <a:moveTo>
                      <a:pt x="480" y="0"/>
                    </a:moveTo>
                    <a:lnTo>
                      <a:pt x="330" y="210"/>
                    </a:lnTo>
                    <a:lnTo>
                      <a:pt x="0" y="90"/>
                    </a:lnTo>
                    <a:lnTo>
                      <a:pt x="15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5" name="Line 2585">
                <a:extLst>
                  <a:ext uri="{FF2B5EF4-FFF2-40B4-BE49-F238E27FC236}">
                    <a16:creationId xmlns:a16="http://schemas.microsoft.com/office/drawing/2014/main" xmlns="" id="{AB9ED66E-AFF3-471F-BCE5-DD2EC76B8E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465" y="390"/>
                <a:ext cx="3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6" name="Freeform 2586">
                <a:extLst>
                  <a:ext uri="{FF2B5EF4-FFF2-40B4-BE49-F238E27FC236}">
                    <a16:creationId xmlns:a16="http://schemas.microsoft.com/office/drawing/2014/main" xmlns="" id="{CA91E15D-D39D-4B3C-894C-6F6E654CB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240"/>
                <a:ext cx="209" cy="270"/>
              </a:xfrm>
              <a:custGeom>
                <a:avLst/>
                <a:gdLst>
                  <a:gd name="T0" fmla="*/ 0 w 209"/>
                  <a:gd name="T1" fmla="*/ 60 h 270"/>
                  <a:gd name="T2" fmla="*/ 90 w 209"/>
                  <a:gd name="T3" fmla="*/ 210 h 270"/>
                  <a:gd name="T4" fmla="*/ 120 w 209"/>
                  <a:gd name="T5" fmla="*/ 0 h 270"/>
                  <a:gd name="T6" fmla="*/ 179 w 209"/>
                  <a:gd name="T7" fmla="*/ 150 h 270"/>
                  <a:gd name="T8" fmla="*/ 209 w 209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270">
                    <a:moveTo>
                      <a:pt x="0" y="60"/>
                    </a:moveTo>
                    <a:lnTo>
                      <a:pt x="90" y="210"/>
                    </a:lnTo>
                    <a:lnTo>
                      <a:pt x="120" y="0"/>
                    </a:lnTo>
                    <a:lnTo>
                      <a:pt x="179" y="150"/>
                    </a:lnTo>
                    <a:lnTo>
                      <a:pt x="20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7" name="Freeform 2587">
                <a:extLst>
                  <a:ext uri="{FF2B5EF4-FFF2-40B4-BE49-F238E27FC236}">
                    <a16:creationId xmlns:a16="http://schemas.microsoft.com/office/drawing/2014/main" xmlns="" id="{14509826-1DA0-4F79-AD17-92ACC9BC17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5" y="90"/>
                <a:ext cx="389" cy="270"/>
              </a:xfrm>
              <a:custGeom>
                <a:avLst/>
                <a:gdLst>
                  <a:gd name="T0" fmla="*/ 150 w 389"/>
                  <a:gd name="T1" fmla="*/ 150 h 270"/>
                  <a:gd name="T2" fmla="*/ 0 w 389"/>
                  <a:gd name="T3" fmla="*/ 90 h 270"/>
                  <a:gd name="T4" fmla="*/ 120 w 389"/>
                  <a:gd name="T5" fmla="*/ 0 h 270"/>
                  <a:gd name="T6" fmla="*/ 269 w 389"/>
                  <a:gd name="T7" fmla="*/ 180 h 270"/>
                  <a:gd name="T8" fmla="*/ 389 w 389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9" h="270">
                    <a:moveTo>
                      <a:pt x="150" y="150"/>
                    </a:moveTo>
                    <a:lnTo>
                      <a:pt x="0" y="90"/>
                    </a:lnTo>
                    <a:lnTo>
                      <a:pt x="120" y="0"/>
                    </a:lnTo>
                    <a:lnTo>
                      <a:pt x="269" y="180"/>
                    </a:lnTo>
                    <a:lnTo>
                      <a:pt x="38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8" name="Freeform 2588">
                <a:extLst>
                  <a:ext uri="{FF2B5EF4-FFF2-40B4-BE49-F238E27FC236}">
                    <a16:creationId xmlns:a16="http://schemas.microsoft.com/office/drawing/2014/main" xmlns="" id="{26BDDB77-C01D-4AE1-9CE0-7A51CDB294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390"/>
                <a:ext cx="360" cy="360"/>
              </a:xfrm>
              <a:custGeom>
                <a:avLst/>
                <a:gdLst>
                  <a:gd name="T0" fmla="*/ 0 w 360"/>
                  <a:gd name="T1" fmla="*/ 0 h 360"/>
                  <a:gd name="T2" fmla="*/ 180 w 360"/>
                  <a:gd name="T3" fmla="*/ 90 h 360"/>
                  <a:gd name="T4" fmla="*/ 360 w 360"/>
                  <a:gd name="T5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360">
                    <a:moveTo>
                      <a:pt x="0" y="0"/>
                    </a:moveTo>
                    <a:lnTo>
                      <a:pt x="180" y="90"/>
                    </a:lnTo>
                    <a:lnTo>
                      <a:pt x="360" y="3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9" name="Freeform 2589">
                <a:extLst>
                  <a:ext uri="{FF2B5EF4-FFF2-40B4-BE49-F238E27FC236}">
                    <a16:creationId xmlns:a16="http://schemas.microsoft.com/office/drawing/2014/main" xmlns="" id="{2661C854-7E6A-4D6A-BEA5-303BE20BE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60"/>
                <a:ext cx="600" cy="240"/>
              </a:xfrm>
              <a:custGeom>
                <a:avLst/>
                <a:gdLst>
                  <a:gd name="T0" fmla="*/ 600 w 600"/>
                  <a:gd name="T1" fmla="*/ 0 h 240"/>
                  <a:gd name="T2" fmla="*/ 450 w 600"/>
                  <a:gd name="T3" fmla="*/ 240 h 240"/>
                  <a:gd name="T4" fmla="*/ 270 w 600"/>
                  <a:gd name="T5" fmla="*/ 60 h 240"/>
                  <a:gd name="T6" fmla="*/ 0 w 600"/>
                  <a:gd name="T7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0" h="240">
                    <a:moveTo>
                      <a:pt x="600" y="0"/>
                    </a:moveTo>
                    <a:lnTo>
                      <a:pt x="450" y="240"/>
                    </a:lnTo>
                    <a:lnTo>
                      <a:pt x="270" y="6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0" name="Freeform 2590">
                <a:extLst>
                  <a:ext uri="{FF2B5EF4-FFF2-40B4-BE49-F238E27FC236}">
                    <a16:creationId xmlns:a16="http://schemas.microsoft.com/office/drawing/2014/main" xmlns="" id="{199825CB-C6C4-48FD-B2B7-BD2B664A67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2550"/>
                <a:ext cx="2338" cy="660"/>
              </a:xfrm>
              <a:custGeom>
                <a:avLst/>
                <a:gdLst>
                  <a:gd name="T0" fmla="*/ 30 w 2338"/>
                  <a:gd name="T1" fmla="*/ 420 h 660"/>
                  <a:gd name="T2" fmla="*/ 0 w 2338"/>
                  <a:gd name="T3" fmla="*/ 270 h 660"/>
                  <a:gd name="T4" fmla="*/ 150 w 2338"/>
                  <a:gd name="T5" fmla="*/ 510 h 660"/>
                  <a:gd name="T6" fmla="*/ 210 w 2338"/>
                  <a:gd name="T7" fmla="*/ 420 h 660"/>
                  <a:gd name="T8" fmla="*/ 210 w 2338"/>
                  <a:gd name="T9" fmla="*/ 120 h 660"/>
                  <a:gd name="T10" fmla="*/ 60 w 2338"/>
                  <a:gd name="T11" fmla="*/ 150 h 660"/>
                  <a:gd name="T12" fmla="*/ 120 w 2338"/>
                  <a:gd name="T13" fmla="*/ 0 h 660"/>
                  <a:gd name="T14" fmla="*/ 330 w 2338"/>
                  <a:gd name="T15" fmla="*/ 90 h 660"/>
                  <a:gd name="T16" fmla="*/ 420 w 2338"/>
                  <a:gd name="T17" fmla="*/ 210 h 660"/>
                  <a:gd name="T18" fmla="*/ 210 w 2338"/>
                  <a:gd name="T19" fmla="*/ 120 h 660"/>
                  <a:gd name="T20" fmla="*/ 270 w 2338"/>
                  <a:gd name="T21" fmla="*/ 240 h 660"/>
                  <a:gd name="T22" fmla="*/ 420 w 2338"/>
                  <a:gd name="T23" fmla="*/ 210 h 660"/>
                  <a:gd name="T24" fmla="*/ 510 w 2338"/>
                  <a:gd name="T25" fmla="*/ 120 h 660"/>
                  <a:gd name="T26" fmla="*/ 599 w 2338"/>
                  <a:gd name="T27" fmla="*/ 210 h 660"/>
                  <a:gd name="T28" fmla="*/ 809 w 2338"/>
                  <a:gd name="T29" fmla="*/ 150 h 660"/>
                  <a:gd name="T30" fmla="*/ 719 w 2338"/>
                  <a:gd name="T31" fmla="*/ 240 h 660"/>
                  <a:gd name="T32" fmla="*/ 510 w 2338"/>
                  <a:gd name="T33" fmla="*/ 480 h 660"/>
                  <a:gd name="T34" fmla="*/ 689 w 2338"/>
                  <a:gd name="T35" fmla="*/ 510 h 660"/>
                  <a:gd name="T36" fmla="*/ 689 w 2338"/>
                  <a:gd name="T37" fmla="*/ 660 h 660"/>
                  <a:gd name="T38" fmla="*/ 569 w 2338"/>
                  <a:gd name="T39" fmla="*/ 600 h 660"/>
                  <a:gd name="T40" fmla="*/ 300 w 2338"/>
                  <a:gd name="T41" fmla="*/ 570 h 660"/>
                  <a:gd name="T42" fmla="*/ 420 w 2338"/>
                  <a:gd name="T43" fmla="*/ 330 h 660"/>
                  <a:gd name="T44" fmla="*/ 569 w 2338"/>
                  <a:gd name="T45" fmla="*/ 360 h 660"/>
                  <a:gd name="T46" fmla="*/ 599 w 2338"/>
                  <a:gd name="T47" fmla="*/ 210 h 660"/>
                  <a:gd name="T48" fmla="*/ 749 w 2338"/>
                  <a:gd name="T49" fmla="*/ 420 h 660"/>
                  <a:gd name="T50" fmla="*/ 689 w 2338"/>
                  <a:gd name="T51" fmla="*/ 510 h 660"/>
                  <a:gd name="T52" fmla="*/ 809 w 2338"/>
                  <a:gd name="T53" fmla="*/ 600 h 660"/>
                  <a:gd name="T54" fmla="*/ 929 w 2338"/>
                  <a:gd name="T55" fmla="*/ 540 h 660"/>
                  <a:gd name="T56" fmla="*/ 1079 w 2338"/>
                  <a:gd name="T57" fmla="*/ 570 h 660"/>
                  <a:gd name="T58" fmla="*/ 1049 w 2338"/>
                  <a:gd name="T59" fmla="*/ 450 h 660"/>
                  <a:gd name="T60" fmla="*/ 959 w 2338"/>
                  <a:gd name="T61" fmla="*/ 420 h 660"/>
                  <a:gd name="T62" fmla="*/ 1049 w 2338"/>
                  <a:gd name="T63" fmla="*/ 300 h 660"/>
                  <a:gd name="T64" fmla="*/ 1169 w 2338"/>
                  <a:gd name="T65" fmla="*/ 360 h 660"/>
                  <a:gd name="T66" fmla="*/ 1259 w 2338"/>
                  <a:gd name="T67" fmla="*/ 390 h 660"/>
                  <a:gd name="T68" fmla="*/ 1199 w 2338"/>
                  <a:gd name="T69" fmla="*/ 510 h 660"/>
                  <a:gd name="T70" fmla="*/ 1349 w 2338"/>
                  <a:gd name="T71" fmla="*/ 540 h 660"/>
                  <a:gd name="T72" fmla="*/ 1409 w 2338"/>
                  <a:gd name="T73" fmla="*/ 360 h 660"/>
                  <a:gd name="T74" fmla="*/ 1469 w 2338"/>
                  <a:gd name="T75" fmla="*/ 480 h 660"/>
                  <a:gd name="T76" fmla="*/ 1529 w 2338"/>
                  <a:gd name="T77" fmla="*/ 360 h 660"/>
                  <a:gd name="T78" fmla="*/ 1529 w 2338"/>
                  <a:gd name="T79" fmla="*/ 600 h 660"/>
                  <a:gd name="T80" fmla="*/ 1409 w 2338"/>
                  <a:gd name="T81" fmla="*/ 630 h 660"/>
                  <a:gd name="T82" fmla="*/ 1649 w 2338"/>
                  <a:gd name="T83" fmla="*/ 300 h 660"/>
                  <a:gd name="T84" fmla="*/ 1649 w 2338"/>
                  <a:gd name="T85" fmla="*/ 510 h 660"/>
                  <a:gd name="T86" fmla="*/ 1709 w 2338"/>
                  <a:gd name="T87" fmla="*/ 420 h 660"/>
                  <a:gd name="T88" fmla="*/ 1799 w 2338"/>
                  <a:gd name="T89" fmla="*/ 360 h 660"/>
                  <a:gd name="T90" fmla="*/ 1799 w 2338"/>
                  <a:gd name="T91" fmla="*/ 480 h 660"/>
                  <a:gd name="T92" fmla="*/ 1739 w 2338"/>
                  <a:gd name="T93" fmla="*/ 600 h 660"/>
                  <a:gd name="T94" fmla="*/ 1889 w 2338"/>
                  <a:gd name="T95" fmla="*/ 540 h 660"/>
                  <a:gd name="T96" fmla="*/ 1949 w 2338"/>
                  <a:gd name="T97" fmla="*/ 660 h 660"/>
                  <a:gd name="T98" fmla="*/ 2039 w 2338"/>
                  <a:gd name="T99" fmla="*/ 570 h 660"/>
                  <a:gd name="T100" fmla="*/ 2009 w 2338"/>
                  <a:gd name="T101" fmla="*/ 450 h 660"/>
                  <a:gd name="T102" fmla="*/ 1919 w 2338"/>
                  <a:gd name="T103" fmla="*/ 420 h 660"/>
                  <a:gd name="T104" fmla="*/ 2009 w 2338"/>
                  <a:gd name="T105" fmla="*/ 300 h 660"/>
                  <a:gd name="T106" fmla="*/ 2129 w 2338"/>
                  <a:gd name="T107" fmla="*/ 360 h 660"/>
                  <a:gd name="T108" fmla="*/ 2159 w 2338"/>
                  <a:gd name="T109" fmla="*/ 510 h 660"/>
                  <a:gd name="T110" fmla="*/ 2338 w 2338"/>
                  <a:gd name="T111" fmla="*/ 540 h 660"/>
                  <a:gd name="T112" fmla="*/ 2218 w 2338"/>
                  <a:gd name="T113" fmla="*/ 660 h 660"/>
                  <a:gd name="T114" fmla="*/ 2248 w 2338"/>
                  <a:gd name="T115" fmla="*/ 390 h 660"/>
                  <a:gd name="T116" fmla="*/ 2069 w 2338"/>
                  <a:gd name="T117" fmla="*/ 24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38" h="660">
                    <a:moveTo>
                      <a:pt x="30" y="420"/>
                    </a:moveTo>
                    <a:lnTo>
                      <a:pt x="0" y="270"/>
                    </a:lnTo>
                    <a:lnTo>
                      <a:pt x="150" y="510"/>
                    </a:lnTo>
                    <a:lnTo>
                      <a:pt x="210" y="420"/>
                    </a:lnTo>
                    <a:lnTo>
                      <a:pt x="210" y="120"/>
                    </a:lnTo>
                    <a:lnTo>
                      <a:pt x="60" y="150"/>
                    </a:lnTo>
                    <a:lnTo>
                      <a:pt x="120" y="0"/>
                    </a:lnTo>
                    <a:lnTo>
                      <a:pt x="330" y="90"/>
                    </a:lnTo>
                    <a:lnTo>
                      <a:pt x="420" y="210"/>
                    </a:lnTo>
                    <a:lnTo>
                      <a:pt x="210" y="120"/>
                    </a:lnTo>
                    <a:lnTo>
                      <a:pt x="270" y="240"/>
                    </a:lnTo>
                    <a:lnTo>
                      <a:pt x="420" y="210"/>
                    </a:lnTo>
                    <a:lnTo>
                      <a:pt x="510" y="120"/>
                    </a:lnTo>
                    <a:lnTo>
                      <a:pt x="599" y="210"/>
                    </a:lnTo>
                    <a:lnTo>
                      <a:pt x="809" y="150"/>
                    </a:lnTo>
                    <a:lnTo>
                      <a:pt x="719" y="240"/>
                    </a:lnTo>
                    <a:lnTo>
                      <a:pt x="510" y="480"/>
                    </a:lnTo>
                    <a:lnTo>
                      <a:pt x="689" y="510"/>
                    </a:lnTo>
                    <a:lnTo>
                      <a:pt x="689" y="660"/>
                    </a:lnTo>
                    <a:lnTo>
                      <a:pt x="569" y="600"/>
                    </a:lnTo>
                    <a:lnTo>
                      <a:pt x="300" y="570"/>
                    </a:lnTo>
                    <a:lnTo>
                      <a:pt x="420" y="330"/>
                    </a:lnTo>
                    <a:lnTo>
                      <a:pt x="569" y="360"/>
                    </a:lnTo>
                    <a:lnTo>
                      <a:pt x="599" y="210"/>
                    </a:lnTo>
                    <a:lnTo>
                      <a:pt x="749" y="420"/>
                    </a:lnTo>
                    <a:lnTo>
                      <a:pt x="689" y="510"/>
                    </a:lnTo>
                    <a:lnTo>
                      <a:pt x="809" y="600"/>
                    </a:lnTo>
                    <a:lnTo>
                      <a:pt x="929" y="540"/>
                    </a:lnTo>
                    <a:lnTo>
                      <a:pt x="1079" y="570"/>
                    </a:lnTo>
                    <a:lnTo>
                      <a:pt x="1049" y="450"/>
                    </a:lnTo>
                    <a:lnTo>
                      <a:pt x="959" y="420"/>
                    </a:lnTo>
                    <a:lnTo>
                      <a:pt x="1049" y="300"/>
                    </a:lnTo>
                    <a:lnTo>
                      <a:pt x="1169" y="360"/>
                    </a:lnTo>
                    <a:lnTo>
                      <a:pt x="1259" y="390"/>
                    </a:lnTo>
                    <a:lnTo>
                      <a:pt x="1199" y="510"/>
                    </a:lnTo>
                    <a:lnTo>
                      <a:pt x="1349" y="540"/>
                    </a:lnTo>
                    <a:lnTo>
                      <a:pt x="1409" y="360"/>
                    </a:lnTo>
                    <a:lnTo>
                      <a:pt x="1469" y="480"/>
                    </a:lnTo>
                    <a:lnTo>
                      <a:pt x="1529" y="360"/>
                    </a:lnTo>
                    <a:lnTo>
                      <a:pt x="1529" y="600"/>
                    </a:lnTo>
                    <a:lnTo>
                      <a:pt x="1409" y="630"/>
                    </a:lnTo>
                    <a:lnTo>
                      <a:pt x="1649" y="300"/>
                    </a:lnTo>
                    <a:lnTo>
                      <a:pt x="1649" y="510"/>
                    </a:lnTo>
                    <a:lnTo>
                      <a:pt x="1709" y="420"/>
                    </a:lnTo>
                    <a:lnTo>
                      <a:pt x="1799" y="360"/>
                    </a:lnTo>
                    <a:lnTo>
                      <a:pt x="1799" y="480"/>
                    </a:lnTo>
                    <a:lnTo>
                      <a:pt x="1739" y="600"/>
                    </a:lnTo>
                    <a:lnTo>
                      <a:pt x="1889" y="540"/>
                    </a:lnTo>
                    <a:lnTo>
                      <a:pt x="1949" y="660"/>
                    </a:lnTo>
                    <a:lnTo>
                      <a:pt x="2039" y="570"/>
                    </a:lnTo>
                    <a:lnTo>
                      <a:pt x="2009" y="450"/>
                    </a:lnTo>
                    <a:lnTo>
                      <a:pt x="1919" y="420"/>
                    </a:lnTo>
                    <a:lnTo>
                      <a:pt x="2009" y="300"/>
                    </a:lnTo>
                    <a:lnTo>
                      <a:pt x="2129" y="360"/>
                    </a:lnTo>
                    <a:lnTo>
                      <a:pt x="2159" y="510"/>
                    </a:lnTo>
                    <a:lnTo>
                      <a:pt x="2338" y="540"/>
                    </a:lnTo>
                    <a:lnTo>
                      <a:pt x="2218" y="660"/>
                    </a:lnTo>
                    <a:lnTo>
                      <a:pt x="2248" y="390"/>
                    </a:lnTo>
                    <a:lnTo>
                      <a:pt x="2069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1" name="Freeform 2591">
                <a:extLst>
                  <a:ext uri="{FF2B5EF4-FFF2-40B4-BE49-F238E27FC236}">
                    <a16:creationId xmlns:a16="http://schemas.microsoft.com/office/drawing/2014/main" xmlns="" id="{6CF449F6-A821-45CC-9658-C228D2577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2760"/>
                <a:ext cx="269" cy="300"/>
              </a:xfrm>
              <a:custGeom>
                <a:avLst/>
                <a:gdLst>
                  <a:gd name="T0" fmla="*/ 269 w 269"/>
                  <a:gd name="T1" fmla="*/ 0 h 300"/>
                  <a:gd name="T2" fmla="*/ 120 w 269"/>
                  <a:gd name="T3" fmla="*/ 150 h 300"/>
                  <a:gd name="T4" fmla="*/ 0 w 269"/>
                  <a:gd name="T5" fmla="*/ 240 h 300"/>
                  <a:gd name="T6" fmla="*/ 150 w 269"/>
                  <a:gd name="T7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9" h="300">
                    <a:moveTo>
                      <a:pt x="269" y="0"/>
                    </a:moveTo>
                    <a:lnTo>
                      <a:pt x="120" y="150"/>
                    </a:lnTo>
                    <a:lnTo>
                      <a:pt x="0" y="240"/>
                    </a:lnTo>
                    <a:lnTo>
                      <a:pt x="15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2" name="Freeform 2592">
                <a:extLst>
                  <a:ext uri="{FF2B5EF4-FFF2-40B4-BE49-F238E27FC236}">
                    <a16:creationId xmlns:a16="http://schemas.microsoft.com/office/drawing/2014/main" xmlns="" id="{6BB7F0A7-0F82-457D-BB07-74F64BF68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2790"/>
                <a:ext cx="1289" cy="420"/>
              </a:xfrm>
              <a:custGeom>
                <a:avLst/>
                <a:gdLst>
                  <a:gd name="T0" fmla="*/ 210 w 1289"/>
                  <a:gd name="T1" fmla="*/ 240 h 420"/>
                  <a:gd name="T2" fmla="*/ 150 w 1289"/>
                  <a:gd name="T3" fmla="*/ 390 h 420"/>
                  <a:gd name="T4" fmla="*/ 90 w 1289"/>
                  <a:gd name="T5" fmla="*/ 300 h 420"/>
                  <a:gd name="T6" fmla="*/ 0 w 1289"/>
                  <a:gd name="T7" fmla="*/ 150 h 420"/>
                  <a:gd name="T8" fmla="*/ 150 w 1289"/>
                  <a:gd name="T9" fmla="*/ 120 h 420"/>
                  <a:gd name="T10" fmla="*/ 300 w 1289"/>
                  <a:gd name="T11" fmla="*/ 30 h 420"/>
                  <a:gd name="T12" fmla="*/ 390 w 1289"/>
                  <a:gd name="T13" fmla="*/ 60 h 420"/>
                  <a:gd name="T14" fmla="*/ 450 w 1289"/>
                  <a:gd name="T15" fmla="*/ 180 h 420"/>
                  <a:gd name="T16" fmla="*/ 480 w 1289"/>
                  <a:gd name="T17" fmla="*/ 30 h 420"/>
                  <a:gd name="T18" fmla="*/ 600 w 1289"/>
                  <a:gd name="T19" fmla="*/ 0 h 420"/>
                  <a:gd name="T20" fmla="*/ 540 w 1289"/>
                  <a:gd name="T21" fmla="*/ 120 h 420"/>
                  <a:gd name="T22" fmla="*/ 660 w 1289"/>
                  <a:gd name="T23" fmla="*/ 180 h 420"/>
                  <a:gd name="T24" fmla="*/ 630 w 1289"/>
                  <a:gd name="T25" fmla="*/ 300 h 420"/>
                  <a:gd name="T26" fmla="*/ 780 w 1289"/>
                  <a:gd name="T27" fmla="*/ 330 h 420"/>
                  <a:gd name="T28" fmla="*/ 959 w 1289"/>
                  <a:gd name="T29" fmla="*/ 420 h 420"/>
                  <a:gd name="T30" fmla="*/ 1289 w 1289"/>
                  <a:gd name="T31" fmla="*/ 42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89" h="420">
                    <a:moveTo>
                      <a:pt x="210" y="240"/>
                    </a:moveTo>
                    <a:lnTo>
                      <a:pt x="150" y="390"/>
                    </a:lnTo>
                    <a:lnTo>
                      <a:pt x="90" y="300"/>
                    </a:lnTo>
                    <a:lnTo>
                      <a:pt x="0" y="150"/>
                    </a:lnTo>
                    <a:lnTo>
                      <a:pt x="150" y="120"/>
                    </a:lnTo>
                    <a:lnTo>
                      <a:pt x="300" y="30"/>
                    </a:lnTo>
                    <a:lnTo>
                      <a:pt x="390" y="60"/>
                    </a:lnTo>
                    <a:lnTo>
                      <a:pt x="450" y="180"/>
                    </a:lnTo>
                    <a:lnTo>
                      <a:pt x="480" y="30"/>
                    </a:lnTo>
                    <a:lnTo>
                      <a:pt x="600" y="0"/>
                    </a:lnTo>
                    <a:lnTo>
                      <a:pt x="540" y="120"/>
                    </a:lnTo>
                    <a:lnTo>
                      <a:pt x="660" y="180"/>
                    </a:lnTo>
                    <a:lnTo>
                      <a:pt x="630" y="300"/>
                    </a:lnTo>
                    <a:lnTo>
                      <a:pt x="780" y="330"/>
                    </a:lnTo>
                    <a:lnTo>
                      <a:pt x="959" y="420"/>
                    </a:lnTo>
                    <a:lnTo>
                      <a:pt x="1289" y="4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3" name="Freeform 2593">
                <a:extLst>
                  <a:ext uri="{FF2B5EF4-FFF2-40B4-BE49-F238E27FC236}">
                    <a16:creationId xmlns:a16="http://schemas.microsoft.com/office/drawing/2014/main" xmlns="" id="{70F71936-7E99-4FCF-B968-21B474C10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6" y="2130"/>
                <a:ext cx="629" cy="720"/>
              </a:xfrm>
              <a:custGeom>
                <a:avLst/>
                <a:gdLst>
                  <a:gd name="T0" fmla="*/ 629 w 629"/>
                  <a:gd name="T1" fmla="*/ 720 h 720"/>
                  <a:gd name="T2" fmla="*/ 479 w 629"/>
                  <a:gd name="T3" fmla="*/ 690 h 720"/>
                  <a:gd name="T4" fmla="*/ 599 w 629"/>
                  <a:gd name="T5" fmla="*/ 510 h 720"/>
                  <a:gd name="T6" fmla="*/ 389 w 629"/>
                  <a:gd name="T7" fmla="*/ 570 h 720"/>
                  <a:gd name="T8" fmla="*/ 269 w 629"/>
                  <a:gd name="T9" fmla="*/ 510 h 720"/>
                  <a:gd name="T10" fmla="*/ 90 w 629"/>
                  <a:gd name="T11" fmla="*/ 540 h 720"/>
                  <a:gd name="T12" fmla="*/ 0 w 629"/>
                  <a:gd name="T13" fmla="*/ 390 h 720"/>
                  <a:gd name="T14" fmla="*/ 0 w 629"/>
                  <a:gd name="T15" fmla="*/ 630 h 720"/>
                  <a:gd name="T16" fmla="*/ 90 w 629"/>
                  <a:gd name="T17" fmla="*/ 300 h 720"/>
                  <a:gd name="T18" fmla="*/ 0 w 629"/>
                  <a:gd name="T19" fmla="*/ 210 h 720"/>
                  <a:gd name="T20" fmla="*/ 0 w 629"/>
                  <a:gd name="T21" fmla="*/ 60 h 720"/>
                  <a:gd name="T22" fmla="*/ 60 w 629"/>
                  <a:gd name="T23" fmla="*/ 0 h 720"/>
                  <a:gd name="T24" fmla="*/ 149 w 629"/>
                  <a:gd name="T25" fmla="*/ 180 h 720"/>
                  <a:gd name="T26" fmla="*/ 329 w 629"/>
                  <a:gd name="T27" fmla="*/ 240 h 720"/>
                  <a:gd name="T28" fmla="*/ 359 w 629"/>
                  <a:gd name="T29" fmla="*/ 9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29" h="720">
                    <a:moveTo>
                      <a:pt x="629" y="720"/>
                    </a:moveTo>
                    <a:lnTo>
                      <a:pt x="479" y="690"/>
                    </a:lnTo>
                    <a:lnTo>
                      <a:pt x="599" y="510"/>
                    </a:lnTo>
                    <a:lnTo>
                      <a:pt x="389" y="570"/>
                    </a:lnTo>
                    <a:lnTo>
                      <a:pt x="269" y="510"/>
                    </a:lnTo>
                    <a:lnTo>
                      <a:pt x="90" y="540"/>
                    </a:lnTo>
                    <a:lnTo>
                      <a:pt x="0" y="390"/>
                    </a:lnTo>
                    <a:lnTo>
                      <a:pt x="0" y="630"/>
                    </a:lnTo>
                    <a:lnTo>
                      <a:pt x="90" y="300"/>
                    </a:lnTo>
                    <a:lnTo>
                      <a:pt x="0" y="210"/>
                    </a:lnTo>
                    <a:lnTo>
                      <a:pt x="0" y="60"/>
                    </a:lnTo>
                    <a:lnTo>
                      <a:pt x="60" y="0"/>
                    </a:lnTo>
                    <a:lnTo>
                      <a:pt x="149" y="180"/>
                    </a:lnTo>
                    <a:lnTo>
                      <a:pt x="329" y="240"/>
                    </a:lnTo>
                    <a:lnTo>
                      <a:pt x="359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4" name="Freeform 2594">
                <a:extLst>
                  <a:ext uri="{FF2B5EF4-FFF2-40B4-BE49-F238E27FC236}">
                    <a16:creationId xmlns:a16="http://schemas.microsoft.com/office/drawing/2014/main" xmlns="" id="{BCABA6C8-6824-4965-9B6A-FC52BD6D0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5" y="2640"/>
                <a:ext cx="780" cy="480"/>
              </a:xfrm>
              <a:custGeom>
                <a:avLst/>
                <a:gdLst>
                  <a:gd name="T0" fmla="*/ 330 w 780"/>
                  <a:gd name="T1" fmla="*/ 360 h 480"/>
                  <a:gd name="T2" fmla="*/ 210 w 780"/>
                  <a:gd name="T3" fmla="*/ 450 h 480"/>
                  <a:gd name="T4" fmla="*/ 120 w 780"/>
                  <a:gd name="T5" fmla="*/ 390 h 480"/>
                  <a:gd name="T6" fmla="*/ 120 w 780"/>
                  <a:gd name="T7" fmla="*/ 270 h 480"/>
                  <a:gd name="T8" fmla="*/ 180 w 780"/>
                  <a:gd name="T9" fmla="*/ 180 h 480"/>
                  <a:gd name="T10" fmla="*/ 0 w 780"/>
                  <a:gd name="T11" fmla="*/ 150 h 480"/>
                  <a:gd name="T12" fmla="*/ 30 w 780"/>
                  <a:gd name="T13" fmla="*/ 330 h 480"/>
                  <a:gd name="T14" fmla="*/ 120 w 780"/>
                  <a:gd name="T15" fmla="*/ 270 h 480"/>
                  <a:gd name="T16" fmla="*/ 240 w 780"/>
                  <a:gd name="T17" fmla="*/ 330 h 480"/>
                  <a:gd name="T18" fmla="*/ 360 w 780"/>
                  <a:gd name="T19" fmla="*/ 480 h 480"/>
                  <a:gd name="T20" fmla="*/ 480 w 780"/>
                  <a:gd name="T21" fmla="*/ 420 h 480"/>
                  <a:gd name="T22" fmla="*/ 330 w 780"/>
                  <a:gd name="T23" fmla="*/ 360 h 480"/>
                  <a:gd name="T24" fmla="*/ 450 w 780"/>
                  <a:gd name="T25" fmla="*/ 270 h 480"/>
                  <a:gd name="T26" fmla="*/ 510 w 780"/>
                  <a:gd name="T27" fmla="*/ 90 h 480"/>
                  <a:gd name="T28" fmla="*/ 690 w 780"/>
                  <a:gd name="T29" fmla="*/ 0 h 480"/>
                  <a:gd name="T30" fmla="*/ 450 w 780"/>
                  <a:gd name="T31" fmla="*/ 0 h 480"/>
                  <a:gd name="T32" fmla="*/ 780 w 780"/>
                  <a:gd name="T33" fmla="*/ 9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80" h="480">
                    <a:moveTo>
                      <a:pt x="330" y="360"/>
                    </a:moveTo>
                    <a:lnTo>
                      <a:pt x="210" y="450"/>
                    </a:lnTo>
                    <a:lnTo>
                      <a:pt x="120" y="390"/>
                    </a:lnTo>
                    <a:lnTo>
                      <a:pt x="120" y="270"/>
                    </a:lnTo>
                    <a:lnTo>
                      <a:pt x="180" y="180"/>
                    </a:lnTo>
                    <a:lnTo>
                      <a:pt x="0" y="150"/>
                    </a:lnTo>
                    <a:lnTo>
                      <a:pt x="30" y="330"/>
                    </a:lnTo>
                    <a:lnTo>
                      <a:pt x="120" y="270"/>
                    </a:lnTo>
                    <a:lnTo>
                      <a:pt x="240" y="330"/>
                    </a:lnTo>
                    <a:lnTo>
                      <a:pt x="360" y="480"/>
                    </a:lnTo>
                    <a:lnTo>
                      <a:pt x="480" y="420"/>
                    </a:lnTo>
                    <a:lnTo>
                      <a:pt x="330" y="360"/>
                    </a:lnTo>
                    <a:lnTo>
                      <a:pt x="450" y="270"/>
                    </a:lnTo>
                    <a:lnTo>
                      <a:pt x="510" y="90"/>
                    </a:lnTo>
                    <a:lnTo>
                      <a:pt x="690" y="0"/>
                    </a:lnTo>
                    <a:lnTo>
                      <a:pt x="450" y="0"/>
                    </a:lnTo>
                    <a:lnTo>
                      <a:pt x="7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5" name="Line 2595">
                <a:extLst>
                  <a:ext uri="{FF2B5EF4-FFF2-40B4-BE49-F238E27FC236}">
                    <a16:creationId xmlns:a16="http://schemas.microsoft.com/office/drawing/2014/main" xmlns="" id="{CEB6E236-D662-41DC-A6E7-02A5C700235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325" y="297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6" name="Freeform 2596">
                <a:extLst>
                  <a:ext uri="{FF2B5EF4-FFF2-40B4-BE49-F238E27FC236}">
                    <a16:creationId xmlns:a16="http://schemas.microsoft.com/office/drawing/2014/main" xmlns="" id="{08236DA8-477E-42FA-8FE9-720CCC4FE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2820"/>
                <a:ext cx="449" cy="390"/>
              </a:xfrm>
              <a:custGeom>
                <a:avLst/>
                <a:gdLst>
                  <a:gd name="T0" fmla="*/ 179 w 449"/>
                  <a:gd name="T1" fmla="*/ 390 h 390"/>
                  <a:gd name="T2" fmla="*/ 329 w 449"/>
                  <a:gd name="T3" fmla="*/ 210 h 390"/>
                  <a:gd name="T4" fmla="*/ 449 w 449"/>
                  <a:gd name="T5" fmla="*/ 150 h 390"/>
                  <a:gd name="T6" fmla="*/ 389 w 449"/>
                  <a:gd name="T7" fmla="*/ 0 h 390"/>
                  <a:gd name="T8" fmla="*/ 0 w 449"/>
                  <a:gd name="T9" fmla="*/ 21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9" h="390">
                    <a:moveTo>
                      <a:pt x="179" y="390"/>
                    </a:moveTo>
                    <a:lnTo>
                      <a:pt x="329" y="210"/>
                    </a:lnTo>
                    <a:lnTo>
                      <a:pt x="449" y="150"/>
                    </a:lnTo>
                    <a:lnTo>
                      <a:pt x="389" y="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7" name="Freeform 2597">
                <a:extLst>
                  <a:ext uri="{FF2B5EF4-FFF2-40B4-BE49-F238E27FC236}">
                    <a16:creationId xmlns:a16="http://schemas.microsoft.com/office/drawing/2014/main" xmlns="" id="{42E0A9FD-A2D7-4CC6-9D1F-06C5FFB66A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5" y="2310"/>
                <a:ext cx="870" cy="600"/>
              </a:xfrm>
              <a:custGeom>
                <a:avLst/>
                <a:gdLst>
                  <a:gd name="T0" fmla="*/ 0 w 870"/>
                  <a:gd name="T1" fmla="*/ 480 h 600"/>
                  <a:gd name="T2" fmla="*/ 60 w 870"/>
                  <a:gd name="T3" fmla="*/ 600 h 600"/>
                  <a:gd name="T4" fmla="*/ 270 w 870"/>
                  <a:gd name="T5" fmla="*/ 480 h 600"/>
                  <a:gd name="T6" fmla="*/ 390 w 870"/>
                  <a:gd name="T7" fmla="*/ 420 h 600"/>
                  <a:gd name="T8" fmla="*/ 540 w 870"/>
                  <a:gd name="T9" fmla="*/ 420 h 600"/>
                  <a:gd name="T10" fmla="*/ 750 w 870"/>
                  <a:gd name="T11" fmla="*/ 480 h 600"/>
                  <a:gd name="T12" fmla="*/ 870 w 870"/>
                  <a:gd name="T13" fmla="*/ 330 h 600"/>
                  <a:gd name="T14" fmla="*/ 660 w 870"/>
                  <a:gd name="T15" fmla="*/ 390 h 600"/>
                  <a:gd name="T16" fmla="*/ 540 w 870"/>
                  <a:gd name="T17" fmla="*/ 330 h 600"/>
                  <a:gd name="T18" fmla="*/ 420 w 870"/>
                  <a:gd name="T19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70" h="600">
                    <a:moveTo>
                      <a:pt x="0" y="480"/>
                    </a:moveTo>
                    <a:lnTo>
                      <a:pt x="60" y="600"/>
                    </a:lnTo>
                    <a:lnTo>
                      <a:pt x="270" y="480"/>
                    </a:lnTo>
                    <a:lnTo>
                      <a:pt x="390" y="420"/>
                    </a:lnTo>
                    <a:lnTo>
                      <a:pt x="540" y="420"/>
                    </a:lnTo>
                    <a:lnTo>
                      <a:pt x="750" y="480"/>
                    </a:lnTo>
                    <a:lnTo>
                      <a:pt x="870" y="330"/>
                    </a:lnTo>
                    <a:lnTo>
                      <a:pt x="660" y="390"/>
                    </a:lnTo>
                    <a:lnTo>
                      <a:pt x="540" y="330"/>
                    </a:lnTo>
                    <a:lnTo>
                      <a:pt x="42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8" name="Line 2598">
                <a:extLst>
                  <a:ext uri="{FF2B5EF4-FFF2-40B4-BE49-F238E27FC236}">
                    <a16:creationId xmlns:a16="http://schemas.microsoft.com/office/drawing/2014/main" xmlns="" id="{9640FB84-59F0-4FB1-A2E8-323290DF3FE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745" y="2910"/>
                <a:ext cx="3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9" name="Freeform 2599">
                <a:extLst>
                  <a:ext uri="{FF2B5EF4-FFF2-40B4-BE49-F238E27FC236}">
                    <a16:creationId xmlns:a16="http://schemas.microsoft.com/office/drawing/2014/main" xmlns="" id="{4CAAD0DC-EBF5-48B6-86C4-02DF29F50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3060"/>
                <a:ext cx="210" cy="90"/>
              </a:xfrm>
              <a:custGeom>
                <a:avLst/>
                <a:gdLst>
                  <a:gd name="T0" fmla="*/ 0 w 210"/>
                  <a:gd name="T1" fmla="*/ 90 h 90"/>
                  <a:gd name="T2" fmla="*/ 120 w 210"/>
                  <a:gd name="T3" fmla="*/ 0 h 90"/>
                  <a:gd name="T4" fmla="*/ 210 w 210"/>
                  <a:gd name="T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90">
                    <a:moveTo>
                      <a:pt x="0" y="90"/>
                    </a:moveTo>
                    <a:lnTo>
                      <a:pt x="120" y="0"/>
                    </a:lnTo>
                    <a:lnTo>
                      <a:pt x="21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0" name="Line 2600">
                <a:extLst>
                  <a:ext uri="{FF2B5EF4-FFF2-40B4-BE49-F238E27FC236}">
                    <a16:creationId xmlns:a16="http://schemas.microsoft.com/office/drawing/2014/main" xmlns="" id="{4DE8794E-B5B8-4E02-BC95-71B303CEB5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805" y="2730"/>
                <a:ext cx="30" cy="21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1" name="Freeform 2601">
                <a:extLst>
                  <a:ext uri="{FF2B5EF4-FFF2-40B4-BE49-F238E27FC236}">
                    <a16:creationId xmlns:a16="http://schemas.microsoft.com/office/drawing/2014/main" xmlns="" id="{EC0282BB-8456-4F25-A34B-3570822D2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5" y="2730"/>
                <a:ext cx="90" cy="120"/>
              </a:xfrm>
              <a:custGeom>
                <a:avLst/>
                <a:gdLst>
                  <a:gd name="T0" fmla="*/ 0 w 90"/>
                  <a:gd name="T1" fmla="*/ 0 h 120"/>
                  <a:gd name="T2" fmla="*/ 90 w 90"/>
                  <a:gd name="T3" fmla="*/ 90 h 120"/>
                  <a:gd name="T4" fmla="*/ 0 w 90"/>
                  <a:gd name="T5" fmla="*/ 120 h 120"/>
                  <a:gd name="T6" fmla="*/ 0 w 90"/>
                  <a:gd name="T7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120">
                    <a:moveTo>
                      <a:pt x="0" y="0"/>
                    </a:moveTo>
                    <a:lnTo>
                      <a:pt x="90" y="90"/>
                    </a:lnTo>
                    <a:lnTo>
                      <a:pt x="0" y="1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2" name="Freeform 2602">
                <a:extLst>
                  <a:ext uri="{FF2B5EF4-FFF2-40B4-BE49-F238E27FC236}">
                    <a16:creationId xmlns:a16="http://schemas.microsoft.com/office/drawing/2014/main" xmlns="" id="{C92778BF-2A79-43BE-A847-AFF9DB4CD6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2820"/>
                <a:ext cx="270" cy="90"/>
              </a:xfrm>
              <a:custGeom>
                <a:avLst/>
                <a:gdLst>
                  <a:gd name="T0" fmla="*/ 60 w 270"/>
                  <a:gd name="T1" fmla="*/ 90 h 90"/>
                  <a:gd name="T2" fmla="*/ 0 w 270"/>
                  <a:gd name="T3" fmla="*/ 0 h 90"/>
                  <a:gd name="T4" fmla="*/ 270 w 270"/>
                  <a:gd name="T5" fmla="*/ 3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90">
                    <a:moveTo>
                      <a:pt x="60" y="90"/>
                    </a:moveTo>
                    <a:lnTo>
                      <a:pt x="0" y="0"/>
                    </a:lnTo>
                    <a:lnTo>
                      <a:pt x="27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3" name="Freeform 2603">
                <a:extLst>
                  <a:ext uri="{FF2B5EF4-FFF2-40B4-BE49-F238E27FC236}">
                    <a16:creationId xmlns:a16="http://schemas.microsoft.com/office/drawing/2014/main" xmlns="" id="{29D76AD4-1C22-4F8C-9386-3A4BCF370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2730"/>
                <a:ext cx="540" cy="330"/>
              </a:xfrm>
              <a:custGeom>
                <a:avLst/>
                <a:gdLst>
                  <a:gd name="T0" fmla="*/ 540 w 540"/>
                  <a:gd name="T1" fmla="*/ 240 h 330"/>
                  <a:gd name="T2" fmla="*/ 420 w 540"/>
                  <a:gd name="T3" fmla="*/ 300 h 330"/>
                  <a:gd name="T4" fmla="*/ 270 w 540"/>
                  <a:gd name="T5" fmla="*/ 330 h 330"/>
                  <a:gd name="T6" fmla="*/ 150 w 540"/>
                  <a:gd name="T7" fmla="*/ 180 h 330"/>
                  <a:gd name="T8" fmla="*/ 180 w 540"/>
                  <a:gd name="T9" fmla="*/ 90 h 330"/>
                  <a:gd name="T10" fmla="*/ 120 w 540"/>
                  <a:gd name="T11" fmla="*/ 0 h 330"/>
                  <a:gd name="T12" fmla="*/ 30 w 540"/>
                  <a:gd name="T13" fmla="*/ 180 h 330"/>
                  <a:gd name="T14" fmla="*/ 0 w 540"/>
                  <a:gd name="T15" fmla="*/ 6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0" h="330">
                    <a:moveTo>
                      <a:pt x="540" y="240"/>
                    </a:moveTo>
                    <a:lnTo>
                      <a:pt x="420" y="300"/>
                    </a:lnTo>
                    <a:lnTo>
                      <a:pt x="270" y="330"/>
                    </a:lnTo>
                    <a:lnTo>
                      <a:pt x="150" y="180"/>
                    </a:lnTo>
                    <a:lnTo>
                      <a:pt x="180" y="90"/>
                    </a:lnTo>
                    <a:lnTo>
                      <a:pt x="120" y="0"/>
                    </a:lnTo>
                    <a:lnTo>
                      <a:pt x="30" y="18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4" name="Line 2604">
                <a:extLst>
                  <a:ext uri="{FF2B5EF4-FFF2-40B4-BE49-F238E27FC236}">
                    <a16:creationId xmlns:a16="http://schemas.microsoft.com/office/drawing/2014/main" xmlns="" id="{9AB400F5-307F-4DEF-989C-79F846EAEC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95" y="153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5" name="Freeform 2605">
                <a:extLst>
                  <a:ext uri="{FF2B5EF4-FFF2-40B4-BE49-F238E27FC236}">
                    <a16:creationId xmlns:a16="http://schemas.microsoft.com/office/drawing/2014/main" xmlns="" id="{B2C89CC1-2810-4E61-9D8E-FFC3385A7A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5" y="1620"/>
                <a:ext cx="180" cy="150"/>
              </a:xfrm>
              <a:custGeom>
                <a:avLst/>
                <a:gdLst>
                  <a:gd name="T0" fmla="*/ 0 w 180"/>
                  <a:gd name="T1" fmla="*/ 0 h 150"/>
                  <a:gd name="T2" fmla="*/ 180 w 180"/>
                  <a:gd name="T3" fmla="*/ 150 h 150"/>
                  <a:gd name="T4" fmla="*/ 120 w 180"/>
                  <a:gd name="T5" fmla="*/ 3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0" y="0"/>
                    </a:moveTo>
                    <a:lnTo>
                      <a:pt x="180" y="150"/>
                    </a:lnTo>
                    <a:lnTo>
                      <a:pt x="12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6" name="Line 2606">
                <a:extLst>
                  <a:ext uri="{FF2B5EF4-FFF2-40B4-BE49-F238E27FC236}">
                    <a16:creationId xmlns:a16="http://schemas.microsoft.com/office/drawing/2014/main" xmlns="" id="{37346514-AA4F-4C60-8FAE-A786B693B0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985" y="165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7" name="Line 2607">
                <a:extLst>
                  <a:ext uri="{FF2B5EF4-FFF2-40B4-BE49-F238E27FC236}">
                    <a16:creationId xmlns:a16="http://schemas.microsoft.com/office/drawing/2014/main" xmlns="" id="{1186D136-84DD-4CAF-9EC7-2A1007C137E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15" y="159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8" name="Line 2608">
                <a:extLst>
                  <a:ext uri="{FF2B5EF4-FFF2-40B4-BE49-F238E27FC236}">
                    <a16:creationId xmlns:a16="http://schemas.microsoft.com/office/drawing/2014/main" xmlns="" id="{8F32698A-EB22-4B97-98B6-3A5FDCF7E1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85" y="150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9" name="Freeform 2609">
                <a:extLst>
                  <a:ext uri="{FF2B5EF4-FFF2-40B4-BE49-F238E27FC236}">
                    <a16:creationId xmlns:a16="http://schemas.microsoft.com/office/drawing/2014/main" xmlns="" id="{2F6A8FDD-5833-4B06-B59D-E0587B533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470"/>
                <a:ext cx="330" cy="210"/>
              </a:xfrm>
              <a:custGeom>
                <a:avLst/>
                <a:gdLst>
                  <a:gd name="T0" fmla="*/ 0 w 330"/>
                  <a:gd name="T1" fmla="*/ 150 h 210"/>
                  <a:gd name="T2" fmla="*/ 60 w 330"/>
                  <a:gd name="T3" fmla="*/ 210 h 210"/>
                  <a:gd name="T4" fmla="*/ 150 w 330"/>
                  <a:gd name="T5" fmla="*/ 150 h 210"/>
                  <a:gd name="T6" fmla="*/ 210 w 330"/>
                  <a:gd name="T7" fmla="*/ 60 h 210"/>
                  <a:gd name="T8" fmla="*/ 330 w 330"/>
                  <a:gd name="T9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0" h="210">
                    <a:moveTo>
                      <a:pt x="0" y="150"/>
                    </a:moveTo>
                    <a:lnTo>
                      <a:pt x="60" y="210"/>
                    </a:lnTo>
                    <a:lnTo>
                      <a:pt x="150" y="150"/>
                    </a:lnTo>
                    <a:lnTo>
                      <a:pt x="210" y="60"/>
                    </a:lnTo>
                    <a:lnTo>
                      <a:pt x="33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0" name="Freeform 2610">
                <a:extLst>
                  <a:ext uri="{FF2B5EF4-FFF2-40B4-BE49-F238E27FC236}">
                    <a16:creationId xmlns:a16="http://schemas.microsoft.com/office/drawing/2014/main" xmlns="" id="{B7831F3E-2ADE-4C7E-892E-036F48A115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1500"/>
                <a:ext cx="270" cy="150"/>
              </a:xfrm>
              <a:custGeom>
                <a:avLst/>
                <a:gdLst>
                  <a:gd name="T0" fmla="*/ 270 w 270"/>
                  <a:gd name="T1" fmla="*/ 90 h 150"/>
                  <a:gd name="T2" fmla="*/ 150 w 270"/>
                  <a:gd name="T3" fmla="*/ 150 h 150"/>
                  <a:gd name="T4" fmla="*/ 30 w 270"/>
                  <a:gd name="T5" fmla="*/ 120 h 150"/>
                  <a:gd name="T6" fmla="*/ 0 w 270"/>
                  <a:gd name="T7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0" h="150">
                    <a:moveTo>
                      <a:pt x="270" y="90"/>
                    </a:moveTo>
                    <a:lnTo>
                      <a:pt x="150" y="150"/>
                    </a:lnTo>
                    <a:lnTo>
                      <a:pt x="30" y="12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1" name="Line 2611">
                <a:extLst>
                  <a:ext uri="{FF2B5EF4-FFF2-40B4-BE49-F238E27FC236}">
                    <a16:creationId xmlns:a16="http://schemas.microsoft.com/office/drawing/2014/main" xmlns="" id="{672F47E1-254D-450A-B333-D663E2916D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47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2" name="Line 2612">
                <a:extLst>
                  <a:ext uri="{FF2B5EF4-FFF2-40B4-BE49-F238E27FC236}">
                    <a16:creationId xmlns:a16="http://schemas.microsoft.com/office/drawing/2014/main" xmlns="" id="{2D57A2CA-D306-4731-ABCE-F4218B5F90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75" y="1410"/>
                <a:ext cx="60" cy="9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3" name="Line 2613">
                <a:extLst>
                  <a:ext uri="{FF2B5EF4-FFF2-40B4-BE49-F238E27FC236}">
                    <a16:creationId xmlns:a16="http://schemas.microsoft.com/office/drawing/2014/main" xmlns="" id="{447AACF8-56F8-48D6-B0B6-BA37037E01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65" y="15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4" name="Freeform 2614">
                <a:extLst>
                  <a:ext uri="{FF2B5EF4-FFF2-40B4-BE49-F238E27FC236}">
                    <a16:creationId xmlns:a16="http://schemas.microsoft.com/office/drawing/2014/main" xmlns="" id="{D5230537-3937-4D5B-A036-5FC4DD5B3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5" y="1500"/>
                <a:ext cx="180" cy="120"/>
              </a:xfrm>
              <a:custGeom>
                <a:avLst/>
                <a:gdLst>
                  <a:gd name="T0" fmla="*/ 150 w 180"/>
                  <a:gd name="T1" fmla="*/ 0 h 120"/>
                  <a:gd name="T2" fmla="*/ 0 w 180"/>
                  <a:gd name="T3" fmla="*/ 0 h 120"/>
                  <a:gd name="T4" fmla="*/ 30 w 180"/>
                  <a:gd name="T5" fmla="*/ 120 h 120"/>
                  <a:gd name="T6" fmla="*/ 180 w 180"/>
                  <a:gd name="T7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120">
                    <a:moveTo>
                      <a:pt x="150" y="0"/>
                    </a:moveTo>
                    <a:lnTo>
                      <a:pt x="0" y="0"/>
                    </a:lnTo>
                    <a:lnTo>
                      <a:pt x="30" y="120"/>
                    </a:lnTo>
                    <a:lnTo>
                      <a:pt x="180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5" name="Freeform 2615">
                <a:extLst>
                  <a:ext uri="{FF2B5EF4-FFF2-40B4-BE49-F238E27FC236}">
                    <a16:creationId xmlns:a16="http://schemas.microsoft.com/office/drawing/2014/main" xmlns="" id="{186E4826-6C5D-4BB3-9336-5F870F7847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4" y="125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6" name="Freeform 2616">
                <a:extLst>
                  <a:ext uri="{FF2B5EF4-FFF2-40B4-BE49-F238E27FC236}">
                    <a16:creationId xmlns:a16="http://schemas.microsoft.com/office/drawing/2014/main" xmlns="" id="{C391CB45-9C8F-4C7B-B441-0F9D361A36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4" y="206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7" name="Freeform 2617">
                <a:extLst>
                  <a:ext uri="{FF2B5EF4-FFF2-40B4-BE49-F238E27FC236}">
                    <a16:creationId xmlns:a16="http://schemas.microsoft.com/office/drawing/2014/main" xmlns="" id="{89D46438-51F6-4F28-B1AE-86F690732B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" y="206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8" name="Freeform 2618">
                <a:extLst>
                  <a:ext uri="{FF2B5EF4-FFF2-40B4-BE49-F238E27FC236}">
                    <a16:creationId xmlns:a16="http://schemas.microsoft.com/office/drawing/2014/main" xmlns="" id="{C65614BE-7849-44CF-ABFF-BD36FA37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4" y="53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9" name="Freeform 2619">
                <a:extLst>
                  <a:ext uri="{FF2B5EF4-FFF2-40B4-BE49-F238E27FC236}">
                    <a16:creationId xmlns:a16="http://schemas.microsoft.com/office/drawing/2014/main" xmlns="" id="{7F66261F-B6AB-4DE7-8D2E-0EB94C1775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3" y="53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0" name="Oval 2620">
                <a:extLst>
                  <a:ext uri="{FF2B5EF4-FFF2-40B4-BE49-F238E27FC236}">
                    <a16:creationId xmlns:a16="http://schemas.microsoft.com/office/drawing/2014/main" xmlns="" id="{7D5AA986-53FA-4BDF-9D06-A34318F8EE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1" name="Oval 2621">
                <a:extLst>
                  <a:ext uri="{FF2B5EF4-FFF2-40B4-BE49-F238E27FC236}">
                    <a16:creationId xmlns:a16="http://schemas.microsoft.com/office/drawing/2014/main" xmlns="" id="{0017B849-E83B-4EEC-AAC3-FCF881455A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2" name="Oval 2622">
                <a:extLst>
                  <a:ext uri="{FF2B5EF4-FFF2-40B4-BE49-F238E27FC236}">
                    <a16:creationId xmlns:a16="http://schemas.microsoft.com/office/drawing/2014/main" xmlns="" id="{3840FCEA-BA07-48A6-8628-E0530CA4C6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3" name="Oval 2623">
                <a:extLst>
                  <a:ext uri="{FF2B5EF4-FFF2-40B4-BE49-F238E27FC236}">
                    <a16:creationId xmlns:a16="http://schemas.microsoft.com/office/drawing/2014/main" xmlns="" id="{8517C6AB-78DA-4EA2-ACC3-DB70EB9D63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4" name="Oval 2624">
                <a:extLst>
                  <a:ext uri="{FF2B5EF4-FFF2-40B4-BE49-F238E27FC236}">
                    <a16:creationId xmlns:a16="http://schemas.microsoft.com/office/drawing/2014/main" xmlns="" id="{151474C7-4BA3-4526-8789-3F588F2756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4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5" name="Oval 2625">
                <a:extLst>
                  <a:ext uri="{FF2B5EF4-FFF2-40B4-BE49-F238E27FC236}">
                    <a16:creationId xmlns:a16="http://schemas.microsoft.com/office/drawing/2014/main" xmlns="" id="{637A3E53-B5F7-4D2B-9D6F-D26428ADEC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4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6" name="Oval 2626">
                <a:extLst>
                  <a:ext uri="{FF2B5EF4-FFF2-40B4-BE49-F238E27FC236}">
                    <a16:creationId xmlns:a16="http://schemas.microsoft.com/office/drawing/2014/main" xmlns="" id="{BE75D479-27A3-4C86-B393-C2C6DBBF63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4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7" name="Oval 2627">
                <a:extLst>
                  <a:ext uri="{FF2B5EF4-FFF2-40B4-BE49-F238E27FC236}">
                    <a16:creationId xmlns:a16="http://schemas.microsoft.com/office/drawing/2014/main" xmlns="" id="{25FF4F16-B447-4F77-A242-12E9C26807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8" name="Oval 2628">
                <a:extLst>
                  <a:ext uri="{FF2B5EF4-FFF2-40B4-BE49-F238E27FC236}">
                    <a16:creationId xmlns:a16="http://schemas.microsoft.com/office/drawing/2014/main" xmlns="" id="{B5D1B9AD-6869-407C-80A8-FD31F9F73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9" name="Oval 2629">
                <a:extLst>
                  <a:ext uri="{FF2B5EF4-FFF2-40B4-BE49-F238E27FC236}">
                    <a16:creationId xmlns:a16="http://schemas.microsoft.com/office/drawing/2014/main" xmlns="" id="{45171956-4028-4070-B968-3152716A16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4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0" name="Oval 2630">
                <a:extLst>
                  <a:ext uri="{FF2B5EF4-FFF2-40B4-BE49-F238E27FC236}">
                    <a16:creationId xmlns:a16="http://schemas.microsoft.com/office/drawing/2014/main" xmlns="" id="{C1141C36-7341-4522-8B29-6748769B44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1" name="Oval 2631">
                <a:extLst>
                  <a:ext uri="{FF2B5EF4-FFF2-40B4-BE49-F238E27FC236}">
                    <a16:creationId xmlns:a16="http://schemas.microsoft.com/office/drawing/2014/main" xmlns="" id="{91584CD1-C5EF-46AE-8C88-49E9CB02FC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4" y="26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2" name="Oval 2632">
                <a:extLst>
                  <a:ext uri="{FF2B5EF4-FFF2-40B4-BE49-F238E27FC236}">
                    <a16:creationId xmlns:a16="http://schemas.microsoft.com/office/drawing/2014/main" xmlns="" id="{E9BDD82E-503D-4EAF-9953-37AF36E075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4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3" name="Oval 2633">
                <a:extLst>
                  <a:ext uri="{FF2B5EF4-FFF2-40B4-BE49-F238E27FC236}">
                    <a16:creationId xmlns:a16="http://schemas.microsoft.com/office/drawing/2014/main" xmlns="" id="{5B6431FE-D37E-4069-BF8D-3D01FB5339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4" name="Oval 2634">
                <a:extLst>
                  <a:ext uri="{FF2B5EF4-FFF2-40B4-BE49-F238E27FC236}">
                    <a16:creationId xmlns:a16="http://schemas.microsoft.com/office/drawing/2014/main" xmlns="" id="{BA825897-6B4B-4030-A1A2-7AA30656BB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5" name="Oval 2635">
                <a:extLst>
                  <a:ext uri="{FF2B5EF4-FFF2-40B4-BE49-F238E27FC236}">
                    <a16:creationId xmlns:a16="http://schemas.microsoft.com/office/drawing/2014/main" xmlns="" id="{B1A1C359-E6F2-4727-8D79-3D12BDD77C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6" name="Oval 2636">
                <a:extLst>
                  <a:ext uri="{FF2B5EF4-FFF2-40B4-BE49-F238E27FC236}">
                    <a16:creationId xmlns:a16="http://schemas.microsoft.com/office/drawing/2014/main" xmlns="" id="{741D9434-FA10-4A3F-92AF-C1B0E7D9A6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7" name="Oval 2637">
                <a:extLst>
                  <a:ext uri="{FF2B5EF4-FFF2-40B4-BE49-F238E27FC236}">
                    <a16:creationId xmlns:a16="http://schemas.microsoft.com/office/drawing/2014/main" xmlns="" id="{3DA66931-F40B-4EED-86FE-7A252A8974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4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8" name="Oval 2638">
                <a:extLst>
                  <a:ext uri="{FF2B5EF4-FFF2-40B4-BE49-F238E27FC236}">
                    <a16:creationId xmlns:a16="http://schemas.microsoft.com/office/drawing/2014/main" xmlns="" id="{3C22C594-1BE9-4FD9-B0E4-6FCDFDB591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9" name="Oval 2639">
                <a:extLst>
                  <a:ext uri="{FF2B5EF4-FFF2-40B4-BE49-F238E27FC236}">
                    <a16:creationId xmlns:a16="http://schemas.microsoft.com/office/drawing/2014/main" xmlns="" id="{F5FE1887-5518-465C-80B3-108151ADCC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0" name="Oval 2640">
                <a:extLst>
                  <a:ext uri="{FF2B5EF4-FFF2-40B4-BE49-F238E27FC236}">
                    <a16:creationId xmlns:a16="http://schemas.microsoft.com/office/drawing/2014/main" xmlns="" id="{2B7C877B-4647-4AB8-83B1-F58FA6863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1" name="Oval 2641">
                <a:extLst>
                  <a:ext uri="{FF2B5EF4-FFF2-40B4-BE49-F238E27FC236}">
                    <a16:creationId xmlns:a16="http://schemas.microsoft.com/office/drawing/2014/main" xmlns="" id="{EBCAA00A-78BC-45EB-B158-3A5DA8224E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4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2" name="Oval 2642">
                <a:extLst>
                  <a:ext uri="{FF2B5EF4-FFF2-40B4-BE49-F238E27FC236}">
                    <a16:creationId xmlns:a16="http://schemas.microsoft.com/office/drawing/2014/main" xmlns="" id="{495F5092-9079-4B2A-A0F7-8182E30DF5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3" name="Oval 2643">
                <a:extLst>
                  <a:ext uri="{FF2B5EF4-FFF2-40B4-BE49-F238E27FC236}">
                    <a16:creationId xmlns:a16="http://schemas.microsoft.com/office/drawing/2014/main" xmlns="" id="{8C20932A-E594-4D00-9F68-B0101A2F04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4" name="Oval 2644">
                <a:extLst>
                  <a:ext uri="{FF2B5EF4-FFF2-40B4-BE49-F238E27FC236}">
                    <a16:creationId xmlns:a16="http://schemas.microsoft.com/office/drawing/2014/main" xmlns="" id="{BB7F1A50-0074-4369-B07E-06F15C5387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04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5" name="Oval 2645">
                <a:extLst>
                  <a:ext uri="{FF2B5EF4-FFF2-40B4-BE49-F238E27FC236}">
                    <a16:creationId xmlns:a16="http://schemas.microsoft.com/office/drawing/2014/main" xmlns="" id="{7F8812FE-24EF-4904-BDA7-BC9DE4C74D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13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6" name="Oval 2646">
                <a:extLst>
                  <a:ext uri="{FF2B5EF4-FFF2-40B4-BE49-F238E27FC236}">
                    <a16:creationId xmlns:a16="http://schemas.microsoft.com/office/drawing/2014/main" xmlns="" id="{B13DEA20-F35F-4359-A1A4-633C9B722B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7" name="Oval 2647">
                <a:extLst>
                  <a:ext uri="{FF2B5EF4-FFF2-40B4-BE49-F238E27FC236}">
                    <a16:creationId xmlns:a16="http://schemas.microsoft.com/office/drawing/2014/main" xmlns="" id="{BDC5020D-B699-44AF-8737-E950DE8BA5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4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8" name="Oval 2648">
                <a:extLst>
                  <a:ext uri="{FF2B5EF4-FFF2-40B4-BE49-F238E27FC236}">
                    <a16:creationId xmlns:a16="http://schemas.microsoft.com/office/drawing/2014/main" xmlns="" id="{5AE417E4-66A6-4247-8C60-C1D60C76B9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9" name="Oval 2649">
                <a:extLst>
                  <a:ext uri="{FF2B5EF4-FFF2-40B4-BE49-F238E27FC236}">
                    <a16:creationId xmlns:a16="http://schemas.microsoft.com/office/drawing/2014/main" xmlns="" id="{AA9D20CC-F7B7-4AAF-805F-23F3A8CCB1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0" name="Oval 2650">
                <a:extLst>
                  <a:ext uri="{FF2B5EF4-FFF2-40B4-BE49-F238E27FC236}">
                    <a16:creationId xmlns:a16="http://schemas.microsoft.com/office/drawing/2014/main" xmlns="" id="{3F04D762-EC50-471C-BF02-B34545D0F4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4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1" name="Oval 2651">
                <a:extLst>
                  <a:ext uri="{FF2B5EF4-FFF2-40B4-BE49-F238E27FC236}">
                    <a16:creationId xmlns:a16="http://schemas.microsoft.com/office/drawing/2014/main" xmlns="" id="{D03537D8-0B86-4936-A6EE-7BF6FDFF63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2" name="Oval 2652">
                <a:extLst>
                  <a:ext uri="{FF2B5EF4-FFF2-40B4-BE49-F238E27FC236}">
                    <a16:creationId xmlns:a16="http://schemas.microsoft.com/office/drawing/2014/main" xmlns="" id="{FD2E68EB-D294-4846-9D99-2759059857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3" name="Oval 2653">
                <a:extLst>
                  <a:ext uri="{FF2B5EF4-FFF2-40B4-BE49-F238E27FC236}">
                    <a16:creationId xmlns:a16="http://schemas.microsoft.com/office/drawing/2014/main" xmlns="" id="{4FDC08F2-B7CF-4762-9E55-51243FA28A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4" name="Oval 2654">
                <a:extLst>
                  <a:ext uri="{FF2B5EF4-FFF2-40B4-BE49-F238E27FC236}">
                    <a16:creationId xmlns:a16="http://schemas.microsoft.com/office/drawing/2014/main" xmlns="" id="{0D504A83-0C88-4FBC-BAB4-19FA5E5AFC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5" name="Oval 2655">
                <a:extLst>
                  <a:ext uri="{FF2B5EF4-FFF2-40B4-BE49-F238E27FC236}">
                    <a16:creationId xmlns:a16="http://schemas.microsoft.com/office/drawing/2014/main" xmlns="" id="{60B827BD-7EAB-47B5-9B94-F2027A863C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6" name="Oval 2656">
                <a:extLst>
                  <a:ext uri="{FF2B5EF4-FFF2-40B4-BE49-F238E27FC236}">
                    <a16:creationId xmlns:a16="http://schemas.microsoft.com/office/drawing/2014/main" xmlns="" id="{209F3275-34A0-409C-B35E-F3F39A16FA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7" name="Oval 2657">
                <a:extLst>
                  <a:ext uri="{FF2B5EF4-FFF2-40B4-BE49-F238E27FC236}">
                    <a16:creationId xmlns:a16="http://schemas.microsoft.com/office/drawing/2014/main" xmlns="" id="{4B220A02-F739-4766-967A-C0D8693F1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8" name="Oval 2658">
                <a:extLst>
                  <a:ext uri="{FF2B5EF4-FFF2-40B4-BE49-F238E27FC236}">
                    <a16:creationId xmlns:a16="http://schemas.microsoft.com/office/drawing/2014/main" xmlns="" id="{8656B4CD-A562-4E52-95AF-9A4A064410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14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9" name="Oval 2659">
                <a:extLst>
                  <a:ext uri="{FF2B5EF4-FFF2-40B4-BE49-F238E27FC236}">
                    <a16:creationId xmlns:a16="http://schemas.microsoft.com/office/drawing/2014/main" xmlns="" id="{F9B50E16-AC90-4702-A2B0-1CF07FCE2A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0" name="Oval 2660">
                <a:extLst>
                  <a:ext uri="{FF2B5EF4-FFF2-40B4-BE49-F238E27FC236}">
                    <a16:creationId xmlns:a16="http://schemas.microsoft.com/office/drawing/2014/main" xmlns="" id="{2A42687A-7FC7-4936-B9A7-BB3F72A714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1" name="Oval 2661">
                <a:extLst>
                  <a:ext uri="{FF2B5EF4-FFF2-40B4-BE49-F238E27FC236}">
                    <a16:creationId xmlns:a16="http://schemas.microsoft.com/office/drawing/2014/main" xmlns="" id="{A1D30381-3ABE-4656-A0A5-14B3342D28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2" name="Oval 2662">
                <a:extLst>
                  <a:ext uri="{FF2B5EF4-FFF2-40B4-BE49-F238E27FC236}">
                    <a16:creationId xmlns:a16="http://schemas.microsoft.com/office/drawing/2014/main" xmlns="" id="{7903DEAB-164A-4F5C-BFD0-DC9291899F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3" name="Oval 2663">
                <a:extLst>
                  <a:ext uri="{FF2B5EF4-FFF2-40B4-BE49-F238E27FC236}">
                    <a16:creationId xmlns:a16="http://schemas.microsoft.com/office/drawing/2014/main" xmlns="" id="{DC511BCB-AF2C-4B34-B87E-A6D4A6B459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34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4" name="Oval 2664">
                <a:extLst>
                  <a:ext uri="{FF2B5EF4-FFF2-40B4-BE49-F238E27FC236}">
                    <a16:creationId xmlns:a16="http://schemas.microsoft.com/office/drawing/2014/main" xmlns="" id="{080E606A-C7A6-476E-85AE-6A8C50CCAC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4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5" name="Oval 2665">
                <a:extLst>
                  <a:ext uri="{FF2B5EF4-FFF2-40B4-BE49-F238E27FC236}">
                    <a16:creationId xmlns:a16="http://schemas.microsoft.com/office/drawing/2014/main" xmlns="" id="{21623BEC-FC00-4378-9263-4322CD2C35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4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6" name="Oval 2666">
                <a:extLst>
                  <a:ext uri="{FF2B5EF4-FFF2-40B4-BE49-F238E27FC236}">
                    <a16:creationId xmlns:a16="http://schemas.microsoft.com/office/drawing/2014/main" xmlns="" id="{D84F49A1-396E-45B9-B4E0-401FF6E9F2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4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7" name="Oval 2667">
                <a:extLst>
                  <a:ext uri="{FF2B5EF4-FFF2-40B4-BE49-F238E27FC236}">
                    <a16:creationId xmlns:a16="http://schemas.microsoft.com/office/drawing/2014/main" xmlns="" id="{60E73FD3-7058-40CE-BB0C-44E1ADEEF2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8" name="Oval 2668">
                <a:extLst>
                  <a:ext uri="{FF2B5EF4-FFF2-40B4-BE49-F238E27FC236}">
                    <a16:creationId xmlns:a16="http://schemas.microsoft.com/office/drawing/2014/main" xmlns="" id="{26A07F9E-3012-4F03-AB25-5ED984DF0A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9" name="Oval 2669">
                <a:extLst>
                  <a:ext uri="{FF2B5EF4-FFF2-40B4-BE49-F238E27FC236}">
                    <a16:creationId xmlns:a16="http://schemas.microsoft.com/office/drawing/2014/main" xmlns="" id="{A3DF7859-55F5-4B18-9FCC-F5DD563253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0" name="Oval 2670">
                <a:extLst>
                  <a:ext uri="{FF2B5EF4-FFF2-40B4-BE49-F238E27FC236}">
                    <a16:creationId xmlns:a16="http://schemas.microsoft.com/office/drawing/2014/main" xmlns="" id="{F5CE45F5-9A75-414D-980F-01C215706D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5" y="36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1" name="Oval 2671">
                <a:extLst>
                  <a:ext uri="{FF2B5EF4-FFF2-40B4-BE49-F238E27FC236}">
                    <a16:creationId xmlns:a16="http://schemas.microsoft.com/office/drawing/2014/main" xmlns="" id="{F46F04BB-5693-467C-BAD9-A6BB54CA54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4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2" name="Oval 2672">
                <a:extLst>
                  <a:ext uri="{FF2B5EF4-FFF2-40B4-BE49-F238E27FC236}">
                    <a16:creationId xmlns:a16="http://schemas.microsoft.com/office/drawing/2014/main" xmlns="" id="{0BB9E677-68C3-48E8-AE28-62CD1B695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3" name="Oval 2673">
                <a:extLst>
                  <a:ext uri="{FF2B5EF4-FFF2-40B4-BE49-F238E27FC236}">
                    <a16:creationId xmlns:a16="http://schemas.microsoft.com/office/drawing/2014/main" xmlns="" id="{E3D7340E-A0CA-4428-8751-562A0D8FF3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5" y="78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4" name="Oval 2674">
                <a:extLst>
                  <a:ext uri="{FF2B5EF4-FFF2-40B4-BE49-F238E27FC236}">
                    <a16:creationId xmlns:a16="http://schemas.microsoft.com/office/drawing/2014/main" xmlns="" id="{D6560FF2-8BF4-4037-94A2-82543D1D2A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5" name="Oval 2675">
                <a:extLst>
                  <a:ext uri="{FF2B5EF4-FFF2-40B4-BE49-F238E27FC236}">
                    <a16:creationId xmlns:a16="http://schemas.microsoft.com/office/drawing/2014/main" xmlns="" id="{D05B4ADF-A837-415C-8AD8-CE0D147BB3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6" name="Oval 2676">
                <a:extLst>
                  <a:ext uri="{FF2B5EF4-FFF2-40B4-BE49-F238E27FC236}">
                    <a16:creationId xmlns:a16="http://schemas.microsoft.com/office/drawing/2014/main" xmlns="" id="{7778E4F6-96FE-44BA-9B42-04D03C9D37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7" name="Oval 2677">
                <a:extLst>
                  <a:ext uri="{FF2B5EF4-FFF2-40B4-BE49-F238E27FC236}">
                    <a16:creationId xmlns:a16="http://schemas.microsoft.com/office/drawing/2014/main" xmlns="" id="{60316479-79A0-44A8-B232-BDA9D5D192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1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8" name="Oval 2678">
                <a:extLst>
                  <a:ext uri="{FF2B5EF4-FFF2-40B4-BE49-F238E27FC236}">
                    <a16:creationId xmlns:a16="http://schemas.microsoft.com/office/drawing/2014/main" xmlns="" id="{CD05EBF5-D554-4EA3-98D5-E26C301145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5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9" name="Oval 2679">
                <a:extLst>
                  <a:ext uri="{FF2B5EF4-FFF2-40B4-BE49-F238E27FC236}">
                    <a16:creationId xmlns:a16="http://schemas.microsoft.com/office/drawing/2014/main" xmlns="" id="{77ACF15D-A01F-4843-BBC9-B366E91347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0" name="Oval 2680">
                <a:extLst>
                  <a:ext uri="{FF2B5EF4-FFF2-40B4-BE49-F238E27FC236}">
                    <a16:creationId xmlns:a16="http://schemas.microsoft.com/office/drawing/2014/main" xmlns="" id="{06AC55C3-5040-426E-ABF9-325D81F8F1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5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1" name="Oval 2681">
                <a:extLst>
                  <a:ext uri="{FF2B5EF4-FFF2-40B4-BE49-F238E27FC236}">
                    <a16:creationId xmlns:a16="http://schemas.microsoft.com/office/drawing/2014/main" xmlns="" id="{68A2CC6C-1E64-4601-A15D-FBCD531279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5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2" name="Oval 2682">
                <a:extLst>
                  <a:ext uri="{FF2B5EF4-FFF2-40B4-BE49-F238E27FC236}">
                    <a16:creationId xmlns:a16="http://schemas.microsoft.com/office/drawing/2014/main" xmlns="" id="{F683C56B-3054-4C7E-853C-E5DC694ECD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3" name="Oval 2683">
                <a:extLst>
                  <a:ext uri="{FF2B5EF4-FFF2-40B4-BE49-F238E27FC236}">
                    <a16:creationId xmlns:a16="http://schemas.microsoft.com/office/drawing/2014/main" xmlns="" id="{2C5584A2-A521-4B91-B6DA-857A3FC49A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4" name="Oval 2684">
                <a:extLst>
                  <a:ext uri="{FF2B5EF4-FFF2-40B4-BE49-F238E27FC236}">
                    <a16:creationId xmlns:a16="http://schemas.microsoft.com/office/drawing/2014/main" xmlns="" id="{CB8ABF81-4790-4849-81AF-6A4C3766A4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5" name="Oval 2685">
                <a:extLst>
                  <a:ext uri="{FF2B5EF4-FFF2-40B4-BE49-F238E27FC236}">
                    <a16:creationId xmlns:a16="http://schemas.microsoft.com/office/drawing/2014/main" xmlns="" id="{446DE32C-08E9-4CCC-A723-A7A37B12D8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5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6" name="Oval 2686">
                <a:extLst>
                  <a:ext uri="{FF2B5EF4-FFF2-40B4-BE49-F238E27FC236}">
                    <a16:creationId xmlns:a16="http://schemas.microsoft.com/office/drawing/2014/main" xmlns="" id="{910FCAC9-DB9F-4660-B7E4-8CA59C4B2B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7" name="Oval 2687">
                <a:extLst>
                  <a:ext uri="{FF2B5EF4-FFF2-40B4-BE49-F238E27FC236}">
                    <a16:creationId xmlns:a16="http://schemas.microsoft.com/office/drawing/2014/main" xmlns="" id="{943D6649-3DFB-4883-8D4F-878EAC4CAC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8" name="Oval 2688">
                <a:extLst>
                  <a:ext uri="{FF2B5EF4-FFF2-40B4-BE49-F238E27FC236}">
                    <a16:creationId xmlns:a16="http://schemas.microsoft.com/office/drawing/2014/main" xmlns="" id="{21657494-DDB5-415B-BB35-2E0774436A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3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9" name="Oval 2689">
                <a:extLst>
                  <a:ext uri="{FF2B5EF4-FFF2-40B4-BE49-F238E27FC236}">
                    <a16:creationId xmlns:a16="http://schemas.microsoft.com/office/drawing/2014/main" xmlns="" id="{0112293C-561F-49E7-93EE-CFCE0B8A4D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0" name="Oval 2690">
                <a:extLst>
                  <a:ext uri="{FF2B5EF4-FFF2-40B4-BE49-F238E27FC236}">
                    <a16:creationId xmlns:a16="http://schemas.microsoft.com/office/drawing/2014/main" xmlns="" id="{8E5A77F9-1ACD-49B2-A12A-492ACFC523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1" name="Oval 2691">
                <a:extLst>
                  <a:ext uri="{FF2B5EF4-FFF2-40B4-BE49-F238E27FC236}">
                    <a16:creationId xmlns:a16="http://schemas.microsoft.com/office/drawing/2014/main" xmlns="" id="{FF17AD6B-9F6D-4F1E-AA03-ADE70A3575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2" name="Oval 2692">
                <a:extLst>
                  <a:ext uri="{FF2B5EF4-FFF2-40B4-BE49-F238E27FC236}">
                    <a16:creationId xmlns:a16="http://schemas.microsoft.com/office/drawing/2014/main" xmlns="" id="{49DE2702-D92F-4EE9-9F8A-23B564032D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4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3" name="Oval 2693">
                <a:extLst>
                  <a:ext uri="{FF2B5EF4-FFF2-40B4-BE49-F238E27FC236}">
                    <a16:creationId xmlns:a16="http://schemas.microsoft.com/office/drawing/2014/main" xmlns="" id="{1D7256C6-5486-4072-887D-A6532826DA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4" name="Oval 2694">
                <a:extLst>
                  <a:ext uri="{FF2B5EF4-FFF2-40B4-BE49-F238E27FC236}">
                    <a16:creationId xmlns:a16="http://schemas.microsoft.com/office/drawing/2014/main" xmlns="" id="{451C7BF0-BA39-4F01-A0B4-0D128BBF73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5" name="Oval 2695">
                <a:extLst>
                  <a:ext uri="{FF2B5EF4-FFF2-40B4-BE49-F238E27FC236}">
                    <a16:creationId xmlns:a16="http://schemas.microsoft.com/office/drawing/2014/main" xmlns="" id="{86ECAB5E-51BD-4FBC-B0D7-0098773882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6" name="Oval 2696">
                <a:extLst>
                  <a:ext uri="{FF2B5EF4-FFF2-40B4-BE49-F238E27FC236}">
                    <a16:creationId xmlns:a16="http://schemas.microsoft.com/office/drawing/2014/main" xmlns="" id="{6D986BE1-C7A1-4D07-958C-B4C1055B2C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7" name="Oval 2697">
                <a:extLst>
                  <a:ext uri="{FF2B5EF4-FFF2-40B4-BE49-F238E27FC236}">
                    <a16:creationId xmlns:a16="http://schemas.microsoft.com/office/drawing/2014/main" xmlns="" id="{1B20F3AC-1660-475F-A4EF-B4923B45C9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8" name="Oval 2698">
                <a:extLst>
                  <a:ext uri="{FF2B5EF4-FFF2-40B4-BE49-F238E27FC236}">
                    <a16:creationId xmlns:a16="http://schemas.microsoft.com/office/drawing/2014/main" xmlns="" id="{DD26C94B-36CF-4FBD-9C1D-B2456BF3A9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9" name="Oval 2699">
                <a:extLst>
                  <a:ext uri="{FF2B5EF4-FFF2-40B4-BE49-F238E27FC236}">
                    <a16:creationId xmlns:a16="http://schemas.microsoft.com/office/drawing/2014/main" xmlns="" id="{5A84D512-EFA8-4F97-873E-07070CFEEB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0" name="Oval 2700">
                <a:extLst>
                  <a:ext uri="{FF2B5EF4-FFF2-40B4-BE49-F238E27FC236}">
                    <a16:creationId xmlns:a16="http://schemas.microsoft.com/office/drawing/2014/main" xmlns="" id="{8D32CF99-1D10-419D-AB15-BADA616E17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1" name="Oval 2701">
                <a:extLst>
                  <a:ext uri="{FF2B5EF4-FFF2-40B4-BE49-F238E27FC236}">
                    <a16:creationId xmlns:a16="http://schemas.microsoft.com/office/drawing/2014/main" xmlns="" id="{A109D0F7-4B75-4F8B-96DA-59CAD206A8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2" name="Oval 2702">
                <a:extLst>
                  <a:ext uri="{FF2B5EF4-FFF2-40B4-BE49-F238E27FC236}">
                    <a16:creationId xmlns:a16="http://schemas.microsoft.com/office/drawing/2014/main" xmlns="" id="{EDF558AF-25C5-47BB-A7D0-3F3DA26282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15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3" name="Oval 2703">
                <a:extLst>
                  <a:ext uri="{FF2B5EF4-FFF2-40B4-BE49-F238E27FC236}">
                    <a16:creationId xmlns:a16="http://schemas.microsoft.com/office/drawing/2014/main" xmlns="" id="{1132C05F-2222-4348-ABA0-C33BB62987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4" name="Oval 2704">
                <a:extLst>
                  <a:ext uri="{FF2B5EF4-FFF2-40B4-BE49-F238E27FC236}">
                    <a16:creationId xmlns:a16="http://schemas.microsoft.com/office/drawing/2014/main" xmlns="" id="{9C96B3DA-6976-465A-83B1-2D43FA9760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5" name="Oval 2705">
                <a:extLst>
                  <a:ext uri="{FF2B5EF4-FFF2-40B4-BE49-F238E27FC236}">
                    <a16:creationId xmlns:a16="http://schemas.microsoft.com/office/drawing/2014/main" xmlns="" id="{E8637EC7-FC83-449E-B35E-A48F4E94BB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6" name="Oval 2706">
                <a:extLst>
                  <a:ext uri="{FF2B5EF4-FFF2-40B4-BE49-F238E27FC236}">
                    <a16:creationId xmlns:a16="http://schemas.microsoft.com/office/drawing/2014/main" xmlns="" id="{AF18984A-5140-4DF7-8B08-ABDE10473B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7" name="Oval 2707">
                <a:extLst>
                  <a:ext uri="{FF2B5EF4-FFF2-40B4-BE49-F238E27FC236}">
                    <a16:creationId xmlns:a16="http://schemas.microsoft.com/office/drawing/2014/main" xmlns="" id="{B8AC8FCF-4456-462B-B0C0-14A9244CC5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10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8" name="Oval 2708">
                <a:extLst>
                  <a:ext uri="{FF2B5EF4-FFF2-40B4-BE49-F238E27FC236}">
                    <a16:creationId xmlns:a16="http://schemas.microsoft.com/office/drawing/2014/main" xmlns="" id="{736FB248-8A0C-4017-A971-A060567253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9" name="Oval 2709">
                <a:extLst>
                  <a:ext uri="{FF2B5EF4-FFF2-40B4-BE49-F238E27FC236}">
                    <a16:creationId xmlns:a16="http://schemas.microsoft.com/office/drawing/2014/main" xmlns="" id="{F389423D-2FE8-4DB2-9284-BD04D78F6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0" name="Oval 2710">
                <a:extLst>
                  <a:ext uri="{FF2B5EF4-FFF2-40B4-BE49-F238E27FC236}">
                    <a16:creationId xmlns:a16="http://schemas.microsoft.com/office/drawing/2014/main" xmlns="" id="{63F7FADE-7E3F-427F-A206-EBAC1E2CBE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1" name="Oval 2711">
                <a:extLst>
                  <a:ext uri="{FF2B5EF4-FFF2-40B4-BE49-F238E27FC236}">
                    <a16:creationId xmlns:a16="http://schemas.microsoft.com/office/drawing/2014/main" xmlns="" id="{FD345648-B9DC-489A-8614-982BED7689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2" name="Oval 2712">
                <a:extLst>
                  <a:ext uri="{FF2B5EF4-FFF2-40B4-BE49-F238E27FC236}">
                    <a16:creationId xmlns:a16="http://schemas.microsoft.com/office/drawing/2014/main" xmlns="" id="{A5BE3984-DE21-4625-B11A-15D495CC38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3" name="Oval 2713">
                <a:extLst>
                  <a:ext uri="{FF2B5EF4-FFF2-40B4-BE49-F238E27FC236}">
                    <a16:creationId xmlns:a16="http://schemas.microsoft.com/office/drawing/2014/main" xmlns="" id="{357E5CC3-A010-4400-BC1C-0CA954A136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4" name="Oval 2714">
                <a:extLst>
                  <a:ext uri="{FF2B5EF4-FFF2-40B4-BE49-F238E27FC236}">
                    <a16:creationId xmlns:a16="http://schemas.microsoft.com/office/drawing/2014/main" xmlns="" id="{F02EE3A0-43DB-4000-8335-C0568CB097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1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5" name="Oval 2715">
                <a:extLst>
                  <a:ext uri="{FF2B5EF4-FFF2-40B4-BE49-F238E27FC236}">
                    <a16:creationId xmlns:a16="http://schemas.microsoft.com/office/drawing/2014/main" xmlns="" id="{D022DCDE-7ACF-4CC7-9A53-B1632919EA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6" name="Oval 2716">
                <a:extLst>
                  <a:ext uri="{FF2B5EF4-FFF2-40B4-BE49-F238E27FC236}">
                    <a16:creationId xmlns:a16="http://schemas.microsoft.com/office/drawing/2014/main" xmlns="" id="{FD5212BA-CB10-46E2-AE10-378896581A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7" name="Oval 2717">
                <a:extLst>
                  <a:ext uri="{FF2B5EF4-FFF2-40B4-BE49-F238E27FC236}">
                    <a16:creationId xmlns:a16="http://schemas.microsoft.com/office/drawing/2014/main" xmlns="" id="{6122A88E-D886-4B51-9F85-89967668EE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8" name="Oval 2718">
                <a:extLst>
                  <a:ext uri="{FF2B5EF4-FFF2-40B4-BE49-F238E27FC236}">
                    <a16:creationId xmlns:a16="http://schemas.microsoft.com/office/drawing/2014/main" xmlns="" id="{A43094B7-2E51-4596-99BD-7F567D4AD8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9" name="Oval 2719">
                <a:extLst>
                  <a:ext uri="{FF2B5EF4-FFF2-40B4-BE49-F238E27FC236}">
                    <a16:creationId xmlns:a16="http://schemas.microsoft.com/office/drawing/2014/main" xmlns="" id="{1CA2DECB-8761-4F56-950A-2D73E5231C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0" name="Oval 2720">
                <a:extLst>
                  <a:ext uri="{FF2B5EF4-FFF2-40B4-BE49-F238E27FC236}">
                    <a16:creationId xmlns:a16="http://schemas.microsoft.com/office/drawing/2014/main" xmlns="" id="{80C12790-C7A5-4DF0-AB85-A0DBC7F3B0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1" name="Oval 2721">
                <a:extLst>
                  <a:ext uri="{FF2B5EF4-FFF2-40B4-BE49-F238E27FC236}">
                    <a16:creationId xmlns:a16="http://schemas.microsoft.com/office/drawing/2014/main" xmlns="" id="{1A58D89D-1A19-4BA9-BFEF-830A0D569F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2" name="Oval 2722">
                <a:extLst>
                  <a:ext uri="{FF2B5EF4-FFF2-40B4-BE49-F238E27FC236}">
                    <a16:creationId xmlns:a16="http://schemas.microsoft.com/office/drawing/2014/main" xmlns="" id="{4F3BEDFD-89C6-4C30-91D0-BD31B3C90F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3" name="Oval 2723">
                <a:extLst>
                  <a:ext uri="{FF2B5EF4-FFF2-40B4-BE49-F238E27FC236}">
                    <a16:creationId xmlns:a16="http://schemas.microsoft.com/office/drawing/2014/main" xmlns="" id="{FC59098B-80F6-4858-984D-90AA991622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4" name="Oval 2724">
                <a:extLst>
                  <a:ext uri="{FF2B5EF4-FFF2-40B4-BE49-F238E27FC236}">
                    <a16:creationId xmlns:a16="http://schemas.microsoft.com/office/drawing/2014/main" xmlns="" id="{1F861820-FD06-42AB-BE24-1E4485E1E8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5" name="Oval 2725">
                <a:extLst>
                  <a:ext uri="{FF2B5EF4-FFF2-40B4-BE49-F238E27FC236}">
                    <a16:creationId xmlns:a16="http://schemas.microsoft.com/office/drawing/2014/main" xmlns="" id="{2A081706-3ED1-412C-B142-C8C2D67EA2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6" name="Oval 2726">
                <a:extLst>
                  <a:ext uri="{FF2B5EF4-FFF2-40B4-BE49-F238E27FC236}">
                    <a16:creationId xmlns:a16="http://schemas.microsoft.com/office/drawing/2014/main" xmlns="" id="{BDA03BDF-4CD8-4D07-BC62-0938C6F1D3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7" name="Oval 2727">
                <a:extLst>
                  <a:ext uri="{FF2B5EF4-FFF2-40B4-BE49-F238E27FC236}">
                    <a16:creationId xmlns:a16="http://schemas.microsoft.com/office/drawing/2014/main" xmlns="" id="{CA602E85-B624-4A06-AC46-AEC6BEDA23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8" name="Oval 2728">
                <a:extLst>
                  <a:ext uri="{FF2B5EF4-FFF2-40B4-BE49-F238E27FC236}">
                    <a16:creationId xmlns:a16="http://schemas.microsoft.com/office/drawing/2014/main" xmlns="" id="{4F1250A6-3752-4183-B4D9-5300A4536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9" name="Oval 2729">
                <a:extLst>
                  <a:ext uri="{FF2B5EF4-FFF2-40B4-BE49-F238E27FC236}">
                    <a16:creationId xmlns:a16="http://schemas.microsoft.com/office/drawing/2014/main" xmlns="" id="{DED79C39-0757-4EF4-82BD-D87B7BBB2C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0" name="Oval 2730">
                <a:extLst>
                  <a:ext uri="{FF2B5EF4-FFF2-40B4-BE49-F238E27FC236}">
                    <a16:creationId xmlns:a16="http://schemas.microsoft.com/office/drawing/2014/main" xmlns="" id="{D9DF39CB-E626-43AF-AA6E-5F457DC3D3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1" name="Oval 2731">
                <a:extLst>
                  <a:ext uri="{FF2B5EF4-FFF2-40B4-BE49-F238E27FC236}">
                    <a16:creationId xmlns:a16="http://schemas.microsoft.com/office/drawing/2014/main" xmlns="" id="{CE8E430F-0566-44E0-A831-A618E87492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2" name="Oval 2732">
                <a:extLst>
                  <a:ext uri="{FF2B5EF4-FFF2-40B4-BE49-F238E27FC236}">
                    <a16:creationId xmlns:a16="http://schemas.microsoft.com/office/drawing/2014/main" xmlns="" id="{04D3182D-3F11-4CB6-8C21-B1E15336D6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3" name="Oval 2733">
                <a:extLst>
                  <a:ext uri="{FF2B5EF4-FFF2-40B4-BE49-F238E27FC236}">
                    <a16:creationId xmlns:a16="http://schemas.microsoft.com/office/drawing/2014/main" xmlns="" id="{D93C89EE-F466-4458-B25E-D0FD17E887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4" name="Oval 2734">
                <a:extLst>
                  <a:ext uri="{FF2B5EF4-FFF2-40B4-BE49-F238E27FC236}">
                    <a16:creationId xmlns:a16="http://schemas.microsoft.com/office/drawing/2014/main" xmlns="" id="{88701911-5AF5-4905-8C8F-A68D937CEC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5" name="Oval 2735">
                <a:extLst>
                  <a:ext uri="{FF2B5EF4-FFF2-40B4-BE49-F238E27FC236}">
                    <a16:creationId xmlns:a16="http://schemas.microsoft.com/office/drawing/2014/main" xmlns="" id="{13AFC4E8-9765-44FA-9075-D1ACE32BF3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6" name="Oval 2736">
                <a:extLst>
                  <a:ext uri="{FF2B5EF4-FFF2-40B4-BE49-F238E27FC236}">
                    <a16:creationId xmlns:a16="http://schemas.microsoft.com/office/drawing/2014/main" xmlns="" id="{FE9C3BE2-C0BB-4E84-A617-6D78892021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7" name="Oval 2737">
                <a:extLst>
                  <a:ext uri="{FF2B5EF4-FFF2-40B4-BE49-F238E27FC236}">
                    <a16:creationId xmlns:a16="http://schemas.microsoft.com/office/drawing/2014/main" xmlns="" id="{0E21BB0F-784F-4BCF-88A9-801E0F2F13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8" name="Oval 2738">
                <a:extLst>
                  <a:ext uri="{FF2B5EF4-FFF2-40B4-BE49-F238E27FC236}">
                    <a16:creationId xmlns:a16="http://schemas.microsoft.com/office/drawing/2014/main" xmlns="" id="{89565C82-67C4-43E1-9A08-EE552666B0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9" name="Oval 2739">
                <a:extLst>
                  <a:ext uri="{FF2B5EF4-FFF2-40B4-BE49-F238E27FC236}">
                    <a16:creationId xmlns:a16="http://schemas.microsoft.com/office/drawing/2014/main" xmlns="" id="{B39F0999-C685-47F6-BEC8-F5D03355FC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0" name="Oval 2740">
                <a:extLst>
                  <a:ext uri="{FF2B5EF4-FFF2-40B4-BE49-F238E27FC236}">
                    <a16:creationId xmlns:a16="http://schemas.microsoft.com/office/drawing/2014/main" xmlns="" id="{6B49215F-0DBA-4E4B-A0E4-6E8F412E6B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1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1" name="Oval 2741">
                <a:extLst>
                  <a:ext uri="{FF2B5EF4-FFF2-40B4-BE49-F238E27FC236}">
                    <a16:creationId xmlns:a16="http://schemas.microsoft.com/office/drawing/2014/main" xmlns="" id="{36CA39AB-8BF4-4DB7-AA4F-45DA2F5C76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2" name="Oval 2742">
                <a:extLst>
                  <a:ext uri="{FF2B5EF4-FFF2-40B4-BE49-F238E27FC236}">
                    <a16:creationId xmlns:a16="http://schemas.microsoft.com/office/drawing/2014/main" xmlns="" id="{C54D577F-BB37-4669-8B81-9ACA2D4104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3" name="Oval 2743">
                <a:extLst>
                  <a:ext uri="{FF2B5EF4-FFF2-40B4-BE49-F238E27FC236}">
                    <a16:creationId xmlns:a16="http://schemas.microsoft.com/office/drawing/2014/main" xmlns="" id="{5C8A0734-252E-4ABC-B5DF-FCCA0C4F44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4" name="Oval 2744">
                <a:extLst>
                  <a:ext uri="{FF2B5EF4-FFF2-40B4-BE49-F238E27FC236}">
                    <a16:creationId xmlns:a16="http://schemas.microsoft.com/office/drawing/2014/main" xmlns="" id="{B62FDB66-6213-493A-BF7E-9FB5B504EF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5" name="Oval 2745">
                <a:extLst>
                  <a:ext uri="{FF2B5EF4-FFF2-40B4-BE49-F238E27FC236}">
                    <a16:creationId xmlns:a16="http://schemas.microsoft.com/office/drawing/2014/main" xmlns="" id="{0410AA02-A4E7-4569-AC79-C60FDB3D59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99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6" name="Oval 2746">
                <a:extLst>
                  <a:ext uri="{FF2B5EF4-FFF2-40B4-BE49-F238E27FC236}">
                    <a16:creationId xmlns:a16="http://schemas.microsoft.com/office/drawing/2014/main" xmlns="" id="{6D69BCB2-A536-445B-BE8D-000C9548B7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7" name="Oval 2747">
                <a:extLst>
                  <a:ext uri="{FF2B5EF4-FFF2-40B4-BE49-F238E27FC236}">
                    <a16:creationId xmlns:a16="http://schemas.microsoft.com/office/drawing/2014/main" xmlns="" id="{78C68E1F-29E7-43A9-95F5-491ED00E82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8" name="Oval 2748">
                <a:extLst>
                  <a:ext uri="{FF2B5EF4-FFF2-40B4-BE49-F238E27FC236}">
                    <a16:creationId xmlns:a16="http://schemas.microsoft.com/office/drawing/2014/main" xmlns="" id="{0D703754-AC39-467E-A8BE-DCE818EBFF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9" name="Oval 2749">
                <a:extLst>
                  <a:ext uri="{FF2B5EF4-FFF2-40B4-BE49-F238E27FC236}">
                    <a16:creationId xmlns:a16="http://schemas.microsoft.com/office/drawing/2014/main" xmlns="" id="{75C696DB-E599-49A6-8FE4-6B24C4BDE5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0" name="Oval 2750">
                <a:extLst>
                  <a:ext uri="{FF2B5EF4-FFF2-40B4-BE49-F238E27FC236}">
                    <a16:creationId xmlns:a16="http://schemas.microsoft.com/office/drawing/2014/main" xmlns="" id="{B69F038A-97A9-429C-BBEA-60CB85DD17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45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1" name="Oval 2751">
                <a:extLst>
                  <a:ext uri="{FF2B5EF4-FFF2-40B4-BE49-F238E27FC236}">
                    <a16:creationId xmlns:a16="http://schemas.microsoft.com/office/drawing/2014/main" xmlns="" id="{72528DD1-FA07-4C69-87E0-D739B00818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3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2" name="Oval 2752">
                <a:extLst>
                  <a:ext uri="{FF2B5EF4-FFF2-40B4-BE49-F238E27FC236}">
                    <a16:creationId xmlns:a16="http://schemas.microsoft.com/office/drawing/2014/main" xmlns="" id="{8DD67A1F-CB3E-4886-A558-F8FF7CD2F5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3" name="Oval 2753">
                <a:extLst>
                  <a:ext uri="{FF2B5EF4-FFF2-40B4-BE49-F238E27FC236}">
                    <a16:creationId xmlns:a16="http://schemas.microsoft.com/office/drawing/2014/main" xmlns="" id="{ED81BB88-3C40-4372-97D2-2ABEA677C3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4" name="Oval 2754">
                <a:extLst>
                  <a:ext uri="{FF2B5EF4-FFF2-40B4-BE49-F238E27FC236}">
                    <a16:creationId xmlns:a16="http://schemas.microsoft.com/office/drawing/2014/main" xmlns="" id="{77CACFD9-90F3-422C-9BF3-6667FA3568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6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5" name="Oval 2755">
                <a:extLst>
                  <a:ext uri="{FF2B5EF4-FFF2-40B4-BE49-F238E27FC236}">
                    <a16:creationId xmlns:a16="http://schemas.microsoft.com/office/drawing/2014/main" xmlns="" id="{336062DC-B4A7-41ED-8041-DF3A261E3E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6" name="Oval 2756">
                <a:extLst>
                  <a:ext uri="{FF2B5EF4-FFF2-40B4-BE49-F238E27FC236}">
                    <a16:creationId xmlns:a16="http://schemas.microsoft.com/office/drawing/2014/main" xmlns="" id="{65F1C575-0C77-4054-8F46-2E38B071FD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7" name="Oval 2757">
                <a:extLst>
                  <a:ext uri="{FF2B5EF4-FFF2-40B4-BE49-F238E27FC236}">
                    <a16:creationId xmlns:a16="http://schemas.microsoft.com/office/drawing/2014/main" xmlns="" id="{B0BCDA78-2793-4A81-8574-B90E706B2B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8" name="Oval 2758">
                <a:extLst>
                  <a:ext uri="{FF2B5EF4-FFF2-40B4-BE49-F238E27FC236}">
                    <a16:creationId xmlns:a16="http://schemas.microsoft.com/office/drawing/2014/main" xmlns="" id="{1786878B-CCF3-4B87-8DA0-21440914F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9" name="Oval 2759">
                <a:extLst>
                  <a:ext uri="{FF2B5EF4-FFF2-40B4-BE49-F238E27FC236}">
                    <a16:creationId xmlns:a16="http://schemas.microsoft.com/office/drawing/2014/main" xmlns="" id="{9CA1D9B3-E7C7-4C64-A880-7228DDEC2E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0" name="Oval 2760">
                <a:extLst>
                  <a:ext uri="{FF2B5EF4-FFF2-40B4-BE49-F238E27FC236}">
                    <a16:creationId xmlns:a16="http://schemas.microsoft.com/office/drawing/2014/main" xmlns="" id="{62B8C270-3B81-4563-A6F5-64268454E2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1" name="Oval 2761">
                <a:extLst>
                  <a:ext uri="{FF2B5EF4-FFF2-40B4-BE49-F238E27FC236}">
                    <a16:creationId xmlns:a16="http://schemas.microsoft.com/office/drawing/2014/main" xmlns="" id="{6EF8C317-1700-44E8-96E0-0EDBB16F78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2" name="Oval 2762">
                <a:extLst>
                  <a:ext uri="{FF2B5EF4-FFF2-40B4-BE49-F238E27FC236}">
                    <a16:creationId xmlns:a16="http://schemas.microsoft.com/office/drawing/2014/main" xmlns="" id="{1F2C46FC-4275-4454-A274-6C659A2A5B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3" name="Oval 2763">
                <a:extLst>
                  <a:ext uri="{FF2B5EF4-FFF2-40B4-BE49-F238E27FC236}">
                    <a16:creationId xmlns:a16="http://schemas.microsoft.com/office/drawing/2014/main" xmlns="" id="{9D8C38EC-92D3-4FA3-A4DE-2496C3C236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4" name="Oval 2764">
                <a:extLst>
                  <a:ext uri="{FF2B5EF4-FFF2-40B4-BE49-F238E27FC236}">
                    <a16:creationId xmlns:a16="http://schemas.microsoft.com/office/drawing/2014/main" xmlns="" id="{424BC905-3B9C-44C2-9ACA-7487D15E95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5" name="Oval 2765">
                <a:extLst>
                  <a:ext uri="{FF2B5EF4-FFF2-40B4-BE49-F238E27FC236}">
                    <a16:creationId xmlns:a16="http://schemas.microsoft.com/office/drawing/2014/main" xmlns="" id="{DA8A04D8-CEF9-4FFA-9FC7-4D9D89D341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4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6" name="Oval 2766">
                <a:extLst>
                  <a:ext uri="{FF2B5EF4-FFF2-40B4-BE49-F238E27FC236}">
                    <a16:creationId xmlns:a16="http://schemas.microsoft.com/office/drawing/2014/main" xmlns="" id="{2DB2FD82-82AD-4376-971F-8FDBD44D5E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7" name="Oval 2767">
                <a:extLst>
                  <a:ext uri="{FF2B5EF4-FFF2-40B4-BE49-F238E27FC236}">
                    <a16:creationId xmlns:a16="http://schemas.microsoft.com/office/drawing/2014/main" xmlns="" id="{C2B9C4DC-AD22-492B-8212-FF8DD98A1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8" name="Oval 2768">
                <a:extLst>
                  <a:ext uri="{FF2B5EF4-FFF2-40B4-BE49-F238E27FC236}">
                    <a16:creationId xmlns:a16="http://schemas.microsoft.com/office/drawing/2014/main" xmlns="" id="{29B415E0-CC5D-4160-BF54-4C5AAE6CC2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9" name="Oval 2769">
                <a:extLst>
                  <a:ext uri="{FF2B5EF4-FFF2-40B4-BE49-F238E27FC236}">
                    <a16:creationId xmlns:a16="http://schemas.microsoft.com/office/drawing/2014/main" xmlns="" id="{889F0758-F4D2-48E6-9CB7-17BBA3439F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0" name="Oval 2770">
                <a:extLst>
                  <a:ext uri="{FF2B5EF4-FFF2-40B4-BE49-F238E27FC236}">
                    <a16:creationId xmlns:a16="http://schemas.microsoft.com/office/drawing/2014/main" xmlns="" id="{D661B9DA-28D8-4CAE-8396-EAE1CFE585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1" name="Oval 2771">
                <a:extLst>
                  <a:ext uri="{FF2B5EF4-FFF2-40B4-BE49-F238E27FC236}">
                    <a16:creationId xmlns:a16="http://schemas.microsoft.com/office/drawing/2014/main" xmlns="" id="{ED260909-BAD8-400F-AA13-5E7F669008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2" name="Oval 2772">
                <a:extLst>
                  <a:ext uri="{FF2B5EF4-FFF2-40B4-BE49-F238E27FC236}">
                    <a16:creationId xmlns:a16="http://schemas.microsoft.com/office/drawing/2014/main" xmlns="" id="{8660C176-9321-4B70-85C2-5986117710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3" name="Oval 2773">
                <a:extLst>
                  <a:ext uri="{FF2B5EF4-FFF2-40B4-BE49-F238E27FC236}">
                    <a16:creationId xmlns:a16="http://schemas.microsoft.com/office/drawing/2014/main" xmlns="" id="{405BCF63-53AF-4FFC-A73F-2D0776247D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4" name="Oval 2774">
                <a:extLst>
                  <a:ext uri="{FF2B5EF4-FFF2-40B4-BE49-F238E27FC236}">
                    <a16:creationId xmlns:a16="http://schemas.microsoft.com/office/drawing/2014/main" xmlns="" id="{6F5AA934-4F34-49C6-BE79-D335C041E4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5" name="Oval 2775">
                <a:extLst>
                  <a:ext uri="{FF2B5EF4-FFF2-40B4-BE49-F238E27FC236}">
                    <a16:creationId xmlns:a16="http://schemas.microsoft.com/office/drawing/2014/main" xmlns="" id="{E362C7F4-9373-4BE6-AD8A-930E45AD85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6" name="Oval 2776">
                <a:extLst>
                  <a:ext uri="{FF2B5EF4-FFF2-40B4-BE49-F238E27FC236}">
                    <a16:creationId xmlns:a16="http://schemas.microsoft.com/office/drawing/2014/main" xmlns="" id="{435B7E98-9856-444E-B541-162CB16797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7" name="Oval 2777">
                <a:extLst>
                  <a:ext uri="{FF2B5EF4-FFF2-40B4-BE49-F238E27FC236}">
                    <a16:creationId xmlns:a16="http://schemas.microsoft.com/office/drawing/2014/main" xmlns="" id="{4186FA8C-CF2E-4D32-A4A4-3603C39B0B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8" name="Oval 2778">
                <a:extLst>
                  <a:ext uri="{FF2B5EF4-FFF2-40B4-BE49-F238E27FC236}">
                    <a16:creationId xmlns:a16="http://schemas.microsoft.com/office/drawing/2014/main" xmlns="" id="{034127AE-3E9A-472B-93F6-103E1325CD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6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9" name="Oval 2779">
                <a:extLst>
                  <a:ext uri="{FF2B5EF4-FFF2-40B4-BE49-F238E27FC236}">
                    <a16:creationId xmlns:a16="http://schemas.microsoft.com/office/drawing/2014/main" xmlns="" id="{8B4862D2-2A20-49E1-A3E9-E81F980A27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12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0" name="Oval 2780">
                <a:extLst>
                  <a:ext uri="{FF2B5EF4-FFF2-40B4-BE49-F238E27FC236}">
                    <a16:creationId xmlns:a16="http://schemas.microsoft.com/office/drawing/2014/main" xmlns="" id="{ABF13899-165B-4373-8753-8F42F6857B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0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1" name="Oval 2781">
                <a:extLst>
                  <a:ext uri="{FF2B5EF4-FFF2-40B4-BE49-F238E27FC236}">
                    <a16:creationId xmlns:a16="http://schemas.microsoft.com/office/drawing/2014/main" xmlns="" id="{198F927F-9885-4D2C-AA3F-5666115234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grpSp>
          <p:nvGrpSpPr>
            <p:cNvPr id="2606" name="Group 2983">
              <a:extLst>
                <a:ext uri="{FF2B5EF4-FFF2-40B4-BE49-F238E27FC236}">
                  <a16:creationId xmlns:a16="http://schemas.microsoft.com/office/drawing/2014/main" xmlns="" id="{61AA66A9-2F9C-41CA-9900-9A1767E4DA1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46" y="120"/>
              <a:ext cx="1979" cy="3120"/>
              <a:chOff x="1246" y="120"/>
              <a:chExt cx="1979" cy="3120"/>
            </a:xfrm>
          </p:grpSpPr>
          <p:sp>
            <p:nvSpPr>
              <p:cNvPr id="2792" name="Oval 2783">
                <a:extLst>
                  <a:ext uri="{FF2B5EF4-FFF2-40B4-BE49-F238E27FC236}">
                    <a16:creationId xmlns:a16="http://schemas.microsoft.com/office/drawing/2014/main" xmlns="" id="{0D772049-A969-4853-A807-C5221EC6E4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793" name="Oval 2784">
                <a:extLst>
                  <a:ext uri="{FF2B5EF4-FFF2-40B4-BE49-F238E27FC236}">
                    <a16:creationId xmlns:a16="http://schemas.microsoft.com/office/drawing/2014/main" xmlns="" id="{1FE068D8-3803-4AB8-AD39-4A9CE09267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794" name="Oval 2785">
                <a:extLst>
                  <a:ext uri="{FF2B5EF4-FFF2-40B4-BE49-F238E27FC236}">
                    <a16:creationId xmlns:a16="http://schemas.microsoft.com/office/drawing/2014/main" xmlns="" id="{57B0ACF4-FD32-4FDE-8841-09DB22C412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795" name="Oval 2786">
                <a:extLst>
                  <a:ext uri="{FF2B5EF4-FFF2-40B4-BE49-F238E27FC236}">
                    <a16:creationId xmlns:a16="http://schemas.microsoft.com/office/drawing/2014/main" xmlns="" id="{DD132A6D-0D8E-4CFC-AF98-AC4E5C12D0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796" name="Oval 2787">
                <a:extLst>
                  <a:ext uri="{FF2B5EF4-FFF2-40B4-BE49-F238E27FC236}">
                    <a16:creationId xmlns:a16="http://schemas.microsoft.com/office/drawing/2014/main" xmlns="" id="{A2A33441-277D-4349-B43A-ECFF67CB14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797" name="Oval 2788">
                <a:extLst>
                  <a:ext uri="{FF2B5EF4-FFF2-40B4-BE49-F238E27FC236}">
                    <a16:creationId xmlns:a16="http://schemas.microsoft.com/office/drawing/2014/main" xmlns="" id="{5B671F36-904D-40B2-8D86-C45FDCEE24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798" name="Oval 2789">
                <a:extLst>
                  <a:ext uri="{FF2B5EF4-FFF2-40B4-BE49-F238E27FC236}">
                    <a16:creationId xmlns:a16="http://schemas.microsoft.com/office/drawing/2014/main" xmlns="" id="{0A2B99D6-F833-4E06-BB34-D585896EA8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7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799" name="Oval 2790">
                <a:extLst>
                  <a:ext uri="{FF2B5EF4-FFF2-40B4-BE49-F238E27FC236}">
                    <a16:creationId xmlns:a16="http://schemas.microsoft.com/office/drawing/2014/main" xmlns="" id="{85EB187E-E9FF-470D-85B0-870D18B55D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0" name="Oval 2791">
                <a:extLst>
                  <a:ext uri="{FF2B5EF4-FFF2-40B4-BE49-F238E27FC236}">
                    <a16:creationId xmlns:a16="http://schemas.microsoft.com/office/drawing/2014/main" xmlns="" id="{4D9AF970-C3CA-4AFD-AC14-1348D9C6C2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1" name="Oval 2792">
                <a:extLst>
                  <a:ext uri="{FF2B5EF4-FFF2-40B4-BE49-F238E27FC236}">
                    <a16:creationId xmlns:a16="http://schemas.microsoft.com/office/drawing/2014/main" xmlns="" id="{A364CE03-A0E6-4CB1-85D4-7E85F50DF9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13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2" name="Oval 2793">
                <a:extLst>
                  <a:ext uri="{FF2B5EF4-FFF2-40B4-BE49-F238E27FC236}">
                    <a16:creationId xmlns:a16="http://schemas.microsoft.com/office/drawing/2014/main" xmlns="" id="{8F676246-2784-4A65-9966-E756CCF896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3" name="Oval 2794">
                <a:extLst>
                  <a:ext uri="{FF2B5EF4-FFF2-40B4-BE49-F238E27FC236}">
                    <a16:creationId xmlns:a16="http://schemas.microsoft.com/office/drawing/2014/main" xmlns="" id="{1331C03A-277A-445E-BC67-A1BC3E2726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15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4" name="Oval 2795">
                <a:extLst>
                  <a:ext uri="{FF2B5EF4-FFF2-40B4-BE49-F238E27FC236}">
                    <a16:creationId xmlns:a16="http://schemas.microsoft.com/office/drawing/2014/main" xmlns="" id="{76657A6B-3E94-4F03-A696-D12049C026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5" name="Oval 2796">
                <a:extLst>
                  <a:ext uri="{FF2B5EF4-FFF2-40B4-BE49-F238E27FC236}">
                    <a16:creationId xmlns:a16="http://schemas.microsoft.com/office/drawing/2014/main" xmlns="" id="{516E9942-EC58-42C6-AD5A-3F00135498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6" name="Oval 2797">
                <a:extLst>
                  <a:ext uri="{FF2B5EF4-FFF2-40B4-BE49-F238E27FC236}">
                    <a16:creationId xmlns:a16="http://schemas.microsoft.com/office/drawing/2014/main" xmlns="" id="{EC52A1F4-DC9E-4F04-AA05-FFDB7F2FEB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7" name="Oval 2798">
                <a:extLst>
                  <a:ext uri="{FF2B5EF4-FFF2-40B4-BE49-F238E27FC236}">
                    <a16:creationId xmlns:a16="http://schemas.microsoft.com/office/drawing/2014/main" xmlns="" id="{9EC7A489-408D-4A5F-94D5-2A55CEC2B7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8" name="Oval 2799">
                <a:extLst>
                  <a:ext uri="{FF2B5EF4-FFF2-40B4-BE49-F238E27FC236}">
                    <a16:creationId xmlns:a16="http://schemas.microsoft.com/office/drawing/2014/main" xmlns="" id="{95659B63-CB82-426F-9176-16E13149F0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9" name="Oval 2800">
                <a:extLst>
                  <a:ext uri="{FF2B5EF4-FFF2-40B4-BE49-F238E27FC236}">
                    <a16:creationId xmlns:a16="http://schemas.microsoft.com/office/drawing/2014/main" xmlns="" id="{03BB9CC8-D3BB-4F9B-BCB6-DCF93FFF43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0" name="Oval 2801">
                <a:extLst>
                  <a:ext uri="{FF2B5EF4-FFF2-40B4-BE49-F238E27FC236}">
                    <a16:creationId xmlns:a16="http://schemas.microsoft.com/office/drawing/2014/main" xmlns="" id="{9F1EEA1D-01C6-4834-98D7-E70590F34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1" name="Oval 2802">
                <a:extLst>
                  <a:ext uri="{FF2B5EF4-FFF2-40B4-BE49-F238E27FC236}">
                    <a16:creationId xmlns:a16="http://schemas.microsoft.com/office/drawing/2014/main" xmlns="" id="{CDD88DF9-910C-4929-A29A-3D526EF048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2" name="Oval 2803">
                <a:extLst>
                  <a:ext uri="{FF2B5EF4-FFF2-40B4-BE49-F238E27FC236}">
                    <a16:creationId xmlns:a16="http://schemas.microsoft.com/office/drawing/2014/main" xmlns="" id="{0695A538-8399-48BB-BE53-2E68B7F3C0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8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3" name="Oval 2804">
                <a:extLst>
                  <a:ext uri="{FF2B5EF4-FFF2-40B4-BE49-F238E27FC236}">
                    <a16:creationId xmlns:a16="http://schemas.microsoft.com/office/drawing/2014/main" xmlns="" id="{96849FD4-DE1F-4D37-A9F8-5D24B1A266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4" name="Oval 2805">
                <a:extLst>
                  <a:ext uri="{FF2B5EF4-FFF2-40B4-BE49-F238E27FC236}">
                    <a16:creationId xmlns:a16="http://schemas.microsoft.com/office/drawing/2014/main" xmlns="" id="{2061F435-8C91-4936-8470-0949F73622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5" name="Oval 2806">
                <a:extLst>
                  <a:ext uri="{FF2B5EF4-FFF2-40B4-BE49-F238E27FC236}">
                    <a16:creationId xmlns:a16="http://schemas.microsoft.com/office/drawing/2014/main" xmlns="" id="{7067F547-A8DB-46AA-B5C1-9DEAF3F95C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6" name="Oval 2807">
                <a:extLst>
                  <a:ext uri="{FF2B5EF4-FFF2-40B4-BE49-F238E27FC236}">
                    <a16:creationId xmlns:a16="http://schemas.microsoft.com/office/drawing/2014/main" xmlns="" id="{88D60458-D445-4712-9E24-292E8731D6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7" name="Oval 2808">
                <a:extLst>
                  <a:ext uri="{FF2B5EF4-FFF2-40B4-BE49-F238E27FC236}">
                    <a16:creationId xmlns:a16="http://schemas.microsoft.com/office/drawing/2014/main" xmlns="" id="{1310FDAD-2CCA-43B1-BBA3-204CBD8A9C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8" name="Oval 2809">
                <a:extLst>
                  <a:ext uri="{FF2B5EF4-FFF2-40B4-BE49-F238E27FC236}">
                    <a16:creationId xmlns:a16="http://schemas.microsoft.com/office/drawing/2014/main" xmlns="" id="{0E5D87A0-1C1C-4195-839B-CCF1E5B11C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9" name="Oval 2810">
                <a:extLst>
                  <a:ext uri="{FF2B5EF4-FFF2-40B4-BE49-F238E27FC236}">
                    <a16:creationId xmlns:a16="http://schemas.microsoft.com/office/drawing/2014/main" xmlns="" id="{2E066F40-3C7F-42C0-A109-5ABA40E389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0" name="Oval 2811">
                <a:extLst>
                  <a:ext uri="{FF2B5EF4-FFF2-40B4-BE49-F238E27FC236}">
                    <a16:creationId xmlns:a16="http://schemas.microsoft.com/office/drawing/2014/main" xmlns="" id="{478CF495-B5CD-4A0E-B1B1-43BBD7D1FE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1" name="Oval 2812">
                <a:extLst>
                  <a:ext uri="{FF2B5EF4-FFF2-40B4-BE49-F238E27FC236}">
                    <a16:creationId xmlns:a16="http://schemas.microsoft.com/office/drawing/2014/main" xmlns="" id="{BE01D9F8-749F-4BCB-A9A1-2AAD769580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2" name="Oval 2813">
                <a:extLst>
                  <a:ext uri="{FF2B5EF4-FFF2-40B4-BE49-F238E27FC236}">
                    <a16:creationId xmlns:a16="http://schemas.microsoft.com/office/drawing/2014/main" xmlns="" id="{E728FD31-8C2D-4667-82BB-D94B7B41B3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3" name="Oval 2814">
                <a:extLst>
                  <a:ext uri="{FF2B5EF4-FFF2-40B4-BE49-F238E27FC236}">
                    <a16:creationId xmlns:a16="http://schemas.microsoft.com/office/drawing/2014/main" xmlns="" id="{4853CF3C-758C-476F-88E9-1EA572A9FE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4" name="Oval 2815">
                <a:extLst>
                  <a:ext uri="{FF2B5EF4-FFF2-40B4-BE49-F238E27FC236}">
                    <a16:creationId xmlns:a16="http://schemas.microsoft.com/office/drawing/2014/main" xmlns="" id="{51FDDDDB-99AC-4F6C-B15D-388060854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5" name="Oval 2816">
                <a:extLst>
                  <a:ext uri="{FF2B5EF4-FFF2-40B4-BE49-F238E27FC236}">
                    <a16:creationId xmlns:a16="http://schemas.microsoft.com/office/drawing/2014/main" xmlns="" id="{903B6DBA-2BA0-4670-BB0E-44DC95ADFE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6" name="Oval 2817">
                <a:extLst>
                  <a:ext uri="{FF2B5EF4-FFF2-40B4-BE49-F238E27FC236}">
                    <a16:creationId xmlns:a16="http://schemas.microsoft.com/office/drawing/2014/main" xmlns="" id="{D23B8104-9D8A-40AF-806E-6F1B0468E0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7" name="Oval 2818">
                <a:extLst>
                  <a:ext uri="{FF2B5EF4-FFF2-40B4-BE49-F238E27FC236}">
                    <a16:creationId xmlns:a16="http://schemas.microsoft.com/office/drawing/2014/main" xmlns="" id="{9E588A3B-6E2F-4233-B5CC-20E16AFB1F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8" name="Oval 2819">
                <a:extLst>
                  <a:ext uri="{FF2B5EF4-FFF2-40B4-BE49-F238E27FC236}">
                    <a16:creationId xmlns:a16="http://schemas.microsoft.com/office/drawing/2014/main" xmlns="" id="{4F94432C-1D3B-4A36-9753-7446CD37E8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6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9" name="Oval 2820">
                <a:extLst>
                  <a:ext uri="{FF2B5EF4-FFF2-40B4-BE49-F238E27FC236}">
                    <a16:creationId xmlns:a16="http://schemas.microsoft.com/office/drawing/2014/main" xmlns="" id="{26F439E5-D21A-434A-A4EC-C3B499415A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0" name="Oval 2821">
                <a:extLst>
                  <a:ext uri="{FF2B5EF4-FFF2-40B4-BE49-F238E27FC236}">
                    <a16:creationId xmlns:a16="http://schemas.microsoft.com/office/drawing/2014/main" xmlns="" id="{868176EB-7958-4ED6-874C-1771E515E6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1" name="Oval 2822">
                <a:extLst>
                  <a:ext uri="{FF2B5EF4-FFF2-40B4-BE49-F238E27FC236}">
                    <a16:creationId xmlns:a16="http://schemas.microsoft.com/office/drawing/2014/main" xmlns="" id="{0CCEA681-107D-4125-B4C3-9FB74A2C44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2" name="Oval 2823">
                <a:extLst>
                  <a:ext uri="{FF2B5EF4-FFF2-40B4-BE49-F238E27FC236}">
                    <a16:creationId xmlns:a16="http://schemas.microsoft.com/office/drawing/2014/main" xmlns="" id="{32A05AA8-4FF1-4EDC-8D1F-F1359639B8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3" name="Oval 2824">
                <a:extLst>
                  <a:ext uri="{FF2B5EF4-FFF2-40B4-BE49-F238E27FC236}">
                    <a16:creationId xmlns:a16="http://schemas.microsoft.com/office/drawing/2014/main" xmlns="" id="{27433B23-A21E-42B8-9064-1FD9FEAC78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4" name="Oval 2825">
                <a:extLst>
                  <a:ext uri="{FF2B5EF4-FFF2-40B4-BE49-F238E27FC236}">
                    <a16:creationId xmlns:a16="http://schemas.microsoft.com/office/drawing/2014/main" xmlns="" id="{44426377-7A96-4582-9FE1-2B8DFC18E4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5" name="Oval 2826">
                <a:extLst>
                  <a:ext uri="{FF2B5EF4-FFF2-40B4-BE49-F238E27FC236}">
                    <a16:creationId xmlns:a16="http://schemas.microsoft.com/office/drawing/2014/main" xmlns="" id="{00AE6228-EFE2-4F48-9047-DC8FE170CB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6" name="Oval 2827">
                <a:extLst>
                  <a:ext uri="{FF2B5EF4-FFF2-40B4-BE49-F238E27FC236}">
                    <a16:creationId xmlns:a16="http://schemas.microsoft.com/office/drawing/2014/main" xmlns="" id="{3FF9B01F-7EFF-4DE6-B215-353182D599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7" name="Oval 2828">
                <a:extLst>
                  <a:ext uri="{FF2B5EF4-FFF2-40B4-BE49-F238E27FC236}">
                    <a16:creationId xmlns:a16="http://schemas.microsoft.com/office/drawing/2014/main" xmlns="" id="{CFDC902C-7C0E-4B37-9183-816542FD7B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8" name="Oval 2829">
                <a:extLst>
                  <a:ext uri="{FF2B5EF4-FFF2-40B4-BE49-F238E27FC236}">
                    <a16:creationId xmlns:a16="http://schemas.microsoft.com/office/drawing/2014/main" xmlns="" id="{B2A5CCE5-AC50-4AAC-BD6E-214644643C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0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9" name="Oval 2830">
                <a:extLst>
                  <a:ext uri="{FF2B5EF4-FFF2-40B4-BE49-F238E27FC236}">
                    <a16:creationId xmlns:a16="http://schemas.microsoft.com/office/drawing/2014/main" xmlns="" id="{8D2EBB3B-0AC1-48FB-840A-A0E95D1EF6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0" name="Oval 2831">
                <a:extLst>
                  <a:ext uri="{FF2B5EF4-FFF2-40B4-BE49-F238E27FC236}">
                    <a16:creationId xmlns:a16="http://schemas.microsoft.com/office/drawing/2014/main" xmlns="" id="{FCEB5FE0-CB81-4D46-8AF7-1E89D43F31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1" name="Oval 2832">
                <a:extLst>
                  <a:ext uri="{FF2B5EF4-FFF2-40B4-BE49-F238E27FC236}">
                    <a16:creationId xmlns:a16="http://schemas.microsoft.com/office/drawing/2014/main" xmlns="" id="{D8265628-6521-42F6-875E-7ACE23B41A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2" name="Oval 2833">
                <a:extLst>
                  <a:ext uri="{FF2B5EF4-FFF2-40B4-BE49-F238E27FC236}">
                    <a16:creationId xmlns:a16="http://schemas.microsoft.com/office/drawing/2014/main" xmlns="" id="{E23769AB-85BA-4573-8D27-9C9992791E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3" name="Oval 2834">
                <a:extLst>
                  <a:ext uri="{FF2B5EF4-FFF2-40B4-BE49-F238E27FC236}">
                    <a16:creationId xmlns:a16="http://schemas.microsoft.com/office/drawing/2014/main" xmlns="" id="{9827C4B2-38A1-4DFF-93F1-87658EF11F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4" name="Oval 2835">
                <a:extLst>
                  <a:ext uri="{FF2B5EF4-FFF2-40B4-BE49-F238E27FC236}">
                    <a16:creationId xmlns:a16="http://schemas.microsoft.com/office/drawing/2014/main" xmlns="" id="{81B71D78-0F15-406C-BC60-6FDE98E18B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5" name="Oval 2836">
                <a:extLst>
                  <a:ext uri="{FF2B5EF4-FFF2-40B4-BE49-F238E27FC236}">
                    <a16:creationId xmlns:a16="http://schemas.microsoft.com/office/drawing/2014/main" xmlns="" id="{581F50A6-68EA-442B-A814-79BDC1B78D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6" name="Oval 2837">
                <a:extLst>
                  <a:ext uri="{FF2B5EF4-FFF2-40B4-BE49-F238E27FC236}">
                    <a16:creationId xmlns:a16="http://schemas.microsoft.com/office/drawing/2014/main" xmlns="" id="{7D4E501C-D9A9-4909-918F-F098ADFB8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7" name="Oval 2838">
                <a:extLst>
                  <a:ext uri="{FF2B5EF4-FFF2-40B4-BE49-F238E27FC236}">
                    <a16:creationId xmlns:a16="http://schemas.microsoft.com/office/drawing/2014/main" xmlns="" id="{92DE0C6A-5EC2-4E98-A1F2-7995010FFF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8" name="Oval 2839">
                <a:extLst>
                  <a:ext uri="{FF2B5EF4-FFF2-40B4-BE49-F238E27FC236}">
                    <a16:creationId xmlns:a16="http://schemas.microsoft.com/office/drawing/2014/main" xmlns="" id="{0A3AFEFC-1E87-461E-BCBB-6D0BABF56C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9" name="Oval 2840">
                <a:extLst>
                  <a:ext uri="{FF2B5EF4-FFF2-40B4-BE49-F238E27FC236}">
                    <a16:creationId xmlns:a16="http://schemas.microsoft.com/office/drawing/2014/main" xmlns="" id="{F7BB7845-B6C3-495B-84DB-6868353856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0" name="Oval 2841">
                <a:extLst>
                  <a:ext uri="{FF2B5EF4-FFF2-40B4-BE49-F238E27FC236}">
                    <a16:creationId xmlns:a16="http://schemas.microsoft.com/office/drawing/2014/main" xmlns="" id="{F0CCACB5-A3F0-48B4-A2EC-7D715AD496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1" name="Oval 2842">
                <a:extLst>
                  <a:ext uri="{FF2B5EF4-FFF2-40B4-BE49-F238E27FC236}">
                    <a16:creationId xmlns:a16="http://schemas.microsoft.com/office/drawing/2014/main" xmlns="" id="{7C32428E-47B1-4189-A299-75B8DBCD2F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2" name="Oval 2843">
                <a:extLst>
                  <a:ext uri="{FF2B5EF4-FFF2-40B4-BE49-F238E27FC236}">
                    <a16:creationId xmlns:a16="http://schemas.microsoft.com/office/drawing/2014/main" xmlns="" id="{228DAD51-D8FF-4B6F-B61B-21F193F455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3" name="Oval 2844">
                <a:extLst>
                  <a:ext uri="{FF2B5EF4-FFF2-40B4-BE49-F238E27FC236}">
                    <a16:creationId xmlns:a16="http://schemas.microsoft.com/office/drawing/2014/main" xmlns="" id="{D29FE72A-37A4-49D6-B65A-16DA28ADD7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4" name="Oval 2845">
                <a:extLst>
                  <a:ext uri="{FF2B5EF4-FFF2-40B4-BE49-F238E27FC236}">
                    <a16:creationId xmlns:a16="http://schemas.microsoft.com/office/drawing/2014/main" xmlns="" id="{1EB23FB0-45BE-4129-8BAC-898AFF2594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75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5" name="Oval 2846">
                <a:extLst>
                  <a:ext uri="{FF2B5EF4-FFF2-40B4-BE49-F238E27FC236}">
                    <a16:creationId xmlns:a16="http://schemas.microsoft.com/office/drawing/2014/main" xmlns="" id="{2BF66118-7851-4988-BF7C-B33CD5B7DF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6" name="Oval 2847">
                <a:extLst>
                  <a:ext uri="{FF2B5EF4-FFF2-40B4-BE49-F238E27FC236}">
                    <a16:creationId xmlns:a16="http://schemas.microsoft.com/office/drawing/2014/main" xmlns="" id="{64D79C42-65F9-4B26-992D-E179ABDB5F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6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7" name="Oval 2848">
                <a:extLst>
                  <a:ext uri="{FF2B5EF4-FFF2-40B4-BE49-F238E27FC236}">
                    <a16:creationId xmlns:a16="http://schemas.microsoft.com/office/drawing/2014/main" xmlns="" id="{C3517A56-BAF8-40B6-8B3C-28980746EE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8" name="Oval 2849">
                <a:extLst>
                  <a:ext uri="{FF2B5EF4-FFF2-40B4-BE49-F238E27FC236}">
                    <a16:creationId xmlns:a16="http://schemas.microsoft.com/office/drawing/2014/main" xmlns="" id="{F6D235F7-CE4E-4B56-8662-42117E9466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9" name="Oval 2850">
                <a:extLst>
                  <a:ext uri="{FF2B5EF4-FFF2-40B4-BE49-F238E27FC236}">
                    <a16:creationId xmlns:a16="http://schemas.microsoft.com/office/drawing/2014/main" xmlns="" id="{4F21C202-78A8-48EA-8DDB-45CE186FF7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0" name="Oval 2851">
                <a:extLst>
                  <a:ext uri="{FF2B5EF4-FFF2-40B4-BE49-F238E27FC236}">
                    <a16:creationId xmlns:a16="http://schemas.microsoft.com/office/drawing/2014/main" xmlns="" id="{61FDF714-3093-4CF8-8976-5CA615EFEE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10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1" name="Oval 2852">
                <a:extLst>
                  <a:ext uri="{FF2B5EF4-FFF2-40B4-BE49-F238E27FC236}">
                    <a16:creationId xmlns:a16="http://schemas.microsoft.com/office/drawing/2014/main" xmlns="" id="{BC0E7A67-7122-44E0-BA9A-85C3A5CD5E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2" name="Oval 2853">
                <a:extLst>
                  <a:ext uri="{FF2B5EF4-FFF2-40B4-BE49-F238E27FC236}">
                    <a16:creationId xmlns:a16="http://schemas.microsoft.com/office/drawing/2014/main" xmlns="" id="{59199D29-4D75-4A8A-A983-22C1EBC217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3" name="Oval 2854">
                <a:extLst>
                  <a:ext uri="{FF2B5EF4-FFF2-40B4-BE49-F238E27FC236}">
                    <a16:creationId xmlns:a16="http://schemas.microsoft.com/office/drawing/2014/main" xmlns="" id="{C8A70D15-F98C-4B57-AE92-4B06D1E347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5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4" name="Oval 2855">
                <a:extLst>
                  <a:ext uri="{FF2B5EF4-FFF2-40B4-BE49-F238E27FC236}">
                    <a16:creationId xmlns:a16="http://schemas.microsoft.com/office/drawing/2014/main" xmlns="" id="{AC013C42-2619-4E47-BAF8-DE17C5AE8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5" name="Oval 2856">
                <a:extLst>
                  <a:ext uri="{FF2B5EF4-FFF2-40B4-BE49-F238E27FC236}">
                    <a16:creationId xmlns:a16="http://schemas.microsoft.com/office/drawing/2014/main" xmlns="" id="{9A174792-39AA-47BA-9E53-96A4E7D93D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6" name="Oval 2857">
                <a:extLst>
                  <a:ext uri="{FF2B5EF4-FFF2-40B4-BE49-F238E27FC236}">
                    <a16:creationId xmlns:a16="http://schemas.microsoft.com/office/drawing/2014/main" xmlns="" id="{21C0AAC1-1F6F-4017-90C9-8C050E0FC7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3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7" name="Oval 2858">
                <a:extLst>
                  <a:ext uri="{FF2B5EF4-FFF2-40B4-BE49-F238E27FC236}">
                    <a16:creationId xmlns:a16="http://schemas.microsoft.com/office/drawing/2014/main" xmlns="" id="{04E22DEC-658D-4261-B376-9E0C071E10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8" name="Oval 2859">
                <a:extLst>
                  <a:ext uri="{FF2B5EF4-FFF2-40B4-BE49-F238E27FC236}">
                    <a16:creationId xmlns:a16="http://schemas.microsoft.com/office/drawing/2014/main" xmlns="" id="{383CB2AB-1EAF-434C-B475-E65F999380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9" name="Oval 2860">
                <a:extLst>
                  <a:ext uri="{FF2B5EF4-FFF2-40B4-BE49-F238E27FC236}">
                    <a16:creationId xmlns:a16="http://schemas.microsoft.com/office/drawing/2014/main" xmlns="" id="{D0FF22DC-471D-41F8-AAF7-544F875203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0" name="Oval 2861">
                <a:extLst>
                  <a:ext uri="{FF2B5EF4-FFF2-40B4-BE49-F238E27FC236}">
                    <a16:creationId xmlns:a16="http://schemas.microsoft.com/office/drawing/2014/main" xmlns="" id="{7B2A3491-1A5D-4926-9F98-85BADFEFCF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1" name="Oval 2862">
                <a:extLst>
                  <a:ext uri="{FF2B5EF4-FFF2-40B4-BE49-F238E27FC236}">
                    <a16:creationId xmlns:a16="http://schemas.microsoft.com/office/drawing/2014/main" xmlns="" id="{9D23DCA7-F34F-4BA5-9BDE-DDA13547A4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2" name="Oval 2863">
                <a:extLst>
                  <a:ext uri="{FF2B5EF4-FFF2-40B4-BE49-F238E27FC236}">
                    <a16:creationId xmlns:a16="http://schemas.microsoft.com/office/drawing/2014/main" xmlns="" id="{D1E3DD51-76B1-4264-8DA4-0606F8AE58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3" name="Oval 2864">
                <a:extLst>
                  <a:ext uri="{FF2B5EF4-FFF2-40B4-BE49-F238E27FC236}">
                    <a16:creationId xmlns:a16="http://schemas.microsoft.com/office/drawing/2014/main" xmlns="" id="{226A55B7-1547-4A7B-8BF4-F95C2B4592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4" name="Oval 2865">
                <a:extLst>
                  <a:ext uri="{FF2B5EF4-FFF2-40B4-BE49-F238E27FC236}">
                    <a16:creationId xmlns:a16="http://schemas.microsoft.com/office/drawing/2014/main" xmlns="" id="{E5E59396-68BB-46FA-AEAB-31259CCAC7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5" name="Oval 2866">
                <a:extLst>
                  <a:ext uri="{FF2B5EF4-FFF2-40B4-BE49-F238E27FC236}">
                    <a16:creationId xmlns:a16="http://schemas.microsoft.com/office/drawing/2014/main" xmlns="" id="{F73EFD56-980F-46DE-A442-29174D22C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6" name="Oval 2867">
                <a:extLst>
                  <a:ext uri="{FF2B5EF4-FFF2-40B4-BE49-F238E27FC236}">
                    <a16:creationId xmlns:a16="http://schemas.microsoft.com/office/drawing/2014/main" xmlns="" id="{A7857A68-E134-497C-8B11-BC88DD293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7" name="Oval 2868">
                <a:extLst>
                  <a:ext uri="{FF2B5EF4-FFF2-40B4-BE49-F238E27FC236}">
                    <a16:creationId xmlns:a16="http://schemas.microsoft.com/office/drawing/2014/main" xmlns="" id="{680771A5-FA66-4D93-AD62-CD47FE3BEF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8" name="Oval 2869">
                <a:extLst>
                  <a:ext uri="{FF2B5EF4-FFF2-40B4-BE49-F238E27FC236}">
                    <a16:creationId xmlns:a16="http://schemas.microsoft.com/office/drawing/2014/main" xmlns="" id="{3ABE1EEA-EF8F-44A2-A119-AF7B87897D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9" name="Oval 2870">
                <a:extLst>
                  <a:ext uri="{FF2B5EF4-FFF2-40B4-BE49-F238E27FC236}">
                    <a16:creationId xmlns:a16="http://schemas.microsoft.com/office/drawing/2014/main" xmlns="" id="{BCD03EC3-CB26-4235-91EF-71AE86D2DA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0" name="Oval 2871">
                <a:extLst>
                  <a:ext uri="{FF2B5EF4-FFF2-40B4-BE49-F238E27FC236}">
                    <a16:creationId xmlns:a16="http://schemas.microsoft.com/office/drawing/2014/main" xmlns="" id="{AFEC504F-09CD-4DFD-A286-88E385037D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1" name="Oval 2872">
                <a:extLst>
                  <a:ext uri="{FF2B5EF4-FFF2-40B4-BE49-F238E27FC236}">
                    <a16:creationId xmlns:a16="http://schemas.microsoft.com/office/drawing/2014/main" xmlns="" id="{E843F484-CEFF-423A-A045-2E6A6930B4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2" name="Oval 2873">
                <a:extLst>
                  <a:ext uri="{FF2B5EF4-FFF2-40B4-BE49-F238E27FC236}">
                    <a16:creationId xmlns:a16="http://schemas.microsoft.com/office/drawing/2014/main" xmlns="" id="{8404F9E6-BF00-491D-BBDC-AB1ABD8FD2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4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3" name="Oval 2874">
                <a:extLst>
                  <a:ext uri="{FF2B5EF4-FFF2-40B4-BE49-F238E27FC236}">
                    <a16:creationId xmlns:a16="http://schemas.microsoft.com/office/drawing/2014/main" xmlns="" id="{270D8579-5715-4ABA-A31E-5AD480584F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4" name="Oval 2875">
                <a:extLst>
                  <a:ext uri="{FF2B5EF4-FFF2-40B4-BE49-F238E27FC236}">
                    <a16:creationId xmlns:a16="http://schemas.microsoft.com/office/drawing/2014/main" xmlns="" id="{15E423C9-B041-4FAA-8CC5-E1A4D16A14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5" name="Oval 2876">
                <a:extLst>
                  <a:ext uri="{FF2B5EF4-FFF2-40B4-BE49-F238E27FC236}">
                    <a16:creationId xmlns:a16="http://schemas.microsoft.com/office/drawing/2014/main" xmlns="" id="{81C7870D-2DAB-4006-BAB7-A8C820EDD8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6" name="Oval 2877">
                <a:extLst>
                  <a:ext uri="{FF2B5EF4-FFF2-40B4-BE49-F238E27FC236}">
                    <a16:creationId xmlns:a16="http://schemas.microsoft.com/office/drawing/2014/main" xmlns="" id="{38AEB002-0EDD-4FB8-A42A-9B4142578E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7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7" name="Oval 2878">
                <a:extLst>
                  <a:ext uri="{FF2B5EF4-FFF2-40B4-BE49-F238E27FC236}">
                    <a16:creationId xmlns:a16="http://schemas.microsoft.com/office/drawing/2014/main" xmlns="" id="{881DA672-3D14-41E2-B489-B18C4CF6A8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8" name="Oval 2879">
                <a:extLst>
                  <a:ext uri="{FF2B5EF4-FFF2-40B4-BE49-F238E27FC236}">
                    <a16:creationId xmlns:a16="http://schemas.microsoft.com/office/drawing/2014/main" xmlns="" id="{40DBC6A2-7C9E-444F-A020-185BBC115C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9" name="Oval 2880">
                <a:extLst>
                  <a:ext uri="{FF2B5EF4-FFF2-40B4-BE49-F238E27FC236}">
                    <a16:creationId xmlns:a16="http://schemas.microsoft.com/office/drawing/2014/main" xmlns="" id="{BC049EA0-AF2D-4044-96BB-F731C3A87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0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0" name="Oval 2881">
                <a:extLst>
                  <a:ext uri="{FF2B5EF4-FFF2-40B4-BE49-F238E27FC236}">
                    <a16:creationId xmlns:a16="http://schemas.microsoft.com/office/drawing/2014/main" xmlns="" id="{58CBE8B0-4BB5-4B81-91A6-987A2AB5B9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1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1" name="Oval 2882">
                <a:extLst>
                  <a:ext uri="{FF2B5EF4-FFF2-40B4-BE49-F238E27FC236}">
                    <a16:creationId xmlns:a16="http://schemas.microsoft.com/office/drawing/2014/main" xmlns="" id="{08F51A0B-4274-492C-BF5E-3D77E021D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2" name="Oval 2883">
                <a:extLst>
                  <a:ext uri="{FF2B5EF4-FFF2-40B4-BE49-F238E27FC236}">
                    <a16:creationId xmlns:a16="http://schemas.microsoft.com/office/drawing/2014/main" xmlns="" id="{723EAAB5-7D55-4C34-8DD1-545F93C33B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3" name="Oval 2884">
                <a:extLst>
                  <a:ext uri="{FF2B5EF4-FFF2-40B4-BE49-F238E27FC236}">
                    <a16:creationId xmlns:a16="http://schemas.microsoft.com/office/drawing/2014/main" xmlns="" id="{45DA67B8-9F7E-4022-AB7B-F6A63CD9F9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4" name="Oval 2885">
                <a:extLst>
                  <a:ext uri="{FF2B5EF4-FFF2-40B4-BE49-F238E27FC236}">
                    <a16:creationId xmlns:a16="http://schemas.microsoft.com/office/drawing/2014/main" xmlns="" id="{636C8AF7-1177-4A5C-8758-09B571BD0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5" name="Oval 2886">
                <a:extLst>
                  <a:ext uri="{FF2B5EF4-FFF2-40B4-BE49-F238E27FC236}">
                    <a16:creationId xmlns:a16="http://schemas.microsoft.com/office/drawing/2014/main" xmlns="" id="{5AC4A67F-7B55-437F-BC57-FF785E9707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6" name="Oval 2887">
                <a:extLst>
                  <a:ext uri="{FF2B5EF4-FFF2-40B4-BE49-F238E27FC236}">
                    <a16:creationId xmlns:a16="http://schemas.microsoft.com/office/drawing/2014/main" xmlns="" id="{7BCB48F4-5A1D-4263-A0A1-60F4A68688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7" name="Oval 2888">
                <a:extLst>
                  <a:ext uri="{FF2B5EF4-FFF2-40B4-BE49-F238E27FC236}">
                    <a16:creationId xmlns:a16="http://schemas.microsoft.com/office/drawing/2014/main" xmlns="" id="{88F4D7CB-A70E-4036-9358-8BF55F4D23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8" name="Oval 2889">
                <a:extLst>
                  <a:ext uri="{FF2B5EF4-FFF2-40B4-BE49-F238E27FC236}">
                    <a16:creationId xmlns:a16="http://schemas.microsoft.com/office/drawing/2014/main" xmlns="" id="{411FF6B9-008B-41AF-88B2-AB19178505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9" name="Oval 2890">
                <a:extLst>
                  <a:ext uri="{FF2B5EF4-FFF2-40B4-BE49-F238E27FC236}">
                    <a16:creationId xmlns:a16="http://schemas.microsoft.com/office/drawing/2014/main" xmlns="" id="{F731392F-6559-4288-B4EB-F5869C3179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0" name="Oval 2891">
                <a:extLst>
                  <a:ext uri="{FF2B5EF4-FFF2-40B4-BE49-F238E27FC236}">
                    <a16:creationId xmlns:a16="http://schemas.microsoft.com/office/drawing/2014/main" xmlns="" id="{45003271-6ADB-46CE-8D43-BD3532519B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24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1" name="Oval 2892">
                <a:extLst>
                  <a:ext uri="{FF2B5EF4-FFF2-40B4-BE49-F238E27FC236}">
                    <a16:creationId xmlns:a16="http://schemas.microsoft.com/office/drawing/2014/main" xmlns="" id="{F3CDD557-6677-4BE0-BE45-D17B0B7373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2" name="Oval 2893">
                <a:extLst>
                  <a:ext uri="{FF2B5EF4-FFF2-40B4-BE49-F238E27FC236}">
                    <a16:creationId xmlns:a16="http://schemas.microsoft.com/office/drawing/2014/main" xmlns="" id="{D322BF32-0FEE-411F-A9F6-E36C7A89E0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3" name="Oval 2894">
                <a:extLst>
                  <a:ext uri="{FF2B5EF4-FFF2-40B4-BE49-F238E27FC236}">
                    <a16:creationId xmlns:a16="http://schemas.microsoft.com/office/drawing/2014/main" xmlns="" id="{B95E5DC4-5246-4D8A-B364-EC50865F08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4" name="Oval 2895">
                <a:extLst>
                  <a:ext uri="{FF2B5EF4-FFF2-40B4-BE49-F238E27FC236}">
                    <a16:creationId xmlns:a16="http://schemas.microsoft.com/office/drawing/2014/main" xmlns="" id="{E1F12BC7-0953-43F7-A49C-43C956C7F7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5" name="Oval 2896">
                <a:extLst>
                  <a:ext uri="{FF2B5EF4-FFF2-40B4-BE49-F238E27FC236}">
                    <a16:creationId xmlns:a16="http://schemas.microsoft.com/office/drawing/2014/main" xmlns="" id="{E48B5825-A428-4528-8CCA-DED2D471BB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6" name="Oval 2897">
                <a:extLst>
                  <a:ext uri="{FF2B5EF4-FFF2-40B4-BE49-F238E27FC236}">
                    <a16:creationId xmlns:a16="http://schemas.microsoft.com/office/drawing/2014/main" xmlns="" id="{36C588A5-375A-4BD9-B273-011DBA7AC8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7" name="Oval 2898">
                <a:extLst>
                  <a:ext uri="{FF2B5EF4-FFF2-40B4-BE49-F238E27FC236}">
                    <a16:creationId xmlns:a16="http://schemas.microsoft.com/office/drawing/2014/main" xmlns="" id="{BBE64F6D-54AA-4AFB-B7DE-8BA153CCC9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8" name="Oval 2899">
                <a:extLst>
                  <a:ext uri="{FF2B5EF4-FFF2-40B4-BE49-F238E27FC236}">
                    <a16:creationId xmlns:a16="http://schemas.microsoft.com/office/drawing/2014/main" xmlns="" id="{D504BCAD-831B-479A-80F1-7ADBE056C1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9" name="Oval 2900">
                <a:extLst>
                  <a:ext uri="{FF2B5EF4-FFF2-40B4-BE49-F238E27FC236}">
                    <a16:creationId xmlns:a16="http://schemas.microsoft.com/office/drawing/2014/main" xmlns="" id="{2421940F-5B94-49C4-91ED-48F21D10BF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0" name="Oval 2901">
                <a:extLst>
                  <a:ext uri="{FF2B5EF4-FFF2-40B4-BE49-F238E27FC236}">
                    <a16:creationId xmlns:a16="http://schemas.microsoft.com/office/drawing/2014/main" xmlns="" id="{C8EDA3E6-0112-4EB9-88D1-A10BA6F142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24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1" name="Oval 2902">
                <a:extLst>
                  <a:ext uri="{FF2B5EF4-FFF2-40B4-BE49-F238E27FC236}">
                    <a16:creationId xmlns:a16="http://schemas.microsoft.com/office/drawing/2014/main" xmlns="" id="{86D33BFE-B9CB-4E1A-ADB0-D13B7D8A51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2" name="Oval 2903">
                <a:extLst>
                  <a:ext uri="{FF2B5EF4-FFF2-40B4-BE49-F238E27FC236}">
                    <a16:creationId xmlns:a16="http://schemas.microsoft.com/office/drawing/2014/main" xmlns="" id="{ED9FC8E5-D626-4802-971F-EDD24E6661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3" name="Oval 2904">
                <a:extLst>
                  <a:ext uri="{FF2B5EF4-FFF2-40B4-BE49-F238E27FC236}">
                    <a16:creationId xmlns:a16="http://schemas.microsoft.com/office/drawing/2014/main" xmlns="" id="{F359FB28-3542-4CB2-A167-57FF1B4586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4" name="Oval 2905">
                <a:extLst>
                  <a:ext uri="{FF2B5EF4-FFF2-40B4-BE49-F238E27FC236}">
                    <a16:creationId xmlns:a16="http://schemas.microsoft.com/office/drawing/2014/main" xmlns="" id="{908A61E3-3F4D-4A92-9966-85BB24342E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2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5" name="Oval 2906">
                <a:extLst>
                  <a:ext uri="{FF2B5EF4-FFF2-40B4-BE49-F238E27FC236}">
                    <a16:creationId xmlns:a16="http://schemas.microsoft.com/office/drawing/2014/main" xmlns="" id="{FB69BFB2-F81E-4A46-BC06-E8D832B4C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6" name="Oval 2907">
                <a:extLst>
                  <a:ext uri="{FF2B5EF4-FFF2-40B4-BE49-F238E27FC236}">
                    <a16:creationId xmlns:a16="http://schemas.microsoft.com/office/drawing/2014/main" xmlns="" id="{E10DCC3B-FA60-4916-9780-EA59DCA3E7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7" name="Oval 2908">
                <a:extLst>
                  <a:ext uri="{FF2B5EF4-FFF2-40B4-BE49-F238E27FC236}">
                    <a16:creationId xmlns:a16="http://schemas.microsoft.com/office/drawing/2014/main" xmlns="" id="{FD9AC08C-D289-45AD-BD2F-46962A0C36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5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8" name="Oval 2909">
                <a:extLst>
                  <a:ext uri="{FF2B5EF4-FFF2-40B4-BE49-F238E27FC236}">
                    <a16:creationId xmlns:a16="http://schemas.microsoft.com/office/drawing/2014/main" xmlns="" id="{C78302BA-115A-4ECE-975F-6B1049C69C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9" name="Oval 2910">
                <a:extLst>
                  <a:ext uri="{FF2B5EF4-FFF2-40B4-BE49-F238E27FC236}">
                    <a16:creationId xmlns:a16="http://schemas.microsoft.com/office/drawing/2014/main" xmlns="" id="{93EADD7A-E1AE-41CB-A954-8076593254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0" name="Oval 2911">
                <a:extLst>
                  <a:ext uri="{FF2B5EF4-FFF2-40B4-BE49-F238E27FC236}">
                    <a16:creationId xmlns:a16="http://schemas.microsoft.com/office/drawing/2014/main" xmlns="" id="{C631353E-68CD-4924-93FF-30CCC30EF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1" name="Oval 2912">
                <a:extLst>
                  <a:ext uri="{FF2B5EF4-FFF2-40B4-BE49-F238E27FC236}">
                    <a16:creationId xmlns:a16="http://schemas.microsoft.com/office/drawing/2014/main" xmlns="" id="{7BE88486-A027-4C1A-ADC2-18B0640B15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2" name="Oval 2913">
                <a:extLst>
                  <a:ext uri="{FF2B5EF4-FFF2-40B4-BE49-F238E27FC236}">
                    <a16:creationId xmlns:a16="http://schemas.microsoft.com/office/drawing/2014/main" xmlns="" id="{E87554F1-66E3-4332-A97E-076FE957A3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3" name="Oval 2914">
                <a:extLst>
                  <a:ext uri="{FF2B5EF4-FFF2-40B4-BE49-F238E27FC236}">
                    <a16:creationId xmlns:a16="http://schemas.microsoft.com/office/drawing/2014/main" xmlns="" id="{10818E67-D711-4C6C-8AEF-099DC7C4CA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8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4" name="Oval 2915">
                <a:extLst>
                  <a:ext uri="{FF2B5EF4-FFF2-40B4-BE49-F238E27FC236}">
                    <a16:creationId xmlns:a16="http://schemas.microsoft.com/office/drawing/2014/main" xmlns="" id="{AF4522B3-9628-4091-B2F8-70C96087FB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9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5" name="Oval 2916">
                <a:extLst>
                  <a:ext uri="{FF2B5EF4-FFF2-40B4-BE49-F238E27FC236}">
                    <a16:creationId xmlns:a16="http://schemas.microsoft.com/office/drawing/2014/main" xmlns="" id="{0D7519BC-0E92-4520-8241-D8F8DCE653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6" name="Oval 2917">
                <a:extLst>
                  <a:ext uri="{FF2B5EF4-FFF2-40B4-BE49-F238E27FC236}">
                    <a16:creationId xmlns:a16="http://schemas.microsoft.com/office/drawing/2014/main" xmlns="" id="{3490953F-E176-404B-B0BB-A199FB53B2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30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7" name="Oval 2918">
                <a:extLst>
                  <a:ext uri="{FF2B5EF4-FFF2-40B4-BE49-F238E27FC236}">
                    <a16:creationId xmlns:a16="http://schemas.microsoft.com/office/drawing/2014/main" xmlns="" id="{F0FB05B2-2EE8-46F4-A528-38BF6EB50B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30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8" name="Oval 2919">
                <a:extLst>
                  <a:ext uri="{FF2B5EF4-FFF2-40B4-BE49-F238E27FC236}">
                    <a16:creationId xmlns:a16="http://schemas.microsoft.com/office/drawing/2014/main" xmlns="" id="{EA2D072E-D6C6-45F3-AEEB-8406A38637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9" name="Oval 2920">
                <a:extLst>
                  <a:ext uri="{FF2B5EF4-FFF2-40B4-BE49-F238E27FC236}">
                    <a16:creationId xmlns:a16="http://schemas.microsoft.com/office/drawing/2014/main" xmlns="" id="{AA18448D-5795-4562-B98B-E5F51927A2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0" name="Oval 2921">
                <a:extLst>
                  <a:ext uri="{FF2B5EF4-FFF2-40B4-BE49-F238E27FC236}">
                    <a16:creationId xmlns:a16="http://schemas.microsoft.com/office/drawing/2014/main" xmlns="" id="{23C259ED-3D44-4063-8810-316E13C2A5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1" name="Oval 2922">
                <a:extLst>
                  <a:ext uri="{FF2B5EF4-FFF2-40B4-BE49-F238E27FC236}">
                    <a16:creationId xmlns:a16="http://schemas.microsoft.com/office/drawing/2014/main" xmlns="" id="{139CDA34-664B-44A2-A4DB-06FB08E08C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31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2" name="Oval 2923">
                <a:extLst>
                  <a:ext uri="{FF2B5EF4-FFF2-40B4-BE49-F238E27FC236}">
                    <a16:creationId xmlns:a16="http://schemas.microsoft.com/office/drawing/2014/main" xmlns="" id="{DD27D70B-7C4F-45C7-B245-C398F413D4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3" name="Oval 2924">
                <a:extLst>
                  <a:ext uri="{FF2B5EF4-FFF2-40B4-BE49-F238E27FC236}">
                    <a16:creationId xmlns:a16="http://schemas.microsoft.com/office/drawing/2014/main" xmlns="" id="{45626ADB-1F1F-40B1-B4F6-79EEEAC663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4" name="Oval 2925">
                <a:extLst>
                  <a:ext uri="{FF2B5EF4-FFF2-40B4-BE49-F238E27FC236}">
                    <a16:creationId xmlns:a16="http://schemas.microsoft.com/office/drawing/2014/main" xmlns="" id="{298B77E5-9331-4F91-9A01-95DA4D59D4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5" name="Oval 2926">
                <a:extLst>
                  <a:ext uri="{FF2B5EF4-FFF2-40B4-BE49-F238E27FC236}">
                    <a16:creationId xmlns:a16="http://schemas.microsoft.com/office/drawing/2014/main" xmlns="" id="{6F591789-3901-482E-A2B1-EC84F1477A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6" name="Oval 2927">
                <a:extLst>
                  <a:ext uri="{FF2B5EF4-FFF2-40B4-BE49-F238E27FC236}">
                    <a16:creationId xmlns:a16="http://schemas.microsoft.com/office/drawing/2014/main" xmlns="" id="{92783266-F533-43A5-8C3C-4190F0EED9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7" name="Oval 2928">
                <a:extLst>
                  <a:ext uri="{FF2B5EF4-FFF2-40B4-BE49-F238E27FC236}">
                    <a16:creationId xmlns:a16="http://schemas.microsoft.com/office/drawing/2014/main" xmlns="" id="{4DBD4FAD-4274-4084-BF1B-ACE320F8CE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8" name="Oval 2929">
                <a:extLst>
                  <a:ext uri="{FF2B5EF4-FFF2-40B4-BE49-F238E27FC236}">
                    <a16:creationId xmlns:a16="http://schemas.microsoft.com/office/drawing/2014/main" xmlns="" id="{C0A9DE48-427F-41AB-8962-EF0866E14C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3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9" name="Oval 2930">
                <a:extLst>
                  <a:ext uri="{FF2B5EF4-FFF2-40B4-BE49-F238E27FC236}">
                    <a16:creationId xmlns:a16="http://schemas.microsoft.com/office/drawing/2014/main" xmlns="" id="{F5FBC60B-B5A6-4A63-B235-C32469EB55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2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0" name="Oval 2931">
                <a:extLst>
                  <a:ext uri="{FF2B5EF4-FFF2-40B4-BE49-F238E27FC236}">
                    <a16:creationId xmlns:a16="http://schemas.microsoft.com/office/drawing/2014/main" xmlns="" id="{8580DABD-3E38-4F35-9FF5-DDB4400D48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1" name="Oval 2932">
                <a:extLst>
                  <a:ext uri="{FF2B5EF4-FFF2-40B4-BE49-F238E27FC236}">
                    <a16:creationId xmlns:a16="http://schemas.microsoft.com/office/drawing/2014/main" xmlns="" id="{3AD543BF-F288-4D35-B46A-12E60477D0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2" name="Oval 2933">
                <a:extLst>
                  <a:ext uri="{FF2B5EF4-FFF2-40B4-BE49-F238E27FC236}">
                    <a16:creationId xmlns:a16="http://schemas.microsoft.com/office/drawing/2014/main" xmlns="" id="{02A676AE-377F-42EE-BAED-23F39393CB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3" name="Oval 2934">
                <a:extLst>
                  <a:ext uri="{FF2B5EF4-FFF2-40B4-BE49-F238E27FC236}">
                    <a16:creationId xmlns:a16="http://schemas.microsoft.com/office/drawing/2014/main" xmlns="" id="{D1F1B4EE-C4C5-4A5B-86E7-BEC1CC6D51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4" name="Oval 2935">
                <a:extLst>
                  <a:ext uri="{FF2B5EF4-FFF2-40B4-BE49-F238E27FC236}">
                    <a16:creationId xmlns:a16="http://schemas.microsoft.com/office/drawing/2014/main" xmlns="" id="{6F87A672-022D-4F4F-A75A-D60F2E4895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15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5" name="Oval 2936">
                <a:extLst>
                  <a:ext uri="{FF2B5EF4-FFF2-40B4-BE49-F238E27FC236}">
                    <a16:creationId xmlns:a16="http://schemas.microsoft.com/office/drawing/2014/main" xmlns="" id="{D8984A34-68F0-41A5-B46C-D1F41D2503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6" name="Oval 2937">
                <a:extLst>
                  <a:ext uri="{FF2B5EF4-FFF2-40B4-BE49-F238E27FC236}">
                    <a16:creationId xmlns:a16="http://schemas.microsoft.com/office/drawing/2014/main" xmlns="" id="{BB40DEC9-0B76-4183-A606-711EDDEF9F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7" name="Oval 2938">
                <a:extLst>
                  <a:ext uri="{FF2B5EF4-FFF2-40B4-BE49-F238E27FC236}">
                    <a16:creationId xmlns:a16="http://schemas.microsoft.com/office/drawing/2014/main" xmlns="" id="{AC589DD6-2B2B-4565-B342-49EC62FED8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17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8" name="Oval 2939">
                <a:extLst>
                  <a:ext uri="{FF2B5EF4-FFF2-40B4-BE49-F238E27FC236}">
                    <a16:creationId xmlns:a16="http://schemas.microsoft.com/office/drawing/2014/main" xmlns="" id="{F829549F-F2BE-4BB9-8B0C-828C49D31A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18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9" name="Oval 2940">
                <a:extLst>
                  <a:ext uri="{FF2B5EF4-FFF2-40B4-BE49-F238E27FC236}">
                    <a16:creationId xmlns:a16="http://schemas.microsoft.com/office/drawing/2014/main" xmlns="" id="{4B3B6947-F4AB-4D53-BC65-92DCA034AC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9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0" name="Oval 2941">
                <a:extLst>
                  <a:ext uri="{FF2B5EF4-FFF2-40B4-BE49-F238E27FC236}">
                    <a16:creationId xmlns:a16="http://schemas.microsoft.com/office/drawing/2014/main" xmlns="" id="{75AE08F0-B66F-4659-8E4B-33663CF7ED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21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1" name="Oval 2942">
                <a:extLst>
                  <a:ext uri="{FF2B5EF4-FFF2-40B4-BE49-F238E27FC236}">
                    <a16:creationId xmlns:a16="http://schemas.microsoft.com/office/drawing/2014/main" xmlns="" id="{9BBEFD94-C246-4E4B-AFF0-CD04FB9FB7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2" name="Oval 2943">
                <a:extLst>
                  <a:ext uri="{FF2B5EF4-FFF2-40B4-BE49-F238E27FC236}">
                    <a16:creationId xmlns:a16="http://schemas.microsoft.com/office/drawing/2014/main" xmlns="" id="{5BF4AB5A-EEAD-4A78-8914-423590E777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3" name="Oval 2944">
                <a:extLst>
                  <a:ext uri="{FF2B5EF4-FFF2-40B4-BE49-F238E27FC236}">
                    <a16:creationId xmlns:a16="http://schemas.microsoft.com/office/drawing/2014/main" xmlns="" id="{E7B7B262-3A8C-43E4-BBD8-E84D7CABE4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4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4" name="Oval 2945">
                <a:extLst>
                  <a:ext uri="{FF2B5EF4-FFF2-40B4-BE49-F238E27FC236}">
                    <a16:creationId xmlns:a16="http://schemas.microsoft.com/office/drawing/2014/main" xmlns="" id="{EDB5F04B-AFDC-4419-A65D-1B5554F5E6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5" name="Oval 2946">
                <a:extLst>
                  <a:ext uri="{FF2B5EF4-FFF2-40B4-BE49-F238E27FC236}">
                    <a16:creationId xmlns:a16="http://schemas.microsoft.com/office/drawing/2014/main" xmlns="" id="{4248DD78-B065-44F8-A74C-CAB50F4124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6" name="Oval 2947">
                <a:extLst>
                  <a:ext uri="{FF2B5EF4-FFF2-40B4-BE49-F238E27FC236}">
                    <a16:creationId xmlns:a16="http://schemas.microsoft.com/office/drawing/2014/main" xmlns="" id="{2EEF27A6-421F-4D2A-A086-3CD0618C34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7" name="Oval 2948">
                <a:extLst>
                  <a:ext uri="{FF2B5EF4-FFF2-40B4-BE49-F238E27FC236}">
                    <a16:creationId xmlns:a16="http://schemas.microsoft.com/office/drawing/2014/main" xmlns="" id="{96194F9C-591C-4A2A-B9D8-3F9F61EB36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5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8" name="Oval 2949">
                <a:extLst>
                  <a:ext uri="{FF2B5EF4-FFF2-40B4-BE49-F238E27FC236}">
                    <a16:creationId xmlns:a16="http://schemas.microsoft.com/office/drawing/2014/main" xmlns="" id="{5023FF7E-BE81-4DCD-8A38-2B056F65B2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24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9" name="Oval 2950">
                <a:extLst>
                  <a:ext uri="{FF2B5EF4-FFF2-40B4-BE49-F238E27FC236}">
                    <a16:creationId xmlns:a16="http://schemas.microsoft.com/office/drawing/2014/main" xmlns="" id="{4B1E874A-AB47-48E2-B979-8133E40C1F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0" name="Oval 2951">
                <a:extLst>
                  <a:ext uri="{FF2B5EF4-FFF2-40B4-BE49-F238E27FC236}">
                    <a16:creationId xmlns:a16="http://schemas.microsoft.com/office/drawing/2014/main" xmlns="" id="{B0D0BBD4-18B2-4378-8041-C40D75EC37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1" name="Oval 2952">
                <a:extLst>
                  <a:ext uri="{FF2B5EF4-FFF2-40B4-BE49-F238E27FC236}">
                    <a16:creationId xmlns:a16="http://schemas.microsoft.com/office/drawing/2014/main" xmlns="" id="{AFAE9ABC-0507-406C-9330-B9EB354A44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2" name="Oval 2953">
                <a:extLst>
                  <a:ext uri="{FF2B5EF4-FFF2-40B4-BE49-F238E27FC236}">
                    <a16:creationId xmlns:a16="http://schemas.microsoft.com/office/drawing/2014/main" xmlns="" id="{560FDE4A-E135-4306-BAF1-278B18B6C0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3" name="Oval 2954">
                <a:extLst>
                  <a:ext uri="{FF2B5EF4-FFF2-40B4-BE49-F238E27FC236}">
                    <a16:creationId xmlns:a16="http://schemas.microsoft.com/office/drawing/2014/main" xmlns="" id="{9291E4A4-ABBC-4346-8083-E51324B02E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30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4" name="Oval 2955">
                <a:extLst>
                  <a:ext uri="{FF2B5EF4-FFF2-40B4-BE49-F238E27FC236}">
                    <a16:creationId xmlns:a16="http://schemas.microsoft.com/office/drawing/2014/main" xmlns="" id="{8C3D7A7F-921A-4743-91B6-84A97359C3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5" name="Oval 2956">
                <a:extLst>
                  <a:ext uri="{FF2B5EF4-FFF2-40B4-BE49-F238E27FC236}">
                    <a16:creationId xmlns:a16="http://schemas.microsoft.com/office/drawing/2014/main" xmlns="" id="{4248B621-6F0B-4EE2-A867-CC7F12AB66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6" name="Oval 2957">
                <a:extLst>
                  <a:ext uri="{FF2B5EF4-FFF2-40B4-BE49-F238E27FC236}">
                    <a16:creationId xmlns:a16="http://schemas.microsoft.com/office/drawing/2014/main" xmlns="" id="{EF1519CC-DA48-49C3-BDA1-B261CF84C1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7" name="Oval 2958">
                <a:extLst>
                  <a:ext uri="{FF2B5EF4-FFF2-40B4-BE49-F238E27FC236}">
                    <a16:creationId xmlns:a16="http://schemas.microsoft.com/office/drawing/2014/main" xmlns="" id="{3A65BF1B-D4A3-4695-B20F-070046F9C1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8" name="Oval 2959">
                <a:extLst>
                  <a:ext uri="{FF2B5EF4-FFF2-40B4-BE49-F238E27FC236}">
                    <a16:creationId xmlns:a16="http://schemas.microsoft.com/office/drawing/2014/main" xmlns="" id="{FAF6D771-4DA4-46DA-B8BA-B37182DFF6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9" name="Oval 2960">
                <a:extLst>
                  <a:ext uri="{FF2B5EF4-FFF2-40B4-BE49-F238E27FC236}">
                    <a16:creationId xmlns:a16="http://schemas.microsoft.com/office/drawing/2014/main" xmlns="" id="{57C175A7-63FC-423C-A3B5-A911C6954E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0" name="Oval 2961">
                <a:extLst>
                  <a:ext uri="{FF2B5EF4-FFF2-40B4-BE49-F238E27FC236}">
                    <a16:creationId xmlns:a16="http://schemas.microsoft.com/office/drawing/2014/main" xmlns="" id="{2AAD92E5-CAE6-4360-9382-FE0D004455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1" name="Oval 2962">
                <a:extLst>
                  <a:ext uri="{FF2B5EF4-FFF2-40B4-BE49-F238E27FC236}">
                    <a16:creationId xmlns:a16="http://schemas.microsoft.com/office/drawing/2014/main" xmlns="" id="{2E77C209-7EE6-468E-8785-175B3E0F7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30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2" name="Oval 2963">
                <a:extLst>
                  <a:ext uri="{FF2B5EF4-FFF2-40B4-BE49-F238E27FC236}">
                    <a16:creationId xmlns:a16="http://schemas.microsoft.com/office/drawing/2014/main" xmlns="" id="{F7402052-359B-4268-A8C2-A8FFC477B9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3" name="Oval 2964">
                <a:extLst>
                  <a:ext uri="{FF2B5EF4-FFF2-40B4-BE49-F238E27FC236}">
                    <a16:creationId xmlns:a16="http://schemas.microsoft.com/office/drawing/2014/main" xmlns="" id="{2DB17923-39CA-40B6-9A4A-4306222740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45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4" name="Oval 2965">
                <a:extLst>
                  <a:ext uri="{FF2B5EF4-FFF2-40B4-BE49-F238E27FC236}">
                    <a16:creationId xmlns:a16="http://schemas.microsoft.com/office/drawing/2014/main" xmlns="" id="{928009B1-DDE3-4AD5-A924-04DD98FD09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30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5" name="Oval 2966">
                <a:extLst>
                  <a:ext uri="{FF2B5EF4-FFF2-40B4-BE49-F238E27FC236}">
                    <a16:creationId xmlns:a16="http://schemas.microsoft.com/office/drawing/2014/main" xmlns="" id="{417302F4-2475-4E4A-B3C2-F31DB0C848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8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6" name="Oval 2967">
                <a:extLst>
                  <a:ext uri="{FF2B5EF4-FFF2-40B4-BE49-F238E27FC236}">
                    <a16:creationId xmlns:a16="http://schemas.microsoft.com/office/drawing/2014/main" xmlns="" id="{439E8F78-75DF-4D30-BE54-AC9B98F9E0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7" name="Oval 2968">
                <a:extLst>
                  <a:ext uri="{FF2B5EF4-FFF2-40B4-BE49-F238E27FC236}">
                    <a16:creationId xmlns:a16="http://schemas.microsoft.com/office/drawing/2014/main" xmlns="" id="{6CA48E93-94EF-4D7A-BCAB-C5F15F2195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264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8" name="Oval 2969">
                <a:extLst>
                  <a:ext uri="{FF2B5EF4-FFF2-40B4-BE49-F238E27FC236}">
                    <a16:creationId xmlns:a16="http://schemas.microsoft.com/office/drawing/2014/main" xmlns="" id="{34C1C4D3-D295-4BD2-84AC-C961EDE5F5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9" name="Oval 2970">
                <a:extLst>
                  <a:ext uri="{FF2B5EF4-FFF2-40B4-BE49-F238E27FC236}">
                    <a16:creationId xmlns:a16="http://schemas.microsoft.com/office/drawing/2014/main" xmlns="" id="{662EA6A7-4375-458E-87AA-4F15F87700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0" name="Oval 2971">
                <a:extLst>
                  <a:ext uri="{FF2B5EF4-FFF2-40B4-BE49-F238E27FC236}">
                    <a16:creationId xmlns:a16="http://schemas.microsoft.com/office/drawing/2014/main" xmlns="" id="{78471533-4705-47CE-A66B-A2306AC01A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24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1" name="Oval 2972">
                <a:extLst>
                  <a:ext uri="{FF2B5EF4-FFF2-40B4-BE49-F238E27FC236}">
                    <a16:creationId xmlns:a16="http://schemas.microsoft.com/office/drawing/2014/main" xmlns="" id="{9CFEDEAF-BF3D-4F52-9F00-1B75663FC3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2" name="Oval 2973">
                <a:extLst>
                  <a:ext uri="{FF2B5EF4-FFF2-40B4-BE49-F238E27FC236}">
                    <a16:creationId xmlns:a16="http://schemas.microsoft.com/office/drawing/2014/main" xmlns="" id="{A2DB9682-BBA0-4832-9C63-9FA40A04D8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3" name="Oval 2974">
                <a:extLst>
                  <a:ext uri="{FF2B5EF4-FFF2-40B4-BE49-F238E27FC236}">
                    <a16:creationId xmlns:a16="http://schemas.microsoft.com/office/drawing/2014/main" xmlns="" id="{AB09A07A-BC86-4BC4-A6A0-E14343CB7C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4" name="Oval 2975">
                <a:extLst>
                  <a:ext uri="{FF2B5EF4-FFF2-40B4-BE49-F238E27FC236}">
                    <a16:creationId xmlns:a16="http://schemas.microsoft.com/office/drawing/2014/main" xmlns="" id="{75C44ACB-D1C8-4FFB-AAC5-59796680C4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5" name="Oval 2976">
                <a:extLst>
                  <a:ext uri="{FF2B5EF4-FFF2-40B4-BE49-F238E27FC236}">
                    <a16:creationId xmlns:a16="http://schemas.microsoft.com/office/drawing/2014/main" xmlns="" id="{EF97FC4C-7F4A-498F-8EE4-E11CA9F83F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6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6" name="Oval 2977">
                <a:extLst>
                  <a:ext uri="{FF2B5EF4-FFF2-40B4-BE49-F238E27FC236}">
                    <a16:creationId xmlns:a16="http://schemas.microsoft.com/office/drawing/2014/main" xmlns="" id="{7004B5A2-4474-467F-B46A-7E4BBEDAD2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7" name="Oval 2978">
                <a:extLst>
                  <a:ext uri="{FF2B5EF4-FFF2-40B4-BE49-F238E27FC236}">
                    <a16:creationId xmlns:a16="http://schemas.microsoft.com/office/drawing/2014/main" xmlns="" id="{B3C38E0E-1651-4782-99D5-DA5A430E74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8" name="Oval 2979">
                <a:extLst>
                  <a:ext uri="{FF2B5EF4-FFF2-40B4-BE49-F238E27FC236}">
                    <a16:creationId xmlns:a16="http://schemas.microsoft.com/office/drawing/2014/main" xmlns="" id="{3982CDCF-659C-4248-BFBA-530C286176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9" name="Oval 2980">
                <a:extLst>
                  <a:ext uri="{FF2B5EF4-FFF2-40B4-BE49-F238E27FC236}">
                    <a16:creationId xmlns:a16="http://schemas.microsoft.com/office/drawing/2014/main" xmlns="" id="{066C74C9-9569-4AD9-9A84-038123AC7C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0" name="Oval 2981">
                <a:extLst>
                  <a:ext uri="{FF2B5EF4-FFF2-40B4-BE49-F238E27FC236}">
                    <a16:creationId xmlns:a16="http://schemas.microsoft.com/office/drawing/2014/main" xmlns="" id="{43F17E57-EFB2-4055-918B-0201A2CFC4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1" name="Oval 2982">
                <a:extLst>
                  <a:ext uri="{FF2B5EF4-FFF2-40B4-BE49-F238E27FC236}">
                    <a16:creationId xmlns:a16="http://schemas.microsoft.com/office/drawing/2014/main" xmlns="" id="{AE933B88-BE52-4EEB-893C-1F61DF22EE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sp>
          <p:nvSpPr>
            <p:cNvPr id="2607" name="Oval 2984">
              <a:extLst>
                <a:ext uri="{FF2B5EF4-FFF2-40B4-BE49-F238E27FC236}">
                  <a16:creationId xmlns:a16="http://schemas.microsoft.com/office/drawing/2014/main" xmlns="" id="{B310FD13-8104-414F-B319-F7EA9DB1B3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08" name="Oval 2985">
              <a:extLst>
                <a:ext uri="{FF2B5EF4-FFF2-40B4-BE49-F238E27FC236}">
                  <a16:creationId xmlns:a16="http://schemas.microsoft.com/office/drawing/2014/main" xmlns="" id="{7B09CB79-B807-4760-AF3D-EA8344139B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09" name="Oval 2986">
              <a:extLst>
                <a:ext uri="{FF2B5EF4-FFF2-40B4-BE49-F238E27FC236}">
                  <a16:creationId xmlns:a16="http://schemas.microsoft.com/office/drawing/2014/main" xmlns="" id="{06F24C27-6489-4388-B79B-702E2ECF2E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21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0" name="Oval 2987">
              <a:extLst>
                <a:ext uri="{FF2B5EF4-FFF2-40B4-BE49-F238E27FC236}">
                  <a16:creationId xmlns:a16="http://schemas.microsoft.com/office/drawing/2014/main" xmlns="" id="{E5F1D6B3-EF02-48EB-AE70-03B98F580B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6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1" name="Oval 2988">
              <a:extLst>
                <a:ext uri="{FF2B5EF4-FFF2-40B4-BE49-F238E27FC236}">
                  <a16:creationId xmlns:a16="http://schemas.microsoft.com/office/drawing/2014/main" xmlns="" id="{D3FD35A0-2ECB-4B5F-BD3D-9FE35E6FD2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6" y="198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2" name="Oval 2989">
              <a:extLst>
                <a:ext uri="{FF2B5EF4-FFF2-40B4-BE49-F238E27FC236}">
                  <a16:creationId xmlns:a16="http://schemas.microsoft.com/office/drawing/2014/main" xmlns="" id="{FE4B1BFF-475D-442A-A04D-DF933772D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6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3" name="Oval 2990">
              <a:extLst>
                <a:ext uri="{FF2B5EF4-FFF2-40B4-BE49-F238E27FC236}">
                  <a16:creationId xmlns:a16="http://schemas.microsoft.com/office/drawing/2014/main" xmlns="" id="{2B8C1CA5-7DA5-4AEE-BED3-17701AE6B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4" name="Oval 2991">
              <a:extLst>
                <a:ext uri="{FF2B5EF4-FFF2-40B4-BE49-F238E27FC236}">
                  <a16:creationId xmlns:a16="http://schemas.microsoft.com/office/drawing/2014/main" xmlns="" id="{CB01D10D-BF65-461B-85B6-DEC830AED2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17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5" name="Oval 2992">
              <a:extLst>
                <a:ext uri="{FF2B5EF4-FFF2-40B4-BE49-F238E27FC236}">
                  <a16:creationId xmlns:a16="http://schemas.microsoft.com/office/drawing/2014/main" xmlns="" id="{62E0AC6D-3937-4D80-B2D1-1AD035DFB4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5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6" name="Oval 2993">
              <a:extLst>
                <a:ext uri="{FF2B5EF4-FFF2-40B4-BE49-F238E27FC236}">
                  <a16:creationId xmlns:a16="http://schemas.microsoft.com/office/drawing/2014/main" xmlns="" id="{CA81E157-52E6-49A3-9E44-DC773CAA52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86" y="159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7" name="Oval 2994">
              <a:extLst>
                <a:ext uri="{FF2B5EF4-FFF2-40B4-BE49-F238E27FC236}">
                  <a16:creationId xmlns:a16="http://schemas.microsoft.com/office/drawing/2014/main" xmlns="" id="{C7752D20-A552-4BC0-AE66-A3173AAC2A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5" y="13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8" name="Oval 2995">
              <a:extLst>
                <a:ext uri="{FF2B5EF4-FFF2-40B4-BE49-F238E27FC236}">
                  <a16:creationId xmlns:a16="http://schemas.microsoft.com/office/drawing/2014/main" xmlns="" id="{D17B062A-C983-4CD1-9CC6-AF0A901C8E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9" name="Oval 2996">
              <a:extLst>
                <a:ext uri="{FF2B5EF4-FFF2-40B4-BE49-F238E27FC236}">
                  <a16:creationId xmlns:a16="http://schemas.microsoft.com/office/drawing/2014/main" xmlns="" id="{963DCA3B-884B-4FF4-8B17-9A7C270C2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14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0" name="Oval 2997">
              <a:extLst>
                <a:ext uri="{FF2B5EF4-FFF2-40B4-BE49-F238E27FC236}">
                  <a16:creationId xmlns:a16="http://schemas.microsoft.com/office/drawing/2014/main" xmlns="" id="{4D9F04F8-8241-4035-B3D1-FC9DD683D3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6" y="12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1" name="Oval 2998">
              <a:extLst>
                <a:ext uri="{FF2B5EF4-FFF2-40B4-BE49-F238E27FC236}">
                  <a16:creationId xmlns:a16="http://schemas.microsoft.com/office/drawing/2014/main" xmlns="" id="{FD0E6989-FEC9-4459-ADC6-021DCFEEC1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6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2" name="Oval 2999">
              <a:extLst>
                <a:ext uri="{FF2B5EF4-FFF2-40B4-BE49-F238E27FC236}">
                  <a16:creationId xmlns:a16="http://schemas.microsoft.com/office/drawing/2014/main" xmlns="" id="{5B17C7C8-E6E7-40C5-B6E9-6D0D2741FB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6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3" name="Oval 3000">
              <a:extLst>
                <a:ext uri="{FF2B5EF4-FFF2-40B4-BE49-F238E27FC236}">
                  <a16:creationId xmlns:a16="http://schemas.microsoft.com/office/drawing/2014/main" xmlns="" id="{7B16AB51-982A-4961-B8E1-6A9165C2D9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4" name="Oval 3001">
              <a:extLst>
                <a:ext uri="{FF2B5EF4-FFF2-40B4-BE49-F238E27FC236}">
                  <a16:creationId xmlns:a16="http://schemas.microsoft.com/office/drawing/2014/main" xmlns="" id="{775F59A4-EC3F-4C72-8810-7ED5EF4C2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6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5" name="Oval 3002">
              <a:extLst>
                <a:ext uri="{FF2B5EF4-FFF2-40B4-BE49-F238E27FC236}">
                  <a16:creationId xmlns:a16="http://schemas.microsoft.com/office/drawing/2014/main" xmlns="" id="{9582C577-A83F-4C5E-A2B1-E687F23B4C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6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6" name="Oval 3003">
              <a:extLst>
                <a:ext uri="{FF2B5EF4-FFF2-40B4-BE49-F238E27FC236}">
                  <a16:creationId xmlns:a16="http://schemas.microsoft.com/office/drawing/2014/main" xmlns="" id="{1C7C4A05-34BF-4021-AF89-E03B5FB9BF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6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7" name="Oval 3004">
              <a:extLst>
                <a:ext uri="{FF2B5EF4-FFF2-40B4-BE49-F238E27FC236}">
                  <a16:creationId xmlns:a16="http://schemas.microsoft.com/office/drawing/2014/main" xmlns="" id="{214190C0-5DDA-4336-86CF-FA2054AC5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19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8" name="Oval 3005">
              <a:extLst>
                <a:ext uri="{FF2B5EF4-FFF2-40B4-BE49-F238E27FC236}">
                  <a16:creationId xmlns:a16="http://schemas.microsoft.com/office/drawing/2014/main" xmlns="" id="{9E04DE5C-D63C-4433-95A9-47B0248E90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9" name="Oval 3006">
              <a:extLst>
                <a:ext uri="{FF2B5EF4-FFF2-40B4-BE49-F238E27FC236}">
                  <a16:creationId xmlns:a16="http://schemas.microsoft.com/office/drawing/2014/main" xmlns="" id="{81A3C943-78D7-4ED5-8815-130890FA2F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5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0" name="Oval 3007">
              <a:extLst>
                <a:ext uri="{FF2B5EF4-FFF2-40B4-BE49-F238E27FC236}">
                  <a16:creationId xmlns:a16="http://schemas.microsoft.com/office/drawing/2014/main" xmlns="" id="{241E86BD-4442-410A-AECB-EE0F12A1D1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1" name="Oval 3008">
              <a:extLst>
                <a:ext uri="{FF2B5EF4-FFF2-40B4-BE49-F238E27FC236}">
                  <a16:creationId xmlns:a16="http://schemas.microsoft.com/office/drawing/2014/main" xmlns="" id="{8CE4DC89-104A-47BD-8903-35CF05DCF9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2" name="Oval 3009">
              <a:extLst>
                <a:ext uri="{FF2B5EF4-FFF2-40B4-BE49-F238E27FC236}">
                  <a16:creationId xmlns:a16="http://schemas.microsoft.com/office/drawing/2014/main" xmlns="" id="{BB97E780-D427-4346-AD3D-E30564FA2C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3" name="Oval 3010">
              <a:extLst>
                <a:ext uri="{FF2B5EF4-FFF2-40B4-BE49-F238E27FC236}">
                  <a16:creationId xmlns:a16="http://schemas.microsoft.com/office/drawing/2014/main" xmlns="" id="{A7C60487-A107-4136-83E6-3568C9BB97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5" y="15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4" name="Oval 3011">
              <a:extLst>
                <a:ext uri="{FF2B5EF4-FFF2-40B4-BE49-F238E27FC236}">
                  <a16:creationId xmlns:a16="http://schemas.microsoft.com/office/drawing/2014/main" xmlns="" id="{0DC53904-9447-4CE7-BCD4-9ECCA48CF9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5" y="14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5" name="Oval 3012">
              <a:extLst>
                <a:ext uri="{FF2B5EF4-FFF2-40B4-BE49-F238E27FC236}">
                  <a16:creationId xmlns:a16="http://schemas.microsoft.com/office/drawing/2014/main" xmlns="" id="{11279C95-9CE3-48E7-8E49-A97AB42A95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5" y="15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6" name="Oval 3013">
              <a:extLst>
                <a:ext uri="{FF2B5EF4-FFF2-40B4-BE49-F238E27FC236}">
                  <a16:creationId xmlns:a16="http://schemas.microsoft.com/office/drawing/2014/main" xmlns="" id="{0C1A72B8-5CC7-4915-B504-E8397B983E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7" name="Oval 3014">
              <a:extLst>
                <a:ext uri="{FF2B5EF4-FFF2-40B4-BE49-F238E27FC236}">
                  <a16:creationId xmlns:a16="http://schemas.microsoft.com/office/drawing/2014/main" xmlns="" id="{461D233F-CB47-4762-8B8F-EDA320CB22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8" name="Oval 3015">
              <a:extLst>
                <a:ext uri="{FF2B5EF4-FFF2-40B4-BE49-F238E27FC236}">
                  <a16:creationId xmlns:a16="http://schemas.microsoft.com/office/drawing/2014/main" xmlns="" id="{816540C4-086E-4A36-8496-2241D7B4B7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5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9" name="Oval 3016">
              <a:extLst>
                <a:ext uri="{FF2B5EF4-FFF2-40B4-BE49-F238E27FC236}">
                  <a16:creationId xmlns:a16="http://schemas.microsoft.com/office/drawing/2014/main" xmlns="" id="{9F68BDEC-8383-44EF-9D0F-55091A101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0" name="Oval 3017">
              <a:extLst>
                <a:ext uri="{FF2B5EF4-FFF2-40B4-BE49-F238E27FC236}">
                  <a16:creationId xmlns:a16="http://schemas.microsoft.com/office/drawing/2014/main" xmlns="" id="{142F5190-7A67-4279-BB00-ECC0774409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1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1" name="Oval 3018">
              <a:extLst>
                <a:ext uri="{FF2B5EF4-FFF2-40B4-BE49-F238E27FC236}">
                  <a16:creationId xmlns:a16="http://schemas.microsoft.com/office/drawing/2014/main" xmlns="" id="{86761E9B-2345-4654-AA6A-392A9592B1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2" name="Oval 3019">
              <a:extLst>
                <a:ext uri="{FF2B5EF4-FFF2-40B4-BE49-F238E27FC236}">
                  <a16:creationId xmlns:a16="http://schemas.microsoft.com/office/drawing/2014/main" xmlns="" id="{5CF505DD-767B-4EE7-A1C7-345A097388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3" name="Oval 3020">
              <a:extLst>
                <a:ext uri="{FF2B5EF4-FFF2-40B4-BE49-F238E27FC236}">
                  <a16:creationId xmlns:a16="http://schemas.microsoft.com/office/drawing/2014/main" xmlns="" id="{7A7C6960-11BA-49C5-83F4-5544D3FE0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4" name="Oval 3021">
              <a:extLst>
                <a:ext uri="{FF2B5EF4-FFF2-40B4-BE49-F238E27FC236}">
                  <a16:creationId xmlns:a16="http://schemas.microsoft.com/office/drawing/2014/main" xmlns="" id="{A299362F-C77E-4FFB-A8B0-FDC3F28605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5" name="Oval 3022">
              <a:extLst>
                <a:ext uri="{FF2B5EF4-FFF2-40B4-BE49-F238E27FC236}">
                  <a16:creationId xmlns:a16="http://schemas.microsoft.com/office/drawing/2014/main" xmlns="" id="{4BEDAAB5-5C09-4E1D-8729-835628027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5" y="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6" name="Oval 3023">
              <a:extLst>
                <a:ext uri="{FF2B5EF4-FFF2-40B4-BE49-F238E27FC236}">
                  <a16:creationId xmlns:a16="http://schemas.microsoft.com/office/drawing/2014/main" xmlns="" id="{6666CEA9-89D6-40AD-93F4-CE0FC35CC2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" y="3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7" name="Oval 3024">
              <a:extLst>
                <a:ext uri="{FF2B5EF4-FFF2-40B4-BE49-F238E27FC236}">
                  <a16:creationId xmlns:a16="http://schemas.microsoft.com/office/drawing/2014/main" xmlns="" id="{C3961067-103E-4E0D-B62E-0C2687DDC3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8" name="Oval 3025">
              <a:extLst>
                <a:ext uri="{FF2B5EF4-FFF2-40B4-BE49-F238E27FC236}">
                  <a16:creationId xmlns:a16="http://schemas.microsoft.com/office/drawing/2014/main" xmlns="" id="{FF98C343-8784-40FA-9ABE-B7FFD3388F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4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9" name="Oval 3026">
              <a:extLst>
                <a:ext uri="{FF2B5EF4-FFF2-40B4-BE49-F238E27FC236}">
                  <a16:creationId xmlns:a16="http://schemas.microsoft.com/office/drawing/2014/main" xmlns="" id="{104C7E08-5D88-4B56-BECF-4ED5F6233A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0" name="Oval 3027">
              <a:extLst>
                <a:ext uri="{FF2B5EF4-FFF2-40B4-BE49-F238E27FC236}">
                  <a16:creationId xmlns:a16="http://schemas.microsoft.com/office/drawing/2014/main" xmlns="" id="{84015CAC-FBF9-495E-A11D-8C75D0783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5" y="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1" name="Oval 3028">
              <a:extLst>
                <a:ext uri="{FF2B5EF4-FFF2-40B4-BE49-F238E27FC236}">
                  <a16:creationId xmlns:a16="http://schemas.microsoft.com/office/drawing/2014/main" xmlns="" id="{3D465E52-FFB8-4111-89BC-FCABEEE84B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2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2" name="Oval 3029">
              <a:extLst>
                <a:ext uri="{FF2B5EF4-FFF2-40B4-BE49-F238E27FC236}">
                  <a16:creationId xmlns:a16="http://schemas.microsoft.com/office/drawing/2014/main" xmlns="" id="{80220D5E-E3C9-4FF0-8C4F-0F40F3B817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3" name="Oval 3030">
              <a:extLst>
                <a:ext uri="{FF2B5EF4-FFF2-40B4-BE49-F238E27FC236}">
                  <a16:creationId xmlns:a16="http://schemas.microsoft.com/office/drawing/2014/main" xmlns="" id="{8BAB14B7-2A0B-4868-A36B-DC4C7D9138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4" name="Oval 3031">
              <a:extLst>
                <a:ext uri="{FF2B5EF4-FFF2-40B4-BE49-F238E27FC236}">
                  <a16:creationId xmlns:a16="http://schemas.microsoft.com/office/drawing/2014/main" xmlns="" id="{ACAB0E9A-24DD-42E5-91A3-695962550F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3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5" name="Oval 3032">
              <a:extLst>
                <a:ext uri="{FF2B5EF4-FFF2-40B4-BE49-F238E27FC236}">
                  <a16:creationId xmlns:a16="http://schemas.microsoft.com/office/drawing/2014/main" xmlns="" id="{0B81CDA6-BE68-46F6-BE97-82E3963038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2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6" name="Oval 3033">
              <a:extLst>
                <a:ext uri="{FF2B5EF4-FFF2-40B4-BE49-F238E27FC236}">
                  <a16:creationId xmlns:a16="http://schemas.microsoft.com/office/drawing/2014/main" xmlns="" id="{6A5375A0-DF24-40B6-A850-2D3F3539F5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4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7" name="Oval 3034">
              <a:extLst>
                <a:ext uri="{FF2B5EF4-FFF2-40B4-BE49-F238E27FC236}">
                  <a16:creationId xmlns:a16="http://schemas.microsoft.com/office/drawing/2014/main" xmlns="" id="{61B510F5-2264-46A8-8173-B1BB5D1A72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6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8" name="Oval 3035">
              <a:extLst>
                <a:ext uri="{FF2B5EF4-FFF2-40B4-BE49-F238E27FC236}">
                  <a16:creationId xmlns:a16="http://schemas.microsoft.com/office/drawing/2014/main" xmlns="" id="{DC826A6B-CF7A-4EFF-B872-C2241C03B7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4" y="7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9" name="Oval 3036">
              <a:extLst>
                <a:ext uri="{FF2B5EF4-FFF2-40B4-BE49-F238E27FC236}">
                  <a16:creationId xmlns:a16="http://schemas.microsoft.com/office/drawing/2014/main" xmlns="" id="{D776AC49-7687-4DCA-9322-F2413F2A5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9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0" name="Oval 3037">
              <a:extLst>
                <a:ext uri="{FF2B5EF4-FFF2-40B4-BE49-F238E27FC236}">
                  <a16:creationId xmlns:a16="http://schemas.microsoft.com/office/drawing/2014/main" xmlns="" id="{CC039493-FE8D-4AA8-8FAC-9A7BA3C21D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0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1" name="Oval 3038">
              <a:extLst>
                <a:ext uri="{FF2B5EF4-FFF2-40B4-BE49-F238E27FC236}">
                  <a16:creationId xmlns:a16="http://schemas.microsoft.com/office/drawing/2014/main" xmlns="" id="{D4340834-F1B1-4821-9964-DEAD910C77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2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2" name="Oval 3039">
              <a:extLst>
                <a:ext uri="{FF2B5EF4-FFF2-40B4-BE49-F238E27FC236}">
                  <a16:creationId xmlns:a16="http://schemas.microsoft.com/office/drawing/2014/main" xmlns="" id="{CCBC0F96-1B57-4A6B-A142-19A3275808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3" name="Oval 3040">
              <a:extLst>
                <a:ext uri="{FF2B5EF4-FFF2-40B4-BE49-F238E27FC236}">
                  <a16:creationId xmlns:a16="http://schemas.microsoft.com/office/drawing/2014/main" xmlns="" id="{7B3F753C-B01D-4660-B855-928AE3C00C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4" y="9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4" name="Oval 3041">
              <a:extLst>
                <a:ext uri="{FF2B5EF4-FFF2-40B4-BE49-F238E27FC236}">
                  <a16:creationId xmlns:a16="http://schemas.microsoft.com/office/drawing/2014/main" xmlns="" id="{5BBDF909-44F5-4F08-8712-F94071DEA1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5" name="Oval 3042">
              <a:extLst>
                <a:ext uri="{FF2B5EF4-FFF2-40B4-BE49-F238E27FC236}">
                  <a16:creationId xmlns:a16="http://schemas.microsoft.com/office/drawing/2014/main" xmlns="" id="{43146686-50AB-49C4-9121-25FE65B281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10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6" name="Oval 3043">
              <a:extLst>
                <a:ext uri="{FF2B5EF4-FFF2-40B4-BE49-F238E27FC236}">
                  <a16:creationId xmlns:a16="http://schemas.microsoft.com/office/drawing/2014/main" xmlns="" id="{A596A95B-0678-4B0C-AD88-83E21D7185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10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7" name="Oval 3044">
              <a:extLst>
                <a:ext uri="{FF2B5EF4-FFF2-40B4-BE49-F238E27FC236}">
                  <a16:creationId xmlns:a16="http://schemas.microsoft.com/office/drawing/2014/main" xmlns="" id="{96E4D5DA-5305-4409-83A3-7D4F266971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11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8" name="Oval 3045">
              <a:extLst>
                <a:ext uri="{FF2B5EF4-FFF2-40B4-BE49-F238E27FC236}">
                  <a16:creationId xmlns:a16="http://schemas.microsoft.com/office/drawing/2014/main" xmlns="" id="{87151FD1-900E-44FB-A98B-7732C7C0AB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2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9" name="Oval 3046">
              <a:extLst>
                <a:ext uri="{FF2B5EF4-FFF2-40B4-BE49-F238E27FC236}">
                  <a16:creationId xmlns:a16="http://schemas.microsoft.com/office/drawing/2014/main" xmlns="" id="{C58E9B85-0297-4A30-8978-B09B6FAAAA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0" name="Oval 3047">
              <a:extLst>
                <a:ext uri="{FF2B5EF4-FFF2-40B4-BE49-F238E27FC236}">
                  <a16:creationId xmlns:a16="http://schemas.microsoft.com/office/drawing/2014/main" xmlns="" id="{4F7F30BD-8F75-4D7D-8EF2-B215F56BD8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4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1" name="Oval 3048">
              <a:extLst>
                <a:ext uri="{FF2B5EF4-FFF2-40B4-BE49-F238E27FC236}">
                  <a16:creationId xmlns:a16="http://schemas.microsoft.com/office/drawing/2014/main" xmlns="" id="{EB7D61B2-CFAA-4354-BA8D-BB42BEF2CA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2" name="Oval 3049">
              <a:extLst>
                <a:ext uri="{FF2B5EF4-FFF2-40B4-BE49-F238E27FC236}">
                  <a16:creationId xmlns:a16="http://schemas.microsoft.com/office/drawing/2014/main" xmlns="" id="{E86DD210-FE77-49D6-9A8B-0B9C554710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3" name="Oval 3050">
              <a:extLst>
                <a:ext uri="{FF2B5EF4-FFF2-40B4-BE49-F238E27FC236}">
                  <a16:creationId xmlns:a16="http://schemas.microsoft.com/office/drawing/2014/main" xmlns="" id="{AE391646-EFC3-40F1-B1F2-1EFC496AB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4" name="Oval 3051">
              <a:extLst>
                <a:ext uri="{FF2B5EF4-FFF2-40B4-BE49-F238E27FC236}">
                  <a16:creationId xmlns:a16="http://schemas.microsoft.com/office/drawing/2014/main" xmlns="" id="{8C2DD63E-26A0-48CC-9460-C97AFB20D9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8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5" name="Oval 3052">
              <a:extLst>
                <a:ext uri="{FF2B5EF4-FFF2-40B4-BE49-F238E27FC236}">
                  <a16:creationId xmlns:a16="http://schemas.microsoft.com/office/drawing/2014/main" xmlns="" id="{FB21D351-1D70-4375-867D-7B490F843D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6" name="Oval 3053">
              <a:extLst>
                <a:ext uri="{FF2B5EF4-FFF2-40B4-BE49-F238E27FC236}">
                  <a16:creationId xmlns:a16="http://schemas.microsoft.com/office/drawing/2014/main" xmlns="" id="{219FE068-3072-4226-8167-336263DC97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5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7" name="Oval 3054">
              <a:extLst>
                <a:ext uri="{FF2B5EF4-FFF2-40B4-BE49-F238E27FC236}">
                  <a16:creationId xmlns:a16="http://schemas.microsoft.com/office/drawing/2014/main" xmlns="" id="{D447D7F8-77A4-4361-A673-F25662C19E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14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8" name="Oval 3055">
              <a:extLst>
                <a:ext uri="{FF2B5EF4-FFF2-40B4-BE49-F238E27FC236}">
                  <a16:creationId xmlns:a16="http://schemas.microsoft.com/office/drawing/2014/main" xmlns="" id="{5161D2A6-E5EB-4093-B915-BBEC4FDD14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9" name="Oval 3056">
              <a:extLst>
                <a:ext uri="{FF2B5EF4-FFF2-40B4-BE49-F238E27FC236}">
                  <a16:creationId xmlns:a16="http://schemas.microsoft.com/office/drawing/2014/main" xmlns="" id="{461A7FD2-4B63-44B0-AE56-A379D9B958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0" name="Oval 3057">
              <a:extLst>
                <a:ext uri="{FF2B5EF4-FFF2-40B4-BE49-F238E27FC236}">
                  <a16:creationId xmlns:a16="http://schemas.microsoft.com/office/drawing/2014/main" xmlns="" id="{A1CC5DA8-E610-4C7E-B25B-4620F8EAA3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4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1" name="Oval 3058">
              <a:extLst>
                <a:ext uri="{FF2B5EF4-FFF2-40B4-BE49-F238E27FC236}">
                  <a16:creationId xmlns:a16="http://schemas.microsoft.com/office/drawing/2014/main" xmlns="" id="{B5E4578F-D687-42A9-8DA3-0EA0F7DCD9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12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2" name="Oval 3059">
              <a:extLst>
                <a:ext uri="{FF2B5EF4-FFF2-40B4-BE49-F238E27FC236}">
                  <a16:creationId xmlns:a16="http://schemas.microsoft.com/office/drawing/2014/main" xmlns="" id="{B640CD62-3349-425D-A54E-2D026B98B6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5" y="12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3" name="Oval 3060">
              <a:extLst>
                <a:ext uri="{FF2B5EF4-FFF2-40B4-BE49-F238E27FC236}">
                  <a16:creationId xmlns:a16="http://schemas.microsoft.com/office/drawing/2014/main" xmlns="" id="{6ACFA51A-B1DB-4C78-841F-061585FDE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4" name="Oval 3061">
              <a:extLst>
                <a:ext uri="{FF2B5EF4-FFF2-40B4-BE49-F238E27FC236}">
                  <a16:creationId xmlns:a16="http://schemas.microsoft.com/office/drawing/2014/main" xmlns="" id="{33307EF6-8529-44B5-B304-D59D5260E6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5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5" name="Oval 3062">
              <a:extLst>
                <a:ext uri="{FF2B5EF4-FFF2-40B4-BE49-F238E27FC236}">
                  <a16:creationId xmlns:a16="http://schemas.microsoft.com/office/drawing/2014/main" xmlns="" id="{E3E45E8C-B6C8-4044-AC67-1784FB063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1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6" name="Oval 3063">
              <a:extLst>
                <a:ext uri="{FF2B5EF4-FFF2-40B4-BE49-F238E27FC236}">
                  <a16:creationId xmlns:a16="http://schemas.microsoft.com/office/drawing/2014/main" xmlns="" id="{FC7AFD9E-5FA0-4B2A-9E45-90984FA0B9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8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7" name="Oval 3064">
              <a:extLst>
                <a:ext uri="{FF2B5EF4-FFF2-40B4-BE49-F238E27FC236}">
                  <a16:creationId xmlns:a16="http://schemas.microsoft.com/office/drawing/2014/main" xmlns="" id="{60F9ADC8-6FAA-470B-B05E-4347418362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5" y="159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8" name="Oval 3065">
              <a:extLst>
                <a:ext uri="{FF2B5EF4-FFF2-40B4-BE49-F238E27FC236}">
                  <a16:creationId xmlns:a16="http://schemas.microsoft.com/office/drawing/2014/main" xmlns="" id="{8EBA26E3-73C9-4531-BB7E-FA8EAD4ACB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12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9" name="Oval 3066">
              <a:extLst>
                <a:ext uri="{FF2B5EF4-FFF2-40B4-BE49-F238E27FC236}">
                  <a16:creationId xmlns:a16="http://schemas.microsoft.com/office/drawing/2014/main" xmlns="" id="{31E82EA7-443C-4A2B-8F37-498AD82100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9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0" name="Oval 3067">
              <a:extLst>
                <a:ext uri="{FF2B5EF4-FFF2-40B4-BE49-F238E27FC236}">
                  <a16:creationId xmlns:a16="http://schemas.microsoft.com/office/drawing/2014/main" xmlns="" id="{5EEF1AB7-8A72-4852-86E9-099B1D2B9A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0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1" name="Oval 3068">
              <a:extLst>
                <a:ext uri="{FF2B5EF4-FFF2-40B4-BE49-F238E27FC236}">
                  <a16:creationId xmlns:a16="http://schemas.microsoft.com/office/drawing/2014/main" xmlns="" id="{F8CE69D3-8147-4B43-BBD7-40B787216D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0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2" name="Oval 3069">
              <a:extLst>
                <a:ext uri="{FF2B5EF4-FFF2-40B4-BE49-F238E27FC236}">
                  <a16:creationId xmlns:a16="http://schemas.microsoft.com/office/drawing/2014/main" xmlns="" id="{A606068B-AD19-478D-B7AD-6B7C73CD1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9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3" name="Oval 3070">
              <a:extLst>
                <a:ext uri="{FF2B5EF4-FFF2-40B4-BE49-F238E27FC236}">
                  <a16:creationId xmlns:a16="http://schemas.microsoft.com/office/drawing/2014/main" xmlns="" id="{321B20D4-A361-45BA-ACA3-C4D41D4A18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4" name="Oval 3071">
              <a:extLst>
                <a:ext uri="{FF2B5EF4-FFF2-40B4-BE49-F238E27FC236}">
                  <a16:creationId xmlns:a16="http://schemas.microsoft.com/office/drawing/2014/main" xmlns="" id="{3B1BA6E6-5347-4F13-A1A1-A487ED57F7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5" y="8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5" name="Oval 3072">
              <a:extLst>
                <a:ext uri="{FF2B5EF4-FFF2-40B4-BE49-F238E27FC236}">
                  <a16:creationId xmlns:a16="http://schemas.microsoft.com/office/drawing/2014/main" xmlns="" id="{62137C6A-F579-4CB2-A834-BD3C2E40FE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6" name="Oval 3073">
              <a:extLst>
                <a:ext uri="{FF2B5EF4-FFF2-40B4-BE49-F238E27FC236}">
                  <a16:creationId xmlns:a16="http://schemas.microsoft.com/office/drawing/2014/main" xmlns="" id="{EE76FAE0-EE8D-48CE-80D5-4F28CED128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8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7" name="Oval 3074">
              <a:extLst>
                <a:ext uri="{FF2B5EF4-FFF2-40B4-BE49-F238E27FC236}">
                  <a16:creationId xmlns:a16="http://schemas.microsoft.com/office/drawing/2014/main" xmlns="" id="{5804C624-E8AF-4796-A2D1-5FCD387BDF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6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8" name="Oval 3075">
              <a:extLst>
                <a:ext uri="{FF2B5EF4-FFF2-40B4-BE49-F238E27FC236}">
                  <a16:creationId xmlns:a16="http://schemas.microsoft.com/office/drawing/2014/main" xmlns="" id="{46364144-C139-46E2-BF8B-1E95ABE729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5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9" name="Oval 3076">
              <a:extLst>
                <a:ext uri="{FF2B5EF4-FFF2-40B4-BE49-F238E27FC236}">
                  <a16:creationId xmlns:a16="http://schemas.microsoft.com/office/drawing/2014/main" xmlns="" id="{492A8816-23B4-4612-9589-47443CE4B5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4" y="4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0" name="Oval 3077">
              <a:extLst>
                <a:ext uri="{FF2B5EF4-FFF2-40B4-BE49-F238E27FC236}">
                  <a16:creationId xmlns:a16="http://schemas.microsoft.com/office/drawing/2014/main" xmlns="" id="{BDDDF3C2-81C9-48FE-B5BA-419ED8C9F2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4" y="6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1" name="Oval 3078">
              <a:extLst>
                <a:ext uri="{FF2B5EF4-FFF2-40B4-BE49-F238E27FC236}">
                  <a16:creationId xmlns:a16="http://schemas.microsoft.com/office/drawing/2014/main" xmlns="" id="{7C5B4B53-FAE3-473F-9AA0-E5A3C55FE5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4" y="8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2" name="Oval 3079">
              <a:extLst>
                <a:ext uri="{FF2B5EF4-FFF2-40B4-BE49-F238E27FC236}">
                  <a16:creationId xmlns:a16="http://schemas.microsoft.com/office/drawing/2014/main" xmlns="" id="{E5F49272-435D-4D7D-B853-A096FDD8DE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7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3" name="Oval 3080">
              <a:extLst>
                <a:ext uri="{FF2B5EF4-FFF2-40B4-BE49-F238E27FC236}">
                  <a16:creationId xmlns:a16="http://schemas.microsoft.com/office/drawing/2014/main" xmlns="" id="{810A574F-D2D2-4813-B8F2-1819C43290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4" name="Oval 3081">
              <a:extLst>
                <a:ext uri="{FF2B5EF4-FFF2-40B4-BE49-F238E27FC236}">
                  <a16:creationId xmlns:a16="http://schemas.microsoft.com/office/drawing/2014/main" xmlns="" id="{17DCBE32-5B94-45FE-BF86-88DAE6E280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13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5" name="Oval 3082">
              <a:extLst>
                <a:ext uri="{FF2B5EF4-FFF2-40B4-BE49-F238E27FC236}">
                  <a16:creationId xmlns:a16="http://schemas.microsoft.com/office/drawing/2014/main" xmlns="" id="{67A16FF7-8088-45AB-AF27-640C51C498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13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6" name="Oval 3083">
              <a:extLst>
                <a:ext uri="{FF2B5EF4-FFF2-40B4-BE49-F238E27FC236}">
                  <a16:creationId xmlns:a16="http://schemas.microsoft.com/office/drawing/2014/main" xmlns="" id="{6D6A2322-CF8D-468D-A53F-4443487571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4" y="15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7" name="Oval 3084">
              <a:extLst>
                <a:ext uri="{FF2B5EF4-FFF2-40B4-BE49-F238E27FC236}">
                  <a16:creationId xmlns:a16="http://schemas.microsoft.com/office/drawing/2014/main" xmlns="" id="{E7909EA4-8AE0-4865-A736-83AD218E1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4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8" name="Oval 3085">
              <a:extLst>
                <a:ext uri="{FF2B5EF4-FFF2-40B4-BE49-F238E27FC236}">
                  <a16:creationId xmlns:a16="http://schemas.microsoft.com/office/drawing/2014/main" xmlns="" id="{17C8FCC0-348C-4B4F-94BE-280DE55B2C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9" name="Oval 3086">
              <a:extLst>
                <a:ext uri="{FF2B5EF4-FFF2-40B4-BE49-F238E27FC236}">
                  <a16:creationId xmlns:a16="http://schemas.microsoft.com/office/drawing/2014/main" xmlns="" id="{13559A23-D408-4E7B-A1EA-255D6F8AB9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0" name="Oval 3087">
              <a:extLst>
                <a:ext uri="{FF2B5EF4-FFF2-40B4-BE49-F238E27FC236}">
                  <a16:creationId xmlns:a16="http://schemas.microsoft.com/office/drawing/2014/main" xmlns="" id="{D0BD3322-8672-4FD5-8454-EBA23C648D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1" name="Oval 3088">
              <a:extLst>
                <a:ext uri="{FF2B5EF4-FFF2-40B4-BE49-F238E27FC236}">
                  <a16:creationId xmlns:a16="http://schemas.microsoft.com/office/drawing/2014/main" xmlns="" id="{DB4AE540-74CC-4A2E-BE76-BC061D102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2" name="Oval 3089">
              <a:extLst>
                <a:ext uri="{FF2B5EF4-FFF2-40B4-BE49-F238E27FC236}">
                  <a16:creationId xmlns:a16="http://schemas.microsoft.com/office/drawing/2014/main" xmlns="" id="{4E0EB6B6-5FA7-4730-88B1-80255CB051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9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3" name="Oval 3090">
              <a:extLst>
                <a:ext uri="{FF2B5EF4-FFF2-40B4-BE49-F238E27FC236}">
                  <a16:creationId xmlns:a16="http://schemas.microsoft.com/office/drawing/2014/main" xmlns="" id="{A9BA1F96-500B-4E36-8AA8-147380D4B5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20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4" name="Oval 3091">
              <a:extLst>
                <a:ext uri="{FF2B5EF4-FFF2-40B4-BE49-F238E27FC236}">
                  <a16:creationId xmlns:a16="http://schemas.microsoft.com/office/drawing/2014/main" xmlns="" id="{4810616B-D730-4CF5-B545-5E161D77CE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5" name="Oval 3092">
              <a:extLst>
                <a:ext uri="{FF2B5EF4-FFF2-40B4-BE49-F238E27FC236}">
                  <a16:creationId xmlns:a16="http://schemas.microsoft.com/office/drawing/2014/main" xmlns="" id="{0760CD4D-8D73-4F27-A9E6-FDAAE8CA26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3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6" name="Oval 3093">
              <a:extLst>
                <a:ext uri="{FF2B5EF4-FFF2-40B4-BE49-F238E27FC236}">
                  <a16:creationId xmlns:a16="http://schemas.microsoft.com/office/drawing/2014/main" xmlns="" id="{6126C524-B836-4044-965D-F6736E6D95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24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7" name="Oval 3094">
              <a:extLst>
                <a:ext uri="{FF2B5EF4-FFF2-40B4-BE49-F238E27FC236}">
                  <a16:creationId xmlns:a16="http://schemas.microsoft.com/office/drawing/2014/main" xmlns="" id="{9ED4A760-075D-4BCF-92DC-8DFE91BC7C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24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8" name="Oval 3095">
              <a:extLst>
                <a:ext uri="{FF2B5EF4-FFF2-40B4-BE49-F238E27FC236}">
                  <a16:creationId xmlns:a16="http://schemas.microsoft.com/office/drawing/2014/main" xmlns="" id="{B14114AE-51AC-4A86-A759-ED51CA5F00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5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9" name="Oval 3096">
              <a:extLst>
                <a:ext uri="{FF2B5EF4-FFF2-40B4-BE49-F238E27FC236}">
                  <a16:creationId xmlns:a16="http://schemas.microsoft.com/office/drawing/2014/main" xmlns="" id="{FC64DDE5-BC18-4B59-910A-692F9ED2E5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26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0" name="Oval 3097">
              <a:extLst>
                <a:ext uri="{FF2B5EF4-FFF2-40B4-BE49-F238E27FC236}">
                  <a16:creationId xmlns:a16="http://schemas.microsoft.com/office/drawing/2014/main" xmlns="" id="{7E9F26B3-E632-40D2-A790-633F14986F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7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1" name="Oval 3098">
              <a:extLst>
                <a:ext uri="{FF2B5EF4-FFF2-40B4-BE49-F238E27FC236}">
                  <a16:creationId xmlns:a16="http://schemas.microsoft.com/office/drawing/2014/main" xmlns="" id="{92DF911C-245A-43C7-9D5F-2F1990CB0B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7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2" name="Oval 3099">
              <a:extLst>
                <a:ext uri="{FF2B5EF4-FFF2-40B4-BE49-F238E27FC236}">
                  <a16:creationId xmlns:a16="http://schemas.microsoft.com/office/drawing/2014/main" xmlns="" id="{52EACC82-023A-45E1-9288-5126924F5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3" name="Oval 3100">
              <a:extLst>
                <a:ext uri="{FF2B5EF4-FFF2-40B4-BE49-F238E27FC236}">
                  <a16:creationId xmlns:a16="http://schemas.microsoft.com/office/drawing/2014/main" xmlns="" id="{9BAFA051-63F0-4A00-BD37-C149858AC4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30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4" name="Oval 3101">
              <a:extLst>
                <a:ext uri="{FF2B5EF4-FFF2-40B4-BE49-F238E27FC236}">
                  <a16:creationId xmlns:a16="http://schemas.microsoft.com/office/drawing/2014/main" xmlns="" id="{5CAAA34A-62F4-4CED-B8B5-39BA8B4AF6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29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5" name="Oval 3102">
              <a:extLst>
                <a:ext uri="{FF2B5EF4-FFF2-40B4-BE49-F238E27FC236}">
                  <a16:creationId xmlns:a16="http://schemas.microsoft.com/office/drawing/2014/main" xmlns="" id="{C6C64E70-75A4-4F45-8D97-5F1D0FA87B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30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6" name="Oval 3103">
              <a:extLst>
                <a:ext uri="{FF2B5EF4-FFF2-40B4-BE49-F238E27FC236}">
                  <a16:creationId xmlns:a16="http://schemas.microsoft.com/office/drawing/2014/main" xmlns="" id="{F1AD139B-ECE0-4D54-92EA-352615593F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7" name="Oval 3104">
              <a:extLst>
                <a:ext uri="{FF2B5EF4-FFF2-40B4-BE49-F238E27FC236}">
                  <a16:creationId xmlns:a16="http://schemas.microsoft.com/office/drawing/2014/main" xmlns="" id="{FECDB099-9C83-4254-A18D-81110A5F63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7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8" name="Oval 3105">
              <a:extLst>
                <a:ext uri="{FF2B5EF4-FFF2-40B4-BE49-F238E27FC236}">
                  <a16:creationId xmlns:a16="http://schemas.microsoft.com/office/drawing/2014/main" xmlns="" id="{48491760-D022-4151-88A7-685571CB9D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9" name="Oval 3106">
              <a:extLst>
                <a:ext uri="{FF2B5EF4-FFF2-40B4-BE49-F238E27FC236}">
                  <a16:creationId xmlns:a16="http://schemas.microsoft.com/office/drawing/2014/main" xmlns="" id="{E177A318-59F9-4DE0-86DA-8AD8703459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4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0" name="Oval 3107">
              <a:extLst>
                <a:ext uri="{FF2B5EF4-FFF2-40B4-BE49-F238E27FC236}">
                  <a16:creationId xmlns:a16="http://schemas.microsoft.com/office/drawing/2014/main" xmlns="" id="{97554C76-4725-4176-A5E0-FA59E5D7A0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1" name="Oval 3108">
              <a:extLst>
                <a:ext uri="{FF2B5EF4-FFF2-40B4-BE49-F238E27FC236}">
                  <a16:creationId xmlns:a16="http://schemas.microsoft.com/office/drawing/2014/main" xmlns="" id="{AB3C0DC0-F573-4608-BA38-E424E78E64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2" name="Oval 3109">
              <a:extLst>
                <a:ext uri="{FF2B5EF4-FFF2-40B4-BE49-F238E27FC236}">
                  <a16:creationId xmlns:a16="http://schemas.microsoft.com/office/drawing/2014/main" xmlns="" id="{D1F9DF7E-ADEB-4039-8F6E-2242827FEB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3" name="Oval 3110">
              <a:extLst>
                <a:ext uri="{FF2B5EF4-FFF2-40B4-BE49-F238E27FC236}">
                  <a16:creationId xmlns:a16="http://schemas.microsoft.com/office/drawing/2014/main" xmlns="" id="{45DD3D4F-1BD7-4A8D-A23E-F27A13F331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4" name="Oval 3111">
              <a:extLst>
                <a:ext uri="{FF2B5EF4-FFF2-40B4-BE49-F238E27FC236}">
                  <a16:creationId xmlns:a16="http://schemas.microsoft.com/office/drawing/2014/main" xmlns="" id="{2A12949F-61C9-437A-815F-F780017A89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5" name="Oval 3112">
              <a:extLst>
                <a:ext uri="{FF2B5EF4-FFF2-40B4-BE49-F238E27FC236}">
                  <a16:creationId xmlns:a16="http://schemas.microsoft.com/office/drawing/2014/main" xmlns="" id="{9C232A9A-0109-4CFA-832C-C603AD7755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23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6" name="Oval 3113">
              <a:extLst>
                <a:ext uri="{FF2B5EF4-FFF2-40B4-BE49-F238E27FC236}">
                  <a16:creationId xmlns:a16="http://schemas.microsoft.com/office/drawing/2014/main" xmlns="" id="{04B835F3-19FA-4160-8657-19370E29E3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3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7" name="Oval 3114">
              <a:extLst>
                <a:ext uri="{FF2B5EF4-FFF2-40B4-BE49-F238E27FC236}">
                  <a16:creationId xmlns:a16="http://schemas.microsoft.com/office/drawing/2014/main" xmlns="" id="{A28BC890-5EA3-47BE-AC7B-611FFDF1D7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8" name="Oval 3115">
              <a:extLst>
                <a:ext uri="{FF2B5EF4-FFF2-40B4-BE49-F238E27FC236}">
                  <a16:creationId xmlns:a16="http://schemas.microsoft.com/office/drawing/2014/main" xmlns="" id="{530C9BAE-6C06-4AA6-A1C5-3A122447C6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21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9" name="Oval 3116">
              <a:extLst>
                <a:ext uri="{FF2B5EF4-FFF2-40B4-BE49-F238E27FC236}">
                  <a16:creationId xmlns:a16="http://schemas.microsoft.com/office/drawing/2014/main" xmlns="" id="{1CE74192-2956-487B-88EC-6235E48EAA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0" name="Oval 3117">
              <a:extLst>
                <a:ext uri="{FF2B5EF4-FFF2-40B4-BE49-F238E27FC236}">
                  <a16:creationId xmlns:a16="http://schemas.microsoft.com/office/drawing/2014/main" xmlns="" id="{447E941A-8901-41DC-B73E-00C970963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3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1" name="Oval 3118">
              <a:extLst>
                <a:ext uri="{FF2B5EF4-FFF2-40B4-BE49-F238E27FC236}">
                  <a16:creationId xmlns:a16="http://schemas.microsoft.com/office/drawing/2014/main" xmlns="" id="{8686BA11-AC69-4C48-A888-78B1E6EBE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2" name="Oval 3119">
              <a:extLst>
                <a:ext uri="{FF2B5EF4-FFF2-40B4-BE49-F238E27FC236}">
                  <a16:creationId xmlns:a16="http://schemas.microsoft.com/office/drawing/2014/main" xmlns="" id="{41262B00-B166-4BED-B75E-7042B15E22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4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3" name="Oval 3120">
              <a:extLst>
                <a:ext uri="{FF2B5EF4-FFF2-40B4-BE49-F238E27FC236}">
                  <a16:creationId xmlns:a16="http://schemas.microsoft.com/office/drawing/2014/main" xmlns="" id="{42EA8083-31D2-4B7E-8008-2AD2359F1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5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4" name="Oval 3121">
              <a:extLst>
                <a:ext uri="{FF2B5EF4-FFF2-40B4-BE49-F238E27FC236}">
                  <a16:creationId xmlns:a16="http://schemas.microsoft.com/office/drawing/2014/main" xmlns="" id="{A9C3F8BD-25D6-46FE-AE7B-ED1CE53534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5" name="Oval 3122">
              <a:extLst>
                <a:ext uri="{FF2B5EF4-FFF2-40B4-BE49-F238E27FC236}">
                  <a16:creationId xmlns:a16="http://schemas.microsoft.com/office/drawing/2014/main" xmlns="" id="{E7FCFC41-E526-4005-93AD-B345A3651A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6" name="Oval 3123">
              <a:extLst>
                <a:ext uri="{FF2B5EF4-FFF2-40B4-BE49-F238E27FC236}">
                  <a16:creationId xmlns:a16="http://schemas.microsoft.com/office/drawing/2014/main" xmlns="" id="{C5764111-6871-4885-9013-0F546A51EA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7" name="Oval 3124">
              <a:extLst>
                <a:ext uri="{FF2B5EF4-FFF2-40B4-BE49-F238E27FC236}">
                  <a16:creationId xmlns:a16="http://schemas.microsoft.com/office/drawing/2014/main" xmlns="" id="{37FF6907-A4DF-4EBE-A0D1-6C5260F024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8" name="Oval 3125">
              <a:extLst>
                <a:ext uri="{FF2B5EF4-FFF2-40B4-BE49-F238E27FC236}">
                  <a16:creationId xmlns:a16="http://schemas.microsoft.com/office/drawing/2014/main" xmlns="" id="{290ABC34-3954-48A3-9637-65A0D5942C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19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9" name="Oval 3126">
              <a:extLst>
                <a:ext uri="{FF2B5EF4-FFF2-40B4-BE49-F238E27FC236}">
                  <a16:creationId xmlns:a16="http://schemas.microsoft.com/office/drawing/2014/main" xmlns="" id="{175ADE90-DAD2-4A1C-BEB5-A9E426054B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0" name="Oval 3127">
              <a:extLst>
                <a:ext uri="{FF2B5EF4-FFF2-40B4-BE49-F238E27FC236}">
                  <a16:creationId xmlns:a16="http://schemas.microsoft.com/office/drawing/2014/main" xmlns="" id="{346F84E2-C28B-4AC2-A5D1-B05AF1E5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1" name="Oval 3128">
              <a:extLst>
                <a:ext uri="{FF2B5EF4-FFF2-40B4-BE49-F238E27FC236}">
                  <a16:creationId xmlns:a16="http://schemas.microsoft.com/office/drawing/2014/main" xmlns="" id="{F7C7065E-A557-446A-8CAA-D93DF24F50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2" name="Oval 3129">
              <a:extLst>
                <a:ext uri="{FF2B5EF4-FFF2-40B4-BE49-F238E27FC236}">
                  <a16:creationId xmlns:a16="http://schemas.microsoft.com/office/drawing/2014/main" xmlns="" id="{AA657277-906E-4FB7-8CAC-40CB9043FB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3" name="Oval 3130">
              <a:extLst>
                <a:ext uri="{FF2B5EF4-FFF2-40B4-BE49-F238E27FC236}">
                  <a16:creationId xmlns:a16="http://schemas.microsoft.com/office/drawing/2014/main" xmlns="" id="{BA796E87-F32A-457B-A09D-A82C965747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7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4" name="Oval 3131">
              <a:extLst>
                <a:ext uri="{FF2B5EF4-FFF2-40B4-BE49-F238E27FC236}">
                  <a16:creationId xmlns:a16="http://schemas.microsoft.com/office/drawing/2014/main" xmlns="" id="{1076C74B-AB82-4214-9611-6C65392F95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5" name="Oval 3132">
              <a:extLst>
                <a:ext uri="{FF2B5EF4-FFF2-40B4-BE49-F238E27FC236}">
                  <a16:creationId xmlns:a16="http://schemas.microsoft.com/office/drawing/2014/main" xmlns="" id="{2CECC33E-78A5-4DFD-84C2-5251E4E011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6" name="Oval 3133">
              <a:extLst>
                <a:ext uri="{FF2B5EF4-FFF2-40B4-BE49-F238E27FC236}">
                  <a16:creationId xmlns:a16="http://schemas.microsoft.com/office/drawing/2014/main" xmlns="" id="{E9E93BC7-74A5-4F50-BCB0-B4858E9187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7" name="Oval 3134">
              <a:extLst>
                <a:ext uri="{FF2B5EF4-FFF2-40B4-BE49-F238E27FC236}">
                  <a16:creationId xmlns:a16="http://schemas.microsoft.com/office/drawing/2014/main" xmlns="" id="{F4478692-25C7-46EB-BAA7-A4F462F073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24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8" name="Oval 3135">
              <a:extLst>
                <a:ext uri="{FF2B5EF4-FFF2-40B4-BE49-F238E27FC236}">
                  <a16:creationId xmlns:a16="http://schemas.microsoft.com/office/drawing/2014/main" xmlns="" id="{065020F9-D81F-487A-9728-44C850C52B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5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9" name="Oval 3136">
              <a:extLst>
                <a:ext uri="{FF2B5EF4-FFF2-40B4-BE49-F238E27FC236}">
                  <a16:creationId xmlns:a16="http://schemas.microsoft.com/office/drawing/2014/main" xmlns="" id="{292E6F45-4503-4B2F-8145-1E3DD5A7A7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5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0" name="Oval 3137">
              <a:extLst>
                <a:ext uri="{FF2B5EF4-FFF2-40B4-BE49-F238E27FC236}">
                  <a16:creationId xmlns:a16="http://schemas.microsoft.com/office/drawing/2014/main" xmlns="" id="{7F8C174F-1F82-4F47-AE4D-C38F37CA34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24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1" name="Oval 3138">
              <a:extLst>
                <a:ext uri="{FF2B5EF4-FFF2-40B4-BE49-F238E27FC236}">
                  <a16:creationId xmlns:a16="http://schemas.microsoft.com/office/drawing/2014/main" xmlns="" id="{D40A6F7C-872C-4D61-AC52-98E3B7C65F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23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2" name="Oval 3139">
              <a:extLst>
                <a:ext uri="{FF2B5EF4-FFF2-40B4-BE49-F238E27FC236}">
                  <a16:creationId xmlns:a16="http://schemas.microsoft.com/office/drawing/2014/main" xmlns="" id="{ECAFF863-340A-44B0-8701-322082B1D7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24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3" name="Oval 3140">
              <a:extLst>
                <a:ext uri="{FF2B5EF4-FFF2-40B4-BE49-F238E27FC236}">
                  <a16:creationId xmlns:a16="http://schemas.microsoft.com/office/drawing/2014/main" xmlns="" id="{0C688072-C3E7-4EA3-9BB7-0C28B90249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4" name="Oval 3141">
              <a:extLst>
                <a:ext uri="{FF2B5EF4-FFF2-40B4-BE49-F238E27FC236}">
                  <a16:creationId xmlns:a16="http://schemas.microsoft.com/office/drawing/2014/main" xmlns="" id="{976FFA0E-66E3-41E9-81C2-79F69F299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5" y="27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5" name="Oval 3142">
              <a:extLst>
                <a:ext uri="{FF2B5EF4-FFF2-40B4-BE49-F238E27FC236}">
                  <a16:creationId xmlns:a16="http://schemas.microsoft.com/office/drawing/2014/main" xmlns="" id="{577C6548-3332-449A-9EA5-1CDD5665D6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6" name="Oval 3143">
              <a:extLst>
                <a:ext uri="{FF2B5EF4-FFF2-40B4-BE49-F238E27FC236}">
                  <a16:creationId xmlns:a16="http://schemas.microsoft.com/office/drawing/2014/main" xmlns="" id="{3B5DBB04-FCED-4B9B-B2CA-1756586960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9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7" name="Oval 3144">
              <a:extLst>
                <a:ext uri="{FF2B5EF4-FFF2-40B4-BE49-F238E27FC236}">
                  <a16:creationId xmlns:a16="http://schemas.microsoft.com/office/drawing/2014/main" xmlns="" id="{F2922A1B-383A-4D88-B0CF-558B342FF6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30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8" name="Oval 3145">
              <a:extLst>
                <a:ext uri="{FF2B5EF4-FFF2-40B4-BE49-F238E27FC236}">
                  <a16:creationId xmlns:a16="http://schemas.microsoft.com/office/drawing/2014/main" xmlns="" id="{24435BC1-3BF6-440E-AC69-4A6D02A87B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9" name="Oval 3146">
              <a:extLst>
                <a:ext uri="{FF2B5EF4-FFF2-40B4-BE49-F238E27FC236}">
                  <a16:creationId xmlns:a16="http://schemas.microsoft.com/office/drawing/2014/main" xmlns="" id="{CE191E43-65A7-4A77-A456-E369E0C3D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4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0" name="Oval 3147">
              <a:extLst>
                <a:ext uri="{FF2B5EF4-FFF2-40B4-BE49-F238E27FC236}">
                  <a16:creationId xmlns:a16="http://schemas.microsoft.com/office/drawing/2014/main" xmlns="" id="{9A64915B-D54C-491B-A6F5-CACCAB0E85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21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1" name="Oval 3148">
              <a:extLst>
                <a:ext uri="{FF2B5EF4-FFF2-40B4-BE49-F238E27FC236}">
                  <a16:creationId xmlns:a16="http://schemas.microsoft.com/office/drawing/2014/main" xmlns="" id="{FF0FCBC0-2A67-4A4D-ACA7-7A562FB74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2" name="Oval 3149">
              <a:extLst>
                <a:ext uri="{FF2B5EF4-FFF2-40B4-BE49-F238E27FC236}">
                  <a16:creationId xmlns:a16="http://schemas.microsoft.com/office/drawing/2014/main" xmlns="" id="{4EC0E989-87EE-4A9B-8825-B67F755F35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3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3" name="Oval 3150">
              <a:extLst>
                <a:ext uri="{FF2B5EF4-FFF2-40B4-BE49-F238E27FC236}">
                  <a16:creationId xmlns:a16="http://schemas.microsoft.com/office/drawing/2014/main" xmlns="" id="{FA0FA3F2-70B8-4310-929F-9C636626EE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27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4" name="Oval 3151">
              <a:extLst>
                <a:ext uri="{FF2B5EF4-FFF2-40B4-BE49-F238E27FC236}">
                  <a16:creationId xmlns:a16="http://schemas.microsoft.com/office/drawing/2014/main" xmlns="" id="{1C65EFEB-56AD-495E-8F6C-CD201429ED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5" name="Oval 3152">
              <a:extLst>
                <a:ext uri="{FF2B5EF4-FFF2-40B4-BE49-F238E27FC236}">
                  <a16:creationId xmlns:a16="http://schemas.microsoft.com/office/drawing/2014/main" xmlns="" id="{8B70D84F-A4C2-4E43-BB62-605B4FA9DB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6" name="Oval 3153">
              <a:extLst>
                <a:ext uri="{FF2B5EF4-FFF2-40B4-BE49-F238E27FC236}">
                  <a16:creationId xmlns:a16="http://schemas.microsoft.com/office/drawing/2014/main" xmlns="" id="{96B25FF9-8E3E-4E4B-9AAB-1A2971B464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7" name="Oval 3154">
              <a:extLst>
                <a:ext uri="{FF2B5EF4-FFF2-40B4-BE49-F238E27FC236}">
                  <a16:creationId xmlns:a16="http://schemas.microsoft.com/office/drawing/2014/main" xmlns="" id="{DA0F317E-0D0D-4643-B07D-3C1186D374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9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8" name="Oval 3155">
              <a:extLst>
                <a:ext uri="{FF2B5EF4-FFF2-40B4-BE49-F238E27FC236}">
                  <a16:creationId xmlns:a16="http://schemas.microsoft.com/office/drawing/2014/main" xmlns="" id="{FB5FA394-51E8-46F8-8B56-9CF097FEB2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9" name="Oval 3156">
              <a:extLst>
                <a:ext uri="{FF2B5EF4-FFF2-40B4-BE49-F238E27FC236}">
                  <a16:creationId xmlns:a16="http://schemas.microsoft.com/office/drawing/2014/main" xmlns="" id="{6554689C-2D94-42E8-8EFA-71D7D241FF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0" name="Oval 3157">
              <a:extLst>
                <a:ext uri="{FF2B5EF4-FFF2-40B4-BE49-F238E27FC236}">
                  <a16:creationId xmlns:a16="http://schemas.microsoft.com/office/drawing/2014/main" xmlns="" id="{D049C377-0B8E-4A8E-9986-12A43462A1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1" name="Oval 3158">
              <a:extLst>
                <a:ext uri="{FF2B5EF4-FFF2-40B4-BE49-F238E27FC236}">
                  <a16:creationId xmlns:a16="http://schemas.microsoft.com/office/drawing/2014/main" xmlns="" id="{C168DA0A-041A-4C08-8E8C-9060AF621E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7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2" name="Oval 3159">
              <a:extLst>
                <a:ext uri="{FF2B5EF4-FFF2-40B4-BE49-F238E27FC236}">
                  <a16:creationId xmlns:a16="http://schemas.microsoft.com/office/drawing/2014/main" xmlns="" id="{50F0F6E1-9890-46F3-A49A-0DB1318ED2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4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3" name="Oval 3160">
              <a:extLst>
                <a:ext uri="{FF2B5EF4-FFF2-40B4-BE49-F238E27FC236}">
                  <a16:creationId xmlns:a16="http://schemas.microsoft.com/office/drawing/2014/main" xmlns="" id="{B2D418C4-7178-4F71-A534-71307B03E4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4" name="Oval 3161">
              <a:extLst>
                <a:ext uri="{FF2B5EF4-FFF2-40B4-BE49-F238E27FC236}">
                  <a16:creationId xmlns:a16="http://schemas.microsoft.com/office/drawing/2014/main" xmlns="" id="{CD3C8309-6234-4670-8166-827C04F3C8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4" y="30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5" name="Oval 3162">
              <a:extLst>
                <a:ext uri="{FF2B5EF4-FFF2-40B4-BE49-F238E27FC236}">
                  <a16:creationId xmlns:a16="http://schemas.microsoft.com/office/drawing/2014/main" xmlns="" id="{99DDC8D4-6858-49E3-B649-83C20BA9D1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9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6" name="Oval 3163">
              <a:extLst>
                <a:ext uri="{FF2B5EF4-FFF2-40B4-BE49-F238E27FC236}">
                  <a16:creationId xmlns:a16="http://schemas.microsoft.com/office/drawing/2014/main" xmlns="" id="{37248B00-7250-4124-99BE-A3417FEAE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4" y="30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7" name="Oval 3164">
              <a:extLst>
                <a:ext uri="{FF2B5EF4-FFF2-40B4-BE49-F238E27FC236}">
                  <a16:creationId xmlns:a16="http://schemas.microsoft.com/office/drawing/2014/main" xmlns="" id="{074D325B-95E3-4E79-95B3-7D42A699E8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8" name="Oval 3165">
              <a:extLst>
                <a:ext uri="{FF2B5EF4-FFF2-40B4-BE49-F238E27FC236}">
                  <a16:creationId xmlns:a16="http://schemas.microsoft.com/office/drawing/2014/main" xmlns="" id="{27D88805-3713-4A15-8E29-714B5CDB9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30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9" name="Oval 3166">
              <a:extLst>
                <a:ext uri="{FF2B5EF4-FFF2-40B4-BE49-F238E27FC236}">
                  <a16:creationId xmlns:a16="http://schemas.microsoft.com/office/drawing/2014/main" xmlns="" id="{24275F87-1D72-4D67-9646-3659F416BB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90" name="Oval 3167">
              <a:extLst>
                <a:ext uri="{FF2B5EF4-FFF2-40B4-BE49-F238E27FC236}">
                  <a16:creationId xmlns:a16="http://schemas.microsoft.com/office/drawing/2014/main" xmlns="" id="{76E70DEE-D77F-4885-AA70-6DB52C1739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91" name="Oval 3168">
              <a:extLst>
                <a:ext uri="{FF2B5EF4-FFF2-40B4-BE49-F238E27FC236}">
                  <a16:creationId xmlns:a16="http://schemas.microsoft.com/office/drawing/2014/main" xmlns="" id="{A7695C32-10A6-431C-A791-0FE6F7E1E7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9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grpSp>
        <p:nvGrpSpPr>
          <p:cNvPr id="101" name="GRID" hidden="1">
            <a:extLst>
              <a:ext uri="{FF2B5EF4-FFF2-40B4-BE49-F238E27FC236}">
                <a16:creationId xmlns:a16="http://schemas.microsoft.com/office/drawing/2014/main" xmlns="" id="{D22DE790-5C0A-4D6F-A8F7-BBFF046B80FE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0" y="-1"/>
            <a:ext cx="9144000" cy="5143501"/>
            <a:chOff x="0" y="-1"/>
            <a:chExt cx="12192000" cy="6858001"/>
          </a:xfrm>
        </p:grpSpPr>
        <p:grpSp>
          <p:nvGrpSpPr>
            <p:cNvPr id="102" name="Fourth" hidden="1">
              <a:extLst>
                <a:ext uri="{FF2B5EF4-FFF2-40B4-BE49-F238E27FC236}">
                  <a16:creationId xmlns:a16="http://schemas.microsoft.com/office/drawing/2014/main" xmlns="" id="{6B35FA0F-05FD-452A-9343-954D281D92E5}"/>
                </a:ext>
              </a:extLst>
            </p:cNvPr>
            <p:cNvGrpSpPr/>
            <p:nvPr userDrawn="1"/>
          </p:nvGrpSpPr>
          <p:grpSpPr>
            <a:xfrm>
              <a:off x="640080" y="6720840"/>
              <a:ext cx="10911840" cy="137160"/>
              <a:chOff x="640080" y="6720840"/>
              <a:chExt cx="10911840" cy="137160"/>
            </a:xfrm>
          </p:grpSpPr>
          <p:sp>
            <p:nvSpPr>
              <p:cNvPr id="142" name="Rectangle 141" hidden="1">
                <a:extLst>
                  <a:ext uri="{FF2B5EF4-FFF2-40B4-BE49-F238E27FC236}">
                    <a16:creationId xmlns:a16="http://schemas.microsoft.com/office/drawing/2014/main" xmlns="" id="{2BCF7AA5-9D57-432E-B31A-EC9FA3399E78}"/>
                  </a:ext>
                </a:extLst>
              </p:cNvPr>
              <p:cNvSpPr/>
              <p:nvPr userDrawn="1"/>
            </p:nvSpPr>
            <p:spPr>
              <a:xfrm>
                <a:off x="640080" y="6720840"/>
                <a:ext cx="3488019" cy="137160"/>
              </a:xfrm>
              <a:prstGeom prst="rect">
                <a:avLst/>
              </a:prstGeom>
              <a:solidFill>
                <a:srgbClr val="CBDB2F">
                  <a:alpha val="2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FFFFFF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3" name="Rectangle 142" hidden="1">
                <a:extLst>
                  <a:ext uri="{FF2B5EF4-FFF2-40B4-BE49-F238E27FC236}">
                    <a16:creationId xmlns:a16="http://schemas.microsoft.com/office/drawing/2014/main" xmlns="" id="{04D50009-5E91-40BA-8F3C-7262811FFBC4}"/>
                  </a:ext>
                </a:extLst>
              </p:cNvPr>
              <p:cNvSpPr/>
              <p:nvPr userDrawn="1"/>
            </p:nvSpPr>
            <p:spPr>
              <a:xfrm>
                <a:off x="4351991" y="6720840"/>
                <a:ext cx="3488019" cy="137160"/>
              </a:xfrm>
              <a:prstGeom prst="rect">
                <a:avLst/>
              </a:prstGeom>
              <a:solidFill>
                <a:srgbClr val="CBDB2F">
                  <a:alpha val="2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FFFFFF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4" name="Rectangle 143" hidden="1">
                <a:extLst>
                  <a:ext uri="{FF2B5EF4-FFF2-40B4-BE49-F238E27FC236}">
                    <a16:creationId xmlns:a16="http://schemas.microsoft.com/office/drawing/2014/main" xmlns="" id="{F3BFD037-6C37-40A9-95A8-74E16D69D269}"/>
                  </a:ext>
                </a:extLst>
              </p:cNvPr>
              <p:cNvSpPr/>
              <p:nvPr userDrawn="1"/>
            </p:nvSpPr>
            <p:spPr>
              <a:xfrm>
                <a:off x="8063901" y="6720840"/>
                <a:ext cx="3488019" cy="137160"/>
              </a:xfrm>
              <a:prstGeom prst="rect">
                <a:avLst/>
              </a:prstGeom>
              <a:solidFill>
                <a:srgbClr val="CBDB2F">
                  <a:alpha val="2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FFFFFF"/>
                  </a:solidFill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3" name="Third" hidden="1">
              <a:extLst>
                <a:ext uri="{FF2B5EF4-FFF2-40B4-BE49-F238E27FC236}">
                  <a16:creationId xmlns:a16="http://schemas.microsoft.com/office/drawing/2014/main" xmlns="" id="{2DB05760-D842-4542-B151-B86EDB2F532F}"/>
                </a:ext>
              </a:extLst>
            </p:cNvPr>
            <p:cNvGrpSpPr/>
            <p:nvPr userDrawn="1"/>
          </p:nvGrpSpPr>
          <p:grpSpPr>
            <a:xfrm>
              <a:off x="640081" y="6583679"/>
              <a:ext cx="10911839" cy="137160"/>
              <a:chOff x="640081" y="6362113"/>
              <a:chExt cx="10911839" cy="137160"/>
            </a:xfrm>
          </p:grpSpPr>
          <p:sp>
            <p:nvSpPr>
              <p:cNvPr id="138" name="Rectangle 137" hidden="1">
                <a:extLst>
                  <a:ext uri="{FF2B5EF4-FFF2-40B4-BE49-F238E27FC236}">
                    <a16:creationId xmlns:a16="http://schemas.microsoft.com/office/drawing/2014/main" xmlns="" id="{D9305CA6-9308-4C1B-9E7E-216966DE2D3E}"/>
                  </a:ext>
                </a:extLst>
              </p:cNvPr>
              <p:cNvSpPr/>
              <p:nvPr userDrawn="1"/>
            </p:nvSpPr>
            <p:spPr>
              <a:xfrm>
                <a:off x="640081" y="6362113"/>
                <a:ext cx="2560042" cy="137160"/>
              </a:xfrm>
              <a:prstGeom prst="rect">
                <a:avLst/>
              </a:prstGeom>
              <a:solidFill>
                <a:srgbClr val="00A9E0">
                  <a:alpha val="2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FFFFFF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9" name="Rectangle 138" hidden="1">
                <a:extLst>
                  <a:ext uri="{FF2B5EF4-FFF2-40B4-BE49-F238E27FC236}">
                    <a16:creationId xmlns:a16="http://schemas.microsoft.com/office/drawing/2014/main" xmlns="" id="{FE45EB8B-CE5D-49D0-851D-458A927D6AF6}"/>
                  </a:ext>
                </a:extLst>
              </p:cNvPr>
              <p:cNvSpPr/>
              <p:nvPr userDrawn="1"/>
            </p:nvSpPr>
            <p:spPr>
              <a:xfrm>
                <a:off x="3424011" y="6362113"/>
                <a:ext cx="2560042" cy="137160"/>
              </a:xfrm>
              <a:prstGeom prst="rect">
                <a:avLst/>
              </a:prstGeom>
              <a:solidFill>
                <a:srgbClr val="00A9E0">
                  <a:alpha val="2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FFFFFF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0" name="Rectangle 139" hidden="1">
                <a:extLst>
                  <a:ext uri="{FF2B5EF4-FFF2-40B4-BE49-F238E27FC236}">
                    <a16:creationId xmlns:a16="http://schemas.microsoft.com/office/drawing/2014/main" xmlns="" id="{BCD2403D-CA0E-4526-A98D-5711A72358E2}"/>
                  </a:ext>
                </a:extLst>
              </p:cNvPr>
              <p:cNvSpPr/>
              <p:nvPr userDrawn="1"/>
            </p:nvSpPr>
            <p:spPr>
              <a:xfrm>
                <a:off x="6207942" y="6362113"/>
                <a:ext cx="2560042" cy="137160"/>
              </a:xfrm>
              <a:prstGeom prst="rect">
                <a:avLst/>
              </a:prstGeom>
              <a:solidFill>
                <a:srgbClr val="00A9E0">
                  <a:alpha val="2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FFFFFF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1" name="Rectangle 140" hidden="1">
                <a:extLst>
                  <a:ext uri="{FF2B5EF4-FFF2-40B4-BE49-F238E27FC236}">
                    <a16:creationId xmlns:a16="http://schemas.microsoft.com/office/drawing/2014/main" xmlns="" id="{FC3E552A-879B-4ED0-BA4A-93E0AEAEC703}"/>
                  </a:ext>
                </a:extLst>
              </p:cNvPr>
              <p:cNvSpPr/>
              <p:nvPr userDrawn="1"/>
            </p:nvSpPr>
            <p:spPr>
              <a:xfrm>
                <a:off x="8991878" y="6362113"/>
                <a:ext cx="2560042" cy="137160"/>
              </a:xfrm>
              <a:prstGeom prst="rect">
                <a:avLst/>
              </a:prstGeom>
              <a:solidFill>
                <a:srgbClr val="00A9E0">
                  <a:alpha val="2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 dirty="0">
                  <a:solidFill>
                    <a:srgbClr val="FFFFFF"/>
                  </a:solidFill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4" name="12-Column" hidden="1">
              <a:extLst>
                <a:ext uri="{FF2B5EF4-FFF2-40B4-BE49-F238E27FC236}">
                  <a16:creationId xmlns:a16="http://schemas.microsoft.com/office/drawing/2014/main" xmlns="" id="{5DE2CA2A-6450-4DC0-8117-34B294471A7A}"/>
                </a:ext>
              </a:extLst>
            </p:cNvPr>
            <p:cNvGrpSpPr/>
            <p:nvPr userDrawn="1"/>
          </p:nvGrpSpPr>
          <p:grpSpPr>
            <a:xfrm>
              <a:off x="640080" y="1913206"/>
              <a:ext cx="10911840" cy="4304714"/>
              <a:chOff x="640080" y="640080"/>
              <a:chExt cx="10911840" cy="5577840"/>
            </a:xfrm>
            <a:solidFill>
              <a:srgbClr val="FFFFFF">
                <a:alpha val="15000"/>
              </a:srgbClr>
            </a:solidFill>
          </p:grpSpPr>
          <p:sp>
            <p:nvSpPr>
              <p:cNvPr id="126" name="Rectangle 125" hidden="1">
                <a:extLst>
                  <a:ext uri="{FF2B5EF4-FFF2-40B4-BE49-F238E27FC236}">
                    <a16:creationId xmlns:a16="http://schemas.microsoft.com/office/drawing/2014/main" xmlns="" id="{6D122622-247F-4300-89B9-C1174AC8B3B7}"/>
                  </a:ext>
                </a:extLst>
              </p:cNvPr>
              <p:cNvSpPr/>
              <p:nvPr userDrawn="1"/>
            </p:nvSpPr>
            <p:spPr>
              <a:xfrm>
                <a:off x="640080" y="640080"/>
                <a:ext cx="704088" cy="557783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 kern="0" dirty="0" err="1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Rectangle 126" hidden="1">
                <a:extLst>
                  <a:ext uri="{FF2B5EF4-FFF2-40B4-BE49-F238E27FC236}">
                    <a16:creationId xmlns:a16="http://schemas.microsoft.com/office/drawing/2014/main" xmlns="" id="{ED94D4DA-0E79-4B13-A98B-4CDAF8AC4602}"/>
                  </a:ext>
                </a:extLst>
              </p:cNvPr>
              <p:cNvSpPr/>
              <p:nvPr userDrawn="1"/>
            </p:nvSpPr>
            <p:spPr>
              <a:xfrm>
                <a:off x="1568057" y="640080"/>
                <a:ext cx="704088" cy="557783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 kern="0" dirty="0" err="1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Rectangle 127" hidden="1">
                <a:extLst>
                  <a:ext uri="{FF2B5EF4-FFF2-40B4-BE49-F238E27FC236}">
                    <a16:creationId xmlns:a16="http://schemas.microsoft.com/office/drawing/2014/main" xmlns="" id="{A0F8C039-6D13-4FC8-BACC-9F4674CF14AE}"/>
                  </a:ext>
                </a:extLst>
              </p:cNvPr>
              <p:cNvSpPr/>
              <p:nvPr userDrawn="1"/>
            </p:nvSpPr>
            <p:spPr>
              <a:xfrm>
                <a:off x="2496034" y="640080"/>
                <a:ext cx="704088" cy="557783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 kern="0" dirty="0" err="1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Rectangle 128" hidden="1">
                <a:extLst>
                  <a:ext uri="{FF2B5EF4-FFF2-40B4-BE49-F238E27FC236}">
                    <a16:creationId xmlns:a16="http://schemas.microsoft.com/office/drawing/2014/main" xmlns="" id="{08B1C3C3-F462-439E-975C-48FB555B09DE}"/>
                  </a:ext>
                </a:extLst>
              </p:cNvPr>
              <p:cNvSpPr/>
              <p:nvPr userDrawn="1"/>
            </p:nvSpPr>
            <p:spPr>
              <a:xfrm>
                <a:off x="3424011" y="640080"/>
                <a:ext cx="704088" cy="557783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 kern="0" dirty="0" err="1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Rectangle 129" hidden="1">
                <a:extLst>
                  <a:ext uri="{FF2B5EF4-FFF2-40B4-BE49-F238E27FC236}">
                    <a16:creationId xmlns:a16="http://schemas.microsoft.com/office/drawing/2014/main" xmlns="" id="{522E4091-9FA0-404F-8479-4063BE8B18D5}"/>
                  </a:ext>
                </a:extLst>
              </p:cNvPr>
              <p:cNvSpPr/>
              <p:nvPr userDrawn="1"/>
            </p:nvSpPr>
            <p:spPr>
              <a:xfrm>
                <a:off x="4351988" y="640080"/>
                <a:ext cx="704088" cy="557783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 kern="0" dirty="0" err="1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1" name="Rectangle 130" hidden="1">
                <a:extLst>
                  <a:ext uri="{FF2B5EF4-FFF2-40B4-BE49-F238E27FC236}">
                    <a16:creationId xmlns:a16="http://schemas.microsoft.com/office/drawing/2014/main" xmlns="" id="{AA837BF1-AC0D-4FE4-B53D-33F3F0A7595B}"/>
                  </a:ext>
                </a:extLst>
              </p:cNvPr>
              <p:cNvSpPr/>
              <p:nvPr userDrawn="1"/>
            </p:nvSpPr>
            <p:spPr>
              <a:xfrm>
                <a:off x="5279965" y="640080"/>
                <a:ext cx="704088" cy="557783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 kern="0" dirty="0" err="1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Rectangle 131" hidden="1">
                <a:extLst>
                  <a:ext uri="{FF2B5EF4-FFF2-40B4-BE49-F238E27FC236}">
                    <a16:creationId xmlns:a16="http://schemas.microsoft.com/office/drawing/2014/main" xmlns="" id="{959796AA-5880-4C90-B0FF-7F8F4E9F71C5}"/>
                  </a:ext>
                </a:extLst>
              </p:cNvPr>
              <p:cNvSpPr/>
              <p:nvPr userDrawn="1"/>
            </p:nvSpPr>
            <p:spPr>
              <a:xfrm>
                <a:off x="6207942" y="640080"/>
                <a:ext cx="704088" cy="557783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 kern="0" dirty="0" err="1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3" name="Rectangle 132" hidden="1">
                <a:extLst>
                  <a:ext uri="{FF2B5EF4-FFF2-40B4-BE49-F238E27FC236}">
                    <a16:creationId xmlns:a16="http://schemas.microsoft.com/office/drawing/2014/main" xmlns="" id="{0FF33572-3D9B-4895-89D2-60C85ABE7664}"/>
                  </a:ext>
                </a:extLst>
              </p:cNvPr>
              <p:cNvSpPr/>
              <p:nvPr userDrawn="1"/>
            </p:nvSpPr>
            <p:spPr>
              <a:xfrm>
                <a:off x="7135919" y="640080"/>
                <a:ext cx="704088" cy="557783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 kern="0" dirty="0" err="1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" name="Rectangle 133" hidden="1">
                <a:extLst>
                  <a:ext uri="{FF2B5EF4-FFF2-40B4-BE49-F238E27FC236}">
                    <a16:creationId xmlns:a16="http://schemas.microsoft.com/office/drawing/2014/main" xmlns="" id="{08F49122-DCE0-492D-8447-F36CC5463EBB}"/>
                  </a:ext>
                </a:extLst>
              </p:cNvPr>
              <p:cNvSpPr/>
              <p:nvPr userDrawn="1"/>
            </p:nvSpPr>
            <p:spPr>
              <a:xfrm>
                <a:off x="8063896" y="640080"/>
                <a:ext cx="704088" cy="557783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 kern="0" dirty="0" err="1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" name="Rectangle 134" hidden="1">
                <a:extLst>
                  <a:ext uri="{FF2B5EF4-FFF2-40B4-BE49-F238E27FC236}">
                    <a16:creationId xmlns:a16="http://schemas.microsoft.com/office/drawing/2014/main" xmlns="" id="{C32CADEA-DE9F-4E37-8563-AD9301C85179}"/>
                  </a:ext>
                </a:extLst>
              </p:cNvPr>
              <p:cNvSpPr/>
              <p:nvPr userDrawn="1"/>
            </p:nvSpPr>
            <p:spPr>
              <a:xfrm>
                <a:off x="8991873" y="640080"/>
                <a:ext cx="704088" cy="557783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 kern="0" dirty="0" err="1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6" name="Rectangle 135" hidden="1">
                <a:extLst>
                  <a:ext uri="{FF2B5EF4-FFF2-40B4-BE49-F238E27FC236}">
                    <a16:creationId xmlns:a16="http://schemas.microsoft.com/office/drawing/2014/main" xmlns="" id="{D7F59CF3-5560-4D74-B4B8-13111E7C2B83}"/>
                  </a:ext>
                </a:extLst>
              </p:cNvPr>
              <p:cNvSpPr/>
              <p:nvPr userDrawn="1"/>
            </p:nvSpPr>
            <p:spPr>
              <a:xfrm>
                <a:off x="9919850" y="640080"/>
                <a:ext cx="704088" cy="557783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 kern="0" dirty="0" err="1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7" name="Rectangle 136" hidden="1">
                <a:extLst>
                  <a:ext uri="{FF2B5EF4-FFF2-40B4-BE49-F238E27FC236}">
                    <a16:creationId xmlns:a16="http://schemas.microsoft.com/office/drawing/2014/main" xmlns="" id="{1ED42D30-BF7E-49F8-AF73-CF711FF9338A}"/>
                  </a:ext>
                </a:extLst>
              </p:cNvPr>
              <p:cNvSpPr/>
              <p:nvPr userDrawn="1"/>
            </p:nvSpPr>
            <p:spPr>
              <a:xfrm>
                <a:off x="10847832" y="640081"/>
                <a:ext cx="704088" cy="5577839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400" kern="0" dirty="0" err="1">
                  <a:solidFill>
                    <a:srgbClr val="000000"/>
                  </a:solidFill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05" name="Spacing" hidden="1">
              <a:extLst>
                <a:ext uri="{FF2B5EF4-FFF2-40B4-BE49-F238E27FC236}">
                  <a16:creationId xmlns:a16="http://schemas.microsoft.com/office/drawing/2014/main" xmlns="" id="{E3B8479E-002A-41A4-BF69-E3AF4B6565AD}"/>
                </a:ext>
              </a:extLst>
            </p:cNvPr>
            <p:cNvGrpSpPr/>
            <p:nvPr userDrawn="1"/>
          </p:nvGrpSpPr>
          <p:grpSpPr>
            <a:xfrm>
              <a:off x="0" y="1554480"/>
              <a:ext cx="12192000" cy="358726"/>
              <a:chOff x="0" y="1554480"/>
              <a:chExt cx="12192000" cy="358726"/>
            </a:xfrm>
          </p:grpSpPr>
          <p:cxnSp>
            <p:nvCxnSpPr>
              <p:cNvPr id="124" name="Straight Connector 123" hidden="1">
                <a:extLst>
                  <a:ext uri="{FF2B5EF4-FFF2-40B4-BE49-F238E27FC236}">
                    <a16:creationId xmlns:a16="http://schemas.microsoft.com/office/drawing/2014/main" xmlns="" id="{AAC039A6-241F-4677-A96A-FC5D698F8C24}"/>
                  </a:ext>
                </a:extLst>
              </p:cNvPr>
              <p:cNvCxnSpPr/>
              <p:nvPr userDrawn="1"/>
            </p:nvCxnSpPr>
            <p:spPr>
              <a:xfrm>
                <a:off x="0" y="1913206"/>
                <a:ext cx="1219200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00A9E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25" name="Straight Connector 124" hidden="1">
                <a:extLst>
                  <a:ext uri="{FF2B5EF4-FFF2-40B4-BE49-F238E27FC236}">
                    <a16:creationId xmlns:a16="http://schemas.microsoft.com/office/drawing/2014/main" xmlns="" id="{D15C552E-D7E5-4010-AB02-B78FD7BC90F7}"/>
                  </a:ext>
                </a:extLst>
              </p:cNvPr>
              <p:cNvCxnSpPr/>
              <p:nvPr userDrawn="1"/>
            </p:nvCxnSpPr>
            <p:spPr>
              <a:xfrm>
                <a:off x="0" y="1554480"/>
                <a:ext cx="1219200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00A9E0"/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106" name="Baseline" hidden="1">
              <a:extLst>
                <a:ext uri="{FF2B5EF4-FFF2-40B4-BE49-F238E27FC236}">
                  <a16:creationId xmlns:a16="http://schemas.microsoft.com/office/drawing/2014/main" xmlns="" id="{BC8CC895-6686-4AF9-A015-2918A681E995}"/>
                </a:ext>
              </a:extLst>
            </p:cNvPr>
            <p:cNvGrpSpPr/>
            <p:nvPr userDrawn="1"/>
          </p:nvGrpSpPr>
          <p:grpSpPr>
            <a:xfrm>
              <a:off x="0" y="2271932"/>
              <a:ext cx="12192000" cy="3587260"/>
              <a:chOff x="0" y="2271932"/>
              <a:chExt cx="12192000" cy="3587260"/>
            </a:xfrm>
          </p:grpSpPr>
          <p:cxnSp>
            <p:nvCxnSpPr>
              <p:cNvPr id="113" name="Straight Connector 112" hidden="1">
                <a:extLst>
                  <a:ext uri="{FF2B5EF4-FFF2-40B4-BE49-F238E27FC236}">
                    <a16:creationId xmlns:a16="http://schemas.microsoft.com/office/drawing/2014/main" xmlns="" id="{14361B6D-7935-45CF-952A-82AA3C152FC0}"/>
                  </a:ext>
                </a:extLst>
              </p:cNvPr>
              <p:cNvCxnSpPr/>
              <p:nvPr userDrawn="1"/>
            </p:nvCxnSpPr>
            <p:spPr>
              <a:xfrm>
                <a:off x="0" y="2630658"/>
                <a:ext cx="1219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4D4D4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14" name="Straight Connector 113" hidden="1">
                <a:extLst>
                  <a:ext uri="{FF2B5EF4-FFF2-40B4-BE49-F238E27FC236}">
                    <a16:creationId xmlns:a16="http://schemas.microsoft.com/office/drawing/2014/main" xmlns="" id="{D0D5D862-A62C-4640-AA86-FA0CCB244348}"/>
                  </a:ext>
                </a:extLst>
              </p:cNvPr>
              <p:cNvCxnSpPr/>
              <p:nvPr userDrawn="1"/>
            </p:nvCxnSpPr>
            <p:spPr>
              <a:xfrm>
                <a:off x="0" y="2989384"/>
                <a:ext cx="1219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4D4D4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15" name="Straight Connector 114" hidden="1">
                <a:extLst>
                  <a:ext uri="{FF2B5EF4-FFF2-40B4-BE49-F238E27FC236}">
                    <a16:creationId xmlns:a16="http://schemas.microsoft.com/office/drawing/2014/main" xmlns="" id="{AE7653D4-E069-4641-BE4C-D1E9CB93F9DD}"/>
                  </a:ext>
                </a:extLst>
              </p:cNvPr>
              <p:cNvCxnSpPr/>
              <p:nvPr userDrawn="1"/>
            </p:nvCxnSpPr>
            <p:spPr>
              <a:xfrm>
                <a:off x="0" y="3348110"/>
                <a:ext cx="1219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4D4D4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16" name="Straight Connector 115" hidden="1">
                <a:extLst>
                  <a:ext uri="{FF2B5EF4-FFF2-40B4-BE49-F238E27FC236}">
                    <a16:creationId xmlns:a16="http://schemas.microsoft.com/office/drawing/2014/main" xmlns="" id="{CD3D40F6-AEFA-49CA-8A4C-B515FAE8AF69}"/>
                  </a:ext>
                </a:extLst>
              </p:cNvPr>
              <p:cNvCxnSpPr/>
              <p:nvPr userDrawn="1"/>
            </p:nvCxnSpPr>
            <p:spPr>
              <a:xfrm>
                <a:off x="0" y="3706836"/>
                <a:ext cx="1219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4D4D4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17" name="Straight Connector 116" hidden="1">
                <a:extLst>
                  <a:ext uri="{FF2B5EF4-FFF2-40B4-BE49-F238E27FC236}">
                    <a16:creationId xmlns:a16="http://schemas.microsoft.com/office/drawing/2014/main" xmlns="" id="{AB7B2E16-9AE5-4480-AB37-F47C536CB9BF}"/>
                  </a:ext>
                </a:extLst>
              </p:cNvPr>
              <p:cNvCxnSpPr/>
              <p:nvPr userDrawn="1"/>
            </p:nvCxnSpPr>
            <p:spPr>
              <a:xfrm>
                <a:off x="0" y="4065562"/>
                <a:ext cx="1219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4D4D4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18" name="Straight Connector 117" hidden="1">
                <a:extLst>
                  <a:ext uri="{FF2B5EF4-FFF2-40B4-BE49-F238E27FC236}">
                    <a16:creationId xmlns:a16="http://schemas.microsoft.com/office/drawing/2014/main" xmlns="" id="{19DE7B3B-ED80-4ADB-A3B0-69E22E7810C7}"/>
                  </a:ext>
                </a:extLst>
              </p:cNvPr>
              <p:cNvCxnSpPr/>
              <p:nvPr userDrawn="1"/>
            </p:nvCxnSpPr>
            <p:spPr>
              <a:xfrm>
                <a:off x="0" y="4424288"/>
                <a:ext cx="1219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4D4D4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19" name="Straight Connector 118" hidden="1">
                <a:extLst>
                  <a:ext uri="{FF2B5EF4-FFF2-40B4-BE49-F238E27FC236}">
                    <a16:creationId xmlns:a16="http://schemas.microsoft.com/office/drawing/2014/main" xmlns="" id="{76D1DCA8-C76F-440B-AC70-BAEE169B9042}"/>
                  </a:ext>
                </a:extLst>
              </p:cNvPr>
              <p:cNvCxnSpPr/>
              <p:nvPr userDrawn="1"/>
            </p:nvCxnSpPr>
            <p:spPr>
              <a:xfrm>
                <a:off x="0" y="4783014"/>
                <a:ext cx="1219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4D4D4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20" name="Straight Connector 119" hidden="1">
                <a:extLst>
                  <a:ext uri="{FF2B5EF4-FFF2-40B4-BE49-F238E27FC236}">
                    <a16:creationId xmlns:a16="http://schemas.microsoft.com/office/drawing/2014/main" xmlns="" id="{875BFEAA-A433-4641-B9E3-7A5277938617}"/>
                  </a:ext>
                </a:extLst>
              </p:cNvPr>
              <p:cNvCxnSpPr/>
              <p:nvPr userDrawn="1"/>
            </p:nvCxnSpPr>
            <p:spPr>
              <a:xfrm>
                <a:off x="0" y="5141740"/>
                <a:ext cx="1219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4D4D4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21" name="Straight Connector 120" hidden="1">
                <a:extLst>
                  <a:ext uri="{FF2B5EF4-FFF2-40B4-BE49-F238E27FC236}">
                    <a16:creationId xmlns:a16="http://schemas.microsoft.com/office/drawing/2014/main" xmlns="" id="{40FCB70B-22FF-4005-BA67-3A999A824D0B}"/>
                  </a:ext>
                </a:extLst>
              </p:cNvPr>
              <p:cNvCxnSpPr/>
              <p:nvPr userDrawn="1"/>
            </p:nvCxnSpPr>
            <p:spPr>
              <a:xfrm>
                <a:off x="0" y="5500466"/>
                <a:ext cx="1219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4D4D4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22" name="Straight Connector 121" hidden="1">
                <a:extLst>
                  <a:ext uri="{FF2B5EF4-FFF2-40B4-BE49-F238E27FC236}">
                    <a16:creationId xmlns:a16="http://schemas.microsoft.com/office/drawing/2014/main" xmlns="" id="{750E7E93-2885-484F-883C-E908023E2821}"/>
                  </a:ext>
                </a:extLst>
              </p:cNvPr>
              <p:cNvCxnSpPr/>
              <p:nvPr userDrawn="1"/>
            </p:nvCxnSpPr>
            <p:spPr>
              <a:xfrm>
                <a:off x="0" y="5859192"/>
                <a:ext cx="1219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4D4D4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23" name="Straight Connector 122" hidden="1">
                <a:extLst>
                  <a:ext uri="{FF2B5EF4-FFF2-40B4-BE49-F238E27FC236}">
                    <a16:creationId xmlns:a16="http://schemas.microsoft.com/office/drawing/2014/main" xmlns="" id="{29598976-8F17-4653-8572-C96B1EEC83C7}"/>
                  </a:ext>
                </a:extLst>
              </p:cNvPr>
              <p:cNvCxnSpPr/>
              <p:nvPr userDrawn="1"/>
            </p:nvCxnSpPr>
            <p:spPr>
              <a:xfrm>
                <a:off x="0" y="2271932"/>
                <a:ext cx="1219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4D4D4F"/>
                </a:solidFill>
                <a:prstDash val="solid"/>
                <a:miter lim="800000"/>
              </a:ln>
              <a:effectLst/>
            </p:spPr>
          </p:cxnSp>
        </p:grpSp>
        <p:cxnSp>
          <p:nvCxnSpPr>
            <p:cNvPr id="107" name="Center" hidden="1">
              <a:extLst>
                <a:ext uri="{FF2B5EF4-FFF2-40B4-BE49-F238E27FC236}">
                  <a16:creationId xmlns:a16="http://schemas.microsoft.com/office/drawing/2014/main" xmlns="" id="{1B54F5C1-C0DD-4F3F-8BE3-197CA715A35A}"/>
                </a:ext>
              </a:extLst>
            </p:cNvPr>
            <p:cNvCxnSpPr/>
            <p:nvPr userDrawn="1"/>
          </p:nvCxnSpPr>
          <p:spPr>
            <a:xfrm rot="10800000" flipV="1">
              <a:off x="6096000" y="-1"/>
              <a:ext cx="0" cy="6858000"/>
            </a:xfrm>
            <a:prstGeom prst="line">
              <a:avLst/>
            </a:prstGeom>
            <a:noFill/>
            <a:ln w="12700" cap="flat" cmpd="sng" algn="ctr">
              <a:solidFill>
                <a:srgbClr val="00A9E0"/>
              </a:solidFill>
              <a:prstDash val="solid"/>
              <a:miter lim="800000"/>
            </a:ln>
            <a:effectLst/>
          </p:spPr>
        </p:cxnSp>
        <p:grpSp>
          <p:nvGrpSpPr>
            <p:cNvPr id="108" name="Margin" hidden="1">
              <a:extLst>
                <a:ext uri="{FF2B5EF4-FFF2-40B4-BE49-F238E27FC236}">
                  <a16:creationId xmlns:a16="http://schemas.microsoft.com/office/drawing/2014/main" xmlns="" id="{C48B894B-7FB7-47CF-92C3-0E2CA627281C}"/>
                </a:ext>
              </a:extLst>
            </p:cNvPr>
            <p:cNvGrpSpPr/>
            <p:nvPr userDrawn="1"/>
          </p:nvGrpSpPr>
          <p:grpSpPr>
            <a:xfrm>
              <a:off x="0" y="-1"/>
              <a:ext cx="12192000" cy="6858001"/>
              <a:chOff x="0" y="-1"/>
              <a:chExt cx="12192000" cy="6858001"/>
            </a:xfrm>
          </p:grpSpPr>
          <p:cxnSp>
            <p:nvCxnSpPr>
              <p:cNvPr id="109" name="Straight Connector 108" hidden="1">
                <a:extLst>
                  <a:ext uri="{FF2B5EF4-FFF2-40B4-BE49-F238E27FC236}">
                    <a16:creationId xmlns:a16="http://schemas.microsoft.com/office/drawing/2014/main" xmlns="" id="{431D5AB8-F6AD-4DBA-A2FB-B045C698E203}"/>
                  </a:ext>
                </a:extLst>
              </p:cNvPr>
              <p:cNvCxnSpPr/>
              <p:nvPr userDrawn="1"/>
            </p:nvCxnSpPr>
            <p:spPr>
              <a:xfrm rot="10800000">
                <a:off x="0" y="6217919"/>
                <a:ext cx="1219200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CBDB2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10" name="Straight Connector 109" hidden="1">
                <a:extLst>
                  <a:ext uri="{FF2B5EF4-FFF2-40B4-BE49-F238E27FC236}">
                    <a16:creationId xmlns:a16="http://schemas.microsoft.com/office/drawing/2014/main" xmlns="" id="{632EE679-1ABD-47EA-904A-9CC2D4335B8E}"/>
                  </a:ext>
                </a:extLst>
              </p:cNvPr>
              <p:cNvCxnSpPr/>
              <p:nvPr userDrawn="1"/>
            </p:nvCxnSpPr>
            <p:spPr>
              <a:xfrm>
                <a:off x="0" y="640080"/>
                <a:ext cx="1219200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CBDB2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11" name="Straight Connector 110" hidden="1">
                <a:extLst>
                  <a:ext uri="{FF2B5EF4-FFF2-40B4-BE49-F238E27FC236}">
                    <a16:creationId xmlns:a16="http://schemas.microsoft.com/office/drawing/2014/main" xmlns="" id="{C64337E0-6779-4E4D-B25C-561ED38FB866}"/>
                  </a:ext>
                </a:extLst>
              </p:cNvPr>
              <p:cNvCxnSpPr/>
              <p:nvPr userDrawn="1"/>
            </p:nvCxnSpPr>
            <p:spPr>
              <a:xfrm flipV="1">
                <a:off x="640080" y="0"/>
                <a:ext cx="0" cy="6858000"/>
              </a:xfrm>
              <a:prstGeom prst="line">
                <a:avLst/>
              </a:prstGeom>
              <a:noFill/>
              <a:ln w="12700" cap="flat" cmpd="sng" algn="ctr">
                <a:solidFill>
                  <a:srgbClr val="CBDB2F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12" name="Straight Connector 111" hidden="1">
                <a:extLst>
                  <a:ext uri="{FF2B5EF4-FFF2-40B4-BE49-F238E27FC236}">
                    <a16:creationId xmlns:a16="http://schemas.microsoft.com/office/drawing/2014/main" xmlns="" id="{D138D1B9-6B43-40F6-A22B-44D6BE8D048B}"/>
                  </a:ext>
                </a:extLst>
              </p:cNvPr>
              <p:cNvCxnSpPr/>
              <p:nvPr userDrawn="1"/>
            </p:nvCxnSpPr>
            <p:spPr>
              <a:xfrm rot="10800000" flipV="1">
                <a:off x="11551920" y="-1"/>
                <a:ext cx="0" cy="6858000"/>
              </a:xfrm>
              <a:prstGeom prst="line">
                <a:avLst/>
              </a:prstGeom>
              <a:noFill/>
              <a:ln w="12700" cap="flat" cmpd="sng" algn="ctr">
                <a:solidFill>
                  <a:srgbClr val="CBDB2F"/>
                </a:solidFill>
                <a:prstDash val="solid"/>
                <a:miter lim="800000"/>
              </a:ln>
              <a:effectLst/>
            </p:spPr>
          </p:cxnSp>
        </p:grpSp>
      </p:grpSp>
      <p:sp>
        <p:nvSpPr>
          <p:cNvPr id="1364" name="Oval 1363">
            <a:extLst>
              <a:ext uri="{FF2B5EF4-FFF2-40B4-BE49-F238E27FC236}">
                <a16:creationId xmlns:a16="http://schemas.microsoft.com/office/drawing/2014/main" xmlns="" id="{ACA69F00-2D12-4EC8-B66B-73945BFCCE60}"/>
              </a:ext>
            </a:extLst>
          </p:cNvPr>
          <p:cNvSpPr/>
          <p:nvPr/>
        </p:nvSpPr>
        <p:spPr>
          <a:xfrm>
            <a:off x="17827794" y="1095567"/>
            <a:ext cx="3137312" cy="3137312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72" name="Straight Connector 1371">
            <a:extLst>
              <a:ext uri="{FF2B5EF4-FFF2-40B4-BE49-F238E27FC236}">
                <a16:creationId xmlns:a16="http://schemas.microsoft.com/office/drawing/2014/main" xmlns="" id="{119DFB49-4A8B-43E3-8229-81276E020A89}"/>
              </a:ext>
            </a:extLst>
          </p:cNvPr>
          <p:cNvCxnSpPr>
            <a:cxnSpLocks/>
          </p:cNvCxnSpPr>
          <p:nvPr/>
        </p:nvCxnSpPr>
        <p:spPr>
          <a:xfrm flipV="1">
            <a:off x="20196495" y="1855870"/>
            <a:ext cx="485880" cy="350729"/>
          </a:xfrm>
          <a:prstGeom prst="line">
            <a:avLst/>
          </a:prstGeom>
          <a:ln w="63500">
            <a:solidFill>
              <a:srgbClr val="EBEB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1" name="Straight Connector 1390">
            <a:extLst>
              <a:ext uri="{FF2B5EF4-FFF2-40B4-BE49-F238E27FC236}">
                <a16:creationId xmlns:a16="http://schemas.microsoft.com/office/drawing/2014/main" xmlns="" id="{ECC004CB-19E5-4A21-AAC9-94E2DF50E3C2}"/>
              </a:ext>
            </a:extLst>
          </p:cNvPr>
          <p:cNvCxnSpPr>
            <a:cxnSpLocks/>
          </p:cNvCxnSpPr>
          <p:nvPr/>
        </p:nvCxnSpPr>
        <p:spPr>
          <a:xfrm flipV="1">
            <a:off x="18895716" y="3507336"/>
            <a:ext cx="244913" cy="641928"/>
          </a:xfrm>
          <a:prstGeom prst="line">
            <a:avLst/>
          </a:prstGeom>
          <a:ln w="63500">
            <a:solidFill>
              <a:srgbClr val="EBEB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2" name="Straight Connector 1391">
            <a:extLst>
              <a:ext uri="{FF2B5EF4-FFF2-40B4-BE49-F238E27FC236}">
                <a16:creationId xmlns:a16="http://schemas.microsoft.com/office/drawing/2014/main" xmlns="" id="{8C694130-7C45-4117-937B-076E9B6F9FAE}"/>
              </a:ext>
            </a:extLst>
          </p:cNvPr>
          <p:cNvCxnSpPr>
            <a:cxnSpLocks/>
          </p:cNvCxnSpPr>
          <p:nvPr/>
        </p:nvCxnSpPr>
        <p:spPr>
          <a:xfrm flipV="1">
            <a:off x="19882236" y="1336566"/>
            <a:ext cx="313992" cy="435961"/>
          </a:xfrm>
          <a:prstGeom prst="line">
            <a:avLst/>
          </a:prstGeom>
          <a:ln w="63500">
            <a:solidFill>
              <a:srgbClr val="EBEB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6" name="Oval 1395">
            <a:extLst>
              <a:ext uri="{FF2B5EF4-FFF2-40B4-BE49-F238E27FC236}">
                <a16:creationId xmlns:a16="http://schemas.microsoft.com/office/drawing/2014/main" xmlns="" id="{39DEA812-371A-49A5-8A9A-AC268F9BB170}"/>
              </a:ext>
            </a:extLst>
          </p:cNvPr>
          <p:cNvSpPr/>
          <p:nvPr/>
        </p:nvSpPr>
        <p:spPr>
          <a:xfrm>
            <a:off x="18215170" y="1536192"/>
            <a:ext cx="2302523" cy="2302523"/>
          </a:xfrm>
          <a:prstGeom prst="ellipse">
            <a:avLst/>
          </a:prstGeom>
          <a:solidFill>
            <a:srgbClr val="F2F2F3"/>
          </a:solidFill>
          <a:ln cap="rnd">
            <a:solidFill>
              <a:schemeClr val="accent1">
                <a:lumMod val="40000"/>
                <a:lumOff val="60000"/>
              </a:schemeClr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cxnSp>
        <p:nvCxnSpPr>
          <p:cNvPr id="1399" name="Connector: Elbow 1398">
            <a:extLst>
              <a:ext uri="{FF2B5EF4-FFF2-40B4-BE49-F238E27FC236}">
                <a16:creationId xmlns:a16="http://schemas.microsoft.com/office/drawing/2014/main" xmlns="" id="{74FD4EE3-5856-4242-BA89-D799C16D3081}"/>
              </a:ext>
            </a:extLst>
          </p:cNvPr>
          <p:cNvCxnSpPr>
            <a:cxnSpLocks/>
          </p:cNvCxnSpPr>
          <p:nvPr/>
        </p:nvCxnSpPr>
        <p:spPr>
          <a:xfrm rot="5400000">
            <a:off x="18773483" y="2405535"/>
            <a:ext cx="372347" cy="189715"/>
          </a:xfrm>
          <a:prstGeom prst="bentConnector3">
            <a:avLst>
              <a:gd name="adj1" fmla="val -184"/>
            </a:avLst>
          </a:prstGeom>
          <a:ln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0" name="Connector: Elbow 1399">
            <a:extLst>
              <a:ext uri="{FF2B5EF4-FFF2-40B4-BE49-F238E27FC236}">
                <a16:creationId xmlns:a16="http://schemas.microsoft.com/office/drawing/2014/main" xmlns="" id="{70499530-BC80-4E51-B1B6-3E035C943B63}"/>
              </a:ext>
            </a:extLst>
          </p:cNvPr>
          <p:cNvCxnSpPr>
            <a:cxnSpLocks/>
          </p:cNvCxnSpPr>
          <p:nvPr/>
        </p:nvCxnSpPr>
        <p:spPr>
          <a:xfrm rot="16200000" flipV="1">
            <a:off x="18773483" y="2785822"/>
            <a:ext cx="372347" cy="189715"/>
          </a:xfrm>
          <a:prstGeom prst="bentConnector3">
            <a:avLst>
              <a:gd name="adj1" fmla="val -184"/>
            </a:avLst>
          </a:prstGeom>
          <a:ln cap="rnd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16" name="Group 1415">
            <a:extLst>
              <a:ext uri="{FF2B5EF4-FFF2-40B4-BE49-F238E27FC236}">
                <a16:creationId xmlns:a16="http://schemas.microsoft.com/office/drawing/2014/main" xmlns="" id="{798DB714-5818-47FD-B280-B594A605DEEB}"/>
              </a:ext>
            </a:extLst>
          </p:cNvPr>
          <p:cNvGrpSpPr/>
          <p:nvPr/>
        </p:nvGrpSpPr>
        <p:grpSpPr>
          <a:xfrm>
            <a:off x="19054512" y="2082895"/>
            <a:ext cx="618697" cy="448449"/>
            <a:chOff x="4207537" y="2273730"/>
            <a:chExt cx="598923" cy="434116"/>
          </a:xfrm>
        </p:grpSpPr>
        <p:grpSp>
          <p:nvGrpSpPr>
            <p:cNvPr id="1464" name="Group 1463">
              <a:extLst>
                <a:ext uri="{FF2B5EF4-FFF2-40B4-BE49-F238E27FC236}">
                  <a16:creationId xmlns:a16="http://schemas.microsoft.com/office/drawing/2014/main" xmlns="" id="{D71DE74B-4664-4450-897D-C6E3BBA84F80}"/>
                </a:ext>
              </a:extLst>
            </p:cNvPr>
            <p:cNvGrpSpPr/>
            <p:nvPr/>
          </p:nvGrpSpPr>
          <p:grpSpPr>
            <a:xfrm>
              <a:off x="4207537" y="2273730"/>
              <a:ext cx="179387" cy="434116"/>
              <a:chOff x="2330274" y="3840316"/>
              <a:chExt cx="238125" cy="576262"/>
            </a:xfrm>
          </p:grpSpPr>
          <p:sp>
            <p:nvSpPr>
              <p:cNvPr id="1479" name="Freeform 201">
                <a:extLst>
                  <a:ext uri="{FF2B5EF4-FFF2-40B4-BE49-F238E27FC236}">
                    <a16:creationId xmlns:a16="http://schemas.microsoft.com/office/drawing/2014/main" xmlns="" id="{FBD5D027-A2FA-4D0C-9FAC-A019820395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0" name="Line 202">
                <a:extLst>
                  <a:ext uri="{FF2B5EF4-FFF2-40B4-BE49-F238E27FC236}">
                    <a16:creationId xmlns:a16="http://schemas.microsoft.com/office/drawing/2014/main" xmlns="" id="{9D90AFAF-6BE7-4678-B844-83E918AAF9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1" name="Line 203">
                <a:extLst>
                  <a:ext uri="{FF2B5EF4-FFF2-40B4-BE49-F238E27FC236}">
                    <a16:creationId xmlns:a16="http://schemas.microsoft.com/office/drawing/2014/main" xmlns="" id="{203C95F6-AF42-486F-B5F8-277CF7012B7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2" name="Line 204">
                <a:extLst>
                  <a:ext uri="{FF2B5EF4-FFF2-40B4-BE49-F238E27FC236}">
                    <a16:creationId xmlns:a16="http://schemas.microsoft.com/office/drawing/2014/main" xmlns="" id="{835AA791-52B0-47C0-9F7D-01C07A366E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3" name="Line 205">
                <a:extLst>
                  <a:ext uri="{FF2B5EF4-FFF2-40B4-BE49-F238E27FC236}">
                    <a16:creationId xmlns:a16="http://schemas.microsoft.com/office/drawing/2014/main" xmlns="" id="{3C5672D5-E2D0-4049-B317-CEBC6A77322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4" name="Line 206">
                <a:extLst>
                  <a:ext uri="{FF2B5EF4-FFF2-40B4-BE49-F238E27FC236}">
                    <a16:creationId xmlns:a16="http://schemas.microsoft.com/office/drawing/2014/main" xmlns="" id="{0D6B0DF7-E22D-4A27-A558-6B541FD60E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465" name="Group 1464">
              <a:extLst>
                <a:ext uri="{FF2B5EF4-FFF2-40B4-BE49-F238E27FC236}">
                  <a16:creationId xmlns:a16="http://schemas.microsoft.com/office/drawing/2014/main" xmlns="" id="{AD67D507-2B66-4E9A-8155-F4F7A0E7FB00}"/>
                </a:ext>
              </a:extLst>
            </p:cNvPr>
            <p:cNvGrpSpPr/>
            <p:nvPr/>
          </p:nvGrpSpPr>
          <p:grpSpPr>
            <a:xfrm>
              <a:off x="4417305" y="2273730"/>
              <a:ext cx="179387" cy="434116"/>
              <a:chOff x="2330274" y="3840316"/>
              <a:chExt cx="238125" cy="576262"/>
            </a:xfrm>
          </p:grpSpPr>
          <p:sp>
            <p:nvSpPr>
              <p:cNvPr id="1473" name="Freeform 201">
                <a:extLst>
                  <a:ext uri="{FF2B5EF4-FFF2-40B4-BE49-F238E27FC236}">
                    <a16:creationId xmlns:a16="http://schemas.microsoft.com/office/drawing/2014/main" xmlns="" id="{3B01A43C-79A3-47AE-AC2A-1B0466AEC5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4" name="Line 202">
                <a:extLst>
                  <a:ext uri="{FF2B5EF4-FFF2-40B4-BE49-F238E27FC236}">
                    <a16:creationId xmlns:a16="http://schemas.microsoft.com/office/drawing/2014/main" xmlns="" id="{2FB23012-8AFB-47B2-9D4F-515B456AFF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5" name="Line 203">
                <a:extLst>
                  <a:ext uri="{FF2B5EF4-FFF2-40B4-BE49-F238E27FC236}">
                    <a16:creationId xmlns:a16="http://schemas.microsoft.com/office/drawing/2014/main" xmlns="" id="{44490FE4-3F0E-45A3-8AE0-A7FB0F3B8F0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6" name="Line 204">
                <a:extLst>
                  <a:ext uri="{FF2B5EF4-FFF2-40B4-BE49-F238E27FC236}">
                    <a16:creationId xmlns:a16="http://schemas.microsoft.com/office/drawing/2014/main" xmlns="" id="{CF3D9C62-FA82-4A73-B908-960E60E77CF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7" name="Line 205">
                <a:extLst>
                  <a:ext uri="{FF2B5EF4-FFF2-40B4-BE49-F238E27FC236}">
                    <a16:creationId xmlns:a16="http://schemas.microsoft.com/office/drawing/2014/main" xmlns="" id="{A0D0C15B-3FD0-4D46-A28E-5761646451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8" name="Line 206">
                <a:extLst>
                  <a:ext uri="{FF2B5EF4-FFF2-40B4-BE49-F238E27FC236}">
                    <a16:creationId xmlns:a16="http://schemas.microsoft.com/office/drawing/2014/main" xmlns="" id="{D4BA16B3-1658-40CA-9C02-88DC6EC41B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466" name="Group 1465">
              <a:extLst>
                <a:ext uri="{FF2B5EF4-FFF2-40B4-BE49-F238E27FC236}">
                  <a16:creationId xmlns:a16="http://schemas.microsoft.com/office/drawing/2014/main" xmlns="" id="{8763EDA5-72B9-44AA-8087-6A734D9EE7DC}"/>
                </a:ext>
              </a:extLst>
            </p:cNvPr>
            <p:cNvGrpSpPr/>
            <p:nvPr/>
          </p:nvGrpSpPr>
          <p:grpSpPr>
            <a:xfrm>
              <a:off x="4627073" y="2273730"/>
              <a:ext cx="179387" cy="434116"/>
              <a:chOff x="2330274" y="3840316"/>
              <a:chExt cx="238125" cy="576262"/>
            </a:xfrm>
          </p:grpSpPr>
          <p:sp>
            <p:nvSpPr>
              <p:cNvPr id="1467" name="Freeform 201">
                <a:extLst>
                  <a:ext uri="{FF2B5EF4-FFF2-40B4-BE49-F238E27FC236}">
                    <a16:creationId xmlns:a16="http://schemas.microsoft.com/office/drawing/2014/main" xmlns="" id="{2AAF8011-DBC8-486D-90AA-2B46420F1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8" name="Line 202">
                <a:extLst>
                  <a:ext uri="{FF2B5EF4-FFF2-40B4-BE49-F238E27FC236}">
                    <a16:creationId xmlns:a16="http://schemas.microsoft.com/office/drawing/2014/main" xmlns="" id="{FE1B33CA-526E-4644-8478-0CD4497D92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9" name="Line 203">
                <a:extLst>
                  <a:ext uri="{FF2B5EF4-FFF2-40B4-BE49-F238E27FC236}">
                    <a16:creationId xmlns:a16="http://schemas.microsoft.com/office/drawing/2014/main" xmlns="" id="{A245C75F-E2E6-4DD3-8427-6CEA2A7D41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0" name="Line 204">
                <a:extLst>
                  <a:ext uri="{FF2B5EF4-FFF2-40B4-BE49-F238E27FC236}">
                    <a16:creationId xmlns:a16="http://schemas.microsoft.com/office/drawing/2014/main" xmlns="" id="{9A7DA78D-D224-4057-B982-4B1DCB4339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1" name="Line 205">
                <a:extLst>
                  <a:ext uri="{FF2B5EF4-FFF2-40B4-BE49-F238E27FC236}">
                    <a16:creationId xmlns:a16="http://schemas.microsoft.com/office/drawing/2014/main" xmlns="" id="{9AC6AFB3-94EF-4AB1-BA50-690FFC099CE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2" name="Line 206">
                <a:extLst>
                  <a:ext uri="{FF2B5EF4-FFF2-40B4-BE49-F238E27FC236}">
                    <a16:creationId xmlns:a16="http://schemas.microsoft.com/office/drawing/2014/main" xmlns="" id="{637F9754-5F35-4218-B216-03E0CFBDF0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418" name="Group 1417">
            <a:extLst>
              <a:ext uri="{FF2B5EF4-FFF2-40B4-BE49-F238E27FC236}">
                <a16:creationId xmlns:a16="http://schemas.microsoft.com/office/drawing/2014/main" xmlns="" id="{28B8875E-703A-484B-9EBC-8023D724E6A2}"/>
              </a:ext>
            </a:extLst>
          </p:cNvPr>
          <p:cNvGrpSpPr/>
          <p:nvPr/>
        </p:nvGrpSpPr>
        <p:grpSpPr>
          <a:xfrm>
            <a:off x="18152710" y="2465614"/>
            <a:ext cx="443632" cy="443680"/>
            <a:chOff x="542940" y="1857375"/>
            <a:chExt cx="914400" cy="914494"/>
          </a:xfrm>
        </p:grpSpPr>
        <p:sp>
          <p:nvSpPr>
            <p:cNvPr id="1442" name="Oval 1441">
              <a:extLst>
                <a:ext uri="{FF2B5EF4-FFF2-40B4-BE49-F238E27FC236}">
                  <a16:creationId xmlns:a16="http://schemas.microsoft.com/office/drawing/2014/main" xmlns="" id="{8C8F1A6C-EA4C-4718-8927-0516ECBFEC8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2940" y="1857422"/>
              <a:ext cx="914400" cy="9144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443" name="Group 4">
              <a:extLst>
                <a:ext uri="{FF2B5EF4-FFF2-40B4-BE49-F238E27FC236}">
                  <a16:creationId xmlns:a16="http://schemas.microsoft.com/office/drawing/2014/main" xmlns="" id="{B81F7C10-B063-44D5-A357-B7E0B9D90CF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43174" y="1857375"/>
              <a:ext cx="913932" cy="914494"/>
              <a:chOff x="1261" y="0"/>
              <a:chExt cx="3238" cy="3240"/>
            </a:xfrm>
            <a:solidFill>
              <a:schemeClr val="tx2"/>
            </a:solidFill>
          </p:grpSpPr>
          <p:sp>
            <p:nvSpPr>
              <p:cNvPr id="1444" name="Freeform 5">
                <a:extLst>
                  <a:ext uri="{FF2B5EF4-FFF2-40B4-BE49-F238E27FC236}">
                    <a16:creationId xmlns:a16="http://schemas.microsoft.com/office/drawing/2014/main" xmlns="" id="{44E2E75A-28EB-44FB-ABE8-9A5360FF41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1" y="443"/>
                <a:ext cx="36" cy="37"/>
              </a:xfrm>
              <a:custGeom>
                <a:avLst/>
                <a:gdLst>
                  <a:gd name="T0" fmla="*/ 0 w 29"/>
                  <a:gd name="T1" fmla="*/ 30 h 30"/>
                  <a:gd name="T2" fmla="*/ 29 w 29"/>
                  <a:gd name="T3" fmla="*/ 0 h 30"/>
                  <a:gd name="T4" fmla="*/ 0 w 29"/>
                  <a:gd name="T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9" h="30">
                    <a:moveTo>
                      <a:pt x="0" y="30"/>
                    </a:moveTo>
                    <a:cubicBezTo>
                      <a:pt x="15" y="27"/>
                      <a:pt x="26" y="15"/>
                      <a:pt x="29" y="0"/>
                    </a:cubicBezTo>
                    <a:cubicBezTo>
                      <a:pt x="19" y="10"/>
                      <a:pt x="10" y="20"/>
                      <a:pt x="0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5" name="Freeform 6">
                <a:extLst>
                  <a:ext uri="{FF2B5EF4-FFF2-40B4-BE49-F238E27FC236}">
                    <a16:creationId xmlns:a16="http://schemas.microsoft.com/office/drawing/2014/main" xmlns="" id="{0EDA2AC7-FDAA-45BC-A0D3-732198A80E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3" y="0"/>
                <a:ext cx="1056" cy="480"/>
              </a:xfrm>
              <a:custGeom>
                <a:avLst/>
                <a:gdLst>
                  <a:gd name="T0" fmla="*/ 0 w 845"/>
                  <a:gd name="T1" fmla="*/ 346 h 384"/>
                  <a:gd name="T2" fmla="*/ 38 w 845"/>
                  <a:gd name="T3" fmla="*/ 384 h 384"/>
                  <a:gd name="T4" fmla="*/ 807 w 845"/>
                  <a:gd name="T5" fmla="*/ 384 h 384"/>
                  <a:gd name="T6" fmla="*/ 845 w 845"/>
                  <a:gd name="T7" fmla="*/ 346 h 384"/>
                  <a:gd name="T8" fmla="*/ 845 w 845"/>
                  <a:gd name="T9" fmla="*/ 38 h 384"/>
                  <a:gd name="T10" fmla="*/ 812 w 845"/>
                  <a:gd name="T11" fmla="*/ 0 h 384"/>
                  <a:gd name="T12" fmla="*/ 0 w 845"/>
                  <a:gd name="T13" fmla="*/ 308 h 384"/>
                  <a:gd name="T14" fmla="*/ 0 w 845"/>
                  <a:gd name="T15" fmla="*/ 346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5" h="384">
                    <a:moveTo>
                      <a:pt x="0" y="346"/>
                    </a:moveTo>
                    <a:cubicBezTo>
                      <a:pt x="0" y="367"/>
                      <a:pt x="17" y="384"/>
                      <a:pt x="38" y="384"/>
                    </a:cubicBezTo>
                    <a:cubicBezTo>
                      <a:pt x="807" y="384"/>
                      <a:pt x="807" y="384"/>
                      <a:pt x="807" y="384"/>
                    </a:cubicBezTo>
                    <a:cubicBezTo>
                      <a:pt x="828" y="384"/>
                      <a:pt x="845" y="367"/>
                      <a:pt x="845" y="346"/>
                    </a:cubicBezTo>
                    <a:cubicBezTo>
                      <a:pt x="845" y="38"/>
                      <a:pt x="845" y="38"/>
                      <a:pt x="845" y="38"/>
                    </a:cubicBezTo>
                    <a:cubicBezTo>
                      <a:pt x="845" y="19"/>
                      <a:pt x="830" y="3"/>
                      <a:pt x="812" y="0"/>
                    </a:cubicBezTo>
                    <a:cubicBezTo>
                      <a:pt x="502" y="6"/>
                      <a:pt x="219" y="121"/>
                      <a:pt x="0" y="308"/>
                    </a:cubicBezTo>
                    <a:lnTo>
                      <a:pt x="0" y="3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6" name="Freeform 7">
                <a:extLst>
                  <a:ext uri="{FF2B5EF4-FFF2-40B4-BE49-F238E27FC236}">
                    <a16:creationId xmlns:a16="http://schemas.microsoft.com/office/drawing/2014/main" xmlns="" id="{4988403A-A239-46F2-8AE3-0BC4C035E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" y="4"/>
                <a:ext cx="1051" cy="476"/>
              </a:xfrm>
              <a:custGeom>
                <a:avLst/>
                <a:gdLst>
                  <a:gd name="T0" fmla="*/ 24 w 841"/>
                  <a:gd name="T1" fmla="*/ 0 h 381"/>
                  <a:gd name="T2" fmla="*/ 0 w 841"/>
                  <a:gd name="T3" fmla="*/ 35 h 381"/>
                  <a:gd name="T4" fmla="*/ 0 w 841"/>
                  <a:gd name="T5" fmla="*/ 343 h 381"/>
                  <a:gd name="T6" fmla="*/ 38 w 841"/>
                  <a:gd name="T7" fmla="*/ 381 h 381"/>
                  <a:gd name="T8" fmla="*/ 807 w 841"/>
                  <a:gd name="T9" fmla="*/ 381 h 381"/>
                  <a:gd name="T10" fmla="*/ 841 w 841"/>
                  <a:gd name="T11" fmla="*/ 360 h 381"/>
                  <a:gd name="T12" fmla="*/ 24 w 841"/>
                  <a:gd name="T13" fmla="*/ 0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1" h="381">
                    <a:moveTo>
                      <a:pt x="24" y="0"/>
                    </a:moveTo>
                    <a:cubicBezTo>
                      <a:pt x="10" y="5"/>
                      <a:pt x="0" y="19"/>
                      <a:pt x="0" y="35"/>
                    </a:cubicBezTo>
                    <a:cubicBezTo>
                      <a:pt x="0" y="343"/>
                      <a:pt x="0" y="343"/>
                      <a:pt x="0" y="343"/>
                    </a:cubicBezTo>
                    <a:cubicBezTo>
                      <a:pt x="0" y="364"/>
                      <a:pt x="17" y="381"/>
                      <a:pt x="38" y="381"/>
                    </a:cubicBezTo>
                    <a:cubicBezTo>
                      <a:pt x="807" y="381"/>
                      <a:pt x="807" y="381"/>
                      <a:pt x="807" y="381"/>
                    </a:cubicBezTo>
                    <a:cubicBezTo>
                      <a:pt x="822" y="381"/>
                      <a:pt x="835" y="373"/>
                      <a:pt x="841" y="360"/>
                    </a:cubicBezTo>
                    <a:cubicBezTo>
                      <a:pt x="627" y="153"/>
                      <a:pt x="341" y="2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7" name="Freeform 8">
                <a:extLst>
                  <a:ext uri="{FF2B5EF4-FFF2-40B4-BE49-F238E27FC236}">
                    <a16:creationId xmlns:a16="http://schemas.microsoft.com/office/drawing/2014/main" xmlns="" id="{ED3D1453-14FE-4FE5-B8DB-509B775491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0" y="555"/>
                <a:ext cx="943" cy="480"/>
              </a:xfrm>
              <a:custGeom>
                <a:avLst/>
                <a:gdLst>
                  <a:gd name="T0" fmla="*/ 717 w 755"/>
                  <a:gd name="T1" fmla="*/ 0 h 384"/>
                  <a:gd name="T2" fmla="*/ 233 w 755"/>
                  <a:gd name="T3" fmla="*/ 0 h 384"/>
                  <a:gd name="T4" fmla="*/ 0 w 755"/>
                  <a:gd name="T5" fmla="*/ 384 h 384"/>
                  <a:gd name="T6" fmla="*/ 717 w 755"/>
                  <a:gd name="T7" fmla="*/ 384 h 384"/>
                  <a:gd name="T8" fmla="*/ 755 w 755"/>
                  <a:gd name="T9" fmla="*/ 346 h 384"/>
                  <a:gd name="T10" fmla="*/ 755 w 755"/>
                  <a:gd name="T11" fmla="*/ 38 h 384"/>
                  <a:gd name="T12" fmla="*/ 717 w 755"/>
                  <a:gd name="T13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55" h="384">
                    <a:moveTo>
                      <a:pt x="717" y="0"/>
                    </a:moveTo>
                    <a:cubicBezTo>
                      <a:pt x="233" y="0"/>
                      <a:pt x="233" y="0"/>
                      <a:pt x="233" y="0"/>
                    </a:cubicBezTo>
                    <a:cubicBezTo>
                      <a:pt x="134" y="113"/>
                      <a:pt x="55" y="242"/>
                      <a:pt x="0" y="384"/>
                    </a:cubicBezTo>
                    <a:cubicBezTo>
                      <a:pt x="717" y="384"/>
                      <a:pt x="717" y="384"/>
                      <a:pt x="717" y="384"/>
                    </a:cubicBezTo>
                    <a:cubicBezTo>
                      <a:pt x="738" y="384"/>
                      <a:pt x="755" y="367"/>
                      <a:pt x="755" y="346"/>
                    </a:cubicBezTo>
                    <a:cubicBezTo>
                      <a:pt x="755" y="38"/>
                      <a:pt x="755" y="38"/>
                      <a:pt x="755" y="38"/>
                    </a:cubicBezTo>
                    <a:cubicBezTo>
                      <a:pt x="755" y="17"/>
                      <a:pt x="738" y="0"/>
                      <a:pt x="7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8" name="Freeform 9">
                <a:extLst>
                  <a:ext uri="{FF2B5EF4-FFF2-40B4-BE49-F238E27FC236}">
                    <a16:creationId xmlns:a16="http://schemas.microsoft.com/office/drawing/2014/main" xmlns="" id="{FF3D6683-2CEF-4FD7-803E-9144230B6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7" y="555"/>
                <a:ext cx="1055" cy="480"/>
              </a:xfrm>
              <a:custGeom>
                <a:avLst/>
                <a:gdLst>
                  <a:gd name="T0" fmla="*/ 807 w 845"/>
                  <a:gd name="T1" fmla="*/ 0 h 384"/>
                  <a:gd name="T2" fmla="*/ 38 w 845"/>
                  <a:gd name="T3" fmla="*/ 0 h 384"/>
                  <a:gd name="T4" fmla="*/ 0 w 845"/>
                  <a:gd name="T5" fmla="*/ 38 h 384"/>
                  <a:gd name="T6" fmla="*/ 0 w 845"/>
                  <a:gd name="T7" fmla="*/ 346 h 384"/>
                  <a:gd name="T8" fmla="*/ 38 w 845"/>
                  <a:gd name="T9" fmla="*/ 384 h 384"/>
                  <a:gd name="T10" fmla="*/ 807 w 845"/>
                  <a:gd name="T11" fmla="*/ 384 h 384"/>
                  <a:gd name="T12" fmla="*/ 845 w 845"/>
                  <a:gd name="T13" fmla="*/ 346 h 384"/>
                  <a:gd name="T14" fmla="*/ 845 w 845"/>
                  <a:gd name="T15" fmla="*/ 38 h 384"/>
                  <a:gd name="T16" fmla="*/ 807 w 845"/>
                  <a:gd name="T17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5" h="384">
                    <a:moveTo>
                      <a:pt x="807" y="0"/>
                    </a:move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ubicBezTo>
                      <a:pt x="807" y="384"/>
                      <a:pt x="807" y="384"/>
                      <a:pt x="807" y="384"/>
                    </a:cubicBezTo>
                    <a:cubicBezTo>
                      <a:pt x="828" y="384"/>
                      <a:pt x="845" y="367"/>
                      <a:pt x="845" y="346"/>
                    </a:cubicBezTo>
                    <a:cubicBezTo>
                      <a:pt x="845" y="38"/>
                      <a:pt x="845" y="38"/>
                      <a:pt x="845" y="38"/>
                    </a:cubicBezTo>
                    <a:cubicBezTo>
                      <a:pt x="845" y="17"/>
                      <a:pt x="828" y="0"/>
                      <a:pt x="80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9" name="Freeform 10">
                <a:extLst>
                  <a:ext uri="{FF2B5EF4-FFF2-40B4-BE49-F238E27FC236}">
                    <a16:creationId xmlns:a16="http://schemas.microsoft.com/office/drawing/2014/main" xmlns="" id="{20D4D66B-7790-4838-A06C-B34FEE700B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7" y="555"/>
                <a:ext cx="893" cy="480"/>
              </a:xfrm>
              <a:custGeom>
                <a:avLst/>
                <a:gdLst>
                  <a:gd name="T0" fmla="*/ 0 w 715"/>
                  <a:gd name="T1" fmla="*/ 38 h 384"/>
                  <a:gd name="T2" fmla="*/ 0 w 715"/>
                  <a:gd name="T3" fmla="*/ 346 h 384"/>
                  <a:gd name="T4" fmla="*/ 38 w 715"/>
                  <a:gd name="T5" fmla="*/ 384 h 384"/>
                  <a:gd name="T6" fmla="*/ 715 w 715"/>
                  <a:gd name="T7" fmla="*/ 384 h 384"/>
                  <a:gd name="T8" fmla="*/ 482 w 715"/>
                  <a:gd name="T9" fmla="*/ 0 h 384"/>
                  <a:gd name="T10" fmla="*/ 38 w 715"/>
                  <a:gd name="T11" fmla="*/ 0 h 384"/>
                  <a:gd name="T12" fmla="*/ 0 w 715"/>
                  <a:gd name="T13" fmla="*/ 38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5" h="384">
                    <a:moveTo>
                      <a:pt x="0" y="38"/>
                    </a:move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ubicBezTo>
                      <a:pt x="715" y="384"/>
                      <a:pt x="715" y="384"/>
                      <a:pt x="715" y="384"/>
                    </a:cubicBezTo>
                    <a:cubicBezTo>
                      <a:pt x="660" y="242"/>
                      <a:pt x="581" y="113"/>
                      <a:pt x="482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0" name="Freeform 11">
                <a:extLst>
                  <a:ext uri="{FF2B5EF4-FFF2-40B4-BE49-F238E27FC236}">
                    <a16:creationId xmlns:a16="http://schemas.microsoft.com/office/drawing/2014/main" xmlns="" id="{E7BCC200-8F93-4A91-8A53-BEA5A2A672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110"/>
                <a:ext cx="507" cy="480"/>
              </a:xfrm>
              <a:custGeom>
                <a:avLst/>
                <a:gdLst>
                  <a:gd name="T0" fmla="*/ 368 w 406"/>
                  <a:gd name="T1" fmla="*/ 384 h 384"/>
                  <a:gd name="T2" fmla="*/ 406 w 406"/>
                  <a:gd name="T3" fmla="*/ 346 h 384"/>
                  <a:gd name="T4" fmla="*/ 406 w 406"/>
                  <a:gd name="T5" fmla="*/ 38 h 384"/>
                  <a:gd name="T6" fmla="*/ 368 w 406"/>
                  <a:gd name="T7" fmla="*/ 0 h 384"/>
                  <a:gd name="T8" fmla="*/ 66 w 406"/>
                  <a:gd name="T9" fmla="*/ 0 h 384"/>
                  <a:gd name="T10" fmla="*/ 0 w 406"/>
                  <a:gd name="T11" fmla="*/ 384 h 384"/>
                  <a:gd name="T12" fmla="*/ 368 w 406"/>
                  <a:gd name="T13" fmla="*/ 38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6" h="384">
                    <a:moveTo>
                      <a:pt x="368" y="384"/>
                    </a:moveTo>
                    <a:cubicBezTo>
                      <a:pt x="389" y="384"/>
                      <a:pt x="406" y="367"/>
                      <a:pt x="406" y="346"/>
                    </a:cubicBezTo>
                    <a:cubicBezTo>
                      <a:pt x="406" y="38"/>
                      <a:pt x="406" y="38"/>
                      <a:pt x="406" y="38"/>
                    </a:cubicBezTo>
                    <a:cubicBezTo>
                      <a:pt x="406" y="17"/>
                      <a:pt x="389" y="0"/>
                      <a:pt x="368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25" y="121"/>
                      <a:pt x="3" y="250"/>
                      <a:pt x="0" y="384"/>
                    </a:cubicBezTo>
                    <a:lnTo>
                      <a:pt x="368" y="3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1" name="Freeform 12">
                <a:extLst>
                  <a:ext uri="{FF2B5EF4-FFF2-40B4-BE49-F238E27FC236}">
                    <a16:creationId xmlns:a16="http://schemas.microsoft.com/office/drawing/2014/main" xmlns="" id="{1B96B801-5C89-482C-90E7-2BD377C535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3" y="1110"/>
                <a:ext cx="1056" cy="480"/>
              </a:xfrm>
              <a:custGeom>
                <a:avLst/>
                <a:gdLst>
                  <a:gd name="T0" fmla="*/ 0 w 845"/>
                  <a:gd name="T1" fmla="*/ 38 h 384"/>
                  <a:gd name="T2" fmla="*/ 0 w 845"/>
                  <a:gd name="T3" fmla="*/ 346 h 384"/>
                  <a:gd name="T4" fmla="*/ 38 w 845"/>
                  <a:gd name="T5" fmla="*/ 384 h 384"/>
                  <a:gd name="T6" fmla="*/ 807 w 845"/>
                  <a:gd name="T7" fmla="*/ 384 h 384"/>
                  <a:gd name="T8" fmla="*/ 845 w 845"/>
                  <a:gd name="T9" fmla="*/ 346 h 384"/>
                  <a:gd name="T10" fmla="*/ 845 w 845"/>
                  <a:gd name="T11" fmla="*/ 38 h 384"/>
                  <a:gd name="T12" fmla="*/ 807 w 845"/>
                  <a:gd name="T13" fmla="*/ 0 h 384"/>
                  <a:gd name="T14" fmla="*/ 38 w 845"/>
                  <a:gd name="T15" fmla="*/ 0 h 384"/>
                  <a:gd name="T16" fmla="*/ 0 w 845"/>
                  <a:gd name="T17" fmla="*/ 38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5" h="384">
                    <a:moveTo>
                      <a:pt x="0" y="38"/>
                    </a:move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ubicBezTo>
                      <a:pt x="807" y="384"/>
                      <a:pt x="807" y="384"/>
                      <a:pt x="807" y="384"/>
                    </a:cubicBezTo>
                    <a:cubicBezTo>
                      <a:pt x="828" y="384"/>
                      <a:pt x="845" y="367"/>
                      <a:pt x="845" y="346"/>
                    </a:cubicBezTo>
                    <a:cubicBezTo>
                      <a:pt x="845" y="38"/>
                      <a:pt x="845" y="38"/>
                      <a:pt x="845" y="38"/>
                    </a:cubicBezTo>
                    <a:cubicBezTo>
                      <a:pt x="845" y="17"/>
                      <a:pt x="828" y="0"/>
                      <a:pt x="807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2" name="Freeform 13">
                <a:extLst>
                  <a:ext uri="{FF2B5EF4-FFF2-40B4-BE49-F238E27FC236}">
                    <a16:creationId xmlns:a16="http://schemas.microsoft.com/office/drawing/2014/main" xmlns="" id="{2481D195-4084-47DC-B81A-D4231FE2BA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" y="1110"/>
                <a:ext cx="1056" cy="480"/>
              </a:xfrm>
              <a:custGeom>
                <a:avLst/>
                <a:gdLst>
                  <a:gd name="T0" fmla="*/ 0 w 845"/>
                  <a:gd name="T1" fmla="*/ 38 h 384"/>
                  <a:gd name="T2" fmla="*/ 0 w 845"/>
                  <a:gd name="T3" fmla="*/ 346 h 384"/>
                  <a:gd name="T4" fmla="*/ 38 w 845"/>
                  <a:gd name="T5" fmla="*/ 384 h 384"/>
                  <a:gd name="T6" fmla="*/ 807 w 845"/>
                  <a:gd name="T7" fmla="*/ 384 h 384"/>
                  <a:gd name="T8" fmla="*/ 845 w 845"/>
                  <a:gd name="T9" fmla="*/ 346 h 384"/>
                  <a:gd name="T10" fmla="*/ 845 w 845"/>
                  <a:gd name="T11" fmla="*/ 38 h 384"/>
                  <a:gd name="T12" fmla="*/ 807 w 845"/>
                  <a:gd name="T13" fmla="*/ 0 h 384"/>
                  <a:gd name="T14" fmla="*/ 38 w 845"/>
                  <a:gd name="T15" fmla="*/ 0 h 384"/>
                  <a:gd name="T16" fmla="*/ 0 w 845"/>
                  <a:gd name="T17" fmla="*/ 38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5" h="384">
                    <a:moveTo>
                      <a:pt x="0" y="38"/>
                    </a:move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ubicBezTo>
                      <a:pt x="807" y="384"/>
                      <a:pt x="807" y="384"/>
                      <a:pt x="807" y="384"/>
                    </a:cubicBezTo>
                    <a:cubicBezTo>
                      <a:pt x="828" y="384"/>
                      <a:pt x="845" y="367"/>
                      <a:pt x="845" y="346"/>
                    </a:cubicBezTo>
                    <a:cubicBezTo>
                      <a:pt x="845" y="38"/>
                      <a:pt x="845" y="38"/>
                      <a:pt x="845" y="38"/>
                    </a:cubicBezTo>
                    <a:cubicBezTo>
                      <a:pt x="845" y="17"/>
                      <a:pt x="828" y="0"/>
                      <a:pt x="807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3" name="Freeform 14">
                <a:extLst>
                  <a:ext uri="{FF2B5EF4-FFF2-40B4-BE49-F238E27FC236}">
                    <a16:creationId xmlns:a16="http://schemas.microsoft.com/office/drawing/2014/main" xmlns="" id="{89BB28FE-1D1F-4608-9CBE-DBFBD36A5C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3" y="1110"/>
                <a:ext cx="426" cy="480"/>
              </a:xfrm>
              <a:custGeom>
                <a:avLst/>
                <a:gdLst>
                  <a:gd name="T0" fmla="*/ 38 w 341"/>
                  <a:gd name="T1" fmla="*/ 0 h 384"/>
                  <a:gd name="T2" fmla="*/ 0 w 341"/>
                  <a:gd name="T3" fmla="*/ 38 h 384"/>
                  <a:gd name="T4" fmla="*/ 0 w 341"/>
                  <a:gd name="T5" fmla="*/ 346 h 384"/>
                  <a:gd name="T6" fmla="*/ 38 w 341"/>
                  <a:gd name="T7" fmla="*/ 384 h 384"/>
                  <a:gd name="T8" fmla="*/ 341 w 341"/>
                  <a:gd name="T9" fmla="*/ 384 h 384"/>
                  <a:gd name="T10" fmla="*/ 275 w 341"/>
                  <a:gd name="T11" fmla="*/ 0 h 384"/>
                  <a:gd name="T12" fmla="*/ 38 w 341"/>
                  <a:gd name="T13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1" h="384">
                    <a:moveTo>
                      <a:pt x="38" y="0"/>
                    </a:moveTo>
                    <a:cubicBezTo>
                      <a:pt x="17" y="0"/>
                      <a:pt x="0" y="17"/>
                      <a:pt x="0" y="38"/>
                    </a:cubicBez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ubicBezTo>
                      <a:pt x="341" y="384"/>
                      <a:pt x="341" y="384"/>
                      <a:pt x="341" y="384"/>
                    </a:cubicBezTo>
                    <a:cubicBezTo>
                      <a:pt x="338" y="250"/>
                      <a:pt x="316" y="121"/>
                      <a:pt x="275" y="0"/>
                    </a:cubicBezTo>
                    <a:lnTo>
                      <a:pt x="3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4" name="Freeform 15">
                <a:extLst>
                  <a:ext uri="{FF2B5EF4-FFF2-40B4-BE49-F238E27FC236}">
                    <a16:creationId xmlns:a16="http://schemas.microsoft.com/office/drawing/2014/main" xmlns="" id="{18E4AED2-AD20-47B4-B789-5DCA105466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2" y="1665"/>
                <a:ext cx="1051" cy="480"/>
              </a:xfrm>
              <a:custGeom>
                <a:avLst/>
                <a:gdLst>
                  <a:gd name="T0" fmla="*/ 841 w 841"/>
                  <a:gd name="T1" fmla="*/ 346 h 384"/>
                  <a:gd name="T2" fmla="*/ 841 w 841"/>
                  <a:gd name="T3" fmla="*/ 38 h 384"/>
                  <a:gd name="T4" fmla="*/ 803 w 841"/>
                  <a:gd name="T5" fmla="*/ 0 h 384"/>
                  <a:gd name="T6" fmla="*/ 34 w 841"/>
                  <a:gd name="T7" fmla="*/ 0 h 384"/>
                  <a:gd name="T8" fmla="*/ 0 w 841"/>
                  <a:gd name="T9" fmla="*/ 19 h 384"/>
                  <a:gd name="T10" fmla="*/ 69 w 841"/>
                  <a:gd name="T11" fmla="*/ 384 h 384"/>
                  <a:gd name="T12" fmla="*/ 803 w 841"/>
                  <a:gd name="T13" fmla="*/ 384 h 384"/>
                  <a:gd name="T14" fmla="*/ 841 w 841"/>
                  <a:gd name="T15" fmla="*/ 346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1" h="384">
                    <a:moveTo>
                      <a:pt x="841" y="346"/>
                    </a:moveTo>
                    <a:cubicBezTo>
                      <a:pt x="841" y="38"/>
                      <a:pt x="841" y="38"/>
                      <a:pt x="841" y="38"/>
                    </a:cubicBezTo>
                    <a:cubicBezTo>
                      <a:pt x="841" y="17"/>
                      <a:pt x="824" y="0"/>
                      <a:pt x="803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19" y="0"/>
                      <a:pt x="7" y="8"/>
                      <a:pt x="0" y="19"/>
                    </a:cubicBezTo>
                    <a:cubicBezTo>
                      <a:pt x="6" y="147"/>
                      <a:pt x="29" y="269"/>
                      <a:pt x="69" y="384"/>
                    </a:cubicBezTo>
                    <a:cubicBezTo>
                      <a:pt x="803" y="384"/>
                      <a:pt x="803" y="384"/>
                      <a:pt x="803" y="384"/>
                    </a:cubicBezTo>
                    <a:cubicBezTo>
                      <a:pt x="824" y="384"/>
                      <a:pt x="841" y="367"/>
                      <a:pt x="841" y="3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5" name="Freeform 16">
                <a:extLst>
                  <a:ext uri="{FF2B5EF4-FFF2-40B4-BE49-F238E27FC236}">
                    <a16:creationId xmlns:a16="http://schemas.microsoft.com/office/drawing/2014/main" xmlns="" id="{1A185507-EFCE-4FD1-B4E5-959211CB80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7" y="1665"/>
                <a:ext cx="1055" cy="480"/>
              </a:xfrm>
              <a:custGeom>
                <a:avLst/>
                <a:gdLst>
                  <a:gd name="T0" fmla="*/ 845 w 845"/>
                  <a:gd name="T1" fmla="*/ 346 h 384"/>
                  <a:gd name="T2" fmla="*/ 845 w 845"/>
                  <a:gd name="T3" fmla="*/ 38 h 384"/>
                  <a:gd name="T4" fmla="*/ 807 w 845"/>
                  <a:gd name="T5" fmla="*/ 0 h 384"/>
                  <a:gd name="T6" fmla="*/ 38 w 845"/>
                  <a:gd name="T7" fmla="*/ 0 h 384"/>
                  <a:gd name="T8" fmla="*/ 0 w 845"/>
                  <a:gd name="T9" fmla="*/ 38 h 384"/>
                  <a:gd name="T10" fmla="*/ 0 w 845"/>
                  <a:gd name="T11" fmla="*/ 346 h 384"/>
                  <a:gd name="T12" fmla="*/ 38 w 845"/>
                  <a:gd name="T13" fmla="*/ 384 h 384"/>
                  <a:gd name="T14" fmla="*/ 807 w 845"/>
                  <a:gd name="T15" fmla="*/ 384 h 384"/>
                  <a:gd name="T16" fmla="*/ 845 w 845"/>
                  <a:gd name="T17" fmla="*/ 346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5" h="384">
                    <a:moveTo>
                      <a:pt x="845" y="346"/>
                    </a:moveTo>
                    <a:cubicBezTo>
                      <a:pt x="845" y="38"/>
                      <a:pt x="845" y="38"/>
                      <a:pt x="845" y="38"/>
                    </a:cubicBezTo>
                    <a:cubicBezTo>
                      <a:pt x="845" y="17"/>
                      <a:pt x="828" y="0"/>
                      <a:pt x="807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ubicBezTo>
                      <a:pt x="807" y="384"/>
                      <a:pt x="807" y="384"/>
                      <a:pt x="807" y="384"/>
                    </a:cubicBezTo>
                    <a:cubicBezTo>
                      <a:pt x="828" y="384"/>
                      <a:pt x="845" y="367"/>
                      <a:pt x="845" y="3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6" name="Freeform 17">
                <a:extLst>
                  <a:ext uri="{FF2B5EF4-FFF2-40B4-BE49-F238E27FC236}">
                    <a16:creationId xmlns:a16="http://schemas.microsoft.com/office/drawing/2014/main" xmlns="" id="{F05544DA-9EFB-47E8-8A43-4358704B21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7" y="1665"/>
                <a:ext cx="1001" cy="480"/>
              </a:xfrm>
              <a:custGeom>
                <a:avLst/>
                <a:gdLst>
                  <a:gd name="T0" fmla="*/ 801 w 801"/>
                  <a:gd name="T1" fmla="*/ 0 h 384"/>
                  <a:gd name="T2" fmla="*/ 38 w 801"/>
                  <a:gd name="T3" fmla="*/ 0 h 384"/>
                  <a:gd name="T4" fmla="*/ 0 w 801"/>
                  <a:gd name="T5" fmla="*/ 38 h 384"/>
                  <a:gd name="T6" fmla="*/ 0 w 801"/>
                  <a:gd name="T7" fmla="*/ 346 h 384"/>
                  <a:gd name="T8" fmla="*/ 38 w 801"/>
                  <a:gd name="T9" fmla="*/ 384 h 384"/>
                  <a:gd name="T10" fmla="*/ 732 w 801"/>
                  <a:gd name="T11" fmla="*/ 384 h 384"/>
                  <a:gd name="T12" fmla="*/ 801 w 801"/>
                  <a:gd name="T13" fmla="*/ 0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1" h="384">
                    <a:moveTo>
                      <a:pt x="801" y="0"/>
                    </a:move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ubicBezTo>
                      <a:pt x="732" y="384"/>
                      <a:pt x="732" y="384"/>
                      <a:pt x="732" y="384"/>
                    </a:cubicBezTo>
                    <a:cubicBezTo>
                      <a:pt x="774" y="263"/>
                      <a:pt x="798" y="134"/>
                      <a:pt x="80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7" name="Freeform 18">
                <a:extLst>
                  <a:ext uri="{FF2B5EF4-FFF2-40B4-BE49-F238E27FC236}">
                    <a16:creationId xmlns:a16="http://schemas.microsoft.com/office/drawing/2014/main" xmlns="" id="{030F24F7-806A-481B-8579-434FDE2248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6" y="2220"/>
                <a:ext cx="392" cy="480"/>
              </a:xfrm>
              <a:custGeom>
                <a:avLst/>
                <a:gdLst>
                  <a:gd name="T0" fmla="*/ 314 w 314"/>
                  <a:gd name="T1" fmla="*/ 346 h 384"/>
                  <a:gd name="T2" fmla="*/ 314 w 314"/>
                  <a:gd name="T3" fmla="*/ 38 h 384"/>
                  <a:gd name="T4" fmla="*/ 276 w 314"/>
                  <a:gd name="T5" fmla="*/ 0 h 384"/>
                  <a:gd name="T6" fmla="*/ 0 w 314"/>
                  <a:gd name="T7" fmla="*/ 0 h 384"/>
                  <a:gd name="T8" fmla="*/ 238 w 314"/>
                  <a:gd name="T9" fmla="*/ 384 h 384"/>
                  <a:gd name="T10" fmla="*/ 276 w 314"/>
                  <a:gd name="T11" fmla="*/ 384 h 384"/>
                  <a:gd name="T12" fmla="*/ 314 w 314"/>
                  <a:gd name="T13" fmla="*/ 346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4" h="384">
                    <a:moveTo>
                      <a:pt x="314" y="346"/>
                    </a:moveTo>
                    <a:cubicBezTo>
                      <a:pt x="314" y="38"/>
                      <a:pt x="314" y="38"/>
                      <a:pt x="314" y="38"/>
                    </a:cubicBezTo>
                    <a:cubicBezTo>
                      <a:pt x="314" y="17"/>
                      <a:pt x="297" y="0"/>
                      <a:pt x="27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6" y="142"/>
                      <a:pt x="138" y="272"/>
                      <a:pt x="238" y="384"/>
                    </a:cubicBezTo>
                    <a:cubicBezTo>
                      <a:pt x="276" y="384"/>
                      <a:pt x="276" y="384"/>
                      <a:pt x="276" y="384"/>
                    </a:cubicBezTo>
                    <a:cubicBezTo>
                      <a:pt x="297" y="384"/>
                      <a:pt x="314" y="367"/>
                      <a:pt x="314" y="3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8" name="Freeform 19">
                <a:extLst>
                  <a:ext uri="{FF2B5EF4-FFF2-40B4-BE49-F238E27FC236}">
                    <a16:creationId xmlns:a16="http://schemas.microsoft.com/office/drawing/2014/main" xmlns="" id="{DFA4A4C9-D0F9-4F98-819A-A2A1FFD5CC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3" y="2220"/>
                <a:ext cx="1056" cy="480"/>
              </a:xfrm>
              <a:custGeom>
                <a:avLst/>
                <a:gdLst>
                  <a:gd name="T0" fmla="*/ 38 w 845"/>
                  <a:gd name="T1" fmla="*/ 384 h 384"/>
                  <a:gd name="T2" fmla="*/ 807 w 845"/>
                  <a:gd name="T3" fmla="*/ 384 h 384"/>
                  <a:gd name="T4" fmla="*/ 845 w 845"/>
                  <a:gd name="T5" fmla="*/ 346 h 384"/>
                  <a:gd name="T6" fmla="*/ 845 w 845"/>
                  <a:gd name="T7" fmla="*/ 38 h 384"/>
                  <a:gd name="T8" fmla="*/ 807 w 845"/>
                  <a:gd name="T9" fmla="*/ 0 h 384"/>
                  <a:gd name="T10" fmla="*/ 38 w 845"/>
                  <a:gd name="T11" fmla="*/ 0 h 384"/>
                  <a:gd name="T12" fmla="*/ 0 w 845"/>
                  <a:gd name="T13" fmla="*/ 38 h 384"/>
                  <a:gd name="T14" fmla="*/ 0 w 845"/>
                  <a:gd name="T15" fmla="*/ 346 h 384"/>
                  <a:gd name="T16" fmla="*/ 38 w 845"/>
                  <a:gd name="T17" fmla="*/ 38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5" h="384">
                    <a:moveTo>
                      <a:pt x="38" y="384"/>
                    </a:moveTo>
                    <a:cubicBezTo>
                      <a:pt x="807" y="384"/>
                      <a:pt x="807" y="384"/>
                      <a:pt x="807" y="384"/>
                    </a:cubicBezTo>
                    <a:cubicBezTo>
                      <a:pt x="828" y="384"/>
                      <a:pt x="845" y="367"/>
                      <a:pt x="845" y="346"/>
                    </a:cubicBezTo>
                    <a:cubicBezTo>
                      <a:pt x="845" y="38"/>
                      <a:pt x="845" y="38"/>
                      <a:pt x="845" y="38"/>
                    </a:cubicBezTo>
                    <a:cubicBezTo>
                      <a:pt x="845" y="17"/>
                      <a:pt x="828" y="0"/>
                      <a:pt x="807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9" name="Freeform 20">
                <a:extLst>
                  <a:ext uri="{FF2B5EF4-FFF2-40B4-BE49-F238E27FC236}">
                    <a16:creationId xmlns:a16="http://schemas.microsoft.com/office/drawing/2014/main" xmlns="" id="{611E48DB-B7C9-4498-A5A2-2A391589D5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" y="2220"/>
                <a:ext cx="1056" cy="480"/>
              </a:xfrm>
              <a:custGeom>
                <a:avLst/>
                <a:gdLst>
                  <a:gd name="T0" fmla="*/ 38 w 845"/>
                  <a:gd name="T1" fmla="*/ 384 h 384"/>
                  <a:gd name="T2" fmla="*/ 807 w 845"/>
                  <a:gd name="T3" fmla="*/ 384 h 384"/>
                  <a:gd name="T4" fmla="*/ 845 w 845"/>
                  <a:gd name="T5" fmla="*/ 346 h 384"/>
                  <a:gd name="T6" fmla="*/ 845 w 845"/>
                  <a:gd name="T7" fmla="*/ 38 h 384"/>
                  <a:gd name="T8" fmla="*/ 807 w 845"/>
                  <a:gd name="T9" fmla="*/ 0 h 384"/>
                  <a:gd name="T10" fmla="*/ 38 w 845"/>
                  <a:gd name="T11" fmla="*/ 0 h 384"/>
                  <a:gd name="T12" fmla="*/ 0 w 845"/>
                  <a:gd name="T13" fmla="*/ 38 h 384"/>
                  <a:gd name="T14" fmla="*/ 0 w 845"/>
                  <a:gd name="T15" fmla="*/ 346 h 384"/>
                  <a:gd name="T16" fmla="*/ 38 w 845"/>
                  <a:gd name="T17" fmla="*/ 38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45" h="384">
                    <a:moveTo>
                      <a:pt x="38" y="384"/>
                    </a:moveTo>
                    <a:cubicBezTo>
                      <a:pt x="807" y="384"/>
                      <a:pt x="807" y="384"/>
                      <a:pt x="807" y="384"/>
                    </a:cubicBezTo>
                    <a:cubicBezTo>
                      <a:pt x="828" y="384"/>
                      <a:pt x="845" y="367"/>
                      <a:pt x="845" y="346"/>
                    </a:cubicBezTo>
                    <a:cubicBezTo>
                      <a:pt x="845" y="38"/>
                      <a:pt x="845" y="38"/>
                      <a:pt x="845" y="38"/>
                    </a:cubicBezTo>
                    <a:cubicBezTo>
                      <a:pt x="845" y="17"/>
                      <a:pt x="828" y="0"/>
                      <a:pt x="807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67"/>
                      <a:pt x="17" y="384"/>
                      <a:pt x="38" y="3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0" name="Freeform 21">
                <a:extLst>
                  <a:ext uri="{FF2B5EF4-FFF2-40B4-BE49-F238E27FC236}">
                    <a16:creationId xmlns:a16="http://schemas.microsoft.com/office/drawing/2014/main" xmlns="" id="{8B34F9F4-9C3B-45FC-86ED-D16B5D1105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3" y="2220"/>
                <a:ext cx="311" cy="473"/>
              </a:xfrm>
              <a:custGeom>
                <a:avLst/>
                <a:gdLst>
                  <a:gd name="T0" fmla="*/ 38 w 249"/>
                  <a:gd name="T1" fmla="*/ 0 h 378"/>
                  <a:gd name="T2" fmla="*/ 0 w 249"/>
                  <a:gd name="T3" fmla="*/ 38 h 378"/>
                  <a:gd name="T4" fmla="*/ 0 w 249"/>
                  <a:gd name="T5" fmla="*/ 346 h 378"/>
                  <a:gd name="T6" fmla="*/ 17 w 249"/>
                  <a:gd name="T7" fmla="*/ 378 h 378"/>
                  <a:gd name="T8" fmla="*/ 249 w 249"/>
                  <a:gd name="T9" fmla="*/ 0 h 378"/>
                  <a:gd name="T10" fmla="*/ 38 w 249"/>
                  <a:gd name="T11" fmla="*/ 0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9" h="378">
                    <a:moveTo>
                      <a:pt x="38" y="0"/>
                    </a:moveTo>
                    <a:cubicBezTo>
                      <a:pt x="17" y="0"/>
                      <a:pt x="0" y="17"/>
                      <a:pt x="0" y="38"/>
                    </a:cubicBezTo>
                    <a:cubicBezTo>
                      <a:pt x="0" y="346"/>
                      <a:pt x="0" y="346"/>
                      <a:pt x="0" y="346"/>
                    </a:cubicBezTo>
                    <a:cubicBezTo>
                      <a:pt x="0" y="359"/>
                      <a:pt x="6" y="371"/>
                      <a:pt x="17" y="378"/>
                    </a:cubicBezTo>
                    <a:cubicBezTo>
                      <a:pt x="114" y="267"/>
                      <a:pt x="194" y="139"/>
                      <a:pt x="249" y="0"/>
                    </a:cubicBezTo>
                    <a:lnTo>
                      <a:pt x="3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1" name="Freeform 22">
                <a:extLst>
                  <a:ext uri="{FF2B5EF4-FFF2-40B4-BE49-F238E27FC236}">
                    <a16:creationId xmlns:a16="http://schemas.microsoft.com/office/drawing/2014/main" xmlns="" id="{72568A46-60CC-42E4-B976-FF980E215E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4" y="2775"/>
                <a:ext cx="569" cy="363"/>
              </a:xfrm>
              <a:custGeom>
                <a:avLst/>
                <a:gdLst>
                  <a:gd name="T0" fmla="*/ 455 w 455"/>
                  <a:gd name="T1" fmla="*/ 38 h 290"/>
                  <a:gd name="T2" fmla="*/ 417 w 455"/>
                  <a:gd name="T3" fmla="*/ 0 h 290"/>
                  <a:gd name="T4" fmla="*/ 0 w 455"/>
                  <a:gd name="T5" fmla="*/ 0 h 290"/>
                  <a:gd name="T6" fmla="*/ 455 w 455"/>
                  <a:gd name="T7" fmla="*/ 290 h 290"/>
                  <a:gd name="T8" fmla="*/ 455 w 455"/>
                  <a:gd name="T9" fmla="*/ 38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5" h="290">
                    <a:moveTo>
                      <a:pt x="455" y="38"/>
                    </a:moveTo>
                    <a:cubicBezTo>
                      <a:pt x="455" y="17"/>
                      <a:pt x="438" y="0"/>
                      <a:pt x="4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8" y="126"/>
                      <a:pt x="283" y="226"/>
                      <a:pt x="455" y="290"/>
                    </a:cubicBezTo>
                    <a:lnTo>
                      <a:pt x="455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2" name="Freeform 23">
                <a:extLst>
                  <a:ext uri="{FF2B5EF4-FFF2-40B4-BE49-F238E27FC236}">
                    <a16:creationId xmlns:a16="http://schemas.microsoft.com/office/drawing/2014/main" xmlns="" id="{D13D1BBE-52F6-4D7C-9043-9C0A733CD6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7" y="2775"/>
                <a:ext cx="1055" cy="465"/>
              </a:xfrm>
              <a:custGeom>
                <a:avLst/>
                <a:gdLst>
                  <a:gd name="T0" fmla="*/ 845 w 845"/>
                  <a:gd name="T1" fmla="*/ 294 h 372"/>
                  <a:gd name="T2" fmla="*/ 845 w 845"/>
                  <a:gd name="T3" fmla="*/ 38 h 372"/>
                  <a:gd name="T4" fmla="*/ 807 w 845"/>
                  <a:gd name="T5" fmla="*/ 0 h 372"/>
                  <a:gd name="T6" fmla="*/ 38 w 845"/>
                  <a:gd name="T7" fmla="*/ 0 h 372"/>
                  <a:gd name="T8" fmla="*/ 0 w 845"/>
                  <a:gd name="T9" fmla="*/ 38 h 372"/>
                  <a:gd name="T10" fmla="*/ 0 w 845"/>
                  <a:gd name="T11" fmla="*/ 308 h 372"/>
                  <a:gd name="T12" fmla="*/ 403 w 845"/>
                  <a:gd name="T13" fmla="*/ 372 h 372"/>
                  <a:gd name="T14" fmla="*/ 845 w 845"/>
                  <a:gd name="T15" fmla="*/ 294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45" h="372">
                    <a:moveTo>
                      <a:pt x="845" y="294"/>
                    </a:moveTo>
                    <a:cubicBezTo>
                      <a:pt x="845" y="38"/>
                      <a:pt x="845" y="38"/>
                      <a:pt x="845" y="38"/>
                    </a:cubicBezTo>
                    <a:cubicBezTo>
                      <a:pt x="845" y="17"/>
                      <a:pt x="828" y="0"/>
                      <a:pt x="807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308"/>
                      <a:pt x="0" y="308"/>
                      <a:pt x="0" y="308"/>
                    </a:cubicBezTo>
                    <a:cubicBezTo>
                      <a:pt x="127" y="349"/>
                      <a:pt x="262" y="372"/>
                      <a:pt x="403" y="372"/>
                    </a:cubicBezTo>
                    <a:cubicBezTo>
                      <a:pt x="558" y="372"/>
                      <a:pt x="707" y="345"/>
                      <a:pt x="845" y="29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3" name="Freeform 24">
                <a:extLst>
                  <a:ext uri="{FF2B5EF4-FFF2-40B4-BE49-F238E27FC236}">
                    <a16:creationId xmlns:a16="http://schemas.microsoft.com/office/drawing/2014/main" xmlns="" id="{C62B14DF-0C38-4D3E-A04D-F82BBD383B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7" y="2775"/>
                <a:ext cx="519" cy="344"/>
              </a:xfrm>
              <a:custGeom>
                <a:avLst/>
                <a:gdLst>
                  <a:gd name="T0" fmla="*/ 38 w 415"/>
                  <a:gd name="T1" fmla="*/ 0 h 275"/>
                  <a:gd name="T2" fmla="*/ 0 w 415"/>
                  <a:gd name="T3" fmla="*/ 38 h 275"/>
                  <a:gd name="T4" fmla="*/ 0 w 415"/>
                  <a:gd name="T5" fmla="*/ 275 h 275"/>
                  <a:gd name="T6" fmla="*/ 415 w 415"/>
                  <a:gd name="T7" fmla="*/ 0 h 275"/>
                  <a:gd name="T8" fmla="*/ 38 w 415"/>
                  <a:gd name="T9" fmla="*/ 0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5" h="275">
                    <a:moveTo>
                      <a:pt x="38" y="0"/>
                    </a:moveTo>
                    <a:cubicBezTo>
                      <a:pt x="17" y="0"/>
                      <a:pt x="0" y="17"/>
                      <a:pt x="0" y="38"/>
                    </a:cubicBezTo>
                    <a:cubicBezTo>
                      <a:pt x="0" y="275"/>
                      <a:pt x="0" y="275"/>
                      <a:pt x="0" y="275"/>
                    </a:cubicBezTo>
                    <a:cubicBezTo>
                      <a:pt x="156" y="210"/>
                      <a:pt x="297" y="116"/>
                      <a:pt x="415" y="0"/>
                    </a:cubicBezTo>
                    <a:lnTo>
                      <a:pt x="3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419" name="Group 1418">
            <a:extLst>
              <a:ext uri="{FF2B5EF4-FFF2-40B4-BE49-F238E27FC236}">
                <a16:creationId xmlns:a16="http://schemas.microsoft.com/office/drawing/2014/main" xmlns="" id="{1A5B0C10-4799-4091-9604-F85EF96376BD}"/>
              </a:ext>
            </a:extLst>
          </p:cNvPr>
          <p:cNvGrpSpPr/>
          <p:nvPr/>
        </p:nvGrpSpPr>
        <p:grpSpPr>
          <a:xfrm>
            <a:off x="19054512" y="2835347"/>
            <a:ext cx="618697" cy="448449"/>
            <a:chOff x="4207537" y="2273730"/>
            <a:chExt cx="598923" cy="434116"/>
          </a:xfrm>
        </p:grpSpPr>
        <p:grpSp>
          <p:nvGrpSpPr>
            <p:cNvPr id="1421" name="Group 1420">
              <a:extLst>
                <a:ext uri="{FF2B5EF4-FFF2-40B4-BE49-F238E27FC236}">
                  <a16:creationId xmlns:a16="http://schemas.microsoft.com/office/drawing/2014/main" xmlns="" id="{92EB4EA2-5BC9-49CC-8ABA-EAFCED568534}"/>
                </a:ext>
              </a:extLst>
            </p:cNvPr>
            <p:cNvGrpSpPr/>
            <p:nvPr/>
          </p:nvGrpSpPr>
          <p:grpSpPr>
            <a:xfrm>
              <a:off x="4207537" y="2273730"/>
              <a:ext cx="179387" cy="434116"/>
              <a:chOff x="2330274" y="3840316"/>
              <a:chExt cx="238125" cy="576262"/>
            </a:xfrm>
          </p:grpSpPr>
          <p:sp>
            <p:nvSpPr>
              <p:cNvPr id="1436" name="Freeform 201">
                <a:extLst>
                  <a:ext uri="{FF2B5EF4-FFF2-40B4-BE49-F238E27FC236}">
                    <a16:creationId xmlns:a16="http://schemas.microsoft.com/office/drawing/2014/main" xmlns="" id="{DA41F7DA-2BB7-4D78-B3C4-858B0F1790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7" name="Line 202">
                <a:extLst>
                  <a:ext uri="{FF2B5EF4-FFF2-40B4-BE49-F238E27FC236}">
                    <a16:creationId xmlns:a16="http://schemas.microsoft.com/office/drawing/2014/main" xmlns="" id="{548A8EEE-720D-4445-977F-1C8D4F05A6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8" name="Line 203">
                <a:extLst>
                  <a:ext uri="{FF2B5EF4-FFF2-40B4-BE49-F238E27FC236}">
                    <a16:creationId xmlns:a16="http://schemas.microsoft.com/office/drawing/2014/main" xmlns="" id="{6768BC38-58D6-444B-AD5D-51BEA79210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9" name="Line 204">
                <a:extLst>
                  <a:ext uri="{FF2B5EF4-FFF2-40B4-BE49-F238E27FC236}">
                    <a16:creationId xmlns:a16="http://schemas.microsoft.com/office/drawing/2014/main" xmlns="" id="{7BDB3B5F-F922-4AC5-86D2-D102D52E24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0" name="Line 205">
                <a:extLst>
                  <a:ext uri="{FF2B5EF4-FFF2-40B4-BE49-F238E27FC236}">
                    <a16:creationId xmlns:a16="http://schemas.microsoft.com/office/drawing/2014/main" xmlns="" id="{CAA910B3-D282-4F9C-BAE2-B7E842FB583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1" name="Line 206">
                <a:extLst>
                  <a:ext uri="{FF2B5EF4-FFF2-40B4-BE49-F238E27FC236}">
                    <a16:creationId xmlns:a16="http://schemas.microsoft.com/office/drawing/2014/main" xmlns="" id="{B576D165-C681-4B6B-891C-FCC0204E01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422" name="Group 1421">
              <a:extLst>
                <a:ext uri="{FF2B5EF4-FFF2-40B4-BE49-F238E27FC236}">
                  <a16:creationId xmlns:a16="http://schemas.microsoft.com/office/drawing/2014/main" xmlns="" id="{453E3FEE-8C2C-492A-9AAC-090FA8ACF6B2}"/>
                </a:ext>
              </a:extLst>
            </p:cNvPr>
            <p:cNvGrpSpPr/>
            <p:nvPr/>
          </p:nvGrpSpPr>
          <p:grpSpPr>
            <a:xfrm>
              <a:off x="4417305" y="2273730"/>
              <a:ext cx="179387" cy="434116"/>
              <a:chOff x="2330274" y="3840316"/>
              <a:chExt cx="238125" cy="576262"/>
            </a:xfrm>
          </p:grpSpPr>
          <p:sp>
            <p:nvSpPr>
              <p:cNvPr id="1430" name="Freeform 201">
                <a:extLst>
                  <a:ext uri="{FF2B5EF4-FFF2-40B4-BE49-F238E27FC236}">
                    <a16:creationId xmlns:a16="http://schemas.microsoft.com/office/drawing/2014/main" xmlns="" id="{506ACFA2-1112-4F64-A0B5-D0D15E7609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1" name="Line 202">
                <a:extLst>
                  <a:ext uri="{FF2B5EF4-FFF2-40B4-BE49-F238E27FC236}">
                    <a16:creationId xmlns:a16="http://schemas.microsoft.com/office/drawing/2014/main" xmlns="" id="{A440CC0D-9081-4247-8B25-74426FA567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2" name="Line 203">
                <a:extLst>
                  <a:ext uri="{FF2B5EF4-FFF2-40B4-BE49-F238E27FC236}">
                    <a16:creationId xmlns:a16="http://schemas.microsoft.com/office/drawing/2014/main" xmlns="" id="{B052D523-105D-416E-B466-96F9698CD7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3" name="Line 204">
                <a:extLst>
                  <a:ext uri="{FF2B5EF4-FFF2-40B4-BE49-F238E27FC236}">
                    <a16:creationId xmlns:a16="http://schemas.microsoft.com/office/drawing/2014/main" xmlns="" id="{7DE1B266-1D58-4628-BD21-911473E1D4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4" name="Line 205">
                <a:extLst>
                  <a:ext uri="{FF2B5EF4-FFF2-40B4-BE49-F238E27FC236}">
                    <a16:creationId xmlns:a16="http://schemas.microsoft.com/office/drawing/2014/main" xmlns="" id="{E366B397-D47C-4D66-ABA5-65F0B2EA0A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5" name="Line 206">
                <a:extLst>
                  <a:ext uri="{FF2B5EF4-FFF2-40B4-BE49-F238E27FC236}">
                    <a16:creationId xmlns:a16="http://schemas.microsoft.com/office/drawing/2014/main" xmlns="" id="{2E618B25-EE35-478D-AEAE-C87D9D23EC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423" name="Group 1422">
              <a:extLst>
                <a:ext uri="{FF2B5EF4-FFF2-40B4-BE49-F238E27FC236}">
                  <a16:creationId xmlns:a16="http://schemas.microsoft.com/office/drawing/2014/main" xmlns="" id="{5979BFE2-439B-4C63-8F2F-9499568F0B3B}"/>
                </a:ext>
              </a:extLst>
            </p:cNvPr>
            <p:cNvGrpSpPr/>
            <p:nvPr/>
          </p:nvGrpSpPr>
          <p:grpSpPr>
            <a:xfrm>
              <a:off x="4627073" y="2273730"/>
              <a:ext cx="179387" cy="434116"/>
              <a:chOff x="2330274" y="3840316"/>
              <a:chExt cx="238125" cy="576262"/>
            </a:xfrm>
          </p:grpSpPr>
          <p:sp>
            <p:nvSpPr>
              <p:cNvPr id="1424" name="Freeform 201">
                <a:extLst>
                  <a:ext uri="{FF2B5EF4-FFF2-40B4-BE49-F238E27FC236}">
                    <a16:creationId xmlns:a16="http://schemas.microsoft.com/office/drawing/2014/main" xmlns="" id="{1A7BF198-CE65-4F0C-B972-CE7DC6290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0274" y="3840316"/>
                <a:ext cx="238125" cy="576262"/>
              </a:xfrm>
              <a:custGeom>
                <a:avLst/>
                <a:gdLst>
                  <a:gd name="T0" fmla="*/ 84 w 101"/>
                  <a:gd name="T1" fmla="*/ 243 h 243"/>
                  <a:gd name="T2" fmla="*/ 17 w 101"/>
                  <a:gd name="T3" fmla="*/ 243 h 243"/>
                  <a:gd name="T4" fmla="*/ 0 w 101"/>
                  <a:gd name="T5" fmla="*/ 226 h 243"/>
                  <a:gd name="T6" fmla="*/ 0 w 101"/>
                  <a:gd name="T7" fmla="*/ 17 h 243"/>
                  <a:gd name="T8" fmla="*/ 17 w 101"/>
                  <a:gd name="T9" fmla="*/ 0 h 243"/>
                  <a:gd name="T10" fmla="*/ 84 w 101"/>
                  <a:gd name="T11" fmla="*/ 0 h 243"/>
                  <a:gd name="T12" fmla="*/ 101 w 101"/>
                  <a:gd name="T13" fmla="*/ 17 h 243"/>
                  <a:gd name="T14" fmla="*/ 101 w 101"/>
                  <a:gd name="T15" fmla="*/ 226 h 243"/>
                  <a:gd name="T16" fmla="*/ 84 w 101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1" h="243">
                    <a:moveTo>
                      <a:pt x="84" y="243"/>
                    </a:moveTo>
                    <a:cubicBezTo>
                      <a:pt x="17" y="243"/>
                      <a:pt x="17" y="243"/>
                      <a:pt x="17" y="243"/>
                    </a:cubicBezTo>
                    <a:cubicBezTo>
                      <a:pt x="8" y="243"/>
                      <a:pt x="0" y="235"/>
                      <a:pt x="0" y="22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1" y="8"/>
                      <a:pt x="101" y="17"/>
                    </a:cubicBezTo>
                    <a:cubicBezTo>
                      <a:pt x="101" y="226"/>
                      <a:pt x="101" y="226"/>
                      <a:pt x="101" y="226"/>
                    </a:cubicBezTo>
                    <a:cubicBezTo>
                      <a:pt x="101" y="235"/>
                      <a:pt x="93" y="243"/>
                      <a:pt x="84" y="24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5" name="Line 202">
                <a:extLst>
                  <a:ext uri="{FF2B5EF4-FFF2-40B4-BE49-F238E27FC236}">
                    <a16:creationId xmlns:a16="http://schemas.microsoft.com/office/drawing/2014/main" xmlns="" id="{0EB23CEE-DDC7-47A7-B31E-298441410FC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10166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6" name="Line 203">
                <a:extLst>
                  <a:ext uri="{FF2B5EF4-FFF2-40B4-BE49-F238E27FC236}">
                    <a16:creationId xmlns:a16="http://schemas.microsoft.com/office/drawing/2014/main" xmlns="" id="{3339095A-823B-43FF-805B-C0C6D12948C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39816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7" name="Line 204">
                <a:extLst>
                  <a:ext uri="{FF2B5EF4-FFF2-40B4-BE49-F238E27FC236}">
                    <a16:creationId xmlns:a16="http://schemas.microsoft.com/office/drawing/2014/main" xmlns="" id="{70909319-921B-4354-ABC7-84F7ED9B4C1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05145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8" name="Line 205">
                <a:extLst>
                  <a:ext uri="{FF2B5EF4-FFF2-40B4-BE49-F238E27FC236}">
                    <a16:creationId xmlns:a16="http://schemas.microsoft.com/office/drawing/2014/main" xmlns="" id="{9BE19B1A-4DB0-4B7C-885A-2E68F7BAB9B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21303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9" name="Line 206">
                <a:extLst>
                  <a:ext uri="{FF2B5EF4-FFF2-40B4-BE49-F238E27FC236}">
                    <a16:creationId xmlns:a16="http://schemas.microsoft.com/office/drawing/2014/main" xmlns="" id="{7ECF8FA0-28A5-4EC8-9326-05A8D2E50BB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89011" y="4192741"/>
                <a:ext cx="120650" cy="0"/>
              </a:xfrm>
              <a:prstGeom prst="line">
                <a:avLst/>
              </a:prstGeom>
              <a:noFill/>
              <a:ln w="20638" cap="rnd">
                <a:solidFill>
                  <a:srgbClr val="00507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420" name="Rectangle 1419">
            <a:extLst>
              <a:ext uri="{FF2B5EF4-FFF2-40B4-BE49-F238E27FC236}">
                <a16:creationId xmlns:a16="http://schemas.microsoft.com/office/drawing/2014/main" xmlns="" id="{C9A8B896-9095-4198-87C9-32DA83B3BC33}"/>
              </a:ext>
            </a:extLst>
          </p:cNvPr>
          <p:cNvSpPr/>
          <p:nvPr/>
        </p:nvSpPr>
        <p:spPr>
          <a:xfrm>
            <a:off x="12992808" y="813489"/>
            <a:ext cx="8477739" cy="355649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xmlns="" id="{1E49B75E-3447-4503-9AF1-23D735A4AB86}"/>
              </a:ext>
            </a:extLst>
          </p:cNvPr>
          <p:cNvGrpSpPr/>
          <p:nvPr/>
        </p:nvGrpSpPr>
        <p:grpSpPr>
          <a:xfrm>
            <a:off x="4057123" y="813489"/>
            <a:ext cx="8477739" cy="3556493"/>
            <a:chOff x="4057123" y="813489"/>
            <a:chExt cx="8477739" cy="3556493"/>
          </a:xfrm>
        </p:grpSpPr>
        <p:sp>
          <p:nvSpPr>
            <p:cNvPr id="1088" name="Oval 1087">
              <a:extLst>
                <a:ext uri="{FF2B5EF4-FFF2-40B4-BE49-F238E27FC236}">
                  <a16:creationId xmlns:a16="http://schemas.microsoft.com/office/drawing/2014/main" xmlns="" id="{ECAD525B-4872-45A5-8335-7C49D0894ACC}"/>
                </a:ext>
              </a:extLst>
            </p:cNvPr>
            <p:cNvSpPr/>
            <p:nvPr/>
          </p:nvSpPr>
          <p:spPr>
            <a:xfrm>
              <a:off x="8892109" y="1095567"/>
              <a:ext cx="3137312" cy="313731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089" name="Oval 1088">
              <a:extLst>
                <a:ext uri="{FF2B5EF4-FFF2-40B4-BE49-F238E27FC236}">
                  <a16:creationId xmlns:a16="http://schemas.microsoft.com/office/drawing/2014/main" xmlns="" id="{59247A2B-39D7-4499-AA91-1F4761F2FC59}"/>
                </a:ext>
              </a:extLst>
            </p:cNvPr>
            <p:cNvSpPr/>
            <p:nvPr/>
          </p:nvSpPr>
          <p:spPr>
            <a:xfrm>
              <a:off x="4555693" y="1095567"/>
              <a:ext cx="3137312" cy="313731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cxnSp>
          <p:nvCxnSpPr>
            <p:cNvPr id="1092" name="Straight Connector 1091">
              <a:extLst>
                <a:ext uri="{FF2B5EF4-FFF2-40B4-BE49-F238E27FC236}">
                  <a16:creationId xmlns:a16="http://schemas.microsoft.com/office/drawing/2014/main" xmlns="" id="{5DBBE87C-7CB6-4C63-A7FD-D517D55BB2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960031" y="3507336"/>
              <a:ext cx="244913" cy="641928"/>
            </a:xfrm>
            <a:prstGeom prst="line">
              <a:avLst/>
            </a:prstGeom>
            <a:ln w="63500">
              <a:solidFill>
                <a:srgbClr val="EBEBE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3" name="Straight Connector 1092">
              <a:extLst>
                <a:ext uri="{FF2B5EF4-FFF2-40B4-BE49-F238E27FC236}">
                  <a16:creationId xmlns:a16="http://schemas.microsoft.com/office/drawing/2014/main" xmlns="" id="{216FFA75-92F8-4DA9-9A80-20C813A118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946551" y="1336566"/>
              <a:ext cx="313992" cy="435961"/>
            </a:xfrm>
            <a:prstGeom prst="line">
              <a:avLst/>
            </a:prstGeom>
            <a:ln w="63500">
              <a:solidFill>
                <a:srgbClr val="EBEBE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4" name="Straight Connector 1093">
              <a:extLst>
                <a:ext uri="{FF2B5EF4-FFF2-40B4-BE49-F238E27FC236}">
                  <a16:creationId xmlns:a16="http://schemas.microsoft.com/office/drawing/2014/main" xmlns="" id="{157D3BBD-EF22-47C3-8160-3EC3998D42B5}"/>
                </a:ext>
              </a:extLst>
            </p:cNvPr>
            <p:cNvCxnSpPr>
              <a:cxnSpLocks/>
            </p:cNvCxnSpPr>
            <p:nvPr/>
          </p:nvCxnSpPr>
          <p:spPr>
            <a:xfrm>
              <a:off x="4948184" y="1615530"/>
              <a:ext cx="392240" cy="410031"/>
            </a:xfrm>
            <a:prstGeom prst="line">
              <a:avLst/>
            </a:prstGeom>
            <a:ln w="63500">
              <a:solidFill>
                <a:srgbClr val="EBEBE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8" name="Straight Connector 1097">
              <a:extLst>
                <a:ext uri="{FF2B5EF4-FFF2-40B4-BE49-F238E27FC236}">
                  <a16:creationId xmlns:a16="http://schemas.microsoft.com/office/drawing/2014/main" xmlns="" id="{935A090C-05C2-4802-8CE5-8CE5A7D10F2F}"/>
                </a:ext>
              </a:extLst>
            </p:cNvPr>
            <p:cNvCxnSpPr>
              <a:cxnSpLocks/>
            </p:cNvCxnSpPr>
            <p:nvPr/>
          </p:nvCxnSpPr>
          <p:spPr>
            <a:xfrm>
              <a:off x="4320200" y="2687454"/>
              <a:ext cx="5208576" cy="0"/>
            </a:xfrm>
            <a:prstGeom prst="line">
              <a:avLst/>
            </a:prstGeom>
            <a:ln w="63500">
              <a:solidFill>
                <a:srgbClr val="EBEBE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5" name="Straight Connector 1094">
              <a:extLst>
                <a:ext uri="{FF2B5EF4-FFF2-40B4-BE49-F238E27FC236}">
                  <a16:creationId xmlns:a16="http://schemas.microsoft.com/office/drawing/2014/main" xmlns="" id="{36C38D70-A718-46D1-BE37-ACE819CEBC41}"/>
                </a:ext>
              </a:extLst>
            </p:cNvPr>
            <p:cNvCxnSpPr>
              <a:cxnSpLocks/>
            </p:cNvCxnSpPr>
            <p:nvPr/>
          </p:nvCxnSpPr>
          <p:spPr>
            <a:xfrm>
              <a:off x="6965268" y="3463514"/>
              <a:ext cx="311525" cy="209913"/>
            </a:xfrm>
            <a:prstGeom prst="line">
              <a:avLst/>
            </a:prstGeom>
            <a:ln w="63500">
              <a:solidFill>
                <a:srgbClr val="EBEBE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6" name="Oval 1095">
              <a:extLst>
                <a:ext uri="{FF2B5EF4-FFF2-40B4-BE49-F238E27FC236}">
                  <a16:creationId xmlns:a16="http://schemas.microsoft.com/office/drawing/2014/main" xmlns="" id="{7C897FA2-3D9D-475F-B3CD-3D4BAEB39A68}"/>
                </a:ext>
              </a:extLst>
            </p:cNvPr>
            <p:cNvSpPr/>
            <p:nvPr/>
          </p:nvSpPr>
          <p:spPr>
            <a:xfrm>
              <a:off x="4999941" y="1536192"/>
              <a:ext cx="2302523" cy="2302523"/>
            </a:xfrm>
            <a:prstGeom prst="ellipse">
              <a:avLst/>
            </a:prstGeom>
            <a:solidFill>
              <a:srgbClr val="F2F2F3"/>
            </a:solidFill>
            <a:ln cap="rnd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097" name="Oval 1096">
              <a:extLst>
                <a:ext uri="{FF2B5EF4-FFF2-40B4-BE49-F238E27FC236}">
                  <a16:creationId xmlns:a16="http://schemas.microsoft.com/office/drawing/2014/main" xmlns="" id="{3A4264C7-DADB-4632-9B2D-C1E4B12AD17F}"/>
                </a:ext>
              </a:extLst>
            </p:cNvPr>
            <p:cNvSpPr/>
            <p:nvPr/>
          </p:nvSpPr>
          <p:spPr>
            <a:xfrm>
              <a:off x="9279485" y="1536192"/>
              <a:ext cx="2302523" cy="2302523"/>
            </a:xfrm>
            <a:prstGeom prst="ellipse">
              <a:avLst/>
            </a:prstGeom>
            <a:solidFill>
              <a:srgbClr val="F2F2F3"/>
            </a:solidFill>
            <a:ln cap="rnd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pic>
          <p:nvPicPr>
            <p:cNvPr id="1101" name="Picture 1100">
              <a:extLst>
                <a:ext uri="{FF2B5EF4-FFF2-40B4-BE49-F238E27FC236}">
                  <a16:creationId xmlns:a16="http://schemas.microsoft.com/office/drawing/2014/main" xmlns="" id="{44417C28-4E19-43E7-889A-05DF7A6A4D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838520" y="1294877"/>
              <a:ext cx="571661" cy="571661"/>
            </a:xfrm>
            <a:prstGeom prst="rect">
              <a:avLst/>
            </a:prstGeom>
          </p:spPr>
        </p:pic>
        <p:grpSp>
          <p:nvGrpSpPr>
            <p:cNvPr id="1104" name="Group 1103">
              <a:extLst>
                <a:ext uri="{FF2B5EF4-FFF2-40B4-BE49-F238E27FC236}">
                  <a16:creationId xmlns:a16="http://schemas.microsoft.com/office/drawing/2014/main" xmlns="" id="{47A56BC2-3CC5-442D-9C6B-67F149364611}"/>
                </a:ext>
              </a:extLst>
            </p:cNvPr>
            <p:cNvGrpSpPr/>
            <p:nvPr/>
          </p:nvGrpSpPr>
          <p:grpSpPr>
            <a:xfrm>
              <a:off x="5824406" y="2082895"/>
              <a:ext cx="618697" cy="448449"/>
              <a:chOff x="4207537" y="2273730"/>
              <a:chExt cx="598923" cy="434116"/>
            </a:xfrm>
          </p:grpSpPr>
          <p:grpSp>
            <p:nvGrpSpPr>
              <p:cNvPr id="1256" name="Group 1255">
                <a:extLst>
                  <a:ext uri="{FF2B5EF4-FFF2-40B4-BE49-F238E27FC236}">
                    <a16:creationId xmlns:a16="http://schemas.microsoft.com/office/drawing/2014/main" xmlns="" id="{61E86095-5A07-47CD-B083-E24BF108C1E3}"/>
                  </a:ext>
                </a:extLst>
              </p:cNvPr>
              <p:cNvGrpSpPr/>
              <p:nvPr/>
            </p:nvGrpSpPr>
            <p:grpSpPr>
              <a:xfrm>
                <a:off x="4207537" y="2273730"/>
                <a:ext cx="179387" cy="434116"/>
                <a:chOff x="2330274" y="3840316"/>
                <a:chExt cx="238125" cy="576262"/>
              </a:xfrm>
            </p:grpSpPr>
            <p:sp>
              <p:nvSpPr>
                <p:cNvPr id="1271" name="Freeform 201">
                  <a:extLst>
                    <a:ext uri="{FF2B5EF4-FFF2-40B4-BE49-F238E27FC236}">
                      <a16:creationId xmlns:a16="http://schemas.microsoft.com/office/drawing/2014/main" xmlns="" id="{2FE2E0FD-132B-4A4E-82F5-35CA856CA0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274" y="3840316"/>
                  <a:ext cx="238125" cy="576262"/>
                </a:xfrm>
                <a:custGeom>
                  <a:avLst/>
                  <a:gdLst>
                    <a:gd name="T0" fmla="*/ 84 w 101"/>
                    <a:gd name="T1" fmla="*/ 243 h 243"/>
                    <a:gd name="T2" fmla="*/ 17 w 101"/>
                    <a:gd name="T3" fmla="*/ 243 h 243"/>
                    <a:gd name="T4" fmla="*/ 0 w 101"/>
                    <a:gd name="T5" fmla="*/ 226 h 243"/>
                    <a:gd name="T6" fmla="*/ 0 w 101"/>
                    <a:gd name="T7" fmla="*/ 17 h 243"/>
                    <a:gd name="T8" fmla="*/ 17 w 101"/>
                    <a:gd name="T9" fmla="*/ 0 h 243"/>
                    <a:gd name="T10" fmla="*/ 84 w 101"/>
                    <a:gd name="T11" fmla="*/ 0 h 243"/>
                    <a:gd name="T12" fmla="*/ 101 w 101"/>
                    <a:gd name="T13" fmla="*/ 17 h 243"/>
                    <a:gd name="T14" fmla="*/ 101 w 101"/>
                    <a:gd name="T15" fmla="*/ 226 h 243"/>
                    <a:gd name="T16" fmla="*/ 84 w 101"/>
                    <a:gd name="T17" fmla="*/ 243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" h="243">
                      <a:moveTo>
                        <a:pt x="84" y="243"/>
                      </a:moveTo>
                      <a:cubicBezTo>
                        <a:pt x="17" y="243"/>
                        <a:pt x="17" y="243"/>
                        <a:pt x="17" y="243"/>
                      </a:cubicBezTo>
                      <a:cubicBezTo>
                        <a:pt x="8" y="243"/>
                        <a:pt x="0" y="235"/>
                        <a:pt x="0" y="226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7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93" y="0"/>
                        <a:pt x="101" y="8"/>
                        <a:pt x="101" y="17"/>
                      </a:cubicBezTo>
                      <a:cubicBezTo>
                        <a:pt x="101" y="226"/>
                        <a:pt x="101" y="226"/>
                        <a:pt x="101" y="226"/>
                      </a:cubicBezTo>
                      <a:cubicBezTo>
                        <a:pt x="101" y="235"/>
                        <a:pt x="93" y="243"/>
                        <a:pt x="84" y="24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72" name="Line 202">
                  <a:extLst>
                    <a:ext uri="{FF2B5EF4-FFF2-40B4-BE49-F238E27FC236}">
                      <a16:creationId xmlns:a16="http://schemas.microsoft.com/office/drawing/2014/main" xmlns="" id="{38D84CB1-9668-47AE-B041-8DACB8CFA5E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10166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73" name="Line 203">
                  <a:extLst>
                    <a:ext uri="{FF2B5EF4-FFF2-40B4-BE49-F238E27FC236}">
                      <a16:creationId xmlns:a16="http://schemas.microsoft.com/office/drawing/2014/main" xmlns="" id="{E5EDAB08-4A32-46F2-B305-33B9310835D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816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74" name="Line 204">
                  <a:extLst>
                    <a:ext uri="{FF2B5EF4-FFF2-40B4-BE49-F238E27FC236}">
                      <a16:creationId xmlns:a16="http://schemas.microsoft.com/office/drawing/2014/main" xmlns="" id="{E01647F8-35DC-4CD3-B58E-D88A30D2094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05145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75" name="Line 205">
                  <a:extLst>
                    <a:ext uri="{FF2B5EF4-FFF2-40B4-BE49-F238E27FC236}">
                      <a16:creationId xmlns:a16="http://schemas.microsoft.com/office/drawing/2014/main" xmlns="" id="{13389686-D13C-483C-B6C6-E4D13537B9B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213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76" name="Line 206">
                  <a:extLst>
                    <a:ext uri="{FF2B5EF4-FFF2-40B4-BE49-F238E27FC236}">
                      <a16:creationId xmlns:a16="http://schemas.microsoft.com/office/drawing/2014/main" xmlns="" id="{E9292C39-BC6E-48DE-9A69-5E8468660DF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92741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  <p:grpSp>
            <p:nvGrpSpPr>
              <p:cNvPr id="1257" name="Group 1256">
                <a:extLst>
                  <a:ext uri="{FF2B5EF4-FFF2-40B4-BE49-F238E27FC236}">
                    <a16:creationId xmlns:a16="http://schemas.microsoft.com/office/drawing/2014/main" xmlns="" id="{BA60F742-40C5-4CB7-99A2-7BA56C8E1FC5}"/>
                  </a:ext>
                </a:extLst>
              </p:cNvPr>
              <p:cNvGrpSpPr/>
              <p:nvPr/>
            </p:nvGrpSpPr>
            <p:grpSpPr>
              <a:xfrm>
                <a:off x="4417305" y="2273730"/>
                <a:ext cx="179387" cy="434116"/>
                <a:chOff x="2330274" y="3840316"/>
                <a:chExt cx="238125" cy="576262"/>
              </a:xfrm>
            </p:grpSpPr>
            <p:sp>
              <p:nvSpPr>
                <p:cNvPr id="1265" name="Freeform 201">
                  <a:extLst>
                    <a:ext uri="{FF2B5EF4-FFF2-40B4-BE49-F238E27FC236}">
                      <a16:creationId xmlns:a16="http://schemas.microsoft.com/office/drawing/2014/main" xmlns="" id="{42945D40-FDC5-4AAF-967C-04C8DDA542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274" y="3840316"/>
                  <a:ext cx="238125" cy="576262"/>
                </a:xfrm>
                <a:custGeom>
                  <a:avLst/>
                  <a:gdLst>
                    <a:gd name="T0" fmla="*/ 84 w 101"/>
                    <a:gd name="T1" fmla="*/ 243 h 243"/>
                    <a:gd name="T2" fmla="*/ 17 w 101"/>
                    <a:gd name="T3" fmla="*/ 243 h 243"/>
                    <a:gd name="T4" fmla="*/ 0 w 101"/>
                    <a:gd name="T5" fmla="*/ 226 h 243"/>
                    <a:gd name="T6" fmla="*/ 0 w 101"/>
                    <a:gd name="T7" fmla="*/ 17 h 243"/>
                    <a:gd name="T8" fmla="*/ 17 w 101"/>
                    <a:gd name="T9" fmla="*/ 0 h 243"/>
                    <a:gd name="T10" fmla="*/ 84 w 101"/>
                    <a:gd name="T11" fmla="*/ 0 h 243"/>
                    <a:gd name="T12" fmla="*/ 101 w 101"/>
                    <a:gd name="T13" fmla="*/ 17 h 243"/>
                    <a:gd name="T14" fmla="*/ 101 w 101"/>
                    <a:gd name="T15" fmla="*/ 226 h 243"/>
                    <a:gd name="T16" fmla="*/ 84 w 101"/>
                    <a:gd name="T17" fmla="*/ 243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" h="243">
                      <a:moveTo>
                        <a:pt x="84" y="243"/>
                      </a:moveTo>
                      <a:cubicBezTo>
                        <a:pt x="17" y="243"/>
                        <a:pt x="17" y="243"/>
                        <a:pt x="17" y="243"/>
                      </a:cubicBezTo>
                      <a:cubicBezTo>
                        <a:pt x="8" y="243"/>
                        <a:pt x="0" y="235"/>
                        <a:pt x="0" y="226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7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93" y="0"/>
                        <a:pt x="101" y="8"/>
                        <a:pt x="101" y="17"/>
                      </a:cubicBezTo>
                      <a:cubicBezTo>
                        <a:pt x="101" y="226"/>
                        <a:pt x="101" y="226"/>
                        <a:pt x="101" y="226"/>
                      </a:cubicBezTo>
                      <a:cubicBezTo>
                        <a:pt x="101" y="235"/>
                        <a:pt x="93" y="243"/>
                        <a:pt x="84" y="24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66" name="Line 202">
                  <a:extLst>
                    <a:ext uri="{FF2B5EF4-FFF2-40B4-BE49-F238E27FC236}">
                      <a16:creationId xmlns:a16="http://schemas.microsoft.com/office/drawing/2014/main" xmlns="" id="{E084FB88-D4B3-4760-B009-F2C82314F0A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10166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67" name="Line 203">
                  <a:extLst>
                    <a:ext uri="{FF2B5EF4-FFF2-40B4-BE49-F238E27FC236}">
                      <a16:creationId xmlns:a16="http://schemas.microsoft.com/office/drawing/2014/main" xmlns="" id="{D94B69DC-8982-4306-ABC1-A671A25596E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816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68" name="Line 204">
                  <a:extLst>
                    <a:ext uri="{FF2B5EF4-FFF2-40B4-BE49-F238E27FC236}">
                      <a16:creationId xmlns:a16="http://schemas.microsoft.com/office/drawing/2014/main" xmlns="" id="{1B55105F-D4C3-4747-9FCF-23EB6FB4166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05145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69" name="Line 205">
                  <a:extLst>
                    <a:ext uri="{FF2B5EF4-FFF2-40B4-BE49-F238E27FC236}">
                      <a16:creationId xmlns:a16="http://schemas.microsoft.com/office/drawing/2014/main" xmlns="" id="{DCC52C39-E98A-4F3E-93DC-0C0296A8EDE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213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70" name="Line 206">
                  <a:extLst>
                    <a:ext uri="{FF2B5EF4-FFF2-40B4-BE49-F238E27FC236}">
                      <a16:creationId xmlns:a16="http://schemas.microsoft.com/office/drawing/2014/main" xmlns="" id="{E7141012-8FFF-4B3D-A62E-243FAB7DE38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92741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  <p:grpSp>
            <p:nvGrpSpPr>
              <p:cNvPr id="1258" name="Group 1257">
                <a:extLst>
                  <a:ext uri="{FF2B5EF4-FFF2-40B4-BE49-F238E27FC236}">
                    <a16:creationId xmlns:a16="http://schemas.microsoft.com/office/drawing/2014/main" xmlns="" id="{DF0D1139-297F-4523-9687-60E57C67C561}"/>
                  </a:ext>
                </a:extLst>
              </p:cNvPr>
              <p:cNvGrpSpPr/>
              <p:nvPr/>
            </p:nvGrpSpPr>
            <p:grpSpPr>
              <a:xfrm>
                <a:off x="4627073" y="2273730"/>
                <a:ext cx="179387" cy="434116"/>
                <a:chOff x="2330274" y="3840316"/>
                <a:chExt cx="238125" cy="576262"/>
              </a:xfrm>
            </p:grpSpPr>
            <p:sp>
              <p:nvSpPr>
                <p:cNvPr id="1259" name="Freeform 201">
                  <a:extLst>
                    <a:ext uri="{FF2B5EF4-FFF2-40B4-BE49-F238E27FC236}">
                      <a16:creationId xmlns:a16="http://schemas.microsoft.com/office/drawing/2014/main" xmlns="" id="{C7033DA3-0F11-4609-BBAE-996B813048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274" y="3840316"/>
                  <a:ext cx="238125" cy="576262"/>
                </a:xfrm>
                <a:custGeom>
                  <a:avLst/>
                  <a:gdLst>
                    <a:gd name="T0" fmla="*/ 84 w 101"/>
                    <a:gd name="T1" fmla="*/ 243 h 243"/>
                    <a:gd name="T2" fmla="*/ 17 w 101"/>
                    <a:gd name="T3" fmla="*/ 243 h 243"/>
                    <a:gd name="T4" fmla="*/ 0 w 101"/>
                    <a:gd name="T5" fmla="*/ 226 h 243"/>
                    <a:gd name="T6" fmla="*/ 0 w 101"/>
                    <a:gd name="T7" fmla="*/ 17 h 243"/>
                    <a:gd name="T8" fmla="*/ 17 w 101"/>
                    <a:gd name="T9" fmla="*/ 0 h 243"/>
                    <a:gd name="T10" fmla="*/ 84 w 101"/>
                    <a:gd name="T11" fmla="*/ 0 h 243"/>
                    <a:gd name="T12" fmla="*/ 101 w 101"/>
                    <a:gd name="T13" fmla="*/ 17 h 243"/>
                    <a:gd name="T14" fmla="*/ 101 w 101"/>
                    <a:gd name="T15" fmla="*/ 226 h 243"/>
                    <a:gd name="T16" fmla="*/ 84 w 101"/>
                    <a:gd name="T17" fmla="*/ 243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" h="243">
                      <a:moveTo>
                        <a:pt x="84" y="243"/>
                      </a:moveTo>
                      <a:cubicBezTo>
                        <a:pt x="17" y="243"/>
                        <a:pt x="17" y="243"/>
                        <a:pt x="17" y="243"/>
                      </a:cubicBezTo>
                      <a:cubicBezTo>
                        <a:pt x="8" y="243"/>
                        <a:pt x="0" y="235"/>
                        <a:pt x="0" y="226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7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93" y="0"/>
                        <a:pt x="101" y="8"/>
                        <a:pt x="101" y="17"/>
                      </a:cubicBezTo>
                      <a:cubicBezTo>
                        <a:pt x="101" y="226"/>
                        <a:pt x="101" y="226"/>
                        <a:pt x="101" y="226"/>
                      </a:cubicBezTo>
                      <a:cubicBezTo>
                        <a:pt x="101" y="235"/>
                        <a:pt x="93" y="243"/>
                        <a:pt x="84" y="24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60" name="Line 202">
                  <a:extLst>
                    <a:ext uri="{FF2B5EF4-FFF2-40B4-BE49-F238E27FC236}">
                      <a16:creationId xmlns:a16="http://schemas.microsoft.com/office/drawing/2014/main" xmlns="" id="{F4508F68-6638-4449-9941-57406C50556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10166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61" name="Line 203">
                  <a:extLst>
                    <a:ext uri="{FF2B5EF4-FFF2-40B4-BE49-F238E27FC236}">
                      <a16:creationId xmlns:a16="http://schemas.microsoft.com/office/drawing/2014/main" xmlns="" id="{04542A04-D945-44E3-8340-8C76E26CC89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816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62" name="Line 204">
                  <a:extLst>
                    <a:ext uri="{FF2B5EF4-FFF2-40B4-BE49-F238E27FC236}">
                      <a16:creationId xmlns:a16="http://schemas.microsoft.com/office/drawing/2014/main" xmlns="" id="{74E80F20-4F23-4DF7-A0AA-E661E24CD9B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05145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63" name="Line 205">
                  <a:extLst>
                    <a:ext uri="{FF2B5EF4-FFF2-40B4-BE49-F238E27FC236}">
                      <a16:creationId xmlns:a16="http://schemas.microsoft.com/office/drawing/2014/main" xmlns="" id="{49EC630A-F621-46D3-8750-60755D89AED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213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64" name="Line 206">
                  <a:extLst>
                    <a:ext uri="{FF2B5EF4-FFF2-40B4-BE49-F238E27FC236}">
                      <a16:creationId xmlns:a16="http://schemas.microsoft.com/office/drawing/2014/main" xmlns="" id="{A3F54C55-E099-45F1-A3A0-657D249524F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92741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</p:grpSp>
        <p:grpSp>
          <p:nvGrpSpPr>
            <p:cNvPr id="1105" name="Group 1104">
              <a:extLst>
                <a:ext uri="{FF2B5EF4-FFF2-40B4-BE49-F238E27FC236}">
                  <a16:creationId xmlns:a16="http://schemas.microsoft.com/office/drawing/2014/main" xmlns="" id="{B6F5B938-05DD-4390-9F87-2676145DB7BB}"/>
                </a:ext>
              </a:extLst>
            </p:cNvPr>
            <p:cNvGrpSpPr/>
            <p:nvPr/>
          </p:nvGrpSpPr>
          <p:grpSpPr>
            <a:xfrm>
              <a:off x="5824406" y="2835347"/>
              <a:ext cx="618697" cy="448449"/>
              <a:chOff x="4207537" y="2273730"/>
              <a:chExt cx="598923" cy="434116"/>
            </a:xfrm>
          </p:grpSpPr>
          <p:grpSp>
            <p:nvGrpSpPr>
              <p:cNvPr id="1235" name="Group 1234">
                <a:extLst>
                  <a:ext uri="{FF2B5EF4-FFF2-40B4-BE49-F238E27FC236}">
                    <a16:creationId xmlns:a16="http://schemas.microsoft.com/office/drawing/2014/main" xmlns="" id="{A8770153-E754-4971-A655-8D4B13748BE2}"/>
                  </a:ext>
                </a:extLst>
              </p:cNvPr>
              <p:cNvGrpSpPr/>
              <p:nvPr/>
            </p:nvGrpSpPr>
            <p:grpSpPr>
              <a:xfrm>
                <a:off x="4207537" y="2273730"/>
                <a:ext cx="179387" cy="434116"/>
                <a:chOff x="2330274" y="3840316"/>
                <a:chExt cx="238125" cy="576262"/>
              </a:xfrm>
            </p:grpSpPr>
            <p:sp>
              <p:nvSpPr>
                <p:cNvPr id="1250" name="Freeform 201">
                  <a:extLst>
                    <a:ext uri="{FF2B5EF4-FFF2-40B4-BE49-F238E27FC236}">
                      <a16:creationId xmlns:a16="http://schemas.microsoft.com/office/drawing/2014/main" xmlns="" id="{7EAA6B92-B3B3-4200-8ECA-3472552C0D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274" y="3840316"/>
                  <a:ext cx="238125" cy="576262"/>
                </a:xfrm>
                <a:custGeom>
                  <a:avLst/>
                  <a:gdLst>
                    <a:gd name="T0" fmla="*/ 84 w 101"/>
                    <a:gd name="T1" fmla="*/ 243 h 243"/>
                    <a:gd name="T2" fmla="*/ 17 w 101"/>
                    <a:gd name="T3" fmla="*/ 243 h 243"/>
                    <a:gd name="T4" fmla="*/ 0 w 101"/>
                    <a:gd name="T5" fmla="*/ 226 h 243"/>
                    <a:gd name="T6" fmla="*/ 0 w 101"/>
                    <a:gd name="T7" fmla="*/ 17 h 243"/>
                    <a:gd name="T8" fmla="*/ 17 w 101"/>
                    <a:gd name="T9" fmla="*/ 0 h 243"/>
                    <a:gd name="T10" fmla="*/ 84 w 101"/>
                    <a:gd name="T11" fmla="*/ 0 h 243"/>
                    <a:gd name="T12" fmla="*/ 101 w 101"/>
                    <a:gd name="T13" fmla="*/ 17 h 243"/>
                    <a:gd name="T14" fmla="*/ 101 w 101"/>
                    <a:gd name="T15" fmla="*/ 226 h 243"/>
                    <a:gd name="T16" fmla="*/ 84 w 101"/>
                    <a:gd name="T17" fmla="*/ 243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" h="243">
                      <a:moveTo>
                        <a:pt x="84" y="243"/>
                      </a:moveTo>
                      <a:cubicBezTo>
                        <a:pt x="17" y="243"/>
                        <a:pt x="17" y="243"/>
                        <a:pt x="17" y="243"/>
                      </a:cubicBezTo>
                      <a:cubicBezTo>
                        <a:pt x="8" y="243"/>
                        <a:pt x="0" y="235"/>
                        <a:pt x="0" y="226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7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93" y="0"/>
                        <a:pt x="101" y="8"/>
                        <a:pt x="101" y="17"/>
                      </a:cubicBezTo>
                      <a:cubicBezTo>
                        <a:pt x="101" y="226"/>
                        <a:pt x="101" y="226"/>
                        <a:pt x="101" y="226"/>
                      </a:cubicBezTo>
                      <a:cubicBezTo>
                        <a:pt x="101" y="235"/>
                        <a:pt x="93" y="243"/>
                        <a:pt x="84" y="24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51" name="Line 202">
                  <a:extLst>
                    <a:ext uri="{FF2B5EF4-FFF2-40B4-BE49-F238E27FC236}">
                      <a16:creationId xmlns:a16="http://schemas.microsoft.com/office/drawing/2014/main" xmlns="" id="{253B0655-ACC7-4E24-B743-5A229BFE78B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10166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52" name="Line 203">
                  <a:extLst>
                    <a:ext uri="{FF2B5EF4-FFF2-40B4-BE49-F238E27FC236}">
                      <a16:creationId xmlns:a16="http://schemas.microsoft.com/office/drawing/2014/main" xmlns="" id="{F98338A8-4AFD-4475-B4FD-62DC8A13B13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816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53" name="Line 204">
                  <a:extLst>
                    <a:ext uri="{FF2B5EF4-FFF2-40B4-BE49-F238E27FC236}">
                      <a16:creationId xmlns:a16="http://schemas.microsoft.com/office/drawing/2014/main" xmlns="" id="{C1ACDE9B-B0C5-4BA2-8B98-4F5D070C5C0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05145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54" name="Line 205">
                  <a:extLst>
                    <a:ext uri="{FF2B5EF4-FFF2-40B4-BE49-F238E27FC236}">
                      <a16:creationId xmlns:a16="http://schemas.microsoft.com/office/drawing/2014/main" xmlns="" id="{83636DAA-4AFC-4DB7-A393-29C5239BC17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213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55" name="Line 206">
                  <a:extLst>
                    <a:ext uri="{FF2B5EF4-FFF2-40B4-BE49-F238E27FC236}">
                      <a16:creationId xmlns:a16="http://schemas.microsoft.com/office/drawing/2014/main" xmlns="" id="{0FFBD438-4EBB-4595-9BE1-EBCE06AAAA5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92741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  <p:grpSp>
            <p:nvGrpSpPr>
              <p:cNvPr id="1236" name="Group 1235">
                <a:extLst>
                  <a:ext uri="{FF2B5EF4-FFF2-40B4-BE49-F238E27FC236}">
                    <a16:creationId xmlns:a16="http://schemas.microsoft.com/office/drawing/2014/main" xmlns="" id="{59F60D86-2128-439E-B730-1788275FB9B3}"/>
                  </a:ext>
                </a:extLst>
              </p:cNvPr>
              <p:cNvGrpSpPr/>
              <p:nvPr/>
            </p:nvGrpSpPr>
            <p:grpSpPr>
              <a:xfrm>
                <a:off x="4417305" y="2273730"/>
                <a:ext cx="179387" cy="434116"/>
                <a:chOff x="2330274" y="3840316"/>
                <a:chExt cx="238125" cy="576262"/>
              </a:xfrm>
            </p:grpSpPr>
            <p:sp>
              <p:nvSpPr>
                <p:cNvPr id="1244" name="Freeform 201">
                  <a:extLst>
                    <a:ext uri="{FF2B5EF4-FFF2-40B4-BE49-F238E27FC236}">
                      <a16:creationId xmlns:a16="http://schemas.microsoft.com/office/drawing/2014/main" xmlns="" id="{D495000D-2C69-461F-8D1E-C41A01999F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274" y="3840316"/>
                  <a:ext cx="238125" cy="576262"/>
                </a:xfrm>
                <a:custGeom>
                  <a:avLst/>
                  <a:gdLst>
                    <a:gd name="T0" fmla="*/ 84 w 101"/>
                    <a:gd name="T1" fmla="*/ 243 h 243"/>
                    <a:gd name="T2" fmla="*/ 17 w 101"/>
                    <a:gd name="T3" fmla="*/ 243 h 243"/>
                    <a:gd name="T4" fmla="*/ 0 w 101"/>
                    <a:gd name="T5" fmla="*/ 226 h 243"/>
                    <a:gd name="T6" fmla="*/ 0 w 101"/>
                    <a:gd name="T7" fmla="*/ 17 h 243"/>
                    <a:gd name="T8" fmla="*/ 17 w 101"/>
                    <a:gd name="T9" fmla="*/ 0 h 243"/>
                    <a:gd name="T10" fmla="*/ 84 w 101"/>
                    <a:gd name="T11" fmla="*/ 0 h 243"/>
                    <a:gd name="T12" fmla="*/ 101 w 101"/>
                    <a:gd name="T13" fmla="*/ 17 h 243"/>
                    <a:gd name="T14" fmla="*/ 101 w 101"/>
                    <a:gd name="T15" fmla="*/ 226 h 243"/>
                    <a:gd name="T16" fmla="*/ 84 w 101"/>
                    <a:gd name="T17" fmla="*/ 243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" h="243">
                      <a:moveTo>
                        <a:pt x="84" y="243"/>
                      </a:moveTo>
                      <a:cubicBezTo>
                        <a:pt x="17" y="243"/>
                        <a:pt x="17" y="243"/>
                        <a:pt x="17" y="243"/>
                      </a:cubicBezTo>
                      <a:cubicBezTo>
                        <a:pt x="8" y="243"/>
                        <a:pt x="0" y="235"/>
                        <a:pt x="0" y="226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7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93" y="0"/>
                        <a:pt x="101" y="8"/>
                        <a:pt x="101" y="17"/>
                      </a:cubicBezTo>
                      <a:cubicBezTo>
                        <a:pt x="101" y="226"/>
                        <a:pt x="101" y="226"/>
                        <a:pt x="101" y="226"/>
                      </a:cubicBezTo>
                      <a:cubicBezTo>
                        <a:pt x="101" y="235"/>
                        <a:pt x="93" y="243"/>
                        <a:pt x="84" y="24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45" name="Line 202">
                  <a:extLst>
                    <a:ext uri="{FF2B5EF4-FFF2-40B4-BE49-F238E27FC236}">
                      <a16:creationId xmlns:a16="http://schemas.microsoft.com/office/drawing/2014/main" xmlns="" id="{78202EAE-8B73-4675-897E-0717EF435B3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10166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46" name="Line 203">
                  <a:extLst>
                    <a:ext uri="{FF2B5EF4-FFF2-40B4-BE49-F238E27FC236}">
                      <a16:creationId xmlns:a16="http://schemas.microsoft.com/office/drawing/2014/main" xmlns="" id="{F36490AD-22DF-4389-B8CD-7B00B69CEE6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816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47" name="Line 204">
                  <a:extLst>
                    <a:ext uri="{FF2B5EF4-FFF2-40B4-BE49-F238E27FC236}">
                      <a16:creationId xmlns:a16="http://schemas.microsoft.com/office/drawing/2014/main" xmlns="" id="{C6683717-FE15-49A6-9FEF-7C2313C5A11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05145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48" name="Line 205">
                  <a:extLst>
                    <a:ext uri="{FF2B5EF4-FFF2-40B4-BE49-F238E27FC236}">
                      <a16:creationId xmlns:a16="http://schemas.microsoft.com/office/drawing/2014/main" xmlns="" id="{E20FF068-2FC6-4F05-B748-6BB4137E4F7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213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49" name="Line 206">
                  <a:extLst>
                    <a:ext uri="{FF2B5EF4-FFF2-40B4-BE49-F238E27FC236}">
                      <a16:creationId xmlns:a16="http://schemas.microsoft.com/office/drawing/2014/main" xmlns="" id="{A0BA0995-3517-4F58-9089-519A8EB854D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92741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  <p:grpSp>
            <p:nvGrpSpPr>
              <p:cNvPr id="1237" name="Group 1236">
                <a:extLst>
                  <a:ext uri="{FF2B5EF4-FFF2-40B4-BE49-F238E27FC236}">
                    <a16:creationId xmlns:a16="http://schemas.microsoft.com/office/drawing/2014/main" xmlns="" id="{7F1EF355-DC38-4A61-9605-4B68B1DFBAF7}"/>
                  </a:ext>
                </a:extLst>
              </p:cNvPr>
              <p:cNvGrpSpPr/>
              <p:nvPr/>
            </p:nvGrpSpPr>
            <p:grpSpPr>
              <a:xfrm>
                <a:off x="4627073" y="2273730"/>
                <a:ext cx="179387" cy="434116"/>
                <a:chOff x="2330274" y="3840316"/>
                <a:chExt cx="238125" cy="576262"/>
              </a:xfrm>
            </p:grpSpPr>
            <p:sp>
              <p:nvSpPr>
                <p:cNvPr id="1238" name="Freeform 201">
                  <a:extLst>
                    <a:ext uri="{FF2B5EF4-FFF2-40B4-BE49-F238E27FC236}">
                      <a16:creationId xmlns:a16="http://schemas.microsoft.com/office/drawing/2014/main" xmlns="" id="{81256F26-DBD2-4C57-8DDA-8BC56C6687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274" y="3840316"/>
                  <a:ext cx="238125" cy="576262"/>
                </a:xfrm>
                <a:custGeom>
                  <a:avLst/>
                  <a:gdLst>
                    <a:gd name="T0" fmla="*/ 84 w 101"/>
                    <a:gd name="T1" fmla="*/ 243 h 243"/>
                    <a:gd name="T2" fmla="*/ 17 w 101"/>
                    <a:gd name="T3" fmla="*/ 243 h 243"/>
                    <a:gd name="T4" fmla="*/ 0 w 101"/>
                    <a:gd name="T5" fmla="*/ 226 h 243"/>
                    <a:gd name="T6" fmla="*/ 0 w 101"/>
                    <a:gd name="T7" fmla="*/ 17 h 243"/>
                    <a:gd name="T8" fmla="*/ 17 w 101"/>
                    <a:gd name="T9" fmla="*/ 0 h 243"/>
                    <a:gd name="T10" fmla="*/ 84 w 101"/>
                    <a:gd name="T11" fmla="*/ 0 h 243"/>
                    <a:gd name="T12" fmla="*/ 101 w 101"/>
                    <a:gd name="T13" fmla="*/ 17 h 243"/>
                    <a:gd name="T14" fmla="*/ 101 w 101"/>
                    <a:gd name="T15" fmla="*/ 226 h 243"/>
                    <a:gd name="T16" fmla="*/ 84 w 101"/>
                    <a:gd name="T17" fmla="*/ 243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" h="243">
                      <a:moveTo>
                        <a:pt x="84" y="243"/>
                      </a:moveTo>
                      <a:cubicBezTo>
                        <a:pt x="17" y="243"/>
                        <a:pt x="17" y="243"/>
                        <a:pt x="17" y="243"/>
                      </a:cubicBezTo>
                      <a:cubicBezTo>
                        <a:pt x="8" y="243"/>
                        <a:pt x="0" y="235"/>
                        <a:pt x="0" y="226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7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93" y="0"/>
                        <a:pt x="101" y="8"/>
                        <a:pt x="101" y="17"/>
                      </a:cubicBezTo>
                      <a:cubicBezTo>
                        <a:pt x="101" y="226"/>
                        <a:pt x="101" y="226"/>
                        <a:pt x="101" y="226"/>
                      </a:cubicBezTo>
                      <a:cubicBezTo>
                        <a:pt x="101" y="235"/>
                        <a:pt x="93" y="243"/>
                        <a:pt x="84" y="24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39" name="Line 202">
                  <a:extLst>
                    <a:ext uri="{FF2B5EF4-FFF2-40B4-BE49-F238E27FC236}">
                      <a16:creationId xmlns:a16="http://schemas.microsoft.com/office/drawing/2014/main" xmlns="" id="{820BA13E-B1E7-4EA8-ADC2-E239B86121E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10166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40" name="Line 203">
                  <a:extLst>
                    <a:ext uri="{FF2B5EF4-FFF2-40B4-BE49-F238E27FC236}">
                      <a16:creationId xmlns:a16="http://schemas.microsoft.com/office/drawing/2014/main" xmlns="" id="{F2940574-7E39-48EE-918A-DEFD80B8C40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816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41" name="Line 204">
                  <a:extLst>
                    <a:ext uri="{FF2B5EF4-FFF2-40B4-BE49-F238E27FC236}">
                      <a16:creationId xmlns:a16="http://schemas.microsoft.com/office/drawing/2014/main" xmlns="" id="{245CF62F-3237-4072-8FC5-7A2D50D6DE4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05145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42" name="Line 205">
                  <a:extLst>
                    <a:ext uri="{FF2B5EF4-FFF2-40B4-BE49-F238E27FC236}">
                      <a16:creationId xmlns:a16="http://schemas.microsoft.com/office/drawing/2014/main" xmlns="" id="{9855FF11-74AE-4FBA-A39B-0E1FC73B528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213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43" name="Line 206">
                  <a:extLst>
                    <a:ext uri="{FF2B5EF4-FFF2-40B4-BE49-F238E27FC236}">
                      <a16:creationId xmlns:a16="http://schemas.microsoft.com/office/drawing/2014/main" xmlns="" id="{82A6E0FE-93AE-48A4-9E58-E25012F44D6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92741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</p:grpSp>
        <p:cxnSp>
          <p:nvCxnSpPr>
            <p:cNvPr id="1106" name="Connector: Elbow 1105">
              <a:extLst>
                <a:ext uri="{FF2B5EF4-FFF2-40B4-BE49-F238E27FC236}">
                  <a16:creationId xmlns:a16="http://schemas.microsoft.com/office/drawing/2014/main" xmlns="" id="{6A905F27-E115-4D43-B72E-382DA596C70B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5543377" y="2405535"/>
              <a:ext cx="372347" cy="189715"/>
            </a:xfrm>
            <a:prstGeom prst="bentConnector3">
              <a:avLst>
                <a:gd name="adj1" fmla="val -184"/>
              </a:avLst>
            </a:prstGeom>
            <a:ln cap="rnd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7" name="Connector: Elbow 1106">
              <a:extLst>
                <a:ext uri="{FF2B5EF4-FFF2-40B4-BE49-F238E27FC236}">
                  <a16:creationId xmlns:a16="http://schemas.microsoft.com/office/drawing/2014/main" xmlns="" id="{0EF5A20C-5B1A-4905-B084-24225CD0DFD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5543377" y="2785822"/>
              <a:ext cx="372347" cy="189715"/>
            </a:xfrm>
            <a:prstGeom prst="bentConnector3">
              <a:avLst>
                <a:gd name="adj1" fmla="val -184"/>
              </a:avLst>
            </a:prstGeom>
            <a:ln cap="rnd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09" name="Group 1108">
              <a:extLst>
                <a:ext uri="{FF2B5EF4-FFF2-40B4-BE49-F238E27FC236}">
                  <a16:creationId xmlns:a16="http://schemas.microsoft.com/office/drawing/2014/main" xmlns="" id="{AECD4B3B-E1C4-4C53-97B9-3152DA5320CE}"/>
                </a:ext>
              </a:extLst>
            </p:cNvPr>
            <p:cNvGrpSpPr/>
            <p:nvPr/>
          </p:nvGrpSpPr>
          <p:grpSpPr>
            <a:xfrm>
              <a:off x="5523369" y="2953858"/>
              <a:ext cx="226628" cy="226628"/>
              <a:chOff x="1358899" y="2193925"/>
              <a:chExt cx="390525" cy="390525"/>
            </a:xfrm>
          </p:grpSpPr>
          <p:sp>
            <p:nvSpPr>
              <p:cNvPr id="1227" name="Rectangle: Rounded Corners 1226">
                <a:extLst>
                  <a:ext uri="{FF2B5EF4-FFF2-40B4-BE49-F238E27FC236}">
                    <a16:creationId xmlns:a16="http://schemas.microsoft.com/office/drawing/2014/main" xmlns="" id="{D61E532E-A518-4A08-ABD0-BF2D3001B41E}"/>
                  </a:ext>
                </a:extLst>
              </p:cNvPr>
              <p:cNvSpPr/>
              <p:nvPr/>
            </p:nvSpPr>
            <p:spPr>
              <a:xfrm>
                <a:off x="1358899" y="2193925"/>
                <a:ext cx="390525" cy="390525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grpSp>
            <p:nvGrpSpPr>
              <p:cNvPr id="1228" name="Group 1227">
                <a:extLst>
                  <a:ext uri="{FF2B5EF4-FFF2-40B4-BE49-F238E27FC236}">
                    <a16:creationId xmlns:a16="http://schemas.microsoft.com/office/drawing/2014/main" xmlns="" id="{3FF39792-70C6-4D65-A763-362910EB3FE5}"/>
                  </a:ext>
                </a:extLst>
              </p:cNvPr>
              <p:cNvGrpSpPr/>
              <p:nvPr/>
            </p:nvGrpSpPr>
            <p:grpSpPr>
              <a:xfrm>
                <a:off x="1420588" y="2248963"/>
                <a:ext cx="267146" cy="280448"/>
                <a:chOff x="1401763" y="2228851"/>
                <a:chExt cx="307974" cy="323308"/>
              </a:xfrm>
            </p:grpSpPr>
            <p:grpSp>
              <p:nvGrpSpPr>
                <p:cNvPr id="1229" name="Group 1228">
                  <a:extLst>
                    <a:ext uri="{FF2B5EF4-FFF2-40B4-BE49-F238E27FC236}">
                      <a16:creationId xmlns:a16="http://schemas.microsoft.com/office/drawing/2014/main" xmlns="" id="{B6E05AB4-FB6C-4747-9145-D17C3D025016}"/>
                    </a:ext>
                  </a:extLst>
                </p:cNvPr>
                <p:cNvGrpSpPr/>
                <p:nvPr/>
              </p:nvGrpSpPr>
              <p:grpSpPr>
                <a:xfrm>
                  <a:off x="1482725" y="2295526"/>
                  <a:ext cx="227012" cy="256633"/>
                  <a:chOff x="1482725" y="2276476"/>
                  <a:chExt cx="227012" cy="256633"/>
                </a:xfrm>
                <a:solidFill>
                  <a:schemeClr val="bg2"/>
                </a:solidFill>
              </p:grpSpPr>
              <p:sp>
                <p:nvSpPr>
                  <p:cNvPr id="1233" name="Freeform 33">
                    <a:extLst>
                      <a:ext uri="{FF2B5EF4-FFF2-40B4-BE49-F238E27FC236}">
                        <a16:creationId xmlns:a16="http://schemas.microsoft.com/office/drawing/2014/main" xmlns="" id="{56594A31-7FCB-4AC9-BDCA-DF405BB1286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433639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34" name="Freeform 33">
                    <a:extLst>
                      <a:ext uri="{FF2B5EF4-FFF2-40B4-BE49-F238E27FC236}">
                        <a16:creationId xmlns:a16="http://schemas.microsoft.com/office/drawing/2014/main" xmlns="" id="{305764C6-B6F0-4217-B153-5A3B48F957D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276476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230" name="Group 1229">
                  <a:extLst>
                    <a:ext uri="{FF2B5EF4-FFF2-40B4-BE49-F238E27FC236}">
                      <a16:creationId xmlns:a16="http://schemas.microsoft.com/office/drawing/2014/main" xmlns="" id="{8CCA174D-F24B-4373-BCE0-296E08397A3A}"/>
                    </a:ext>
                  </a:extLst>
                </p:cNvPr>
                <p:cNvGrpSpPr/>
                <p:nvPr/>
              </p:nvGrpSpPr>
              <p:grpSpPr>
                <a:xfrm flipH="1">
                  <a:off x="1401763" y="2228851"/>
                  <a:ext cx="227012" cy="256633"/>
                  <a:chOff x="1482725" y="2276476"/>
                  <a:chExt cx="227012" cy="256633"/>
                </a:xfrm>
              </p:grpSpPr>
              <p:sp>
                <p:nvSpPr>
                  <p:cNvPr id="1231" name="Freeform 33">
                    <a:extLst>
                      <a:ext uri="{FF2B5EF4-FFF2-40B4-BE49-F238E27FC236}">
                        <a16:creationId xmlns:a16="http://schemas.microsoft.com/office/drawing/2014/main" xmlns="" id="{36ADBDD9-7AE6-4006-846C-B40AB4941BC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433639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solidFill>
                    <a:srgbClr val="0050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32" name="Freeform 33">
                    <a:extLst>
                      <a:ext uri="{FF2B5EF4-FFF2-40B4-BE49-F238E27FC236}">
                        <a16:creationId xmlns:a16="http://schemas.microsoft.com/office/drawing/2014/main" xmlns="" id="{0EE1E42B-4FF3-4245-8161-B50C4766123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276476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solidFill>
                    <a:srgbClr val="0050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</p:grpSp>
        </p:grpSp>
        <p:grpSp>
          <p:nvGrpSpPr>
            <p:cNvPr id="1110" name="Group 1109">
              <a:extLst>
                <a:ext uri="{FF2B5EF4-FFF2-40B4-BE49-F238E27FC236}">
                  <a16:creationId xmlns:a16="http://schemas.microsoft.com/office/drawing/2014/main" xmlns="" id="{4F019E5E-ABFF-46CE-BA31-72A2FE604914}"/>
                </a:ext>
              </a:extLst>
            </p:cNvPr>
            <p:cNvGrpSpPr/>
            <p:nvPr/>
          </p:nvGrpSpPr>
          <p:grpSpPr>
            <a:xfrm>
              <a:off x="5523369" y="2210215"/>
              <a:ext cx="226628" cy="226628"/>
              <a:chOff x="1358899" y="2193925"/>
              <a:chExt cx="390525" cy="390525"/>
            </a:xfrm>
          </p:grpSpPr>
          <p:sp>
            <p:nvSpPr>
              <p:cNvPr id="1219" name="Rectangle: Rounded Corners 1218">
                <a:extLst>
                  <a:ext uri="{FF2B5EF4-FFF2-40B4-BE49-F238E27FC236}">
                    <a16:creationId xmlns:a16="http://schemas.microsoft.com/office/drawing/2014/main" xmlns="" id="{EFD23C50-4F7C-4F2F-81C0-5A333A79C420}"/>
                  </a:ext>
                </a:extLst>
              </p:cNvPr>
              <p:cNvSpPr/>
              <p:nvPr/>
            </p:nvSpPr>
            <p:spPr>
              <a:xfrm>
                <a:off x="1358899" y="2193925"/>
                <a:ext cx="390525" cy="390525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grpSp>
            <p:nvGrpSpPr>
              <p:cNvPr id="1220" name="Group 1219">
                <a:extLst>
                  <a:ext uri="{FF2B5EF4-FFF2-40B4-BE49-F238E27FC236}">
                    <a16:creationId xmlns:a16="http://schemas.microsoft.com/office/drawing/2014/main" xmlns="" id="{187B65E3-14B5-48DB-86A7-AB921EEDF4B6}"/>
                  </a:ext>
                </a:extLst>
              </p:cNvPr>
              <p:cNvGrpSpPr/>
              <p:nvPr/>
            </p:nvGrpSpPr>
            <p:grpSpPr>
              <a:xfrm>
                <a:off x="1420588" y="2248963"/>
                <a:ext cx="267146" cy="280448"/>
                <a:chOff x="1401763" y="2228851"/>
                <a:chExt cx="307974" cy="323308"/>
              </a:xfrm>
            </p:grpSpPr>
            <p:grpSp>
              <p:nvGrpSpPr>
                <p:cNvPr id="1221" name="Group 1220">
                  <a:extLst>
                    <a:ext uri="{FF2B5EF4-FFF2-40B4-BE49-F238E27FC236}">
                      <a16:creationId xmlns:a16="http://schemas.microsoft.com/office/drawing/2014/main" xmlns="" id="{18A525AD-1F3F-4B79-8AA9-312457F96445}"/>
                    </a:ext>
                  </a:extLst>
                </p:cNvPr>
                <p:cNvGrpSpPr/>
                <p:nvPr/>
              </p:nvGrpSpPr>
              <p:grpSpPr>
                <a:xfrm>
                  <a:off x="1482725" y="2295526"/>
                  <a:ext cx="227012" cy="256633"/>
                  <a:chOff x="1482725" y="2276476"/>
                  <a:chExt cx="227012" cy="256633"/>
                </a:xfrm>
                <a:solidFill>
                  <a:schemeClr val="bg2"/>
                </a:solidFill>
              </p:grpSpPr>
              <p:sp>
                <p:nvSpPr>
                  <p:cNvPr id="1225" name="Freeform 33">
                    <a:extLst>
                      <a:ext uri="{FF2B5EF4-FFF2-40B4-BE49-F238E27FC236}">
                        <a16:creationId xmlns:a16="http://schemas.microsoft.com/office/drawing/2014/main" xmlns="" id="{DE92D358-4019-401F-8080-274F10EF42F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433639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26" name="Freeform 33">
                    <a:extLst>
                      <a:ext uri="{FF2B5EF4-FFF2-40B4-BE49-F238E27FC236}">
                        <a16:creationId xmlns:a16="http://schemas.microsoft.com/office/drawing/2014/main" xmlns="" id="{FBD0BE17-0751-4F43-8BE1-ECC7A16531A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276476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222" name="Group 1221">
                  <a:extLst>
                    <a:ext uri="{FF2B5EF4-FFF2-40B4-BE49-F238E27FC236}">
                      <a16:creationId xmlns:a16="http://schemas.microsoft.com/office/drawing/2014/main" xmlns="" id="{71A611A0-89CF-47E5-84CC-39F5B5EA5E63}"/>
                    </a:ext>
                  </a:extLst>
                </p:cNvPr>
                <p:cNvGrpSpPr/>
                <p:nvPr/>
              </p:nvGrpSpPr>
              <p:grpSpPr>
                <a:xfrm flipH="1">
                  <a:off x="1401763" y="2228851"/>
                  <a:ext cx="227012" cy="256633"/>
                  <a:chOff x="1482725" y="2276476"/>
                  <a:chExt cx="227012" cy="256633"/>
                </a:xfrm>
              </p:grpSpPr>
              <p:sp>
                <p:nvSpPr>
                  <p:cNvPr id="1223" name="Freeform 33">
                    <a:extLst>
                      <a:ext uri="{FF2B5EF4-FFF2-40B4-BE49-F238E27FC236}">
                        <a16:creationId xmlns:a16="http://schemas.microsoft.com/office/drawing/2014/main" xmlns="" id="{E9318A66-9B67-47CB-B52C-C8E215680A1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433639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solidFill>
                    <a:srgbClr val="0050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224" name="Freeform 33">
                    <a:extLst>
                      <a:ext uri="{FF2B5EF4-FFF2-40B4-BE49-F238E27FC236}">
                        <a16:creationId xmlns:a16="http://schemas.microsoft.com/office/drawing/2014/main" xmlns="" id="{C8430B40-52A8-41FB-8C9E-8EB21258EA1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276476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solidFill>
                    <a:srgbClr val="0050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</p:grpSp>
        </p:grpSp>
        <p:grpSp>
          <p:nvGrpSpPr>
            <p:cNvPr id="1111" name="Group 1110">
              <a:extLst>
                <a:ext uri="{FF2B5EF4-FFF2-40B4-BE49-F238E27FC236}">
                  <a16:creationId xmlns:a16="http://schemas.microsoft.com/office/drawing/2014/main" xmlns="" id="{C66F0EB7-59D0-454E-9C9F-A10FA97453C2}"/>
                </a:ext>
              </a:extLst>
            </p:cNvPr>
            <p:cNvGrpSpPr/>
            <p:nvPr/>
          </p:nvGrpSpPr>
          <p:grpSpPr>
            <a:xfrm>
              <a:off x="4897043" y="2465614"/>
              <a:ext cx="443632" cy="443680"/>
              <a:chOff x="542940" y="1857375"/>
              <a:chExt cx="914400" cy="914494"/>
            </a:xfrm>
          </p:grpSpPr>
          <p:sp>
            <p:nvSpPr>
              <p:cNvPr id="1181" name="Oval 1180">
                <a:extLst>
                  <a:ext uri="{FF2B5EF4-FFF2-40B4-BE49-F238E27FC236}">
                    <a16:creationId xmlns:a16="http://schemas.microsoft.com/office/drawing/2014/main" xmlns="" id="{F24A5F8A-AB0D-4769-A870-97672370BC8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42940" y="1857422"/>
                <a:ext cx="914400" cy="9144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grpSp>
            <p:nvGrpSpPr>
              <p:cNvPr id="1182" name="Group 4">
                <a:extLst>
                  <a:ext uri="{FF2B5EF4-FFF2-40B4-BE49-F238E27FC236}">
                    <a16:creationId xmlns:a16="http://schemas.microsoft.com/office/drawing/2014/main" xmlns="" id="{46B5D687-8DB5-4778-B63C-8A4EA8F5E79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43174" y="1857375"/>
                <a:ext cx="913932" cy="914494"/>
                <a:chOff x="1261" y="0"/>
                <a:chExt cx="3238" cy="3240"/>
              </a:xfrm>
              <a:solidFill>
                <a:schemeClr val="tx2"/>
              </a:solidFill>
            </p:grpSpPr>
            <p:sp>
              <p:nvSpPr>
                <p:cNvPr id="1183" name="Freeform 5">
                  <a:extLst>
                    <a:ext uri="{FF2B5EF4-FFF2-40B4-BE49-F238E27FC236}">
                      <a16:creationId xmlns:a16="http://schemas.microsoft.com/office/drawing/2014/main" xmlns="" id="{6236E3AF-9147-475B-A819-DE3762F443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1" y="443"/>
                  <a:ext cx="36" cy="37"/>
                </a:xfrm>
                <a:custGeom>
                  <a:avLst/>
                  <a:gdLst>
                    <a:gd name="T0" fmla="*/ 0 w 29"/>
                    <a:gd name="T1" fmla="*/ 30 h 30"/>
                    <a:gd name="T2" fmla="*/ 29 w 29"/>
                    <a:gd name="T3" fmla="*/ 0 h 30"/>
                    <a:gd name="T4" fmla="*/ 0 w 29"/>
                    <a:gd name="T5" fmla="*/ 3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9" h="30">
                      <a:moveTo>
                        <a:pt x="0" y="30"/>
                      </a:moveTo>
                      <a:cubicBezTo>
                        <a:pt x="15" y="27"/>
                        <a:pt x="26" y="15"/>
                        <a:pt x="29" y="0"/>
                      </a:cubicBezTo>
                      <a:cubicBezTo>
                        <a:pt x="19" y="10"/>
                        <a:pt x="10" y="20"/>
                        <a:pt x="0" y="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84" name="Freeform 6">
                  <a:extLst>
                    <a:ext uri="{FF2B5EF4-FFF2-40B4-BE49-F238E27FC236}">
                      <a16:creationId xmlns:a16="http://schemas.microsoft.com/office/drawing/2014/main" xmlns="" id="{B8AD4BE2-4A59-4491-A2E6-64836F2877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3" y="0"/>
                  <a:ext cx="1056" cy="480"/>
                </a:xfrm>
                <a:custGeom>
                  <a:avLst/>
                  <a:gdLst>
                    <a:gd name="T0" fmla="*/ 0 w 845"/>
                    <a:gd name="T1" fmla="*/ 346 h 384"/>
                    <a:gd name="T2" fmla="*/ 38 w 845"/>
                    <a:gd name="T3" fmla="*/ 384 h 384"/>
                    <a:gd name="T4" fmla="*/ 807 w 845"/>
                    <a:gd name="T5" fmla="*/ 384 h 384"/>
                    <a:gd name="T6" fmla="*/ 845 w 845"/>
                    <a:gd name="T7" fmla="*/ 346 h 384"/>
                    <a:gd name="T8" fmla="*/ 845 w 845"/>
                    <a:gd name="T9" fmla="*/ 38 h 384"/>
                    <a:gd name="T10" fmla="*/ 812 w 845"/>
                    <a:gd name="T11" fmla="*/ 0 h 384"/>
                    <a:gd name="T12" fmla="*/ 0 w 845"/>
                    <a:gd name="T13" fmla="*/ 308 h 384"/>
                    <a:gd name="T14" fmla="*/ 0 w 845"/>
                    <a:gd name="T15" fmla="*/ 346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45" h="384">
                      <a:moveTo>
                        <a:pt x="0" y="346"/>
                      </a:move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9"/>
                        <a:pt x="830" y="3"/>
                        <a:pt x="812" y="0"/>
                      </a:cubicBezTo>
                      <a:cubicBezTo>
                        <a:pt x="502" y="6"/>
                        <a:pt x="219" y="121"/>
                        <a:pt x="0" y="308"/>
                      </a:cubicBezTo>
                      <a:lnTo>
                        <a:pt x="0" y="34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85" name="Freeform 7">
                  <a:extLst>
                    <a:ext uri="{FF2B5EF4-FFF2-40B4-BE49-F238E27FC236}">
                      <a16:creationId xmlns:a16="http://schemas.microsoft.com/office/drawing/2014/main" xmlns="" id="{5F00A554-3703-447B-A0FF-770525357A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" y="4"/>
                  <a:ext cx="1051" cy="476"/>
                </a:xfrm>
                <a:custGeom>
                  <a:avLst/>
                  <a:gdLst>
                    <a:gd name="T0" fmla="*/ 24 w 841"/>
                    <a:gd name="T1" fmla="*/ 0 h 381"/>
                    <a:gd name="T2" fmla="*/ 0 w 841"/>
                    <a:gd name="T3" fmla="*/ 35 h 381"/>
                    <a:gd name="T4" fmla="*/ 0 w 841"/>
                    <a:gd name="T5" fmla="*/ 343 h 381"/>
                    <a:gd name="T6" fmla="*/ 38 w 841"/>
                    <a:gd name="T7" fmla="*/ 381 h 381"/>
                    <a:gd name="T8" fmla="*/ 807 w 841"/>
                    <a:gd name="T9" fmla="*/ 381 h 381"/>
                    <a:gd name="T10" fmla="*/ 841 w 841"/>
                    <a:gd name="T11" fmla="*/ 360 h 381"/>
                    <a:gd name="T12" fmla="*/ 24 w 841"/>
                    <a:gd name="T13" fmla="*/ 0 h 3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41" h="381">
                      <a:moveTo>
                        <a:pt x="24" y="0"/>
                      </a:moveTo>
                      <a:cubicBezTo>
                        <a:pt x="10" y="5"/>
                        <a:pt x="0" y="19"/>
                        <a:pt x="0" y="35"/>
                      </a:cubicBezTo>
                      <a:cubicBezTo>
                        <a:pt x="0" y="343"/>
                        <a:pt x="0" y="343"/>
                        <a:pt x="0" y="343"/>
                      </a:cubicBezTo>
                      <a:cubicBezTo>
                        <a:pt x="0" y="364"/>
                        <a:pt x="17" y="381"/>
                        <a:pt x="38" y="381"/>
                      </a:cubicBezTo>
                      <a:cubicBezTo>
                        <a:pt x="807" y="381"/>
                        <a:pt x="807" y="381"/>
                        <a:pt x="807" y="381"/>
                      </a:cubicBezTo>
                      <a:cubicBezTo>
                        <a:pt x="822" y="381"/>
                        <a:pt x="835" y="373"/>
                        <a:pt x="841" y="360"/>
                      </a:cubicBezTo>
                      <a:cubicBezTo>
                        <a:pt x="627" y="153"/>
                        <a:pt x="341" y="20"/>
                        <a:pt x="2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86" name="Freeform 8">
                  <a:extLst>
                    <a:ext uri="{FF2B5EF4-FFF2-40B4-BE49-F238E27FC236}">
                      <a16:creationId xmlns:a16="http://schemas.microsoft.com/office/drawing/2014/main" xmlns="" id="{ED471BD7-7E74-4F23-9306-1B5CE5FE48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0" y="555"/>
                  <a:ext cx="943" cy="480"/>
                </a:xfrm>
                <a:custGeom>
                  <a:avLst/>
                  <a:gdLst>
                    <a:gd name="T0" fmla="*/ 717 w 755"/>
                    <a:gd name="T1" fmla="*/ 0 h 384"/>
                    <a:gd name="T2" fmla="*/ 233 w 755"/>
                    <a:gd name="T3" fmla="*/ 0 h 384"/>
                    <a:gd name="T4" fmla="*/ 0 w 755"/>
                    <a:gd name="T5" fmla="*/ 384 h 384"/>
                    <a:gd name="T6" fmla="*/ 717 w 755"/>
                    <a:gd name="T7" fmla="*/ 384 h 384"/>
                    <a:gd name="T8" fmla="*/ 755 w 755"/>
                    <a:gd name="T9" fmla="*/ 346 h 384"/>
                    <a:gd name="T10" fmla="*/ 755 w 755"/>
                    <a:gd name="T11" fmla="*/ 38 h 384"/>
                    <a:gd name="T12" fmla="*/ 717 w 755"/>
                    <a:gd name="T13" fmla="*/ 0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55" h="384">
                      <a:moveTo>
                        <a:pt x="717" y="0"/>
                      </a:moveTo>
                      <a:cubicBezTo>
                        <a:pt x="233" y="0"/>
                        <a:pt x="233" y="0"/>
                        <a:pt x="233" y="0"/>
                      </a:cubicBezTo>
                      <a:cubicBezTo>
                        <a:pt x="134" y="113"/>
                        <a:pt x="55" y="242"/>
                        <a:pt x="0" y="384"/>
                      </a:cubicBezTo>
                      <a:cubicBezTo>
                        <a:pt x="717" y="384"/>
                        <a:pt x="717" y="384"/>
                        <a:pt x="717" y="384"/>
                      </a:cubicBezTo>
                      <a:cubicBezTo>
                        <a:pt x="738" y="384"/>
                        <a:pt x="755" y="367"/>
                        <a:pt x="755" y="346"/>
                      </a:cubicBezTo>
                      <a:cubicBezTo>
                        <a:pt x="755" y="38"/>
                        <a:pt x="755" y="38"/>
                        <a:pt x="755" y="38"/>
                      </a:cubicBezTo>
                      <a:cubicBezTo>
                        <a:pt x="755" y="17"/>
                        <a:pt x="738" y="0"/>
                        <a:pt x="71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87" name="Freeform 9">
                  <a:extLst>
                    <a:ext uri="{FF2B5EF4-FFF2-40B4-BE49-F238E27FC236}">
                      <a16:creationId xmlns:a16="http://schemas.microsoft.com/office/drawing/2014/main" xmlns="" id="{AA1F5BB5-1C59-4475-8953-7261BE0A1A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7" y="555"/>
                  <a:ext cx="1055" cy="480"/>
                </a:xfrm>
                <a:custGeom>
                  <a:avLst/>
                  <a:gdLst>
                    <a:gd name="T0" fmla="*/ 807 w 845"/>
                    <a:gd name="T1" fmla="*/ 0 h 384"/>
                    <a:gd name="T2" fmla="*/ 38 w 845"/>
                    <a:gd name="T3" fmla="*/ 0 h 384"/>
                    <a:gd name="T4" fmla="*/ 0 w 845"/>
                    <a:gd name="T5" fmla="*/ 38 h 384"/>
                    <a:gd name="T6" fmla="*/ 0 w 845"/>
                    <a:gd name="T7" fmla="*/ 346 h 384"/>
                    <a:gd name="T8" fmla="*/ 38 w 845"/>
                    <a:gd name="T9" fmla="*/ 384 h 384"/>
                    <a:gd name="T10" fmla="*/ 807 w 845"/>
                    <a:gd name="T11" fmla="*/ 384 h 384"/>
                    <a:gd name="T12" fmla="*/ 845 w 845"/>
                    <a:gd name="T13" fmla="*/ 346 h 384"/>
                    <a:gd name="T14" fmla="*/ 845 w 845"/>
                    <a:gd name="T15" fmla="*/ 38 h 384"/>
                    <a:gd name="T16" fmla="*/ 807 w 845"/>
                    <a:gd name="T17" fmla="*/ 0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807" y="0"/>
                      </a:move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88" name="Freeform 10">
                  <a:extLst>
                    <a:ext uri="{FF2B5EF4-FFF2-40B4-BE49-F238E27FC236}">
                      <a16:creationId xmlns:a16="http://schemas.microsoft.com/office/drawing/2014/main" xmlns="" id="{5841E74F-3DEA-4EE6-A2FA-273BA8B392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7" y="555"/>
                  <a:ext cx="893" cy="480"/>
                </a:xfrm>
                <a:custGeom>
                  <a:avLst/>
                  <a:gdLst>
                    <a:gd name="T0" fmla="*/ 0 w 715"/>
                    <a:gd name="T1" fmla="*/ 38 h 384"/>
                    <a:gd name="T2" fmla="*/ 0 w 715"/>
                    <a:gd name="T3" fmla="*/ 346 h 384"/>
                    <a:gd name="T4" fmla="*/ 38 w 715"/>
                    <a:gd name="T5" fmla="*/ 384 h 384"/>
                    <a:gd name="T6" fmla="*/ 715 w 715"/>
                    <a:gd name="T7" fmla="*/ 384 h 384"/>
                    <a:gd name="T8" fmla="*/ 482 w 715"/>
                    <a:gd name="T9" fmla="*/ 0 h 384"/>
                    <a:gd name="T10" fmla="*/ 38 w 715"/>
                    <a:gd name="T11" fmla="*/ 0 h 384"/>
                    <a:gd name="T12" fmla="*/ 0 w 715"/>
                    <a:gd name="T13" fmla="*/ 38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15" h="384">
                      <a:moveTo>
                        <a:pt x="0" y="38"/>
                      </a:move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715" y="384"/>
                        <a:pt x="715" y="384"/>
                        <a:pt x="715" y="384"/>
                      </a:cubicBezTo>
                      <a:cubicBezTo>
                        <a:pt x="660" y="242"/>
                        <a:pt x="581" y="113"/>
                        <a:pt x="482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89" name="Freeform 11">
                  <a:extLst>
                    <a:ext uri="{FF2B5EF4-FFF2-40B4-BE49-F238E27FC236}">
                      <a16:creationId xmlns:a16="http://schemas.microsoft.com/office/drawing/2014/main" xmlns="" id="{A096CEE8-FFE7-4856-BE46-FF46B32E01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1" y="1110"/>
                  <a:ext cx="507" cy="480"/>
                </a:xfrm>
                <a:custGeom>
                  <a:avLst/>
                  <a:gdLst>
                    <a:gd name="T0" fmla="*/ 368 w 406"/>
                    <a:gd name="T1" fmla="*/ 384 h 384"/>
                    <a:gd name="T2" fmla="*/ 406 w 406"/>
                    <a:gd name="T3" fmla="*/ 346 h 384"/>
                    <a:gd name="T4" fmla="*/ 406 w 406"/>
                    <a:gd name="T5" fmla="*/ 38 h 384"/>
                    <a:gd name="T6" fmla="*/ 368 w 406"/>
                    <a:gd name="T7" fmla="*/ 0 h 384"/>
                    <a:gd name="T8" fmla="*/ 66 w 406"/>
                    <a:gd name="T9" fmla="*/ 0 h 384"/>
                    <a:gd name="T10" fmla="*/ 0 w 406"/>
                    <a:gd name="T11" fmla="*/ 384 h 384"/>
                    <a:gd name="T12" fmla="*/ 368 w 406"/>
                    <a:gd name="T13" fmla="*/ 384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06" h="384">
                      <a:moveTo>
                        <a:pt x="368" y="384"/>
                      </a:moveTo>
                      <a:cubicBezTo>
                        <a:pt x="389" y="384"/>
                        <a:pt x="406" y="367"/>
                        <a:pt x="406" y="346"/>
                      </a:cubicBezTo>
                      <a:cubicBezTo>
                        <a:pt x="406" y="38"/>
                        <a:pt x="406" y="38"/>
                        <a:pt x="406" y="38"/>
                      </a:cubicBezTo>
                      <a:cubicBezTo>
                        <a:pt x="406" y="17"/>
                        <a:pt x="389" y="0"/>
                        <a:pt x="368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25" y="121"/>
                        <a:pt x="3" y="250"/>
                        <a:pt x="0" y="384"/>
                      </a:cubicBezTo>
                      <a:lnTo>
                        <a:pt x="368" y="3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90" name="Freeform 12">
                  <a:extLst>
                    <a:ext uri="{FF2B5EF4-FFF2-40B4-BE49-F238E27FC236}">
                      <a16:creationId xmlns:a16="http://schemas.microsoft.com/office/drawing/2014/main" xmlns="" id="{9B768D9B-5689-4997-BDC7-8723C0C3CD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3" y="1110"/>
                  <a:ext cx="1056" cy="480"/>
                </a:xfrm>
                <a:custGeom>
                  <a:avLst/>
                  <a:gdLst>
                    <a:gd name="T0" fmla="*/ 0 w 845"/>
                    <a:gd name="T1" fmla="*/ 38 h 384"/>
                    <a:gd name="T2" fmla="*/ 0 w 845"/>
                    <a:gd name="T3" fmla="*/ 346 h 384"/>
                    <a:gd name="T4" fmla="*/ 38 w 845"/>
                    <a:gd name="T5" fmla="*/ 384 h 384"/>
                    <a:gd name="T6" fmla="*/ 807 w 845"/>
                    <a:gd name="T7" fmla="*/ 384 h 384"/>
                    <a:gd name="T8" fmla="*/ 845 w 845"/>
                    <a:gd name="T9" fmla="*/ 346 h 384"/>
                    <a:gd name="T10" fmla="*/ 845 w 845"/>
                    <a:gd name="T11" fmla="*/ 38 h 384"/>
                    <a:gd name="T12" fmla="*/ 807 w 845"/>
                    <a:gd name="T13" fmla="*/ 0 h 384"/>
                    <a:gd name="T14" fmla="*/ 38 w 845"/>
                    <a:gd name="T15" fmla="*/ 0 h 384"/>
                    <a:gd name="T16" fmla="*/ 0 w 845"/>
                    <a:gd name="T17" fmla="*/ 38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0" y="38"/>
                      </a:move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91" name="Freeform 13">
                  <a:extLst>
                    <a:ext uri="{FF2B5EF4-FFF2-40B4-BE49-F238E27FC236}">
                      <a16:creationId xmlns:a16="http://schemas.microsoft.com/office/drawing/2014/main" xmlns="" id="{BC23CE1F-3C3F-46EA-BCD9-B957443C14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" y="1110"/>
                  <a:ext cx="1056" cy="480"/>
                </a:xfrm>
                <a:custGeom>
                  <a:avLst/>
                  <a:gdLst>
                    <a:gd name="T0" fmla="*/ 0 w 845"/>
                    <a:gd name="T1" fmla="*/ 38 h 384"/>
                    <a:gd name="T2" fmla="*/ 0 w 845"/>
                    <a:gd name="T3" fmla="*/ 346 h 384"/>
                    <a:gd name="T4" fmla="*/ 38 w 845"/>
                    <a:gd name="T5" fmla="*/ 384 h 384"/>
                    <a:gd name="T6" fmla="*/ 807 w 845"/>
                    <a:gd name="T7" fmla="*/ 384 h 384"/>
                    <a:gd name="T8" fmla="*/ 845 w 845"/>
                    <a:gd name="T9" fmla="*/ 346 h 384"/>
                    <a:gd name="T10" fmla="*/ 845 w 845"/>
                    <a:gd name="T11" fmla="*/ 38 h 384"/>
                    <a:gd name="T12" fmla="*/ 807 w 845"/>
                    <a:gd name="T13" fmla="*/ 0 h 384"/>
                    <a:gd name="T14" fmla="*/ 38 w 845"/>
                    <a:gd name="T15" fmla="*/ 0 h 384"/>
                    <a:gd name="T16" fmla="*/ 0 w 845"/>
                    <a:gd name="T17" fmla="*/ 38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0" y="38"/>
                      </a:move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92" name="Freeform 14">
                  <a:extLst>
                    <a:ext uri="{FF2B5EF4-FFF2-40B4-BE49-F238E27FC236}">
                      <a16:creationId xmlns:a16="http://schemas.microsoft.com/office/drawing/2014/main" xmlns="" id="{B1A87A2E-E200-4A7D-A9EB-5C6C9DF2DF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73" y="1110"/>
                  <a:ext cx="426" cy="480"/>
                </a:xfrm>
                <a:custGeom>
                  <a:avLst/>
                  <a:gdLst>
                    <a:gd name="T0" fmla="*/ 38 w 341"/>
                    <a:gd name="T1" fmla="*/ 0 h 384"/>
                    <a:gd name="T2" fmla="*/ 0 w 341"/>
                    <a:gd name="T3" fmla="*/ 38 h 384"/>
                    <a:gd name="T4" fmla="*/ 0 w 341"/>
                    <a:gd name="T5" fmla="*/ 346 h 384"/>
                    <a:gd name="T6" fmla="*/ 38 w 341"/>
                    <a:gd name="T7" fmla="*/ 384 h 384"/>
                    <a:gd name="T8" fmla="*/ 341 w 341"/>
                    <a:gd name="T9" fmla="*/ 384 h 384"/>
                    <a:gd name="T10" fmla="*/ 275 w 341"/>
                    <a:gd name="T11" fmla="*/ 0 h 384"/>
                    <a:gd name="T12" fmla="*/ 38 w 341"/>
                    <a:gd name="T13" fmla="*/ 0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1" h="384">
                      <a:moveTo>
                        <a:pt x="38" y="0"/>
                      </a:move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341" y="384"/>
                        <a:pt x="341" y="384"/>
                        <a:pt x="341" y="384"/>
                      </a:cubicBezTo>
                      <a:cubicBezTo>
                        <a:pt x="338" y="250"/>
                        <a:pt x="316" y="121"/>
                        <a:pt x="275" y="0"/>
                      </a:cubicBezTo>
                      <a:lnTo>
                        <a:pt x="3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93" name="Freeform 15">
                  <a:extLst>
                    <a:ext uri="{FF2B5EF4-FFF2-40B4-BE49-F238E27FC236}">
                      <a16:creationId xmlns:a16="http://schemas.microsoft.com/office/drawing/2014/main" xmlns="" id="{697027CD-EA25-4D33-88DA-F51CFFCB0C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2" y="1665"/>
                  <a:ext cx="1051" cy="480"/>
                </a:xfrm>
                <a:custGeom>
                  <a:avLst/>
                  <a:gdLst>
                    <a:gd name="T0" fmla="*/ 841 w 841"/>
                    <a:gd name="T1" fmla="*/ 346 h 384"/>
                    <a:gd name="T2" fmla="*/ 841 w 841"/>
                    <a:gd name="T3" fmla="*/ 38 h 384"/>
                    <a:gd name="T4" fmla="*/ 803 w 841"/>
                    <a:gd name="T5" fmla="*/ 0 h 384"/>
                    <a:gd name="T6" fmla="*/ 34 w 841"/>
                    <a:gd name="T7" fmla="*/ 0 h 384"/>
                    <a:gd name="T8" fmla="*/ 0 w 841"/>
                    <a:gd name="T9" fmla="*/ 19 h 384"/>
                    <a:gd name="T10" fmla="*/ 69 w 841"/>
                    <a:gd name="T11" fmla="*/ 384 h 384"/>
                    <a:gd name="T12" fmla="*/ 803 w 841"/>
                    <a:gd name="T13" fmla="*/ 384 h 384"/>
                    <a:gd name="T14" fmla="*/ 841 w 841"/>
                    <a:gd name="T15" fmla="*/ 346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41" h="384">
                      <a:moveTo>
                        <a:pt x="841" y="346"/>
                      </a:moveTo>
                      <a:cubicBezTo>
                        <a:pt x="841" y="38"/>
                        <a:pt x="841" y="38"/>
                        <a:pt x="841" y="38"/>
                      </a:cubicBezTo>
                      <a:cubicBezTo>
                        <a:pt x="841" y="17"/>
                        <a:pt x="824" y="0"/>
                        <a:pt x="803" y="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19" y="0"/>
                        <a:pt x="7" y="8"/>
                        <a:pt x="0" y="19"/>
                      </a:cubicBezTo>
                      <a:cubicBezTo>
                        <a:pt x="6" y="147"/>
                        <a:pt x="29" y="269"/>
                        <a:pt x="69" y="384"/>
                      </a:cubicBezTo>
                      <a:cubicBezTo>
                        <a:pt x="803" y="384"/>
                        <a:pt x="803" y="384"/>
                        <a:pt x="803" y="384"/>
                      </a:cubicBezTo>
                      <a:cubicBezTo>
                        <a:pt x="824" y="384"/>
                        <a:pt x="841" y="367"/>
                        <a:pt x="841" y="34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94" name="Freeform 16">
                  <a:extLst>
                    <a:ext uri="{FF2B5EF4-FFF2-40B4-BE49-F238E27FC236}">
                      <a16:creationId xmlns:a16="http://schemas.microsoft.com/office/drawing/2014/main" xmlns="" id="{68681456-FA0E-4D07-B20E-A0C7C981E3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7" y="1665"/>
                  <a:ext cx="1055" cy="480"/>
                </a:xfrm>
                <a:custGeom>
                  <a:avLst/>
                  <a:gdLst>
                    <a:gd name="T0" fmla="*/ 845 w 845"/>
                    <a:gd name="T1" fmla="*/ 346 h 384"/>
                    <a:gd name="T2" fmla="*/ 845 w 845"/>
                    <a:gd name="T3" fmla="*/ 38 h 384"/>
                    <a:gd name="T4" fmla="*/ 807 w 845"/>
                    <a:gd name="T5" fmla="*/ 0 h 384"/>
                    <a:gd name="T6" fmla="*/ 38 w 845"/>
                    <a:gd name="T7" fmla="*/ 0 h 384"/>
                    <a:gd name="T8" fmla="*/ 0 w 845"/>
                    <a:gd name="T9" fmla="*/ 38 h 384"/>
                    <a:gd name="T10" fmla="*/ 0 w 845"/>
                    <a:gd name="T11" fmla="*/ 346 h 384"/>
                    <a:gd name="T12" fmla="*/ 38 w 845"/>
                    <a:gd name="T13" fmla="*/ 384 h 384"/>
                    <a:gd name="T14" fmla="*/ 807 w 845"/>
                    <a:gd name="T15" fmla="*/ 384 h 384"/>
                    <a:gd name="T16" fmla="*/ 845 w 845"/>
                    <a:gd name="T17" fmla="*/ 346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845" y="346"/>
                      </a:move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95" name="Freeform 17">
                  <a:extLst>
                    <a:ext uri="{FF2B5EF4-FFF2-40B4-BE49-F238E27FC236}">
                      <a16:creationId xmlns:a16="http://schemas.microsoft.com/office/drawing/2014/main" xmlns="" id="{2C9ACB2C-750B-4B1D-8102-06F7AD6267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7" y="1665"/>
                  <a:ext cx="1001" cy="480"/>
                </a:xfrm>
                <a:custGeom>
                  <a:avLst/>
                  <a:gdLst>
                    <a:gd name="T0" fmla="*/ 801 w 801"/>
                    <a:gd name="T1" fmla="*/ 0 h 384"/>
                    <a:gd name="T2" fmla="*/ 38 w 801"/>
                    <a:gd name="T3" fmla="*/ 0 h 384"/>
                    <a:gd name="T4" fmla="*/ 0 w 801"/>
                    <a:gd name="T5" fmla="*/ 38 h 384"/>
                    <a:gd name="T6" fmla="*/ 0 w 801"/>
                    <a:gd name="T7" fmla="*/ 346 h 384"/>
                    <a:gd name="T8" fmla="*/ 38 w 801"/>
                    <a:gd name="T9" fmla="*/ 384 h 384"/>
                    <a:gd name="T10" fmla="*/ 732 w 801"/>
                    <a:gd name="T11" fmla="*/ 384 h 384"/>
                    <a:gd name="T12" fmla="*/ 801 w 801"/>
                    <a:gd name="T13" fmla="*/ 0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1" h="384">
                      <a:moveTo>
                        <a:pt x="801" y="0"/>
                      </a:move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732" y="384"/>
                        <a:pt x="732" y="384"/>
                        <a:pt x="732" y="384"/>
                      </a:cubicBezTo>
                      <a:cubicBezTo>
                        <a:pt x="774" y="263"/>
                        <a:pt x="798" y="134"/>
                        <a:pt x="80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96" name="Freeform 18">
                  <a:extLst>
                    <a:ext uri="{FF2B5EF4-FFF2-40B4-BE49-F238E27FC236}">
                      <a16:creationId xmlns:a16="http://schemas.microsoft.com/office/drawing/2014/main" xmlns="" id="{39767DE0-2EE9-42EF-8A69-404706E6B9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6" y="2220"/>
                  <a:ext cx="392" cy="480"/>
                </a:xfrm>
                <a:custGeom>
                  <a:avLst/>
                  <a:gdLst>
                    <a:gd name="T0" fmla="*/ 314 w 314"/>
                    <a:gd name="T1" fmla="*/ 346 h 384"/>
                    <a:gd name="T2" fmla="*/ 314 w 314"/>
                    <a:gd name="T3" fmla="*/ 38 h 384"/>
                    <a:gd name="T4" fmla="*/ 276 w 314"/>
                    <a:gd name="T5" fmla="*/ 0 h 384"/>
                    <a:gd name="T6" fmla="*/ 0 w 314"/>
                    <a:gd name="T7" fmla="*/ 0 h 384"/>
                    <a:gd name="T8" fmla="*/ 238 w 314"/>
                    <a:gd name="T9" fmla="*/ 384 h 384"/>
                    <a:gd name="T10" fmla="*/ 276 w 314"/>
                    <a:gd name="T11" fmla="*/ 384 h 384"/>
                    <a:gd name="T12" fmla="*/ 314 w 314"/>
                    <a:gd name="T13" fmla="*/ 346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14" h="384">
                      <a:moveTo>
                        <a:pt x="314" y="346"/>
                      </a:moveTo>
                      <a:cubicBezTo>
                        <a:pt x="314" y="38"/>
                        <a:pt x="314" y="38"/>
                        <a:pt x="314" y="38"/>
                      </a:cubicBezTo>
                      <a:cubicBezTo>
                        <a:pt x="314" y="17"/>
                        <a:pt x="297" y="0"/>
                        <a:pt x="276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6" y="142"/>
                        <a:pt x="138" y="272"/>
                        <a:pt x="238" y="384"/>
                      </a:cubicBezTo>
                      <a:cubicBezTo>
                        <a:pt x="276" y="384"/>
                        <a:pt x="276" y="384"/>
                        <a:pt x="276" y="384"/>
                      </a:cubicBezTo>
                      <a:cubicBezTo>
                        <a:pt x="297" y="384"/>
                        <a:pt x="314" y="367"/>
                        <a:pt x="314" y="34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97" name="Freeform 19">
                  <a:extLst>
                    <a:ext uri="{FF2B5EF4-FFF2-40B4-BE49-F238E27FC236}">
                      <a16:creationId xmlns:a16="http://schemas.microsoft.com/office/drawing/2014/main" xmlns="" id="{0581ABE8-2B4F-4880-AEE9-FB11F8579A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3" y="2220"/>
                  <a:ext cx="1056" cy="480"/>
                </a:xfrm>
                <a:custGeom>
                  <a:avLst/>
                  <a:gdLst>
                    <a:gd name="T0" fmla="*/ 38 w 845"/>
                    <a:gd name="T1" fmla="*/ 384 h 384"/>
                    <a:gd name="T2" fmla="*/ 807 w 845"/>
                    <a:gd name="T3" fmla="*/ 384 h 384"/>
                    <a:gd name="T4" fmla="*/ 845 w 845"/>
                    <a:gd name="T5" fmla="*/ 346 h 384"/>
                    <a:gd name="T6" fmla="*/ 845 w 845"/>
                    <a:gd name="T7" fmla="*/ 38 h 384"/>
                    <a:gd name="T8" fmla="*/ 807 w 845"/>
                    <a:gd name="T9" fmla="*/ 0 h 384"/>
                    <a:gd name="T10" fmla="*/ 38 w 845"/>
                    <a:gd name="T11" fmla="*/ 0 h 384"/>
                    <a:gd name="T12" fmla="*/ 0 w 845"/>
                    <a:gd name="T13" fmla="*/ 38 h 384"/>
                    <a:gd name="T14" fmla="*/ 0 w 845"/>
                    <a:gd name="T15" fmla="*/ 346 h 384"/>
                    <a:gd name="T16" fmla="*/ 38 w 845"/>
                    <a:gd name="T17" fmla="*/ 384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38" y="384"/>
                      </a:move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98" name="Freeform 20">
                  <a:extLst>
                    <a:ext uri="{FF2B5EF4-FFF2-40B4-BE49-F238E27FC236}">
                      <a16:creationId xmlns:a16="http://schemas.microsoft.com/office/drawing/2014/main" xmlns="" id="{8B1224FB-9DFC-44A3-8B39-7AD04B21DE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" y="2220"/>
                  <a:ext cx="1056" cy="480"/>
                </a:xfrm>
                <a:custGeom>
                  <a:avLst/>
                  <a:gdLst>
                    <a:gd name="T0" fmla="*/ 38 w 845"/>
                    <a:gd name="T1" fmla="*/ 384 h 384"/>
                    <a:gd name="T2" fmla="*/ 807 w 845"/>
                    <a:gd name="T3" fmla="*/ 384 h 384"/>
                    <a:gd name="T4" fmla="*/ 845 w 845"/>
                    <a:gd name="T5" fmla="*/ 346 h 384"/>
                    <a:gd name="T6" fmla="*/ 845 w 845"/>
                    <a:gd name="T7" fmla="*/ 38 h 384"/>
                    <a:gd name="T8" fmla="*/ 807 w 845"/>
                    <a:gd name="T9" fmla="*/ 0 h 384"/>
                    <a:gd name="T10" fmla="*/ 38 w 845"/>
                    <a:gd name="T11" fmla="*/ 0 h 384"/>
                    <a:gd name="T12" fmla="*/ 0 w 845"/>
                    <a:gd name="T13" fmla="*/ 38 h 384"/>
                    <a:gd name="T14" fmla="*/ 0 w 845"/>
                    <a:gd name="T15" fmla="*/ 346 h 384"/>
                    <a:gd name="T16" fmla="*/ 38 w 845"/>
                    <a:gd name="T17" fmla="*/ 384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38" y="384"/>
                      </a:move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99" name="Freeform 21">
                  <a:extLst>
                    <a:ext uri="{FF2B5EF4-FFF2-40B4-BE49-F238E27FC236}">
                      <a16:creationId xmlns:a16="http://schemas.microsoft.com/office/drawing/2014/main" xmlns="" id="{89E512DD-C596-42B0-8C9A-72E2E993D5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73" y="2220"/>
                  <a:ext cx="311" cy="473"/>
                </a:xfrm>
                <a:custGeom>
                  <a:avLst/>
                  <a:gdLst>
                    <a:gd name="T0" fmla="*/ 38 w 249"/>
                    <a:gd name="T1" fmla="*/ 0 h 378"/>
                    <a:gd name="T2" fmla="*/ 0 w 249"/>
                    <a:gd name="T3" fmla="*/ 38 h 378"/>
                    <a:gd name="T4" fmla="*/ 0 w 249"/>
                    <a:gd name="T5" fmla="*/ 346 h 378"/>
                    <a:gd name="T6" fmla="*/ 17 w 249"/>
                    <a:gd name="T7" fmla="*/ 378 h 378"/>
                    <a:gd name="T8" fmla="*/ 249 w 249"/>
                    <a:gd name="T9" fmla="*/ 0 h 378"/>
                    <a:gd name="T10" fmla="*/ 38 w 249"/>
                    <a:gd name="T11" fmla="*/ 0 h 3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49" h="378">
                      <a:moveTo>
                        <a:pt x="38" y="0"/>
                      </a:move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59"/>
                        <a:pt x="6" y="371"/>
                        <a:pt x="17" y="378"/>
                      </a:cubicBezTo>
                      <a:cubicBezTo>
                        <a:pt x="114" y="267"/>
                        <a:pt x="194" y="139"/>
                        <a:pt x="249" y="0"/>
                      </a:cubicBezTo>
                      <a:lnTo>
                        <a:pt x="3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00" name="Freeform 22">
                  <a:extLst>
                    <a:ext uri="{FF2B5EF4-FFF2-40B4-BE49-F238E27FC236}">
                      <a16:creationId xmlns:a16="http://schemas.microsoft.com/office/drawing/2014/main" xmlns="" id="{CE2F261E-5446-43B8-B521-857FA9E270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44" y="2775"/>
                  <a:ext cx="569" cy="363"/>
                </a:xfrm>
                <a:custGeom>
                  <a:avLst/>
                  <a:gdLst>
                    <a:gd name="T0" fmla="*/ 455 w 455"/>
                    <a:gd name="T1" fmla="*/ 38 h 290"/>
                    <a:gd name="T2" fmla="*/ 417 w 455"/>
                    <a:gd name="T3" fmla="*/ 0 h 290"/>
                    <a:gd name="T4" fmla="*/ 0 w 455"/>
                    <a:gd name="T5" fmla="*/ 0 h 290"/>
                    <a:gd name="T6" fmla="*/ 455 w 455"/>
                    <a:gd name="T7" fmla="*/ 290 h 290"/>
                    <a:gd name="T8" fmla="*/ 455 w 455"/>
                    <a:gd name="T9" fmla="*/ 38 h 2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5" h="290">
                      <a:moveTo>
                        <a:pt x="455" y="38"/>
                      </a:moveTo>
                      <a:cubicBezTo>
                        <a:pt x="455" y="17"/>
                        <a:pt x="438" y="0"/>
                        <a:pt x="41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28" y="126"/>
                        <a:pt x="283" y="226"/>
                        <a:pt x="455" y="290"/>
                      </a:cubicBezTo>
                      <a:lnTo>
                        <a:pt x="455" y="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17" name="Freeform 23">
                  <a:extLst>
                    <a:ext uri="{FF2B5EF4-FFF2-40B4-BE49-F238E27FC236}">
                      <a16:creationId xmlns:a16="http://schemas.microsoft.com/office/drawing/2014/main" xmlns="" id="{02783F0C-E078-44DA-934E-0E3D34FDDBE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7" y="2775"/>
                  <a:ext cx="1055" cy="465"/>
                </a:xfrm>
                <a:custGeom>
                  <a:avLst/>
                  <a:gdLst>
                    <a:gd name="T0" fmla="*/ 845 w 845"/>
                    <a:gd name="T1" fmla="*/ 294 h 372"/>
                    <a:gd name="T2" fmla="*/ 845 w 845"/>
                    <a:gd name="T3" fmla="*/ 38 h 372"/>
                    <a:gd name="T4" fmla="*/ 807 w 845"/>
                    <a:gd name="T5" fmla="*/ 0 h 372"/>
                    <a:gd name="T6" fmla="*/ 38 w 845"/>
                    <a:gd name="T7" fmla="*/ 0 h 372"/>
                    <a:gd name="T8" fmla="*/ 0 w 845"/>
                    <a:gd name="T9" fmla="*/ 38 h 372"/>
                    <a:gd name="T10" fmla="*/ 0 w 845"/>
                    <a:gd name="T11" fmla="*/ 308 h 372"/>
                    <a:gd name="T12" fmla="*/ 403 w 845"/>
                    <a:gd name="T13" fmla="*/ 372 h 372"/>
                    <a:gd name="T14" fmla="*/ 845 w 845"/>
                    <a:gd name="T15" fmla="*/ 294 h 3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45" h="372">
                      <a:moveTo>
                        <a:pt x="845" y="294"/>
                      </a:move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08"/>
                        <a:pt x="0" y="308"/>
                        <a:pt x="0" y="308"/>
                      </a:cubicBezTo>
                      <a:cubicBezTo>
                        <a:pt x="127" y="349"/>
                        <a:pt x="262" y="372"/>
                        <a:pt x="403" y="372"/>
                      </a:cubicBezTo>
                      <a:cubicBezTo>
                        <a:pt x="558" y="372"/>
                        <a:pt x="707" y="345"/>
                        <a:pt x="845" y="29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18" name="Freeform 24">
                  <a:extLst>
                    <a:ext uri="{FF2B5EF4-FFF2-40B4-BE49-F238E27FC236}">
                      <a16:creationId xmlns:a16="http://schemas.microsoft.com/office/drawing/2014/main" xmlns="" id="{82D339B1-281D-408D-AD03-B44CC7EA78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7" y="2775"/>
                  <a:ext cx="519" cy="344"/>
                </a:xfrm>
                <a:custGeom>
                  <a:avLst/>
                  <a:gdLst>
                    <a:gd name="T0" fmla="*/ 38 w 415"/>
                    <a:gd name="T1" fmla="*/ 0 h 275"/>
                    <a:gd name="T2" fmla="*/ 0 w 415"/>
                    <a:gd name="T3" fmla="*/ 38 h 275"/>
                    <a:gd name="T4" fmla="*/ 0 w 415"/>
                    <a:gd name="T5" fmla="*/ 275 h 275"/>
                    <a:gd name="T6" fmla="*/ 415 w 415"/>
                    <a:gd name="T7" fmla="*/ 0 h 275"/>
                    <a:gd name="T8" fmla="*/ 38 w 415"/>
                    <a:gd name="T9" fmla="*/ 0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5" h="275">
                      <a:moveTo>
                        <a:pt x="38" y="0"/>
                      </a:move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275"/>
                        <a:pt x="0" y="275"/>
                        <a:pt x="0" y="275"/>
                      </a:cubicBezTo>
                      <a:cubicBezTo>
                        <a:pt x="156" y="210"/>
                        <a:pt x="297" y="116"/>
                        <a:pt x="415" y="0"/>
                      </a:cubicBezTo>
                      <a:lnTo>
                        <a:pt x="3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</p:grpSp>
        <p:cxnSp>
          <p:nvCxnSpPr>
            <p:cNvPr id="1115" name="Straight Connector 1114">
              <a:extLst>
                <a:ext uri="{FF2B5EF4-FFF2-40B4-BE49-F238E27FC236}">
                  <a16:creationId xmlns:a16="http://schemas.microsoft.com/office/drawing/2014/main" xmlns="" id="{7A5DF334-5EE7-45D1-9527-DA6AA08979BF}"/>
                </a:ext>
              </a:extLst>
            </p:cNvPr>
            <p:cNvCxnSpPr>
              <a:cxnSpLocks/>
            </p:cNvCxnSpPr>
            <p:nvPr/>
          </p:nvCxnSpPr>
          <p:spPr>
            <a:xfrm>
              <a:off x="4398696" y="2686563"/>
              <a:ext cx="1235996" cy="0"/>
            </a:xfrm>
            <a:prstGeom prst="line">
              <a:avLst/>
            </a:prstGeom>
            <a:ln cap="rnd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6" name="Rectangle 1115">
              <a:extLst>
                <a:ext uri="{FF2B5EF4-FFF2-40B4-BE49-F238E27FC236}">
                  <a16:creationId xmlns:a16="http://schemas.microsoft.com/office/drawing/2014/main" xmlns="" id="{AFCAD661-E996-4E51-AD77-0FFAE33AE756}"/>
                </a:ext>
              </a:extLst>
            </p:cNvPr>
            <p:cNvSpPr/>
            <p:nvPr/>
          </p:nvSpPr>
          <p:spPr>
            <a:xfrm>
              <a:off x="4057123" y="813489"/>
              <a:ext cx="8477739" cy="355649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923" name="Oval 3922">
              <a:extLst>
                <a:ext uri="{FF2B5EF4-FFF2-40B4-BE49-F238E27FC236}">
                  <a16:creationId xmlns:a16="http://schemas.microsoft.com/office/drawing/2014/main" xmlns="" id="{EDD9DF60-CF4A-4E62-B605-9C62D47FA02B}"/>
                </a:ext>
              </a:extLst>
            </p:cNvPr>
            <p:cNvSpPr/>
            <p:nvPr/>
          </p:nvSpPr>
          <p:spPr>
            <a:xfrm>
              <a:off x="4461447" y="2647354"/>
              <a:ext cx="76744" cy="767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924" name="Oval 3923">
              <a:extLst>
                <a:ext uri="{FF2B5EF4-FFF2-40B4-BE49-F238E27FC236}">
                  <a16:creationId xmlns:a16="http://schemas.microsoft.com/office/drawing/2014/main" xmlns="" id="{CEA2CAF9-7670-4FF3-BA60-DE9EBBE52AAA}"/>
                </a:ext>
              </a:extLst>
            </p:cNvPr>
            <p:cNvSpPr/>
            <p:nvPr/>
          </p:nvSpPr>
          <p:spPr>
            <a:xfrm>
              <a:off x="4461447" y="2647354"/>
              <a:ext cx="76744" cy="767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925" name="Oval 3924">
              <a:extLst>
                <a:ext uri="{FF2B5EF4-FFF2-40B4-BE49-F238E27FC236}">
                  <a16:creationId xmlns:a16="http://schemas.microsoft.com/office/drawing/2014/main" xmlns="" id="{0BAA4953-69E6-499E-98FB-D128ECF8158A}"/>
                </a:ext>
              </a:extLst>
            </p:cNvPr>
            <p:cNvSpPr/>
            <p:nvPr/>
          </p:nvSpPr>
          <p:spPr>
            <a:xfrm>
              <a:off x="4461447" y="2647354"/>
              <a:ext cx="76744" cy="767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926" name="Oval 3925">
              <a:extLst>
                <a:ext uri="{FF2B5EF4-FFF2-40B4-BE49-F238E27FC236}">
                  <a16:creationId xmlns:a16="http://schemas.microsoft.com/office/drawing/2014/main" xmlns="" id="{2267772E-7B12-4A53-8FB6-B31236801004}"/>
                </a:ext>
              </a:extLst>
            </p:cNvPr>
            <p:cNvSpPr/>
            <p:nvPr/>
          </p:nvSpPr>
          <p:spPr>
            <a:xfrm>
              <a:off x="4461447" y="2647354"/>
              <a:ext cx="76744" cy="767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927" name="Oval 3926">
              <a:extLst>
                <a:ext uri="{FF2B5EF4-FFF2-40B4-BE49-F238E27FC236}">
                  <a16:creationId xmlns:a16="http://schemas.microsoft.com/office/drawing/2014/main" xmlns="" id="{5B6C467E-381D-4F00-9037-374784FBAAFF}"/>
                </a:ext>
              </a:extLst>
            </p:cNvPr>
            <p:cNvSpPr/>
            <p:nvPr/>
          </p:nvSpPr>
          <p:spPr>
            <a:xfrm>
              <a:off x="4461447" y="2647354"/>
              <a:ext cx="76744" cy="767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928" name="Oval 3927">
              <a:extLst>
                <a:ext uri="{FF2B5EF4-FFF2-40B4-BE49-F238E27FC236}">
                  <a16:creationId xmlns:a16="http://schemas.microsoft.com/office/drawing/2014/main" xmlns="" id="{20ACE7DC-C8D3-4BA3-9211-1C64FB762854}"/>
                </a:ext>
              </a:extLst>
            </p:cNvPr>
            <p:cNvSpPr/>
            <p:nvPr/>
          </p:nvSpPr>
          <p:spPr>
            <a:xfrm>
              <a:off x="4461447" y="2647354"/>
              <a:ext cx="76744" cy="767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075" name="Freeform: Shape 1074">
              <a:extLst>
                <a:ext uri="{FF2B5EF4-FFF2-40B4-BE49-F238E27FC236}">
                  <a16:creationId xmlns:a16="http://schemas.microsoft.com/office/drawing/2014/main" xmlns="" id="{0ACB2083-D75F-4AFC-B254-00D0DCD1D982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057123" y="813489"/>
              <a:ext cx="8477739" cy="3556492"/>
            </a:xfrm>
            <a:custGeom>
              <a:avLst/>
              <a:gdLst>
                <a:gd name="connsiteX0" fmla="*/ 4794585 w 6374240"/>
                <a:gd name="connsiteY0" fmla="*/ 259675 h 2674054"/>
                <a:gd name="connsiteX1" fmla="*/ 3655701 w 6374240"/>
                <a:gd name="connsiteY1" fmla="*/ 1395157 h 2674054"/>
                <a:gd name="connsiteX2" fmla="*/ 4794585 w 6374240"/>
                <a:gd name="connsiteY2" fmla="*/ 2530639 h 2674054"/>
                <a:gd name="connsiteX3" fmla="*/ 5933469 w 6374240"/>
                <a:gd name="connsiteY3" fmla="*/ 1395157 h 2674054"/>
                <a:gd name="connsiteX4" fmla="*/ 4794585 w 6374240"/>
                <a:gd name="connsiteY4" fmla="*/ 259675 h 2674054"/>
                <a:gd name="connsiteX5" fmla="*/ 1574605 w 6374240"/>
                <a:gd name="connsiteY5" fmla="*/ 259673 h 2674054"/>
                <a:gd name="connsiteX6" fmla="*/ 428923 w 6374240"/>
                <a:gd name="connsiteY6" fmla="*/ 1395156 h 2674054"/>
                <a:gd name="connsiteX7" fmla="*/ 1574605 w 6374240"/>
                <a:gd name="connsiteY7" fmla="*/ 2530639 h 2674054"/>
                <a:gd name="connsiteX8" fmla="*/ 2720287 w 6374240"/>
                <a:gd name="connsiteY8" fmla="*/ 1395156 h 2674054"/>
                <a:gd name="connsiteX9" fmla="*/ 1574605 w 6374240"/>
                <a:gd name="connsiteY9" fmla="*/ 259673 h 2674054"/>
                <a:gd name="connsiteX10" fmla="*/ 3181118 w 6374240"/>
                <a:gd name="connsiteY10" fmla="*/ 0 h 2674054"/>
                <a:gd name="connsiteX11" fmla="*/ 3925380 w 6374240"/>
                <a:gd name="connsiteY11" fmla="*/ 455668 h 2674054"/>
                <a:gd name="connsiteX12" fmla="*/ 4789683 w 6374240"/>
                <a:gd name="connsiteY12" fmla="*/ 119913 h 2674054"/>
                <a:gd name="connsiteX13" fmla="*/ 5822046 w 6374240"/>
                <a:gd name="connsiteY13" fmla="*/ 635538 h 2674054"/>
                <a:gd name="connsiteX14" fmla="*/ 6374240 w 6374240"/>
                <a:gd name="connsiteY14" fmla="*/ 1390988 h 2674054"/>
                <a:gd name="connsiteX15" fmla="*/ 5822046 w 6374240"/>
                <a:gd name="connsiteY15" fmla="*/ 2158429 h 2674054"/>
                <a:gd name="connsiteX16" fmla="*/ 4789683 w 6374240"/>
                <a:gd name="connsiteY16" fmla="*/ 2674054 h 2674054"/>
                <a:gd name="connsiteX17" fmla="*/ 3529240 w 6374240"/>
                <a:gd name="connsiteY17" fmla="*/ 1606831 h 2674054"/>
                <a:gd name="connsiteX18" fmla="*/ 3181118 w 6374240"/>
                <a:gd name="connsiteY18" fmla="*/ 1678778 h 2674054"/>
                <a:gd name="connsiteX19" fmla="*/ 2832996 w 6374240"/>
                <a:gd name="connsiteY19" fmla="*/ 1606831 h 2674054"/>
                <a:gd name="connsiteX20" fmla="*/ 1572553 w 6374240"/>
                <a:gd name="connsiteY20" fmla="*/ 2674054 h 2674054"/>
                <a:gd name="connsiteX21" fmla="*/ 540190 w 6374240"/>
                <a:gd name="connsiteY21" fmla="*/ 2158429 h 2674054"/>
                <a:gd name="connsiteX22" fmla="*/ 0 w 6374240"/>
                <a:gd name="connsiteY22" fmla="*/ 1390988 h 2674054"/>
                <a:gd name="connsiteX23" fmla="*/ 540190 w 6374240"/>
                <a:gd name="connsiteY23" fmla="*/ 635538 h 2674054"/>
                <a:gd name="connsiteX24" fmla="*/ 1572553 w 6374240"/>
                <a:gd name="connsiteY24" fmla="*/ 119913 h 2674054"/>
                <a:gd name="connsiteX25" fmla="*/ 2436856 w 6374240"/>
                <a:gd name="connsiteY25" fmla="*/ 455668 h 2674054"/>
                <a:gd name="connsiteX26" fmla="*/ 3181118 w 6374240"/>
                <a:gd name="connsiteY26" fmla="*/ 0 h 2674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374240" h="2674054">
                  <a:moveTo>
                    <a:pt x="4794585" y="259675"/>
                  </a:moveTo>
                  <a:cubicBezTo>
                    <a:pt x="4165597" y="259675"/>
                    <a:pt x="3655701" y="768048"/>
                    <a:pt x="3655701" y="1395157"/>
                  </a:cubicBezTo>
                  <a:cubicBezTo>
                    <a:pt x="3655701" y="2022266"/>
                    <a:pt x="4165597" y="2530639"/>
                    <a:pt x="4794585" y="2530639"/>
                  </a:cubicBezTo>
                  <a:cubicBezTo>
                    <a:pt x="5423573" y="2530639"/>
                    <a:pt x="5933469" y="2022266"/>
                    <a:pt x="5933469" y="1395157"/>
                  </a:cubicBezTo>
                  <a:cubicBezTo>
                    <a:pt x="5933469" y="768048"/>
                    <a:pt x="5423573" y="259675"/>
                    <a:pt x="4794585" y="259675"/>
                  </a:cubicBezTo>
                  <a:close/>
                  <a:moveTo>
                    <a:pt x="1574605" y="259673"/>
                  </a:moveTo>
                  <a:cubicBezTo>
                    <a:pt x="941862" y="259673"/>
                    <a:pt x="428923" y="768046"/>
                    <a:pt x="428923" y="1395156"/>
                  </a:cubicBezTo>
                  <a:cubicBezTo>
                    <a:pt x="428923" y="2022266"/>
                    <a:pt x="941862" y="2530639"/>
                    <a:pt x="1574605" y="2530639"/>
                  </a:cubicBezTo>
                  <a:cubicBezTo>
                    <a:pt x="2207348" y="2530639"/>
                    <a:pt x="2720287" y="2022266"/>
                    <a:pt x="2720287" y="1395156"/>
                  </a:cubicBezTo>
                  <a:cubicBezTo>
                    <a:pt x="2720287" y="768046"/>
                    <a:pt x="2207348" y="259673"/>
                    <a:pt x="1574605" y="259673"/>
                  </a:cubicBezTo>
                  <a:close/>
                  <a:moveTo>
                    <a:pt x="3181118" y="0"/>
                  </a:moveTo>
                  <a:cubicBezTo>
                    <a:pt x="3505232" y="0"/>
                    <a:pt x="3793333" y="179869"/>
                    <a:pt x="3925380" y="455668"/>
                  </a:cubicBezTo>
                  <a:cubicBezTo>
                    <a:pt x="4153460" y="239825"/>
                    <a:pt x="4465570" y="119913"/>
                    <a:pt x="4789683" y="119913"/>
                  </a:cubicBezTo>
                  <a:cubicBezTo>
                    <a:pt x="5209831" y="119913"/>
                    <a:pt x="5593966" y="323764"/>
                    <a:pt x="5822046" y="635538"/>
                  </a:cubicBezTo>
                  <a:cubicBezTo>
                    <a:pt x="6146160" y="743459"/>
                    <a:pt x="6374240" y="1043241"/>
                    <a:pt x="6374240" y="1390988"/>
                  </a:cubicBezTo>
                  <a:cubicBezTo>
                    <a:pt x="6374240" y="1750726"/>
                    <a:pt x="6146160" y="2050508"/>
                    <a:pt x="5822046" y="2158429"/>
                  </a:cubicBezTo>
                  <a:cubicBezTo>
                    <a:pt x="5593966" y="2470202"/>
                    <a:pt x="5209831" y="2674054"/>
                    <a:pt x="4789683" y="2674054"/>
                  </a:cubicBezTo>
                  <a:cubicBezTo>
                    <a:pt x="4153460" y="2674054"/>
                    <a:pt x="3625274" y="2206394"/>
                    <a:pt x="3529240" y="1606831"/>
                  </a:cubicBezTo>
                  <a:cubicBezTo>
                    <a:pt x="3421202" y="1654796"/>
                    <a:pt x="3313164" y="1678778"/>
                    <a:pt x="3181118" y="1678778"/>
                  </a:cubicBezTo>
                  <a:cubicBezTo>
                    <a:pt x="3061076" y="1678778"/>
                    <a:pt x="2941034" y="1654796"/>
                    <a:pt x="2832996" y="1606831"/>
                  </a:cubicBezTo>
                  <a:cubicBezTo>
                    <a:pt x="2736962" y="2206394"/>
                    <a:pt x="2208776" y="2674054"/>
                    <a:pt x="1572553" y="2674054"/>
                  </a:cubicBezTo>
                  <a:cubicBezTo>
                    <a:pt x="1152405" y="2674054"/>
                    <a:pt x="780274" y="2470202"/>
                    <a:pt x="540190" y="2158429"/>
                  </a:cubicBezTo>
                  <a:cubicBezTo>
                    <a:pt x="228080" y="2050508"/>
                    <a:pt x="0" y="1750726"/>
                    <a:pt x="0" y="1390988"/>
                  </a:cubicBezTo>
                  <a:cubicBezTo>
                    <a:pt x="0" y="1043241"/>
                    <a:pt x="228080" y="743459"/>
                    <a:pt x="540190" y="635538"/>
                  </a:cubicBezTo>
                  <a:cubicBezTo>
                    <a:pt x="780274" y="323764"/>
                    <a:pt x="1152405" y="119913"/>
                    <a:pt x="1572553" y="119913"/>
                  </a:cubicBezTo>
                  <a:cubicBezTo>
                    <a:pt x="1908671" y="119913"/>
                    <a:pt x="2208776" y="239825"/>
                    <a:pt x="2436856" y="455668"/>
                  </a:cubicBezTo>
                  <a:cubicBezTo>
                    <a:pt x="2580907" y="179869"/>
                    <a:pt x="2857004" y="0"/>
                    <a:pt x="3181118" y="0"/>
                  </a:cubicBezTo>
                  <a:close/>
                </a:path>
              </a:pathLst>
            </a:custGeom>
            <a:solidFill>
              <a:schemeClr val="tx2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xmlns="" id="{CB48258F-BCF1-4975-B43F-1CDCFF07A832}"/>
                </a:ext>
              </a:extLst>
            </p:cNvPr>
            <p:cNvGrpSpPr/>
            <p:nvPr/>
          </p:nvGrpSpPr>
          <p:grpSpPr>
            <a:xfrm>
              <a:off x="4476347" y="2076545"/>
              <a:ext cx="447954" cy="664476"/>
              <a:chOff x="4507478" y="2076545"/>
              <a:chExt cx="447954" cy="664476"/>
            </a:xfrm>
          </p:grpSpPr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xmlns="" id="{D1606834-F94A-4513-A99C-B5631D4944A3}"/>
                  </a:ext>
                </a:extLst>
              </p:cNvPr>
              <p:cNvSpPr/>
              <p:nvPr/>
            </p:nvSpPr>
            <p:spPr>
              <a:xfrm>
                <a:off x="4676997" y="2632105"/>
                <a:ext cx="108916" cy="108916"/>
              </a:xfrm>
              <a:prstGeom prst="ellipse">
                <a:avLst/>
              </a:prstGeom>
              <a:solidFill>
                <a:schemeClr val="accent6"/>
              </a:solidFill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xmlns="" id="{AB57FE06-495C-4B6E-8970-09E086B4686E}"/>
                  </a:ext>
                </a:extLst>
              </p:cNvPr>
              <p:cNvGrpSpPr/>
              <p:nvPr/>
            </p:nvGrpSpPr>
            <p:grpSpPr>
              <a:xfrm>
                <a:off x="4507478" y="2076545"/>
                <a:ext cx="447954" cy="534751"/>
                <a:chOff x="4507478" y="2076545"/>
                <a:chExt cx="447954" cy="534751"/>
              </a:xfrm>
            </p:grpSpPr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xmlns="" id="{235817DD-7C53-453A-B4BE-30AC9D85E71A}"/>
                    </a:ext>
                  </a:extLst>
                </p:cNvPr>
                <p:cNvGrpSpPr/>
                <p:nvPr/>
              </p:nvGrpSpPr>
              <p:grpSpPr>
                <a:xfrm>
                  <a:off x="4507478" y="2076545"/>
                  <a:ext cx="447954" cy="534751"/>
                  <a:chOff x="4501128" y="1906926"/>
                  <a:chExt cx="447954" cy="534751"/>
                </a:xfrm>
              </p:grpSpPr>
              <p:sp>
                <p:nvSpPr>
                  <p:cNvPr id="70" name="Isosceles Triangle 69">
                    <a:extLst>
                      <a:ext uri="{FF2B5EF4-FFF2-40B4-BE49-F238E27FC236}">
                        <a16:creationId xmlns:a16="http://schemas.microsoft.com/office/drawing/2014/main" xmlns="" id="{FF992B90-6E23-416C-A65F-3A5137202A8D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4576322" y="2187276"/>
                    <a:ext cx="295105" cy="254401"/>
                  </a:xfrm>
                  <a:prstGeom prst="triangle">
                    <a:avLst/>
                  </a:prstGeom>
                  <a:solidFill>
                    <a:schemeClr val="accent6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69" name="Oval 68">
                    <a:extLst>
                      <a:ext uri="{FF2B5EF4-FFF2-40B4-BE49-F238E27FC236}">
                        <a16:creationId xmlns:a16="http://schemas.microsoft.com/office/drawing/2014/main" xmlns="" id="{CA2F0BA4-8A32-4813-B6AF-5B1DF5E36382}"/>
                      </a:ext>
                    </a:extLst>
                  </p:cNvPr>
                  <p:cNvSpPr/>
                  <p:nvPr/>
                </p:nvSpPr>
                <p:spPr>
                  <a:xfrm>
                    <a:off x="4501128" y="1906926"/>
                    <a:ext cx="447954" cy="447954"/>
                  </a:xfrm>
                  <a:prstGeom prst="ellipse">
                    <a:avLst/>
                  </a:prstGeom>
                  <a:solidFill>
                    <a:schemeClr val="accent6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73" name="Group 4">
                  <a:extLst>
                    <a:ext uri="{FF2B5EF4-FFF2-40B4-BE49-F238E27FC236}">
                      <a16:creationId xmlns:a16="http://schemas.microsoft.com/office/drawing/2014/main" xmlns="" id="{2F914A69-CC50-4F86-9582-7E70C9A3DD5B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4620142" y="2165010"/>
                  <a:ext cx="211726" cy="243171"/>
                  <a:chOff x="2778" y="1504"/>
                  <a:chExt cx="202" cy="232"/>
                </a:xfrm>
                <a:solidFill>
                  <a:schemeClr val="bg2"/>
                </a:solidFill>
              </p:grpSpPr>
              <p:sp>
                <p:nvSpPr>
                  <p:cNvPr id="75" name="Freeform 5">
                    <a:extLst>
                      <a:ext uri="{FF2B5EF4-FFF2-40B4-BE49-F238E27FC236}">
                        <a16:creationId xmlns:a16="http://schemas.microsoft.com/office/drawing/2014/main" xmlns="" id="{3F295323-C4E9-42BF-A79C-3987DA947122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823" y="1504"/>
                    <a:ext cx="110" cy="136"/>
                  </a:xfrm>
                  <a:custGeom>
                    <a:avLst/>
                    <a:gdLst>
                      <a:gd name="T0" fmla="*/ 8 w 53"/>
                      <a:gd name="T1" fmla="*/ 60 h 66"/>
                      <a:gd name="T2" fmla="*/ 14 w 53"/>
                      <a:gd name="T3" fmla="*/ 66 h 66"/>
                      <a:gd name="T4" fmla="*/ 39 w 53"/>
                      <a:gd name="T5" fmla="*/ 66 h 66"/>
                      <a:gd name="T6" fmla="*/ 45 w 53"/>
                      <a:gd name="T7" fmla="*/ 60 h 66"/>
                      <a:gd name="T8" fmla="*/ 45 w 53"/>
                      <a:gd name="T9" fmla="*/ 50 h 66"/>
                      <a:gd name="T10" fmla="*/ 53 w 53"/>
                      <a:gd name="T11" fmla="*/ 29 h 66"/>
                      <a:gd name="T12" fmla="*/ 27 w 53"/>
                      <a:gd name="T13" fmla="*/ 0 h 66"/>
                      <a:gd name="T14" fmla="*/ 0 w 53"/>
                      <a:gd name="T15" fmla="*/ 29 h 66"/>
                      <a:gd name="T16" fmla="*/ 8 w 53"/>
                      <a:gd name="T17" fmla="*/ 49 h 66"/>
                      <a:gd name="T18" fmla="*/ 8 w 53"/>
                      <a:gd name="T19" fmla="*/ 60 h 66"/>
                      <a:gd name="T20" fmla="*/ 27 w 53"/>
                      <a:gd name="T21" fmla="*/ 12 h 66"/>
                      <a:gd name="T22" fmla="*/ 41 w 53"/>
                      <a:gd name="T23" fmla="*/ 29 h 66"/>
                      <a:gd name="T24" fmla="*/ 35 w 53"/>
                      <a:gd name="T25" fmla="*/ 42 h 66"/>
                      <a:gd name="T26" fmla="*/ 33 w 53"/>
                      <a:gd name="T27" fmla="*/ 47 h 66"/>
                      <a:gd name="T28" fmla="*/ 33 w 53"/>
                      <a:gd name="T29" fmla="*/ 54 h 66"/>
                      <a:gd name="T30" fmla="*/ 20 w 53"/>
                      <a:gd name="T31" fmla="*/ 54 h 66"/>
                      <a:gd name="T32" fmla="*/ 20 w 53"/>
                      <a:gd name="T33" fmla="*/ 46 h 66"/>
                      <a:gd name="T34" fmla="*/ 18 w 53"/>
                      <a:gd name="T35" fmla="*/ 42 h 66"/>
                      <a:gd name="T36" fmla="*/ 12 w 53"/>
                      <a:gd name="T37" fmla="*/ 29 h 66"/>
                      <a:gd name="T38" fmla="*/ 27 w 53"/>
                      <a:gd name="T39" fmla="*/ 12 h 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53" h="66">
                        <a:moveTo>
                          <a:pt x="8" y="60"/>
                        </a:moveTo>
                        <a:cubicBezTo>
                          <a:pt x="8" y="64"/>
                          <a:pt x="10" y="66"/>
                          <a:pt x="14" y="66"/>
                        </a:cubicBezTo>
                        <a:cubicBezTo>
                          <a:pt x="39" y="66"/>
                          <a:pt x="39" y="66"/>
                          <a:pt x="39" y="66"/>
                        </a:cubicBezTo>
                        <a:cubicBezTo>
                          <a:pt x="42" y="66"/>
                          <a:pt x="45" y="64"/>
                          <a:pt x="45" y="60"/>
                        </a:cubicBezTo>
                        <a:cubicBezTo>
                          <a:pt x="45" y="50"/>
                          <a:pt x="45" y="50"/>
                          <a:pt x="45" y="50"/>
                        </a:cubicBezTo>
                        <a:cubicBezTo>
                          <a:pt x="50" y="44"/>
                          <a:pt x="53" y="37"/>
                          <a:pt x="53" y="29"/>
                        </a:cubicBezTo>
                        <a:cubicBezTo>
                          <a:pt x="53" y="13"/>
                          <a:pt x="41" y="0"/>
                          <a:pt x="27" y="0"/>
                        </a:cubicBezTo>
                        <a:cubicBezTo>
                          <a:pt x="12" y="0"/>
                          <a:pt x="0" y="13"/>
                          <a:pt x="0" y="29"/>
                        </a:cubicBezTo>
                        <a:cubicBezTo>
                          <a:pt x="0" y="36"/>
                          <a:pt x="3" y="43"/>
                          <a:pt x="8" y="49"/>
                        </a:cubicBezTo>
                        <a:lnTo>
                          <a:pt x="8" y="60"/>
                        </a:lnTo>
                        <a:close/>
                        <a:moveTo>
                          <a:pt x="27" y="12"/>
                        </a:moveTo>
                        <a:cubicBezTo>
                          <a:pt x="35" y="12"/>
                          <a:pt x="41" y="20"/>
                          <a:pt x="41" y="29"/>
                        </a:cubicBezTo>
                        <a:cubicBezTo>
                          <a:pt x="41" y="34"/>
                          <a:pt x="39" y="39"/>
                          <a:pt x="35" y="42"/>
                        </a:cubicBezTo>
                        <a:cubicBezTo>
                          <a:pt x="34" y="43"/>
                          <a:pt x="33" y="45"/>
                          <a:pt x="33" y="47"/>
                        </a:cubicBezTo>
                        <a:cubicBezTo>
                          <a:pt x="33" y="54"/>
                          <a:pt x="33" y="54"/>
                          <a:pt x="33" y="54"/>
                        </a:cubicBezTo>
                        <a:cubicBezTo>
                          <a:pt x="20" y="54"/>
                          <a:pt x="20" y="54"/>
                          <a:pt x="20" y="54"/>
                        </a:cubicBezTo>
                        <a:cubicBezTo>
                          <a:pt x="20" y="46"/>
                          <a:pt x="20" y="46"/>
                          <a:pt x="20" y="46"/>
                        </a:cubicBezTo>
                        <a:cubicBezTo>
                          <a:pt x="20" y="44"/>
                          <a:pt x="19" y="43"/>
                          <a:pt x="18" y="42"/>
                        </a:cubicBezTo>
                        <a:cubicBezTo>
                          <a:pt x="14" y="38"/>
                          <a:pt x="12" y="34"/>
                          <a:pt x="12" y="29"/>
                        </a:cubicBezTo>
                        <a:cubicBezTo>
                          <a:pt x="12" y="20"/>
                          <a:pt x="19" y="12"/>
                          <a:pt x="27" y="1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76" name="Oval 6">
                    <a:extLst>
                      <a:ext uri="{FF2B5EF4-FFF2-40B4-BE49-F238E27FC236}">
                        <a16:creationId xmlns:a16="http://schemas.microsoft.com/office/drawing/2014/main" xmlns="" id="{9A7825C4-F4EF-4AA1-BDE0-02CE85BF35B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852" y="1555"/>
                    <a:ext cx="21" cy="21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77" name="Oval 7">
                    <a:extLst>
                      <a:ext uri="{FF2B5EF4-FFF2-40B4-BE49-F238E27FC236}">
                        <a16:creationId xmlns:a16="http://schemas.microsoft.com/office/drawing/2014/main" xmlns="" id="{A1C0B264-3F94-4D60-BC11-C176FDBD271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883" y="1555"/>
                    <a:ext cx="21" cy="21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78" name="Freeform 8">
                    <a:extLst>
                      <a:ext uri="{FF2B5EF4-FFF2-40B4-BE49-F238E27FC236}">
                        <a16:creationId xmlns:a16="http://schemas.microsoft.com/office/drawing/2014/main" xmlns="" id="{582AEEBB-4081-41B6-A706-DDC5A64BCC2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778" y="1617"/>
                    <a:ext cx="202" cy="119"/>
                  </a:xfrm>
                  <a:custGeom>
                    <a:avLst/>
                    <a:gdLst>
                      <a:gd name="T0" fmla="*/ 91 w 98"/>
                      <a:gd name="T1" fmla="*/ 22 h 58"/>
                      <a:gd name="T2" fmla="*/ 98 w 98"/>
                      <a:gd name="T3" fmla="*/ 15 h 58"/>
                      <a:gd name="T4" fmla="*/ 92 w 98"/>
                      <a:gd name="T5" fmla="*/ 9 h 58"/>
                      <a:gd name="T6" fmla="*/ 92 w 98"/>
                      <a:gd name="T7" fmla="*/ 6 h 58"/>
                      <a:gd name="T8" fmla="*/ 86 w 98"/>
                      <a:gd name="T9" fmla="*/ 0 h 58"/>
                      <a:gd name="T10" fmla="*/ 79 w 98"/>
                      <a:gd name="T11" fmla="*/ 6 h 58"/>
                      <a:gd name="T12" fmla="*/ 81 w 98"/>
                      <a:gd name="T13" fmla="*/ 10 h 58"/>
                      <a:gd name="T14" fmla="*/ 49 w 98"/>
                      <a:gd name="T15" fmla="*/ 24 h 58"/>
                      <a:gd name="T16" fmla="*/ 17 w 98"/>
                      <a:gd name="T17" fmla="*/ 10 h 58"/>
                      <a:gd name="T18" fmla="*/ 18 w 98"/>
                      <a:gd name="T19" fmla="*/ 6 h 58"/>
                      <a:gd name="T20" fmla="*/ 11 w 98"/>
                      <a:gd name="T21" fmla="*/ 0 h 58"/>
                      <a:gd name="T22" fmla="*/ 5 w 98"/>
                      <a:gd name="T23" fmla="*/ 6 h 58"/>
                      <a:gd name="T24" fmla="*/ 6 w 98"/>
                      <a:gd name="T25" fmla="*/ 9 h 58"/>
                      <a:gd name="T26" fmla="*/ 0 w 98"/>
                      <a:gd name="T27" fmla="*/ 15 h 58"/>
                      <a:gd name="T28" fmla="*/ 6 w 98"/>
                      <a:gd name="T29" fmla="*/ 22 h 58"/>
                      <a:gd name="T30" fmla="*/ 12 w 98"/>
                      <a:gd name="T31" fmla="*/ 19 h 58"/>
                      <a:gd name="T32" fmla="*/ 37 w 98"/>
                      <a:gd name="T33" fmla="*/ 29 h 58"/>
                      <a:gd name="T34" fmla="*/ 12 w 98"/>
                      <a:gd name="T35" fmla="*/ 40 h 58"/>
                      <a:gd name="T36" fmla="*/ 6 w 98"/>
                      <a:gd name="T37" fmla="*/ 36 h 58"/>
                      <a:gd name="T38" fmla="*/ 0 w 98"/>
                      <a:gd name="T39" fmla="*/ 42 h 58"/>
                      <a:gd name="T40" fmla="*/ 6 w 98"/>
                      <a:gd name="T41" fmla="*/ 48 h 58"/>
                      <a:gd name="T42" fmla="*/ 5 w 98"/>
                      <a:gd name="T43" fmla="*/ 51 h 58"/>
                      <a:gd name="T44" fmla="*/ 11 w 98"/>
                      <a:gd name="T45" fmla="*/ 58 h 58"/>
                      <a:gd name="T46" fmla="*/ 18 w 98"/>
                      <a:gd name="T47" fmla="*/ 51 h 58"/>
                      <a:gd name="T48" fmla="*/ 17 w 98"/>
                      <a:gd name="T49" fmla="*/ 48 h 58"/>
                      <a:gd name="T50" fmla="*/ 17 w 98"/>
                      <a:gd name="T51" fmla="*/ 48 h 58"/>
                      <a:gd name="T52" fmla="*/ 17 w 98"/>
                      <a:gd name="T53" fmla="*/ 48 h 58"/>
                      <a:gd name="T54" fmla="*/ 49 w 98"/>
                      <a:gd name="T55" fmla="*/ 34 h 58"/>
                      <a:gd name="T56" fmla="*/ 80 w 98"/>
                      <a:gd name="T57" fmla="*/ 48 h 58"/>
                      <a:gd name="T58" fmla="*/ 80 w 98"/>
                      <a:gd name="T59" fmla="*/ 48 h 58"/>
                      <a:gd name="T60" fmla="*/ 80 w 98"/>
                      <a:gd name="T61" fmla="*/ 48 h 58"/>
                      <a:gd name="T62" fmla="*/ 79 w 98"/>
                      <a:gd name="T63" fmla="*/ 51 h 58"/>
                      <a:gd name="T64" fmla="*/ 86 w 98"/>
                      <a:gd name="T65" fmla="*/ 58 h 58"/>
                      <a:gd name="T66" fmla="*/ 92 w 98"/>
                      <a:gd name="T67" fmla="*/ 51 h 58"/>
                      <a:gd name="T68" fmla="*/ 92 w 98"/>
                      <a:gd name="T69" fmla="*/ 48 h 58"/>
                      <a:gd name="T70" fmla="*/ 98 w 98"/>
                      <a:gd name="T71" fmla="*/ 42 h 58"/>
                      <a:gd name="T72" fmla="*/ 91 w 98"/>
                      <a:gd name="T73" fmla="*/ 36 h 58"/>
                      <a:gd name="T74" fmla="*/ 85 w 98"/>
                      <a:gd name="T75" fmla="*/ 40 h 58"/>
                      <a:gd name="T76" fmla="*/ 60 w 98"/>
                      <a:gd name="T77" fmla="*/ 29 h 58"/>
                      <a:gd name="T78" fmla="*/ 85 w 98"/>
                      <a:gd name="T79" fmla="*/ 19 h 58"/>
                      <a:gd name="T80" fmla="*/ 91 w 98"/>
                      <a:gd name="T81" fmla="*/ 22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</a:cxnLst>
                    <a:rect l="0" t="0" r="r" b="b"/>
                    <a:pathLst>
                      <a:path w="98" h="58">
                        <a:moveTo>
                          <a:pt x="91" y="22"/>
                        </a:moveTo>
                        <a:cubicBezTo>
                          <a:pt x="95" y="22"/>
                          <a:pt x="98" y="19"/>
                          <a:pt x="98" y="15"/>
                        </a:cubicBezTo>
                        <a:cubicBezTo>
                          <a:pt x="98" y="12"/>
                          <a:pt x="95" y="9"/>
                          <a:pt x="92" y="9"/>
                        </a:cubicBezTo>
                        <a:cubicBezTo>
                          <a:pt x="92" y="8"/>
                          <a:pt x="92" y="7"/>
                          <a:pt x="92" y="6"/>
                        </a:cubicBezTo>
                        <a:cubicBezTo>
                          <a:pt x="92" y="3"/>
                          <a:pt x="90" y="0"/>
                          <a:pt x="86" y="0"/>
                        </a:cubicBezTo>
                        <a:cubicBezTo>
                          <a:pt x="82" y="0"/>
                          <a:pt x="79" y="3"/>
                          <a:pt x="79" y="6"/>
                        </a:cubicBezTo>
                        <a:cubicBezTo>
                          <a:pt x="79" y="8"/>
                          <a:pt x="80" y="9"/>
                          <a:pt x="81" y="10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17" y="10"/>
                          <a:pt x="17" y="10"/>
                          <a:pt x="17" y="10"/>
                        </a:cubicBezTo>
                        <a:cubicBezTo>
                          <a:pt x="17" y="9"/>
                          <a:pt x="18" y="8"/>
                          <a:pt x="18" y="6"/>
                        </a:cubicBezTo>
                        <a:cubicBezTo>
                          <a:pt x="18" y="3"/>
                          <a:pt x="15" y="0"/>
                          <a:pt x="11" y="0"/>
                        </a:cubicBezTo>
                        <a:cubicBezTo>
                          <a:pt x="8" y="0"/>
                          <a:pt x="5" y="3"/>
                          <a:pt x="5" y="6"/>
                        </a:cubicBezTo>
                        <a:cubicBezTo>
                          <a:pt x="5" y="7"/>
                          <a:pt x="5" y="8"/>
                          <a:pt x="6" y="9"/>
                        </a:cubicBezTo>
                        <a:cubicBezTo>
                          <a:pt x="2" y="9"/>
                          <a:pt x="0" y="12"/>
                          <a:pt x="0" y="15"/>
                        </a:cubicBezTo>
                        <a:cubicBezTo>
                          <a:pt x="0" y="19"/>
                          <a:pt x="3" y="22"/>
                          <a:pt x="6" y="22"/>
                        </a:cubicBezTo>
                        <a:cubicBezTo>
                          <a:pt x="9" y="22"/>
                          <a:pt x="11" y="21"/>
                          <a:pt x="12" y="19"/>
                        </a:cubicBezTo>
                        <a:cubicBezTo>
                          <a:pt x="37" y="29"/>
                          <a:pt x="37" y="29"/>
                          <a:pt x="37" y="29"/>
                        </a:cubicBezTo>
                        <a:cubicBezTo>
                          <a:pt x="12" y="40"/>
                          <a:pt x="12" y="40"/>
                          <a:pt x="12" y="40"/>
                        </a:cubicBezTo>
                        <a:cubicBezTo>
                          <a:pt x="12" y="37"/>
                          <a:pt x="9" y="36"/>
                          <a:pt x="6" y="36"/>
                        </a:cubicBezTo>
                        <a:cubicBezTo>
                          <a:pt x="3" y="36"/>
                          <a:pt x="0" y="38"/>
                          <a:pt x="0" y="42"/>
                        </a:cubicBezTo>
                        <a:cubicBezTo>
                          <a:pt x="0" y="45"/>
                          <a:pt x="2" y="48"/>
                          <a:pt x="6" y="48"/>
                        </a:cubicBezTo>
                        <a:cubicBezTo>
                          <a:pt x="5" y="49"/>
                          <a:pt x="5" y="50"/>
                          <a:pt x="5" y="51"/>
                        </a:cubicBezTo>
                        <a:cubicBezTo>
                          <a:pt x="5" y="55"/>
                          <a:pt x="8" y="58"/>
                          <a:pt x="11" y="58"/>
                        </a:cubicBezTo>
                        <a:cubicBezTo>
                          <a:pt x="15" y="58"/>
                          <a:pt x="18" y="55"/>
                          <a:pt x="18" y="51"/>
                        </a:cubicBezTo>
                        <a:cubicBezTo>
                          <a:pt x="18" y="50"/>
                          <a:pt x="18" y="49"/>
                          <a:pt x="17" y="48"/>
                        </a:cubicBezTo>
                        <a:cubicBezTo>
                          <a:pt x="17" y="48"/>
                          <a:pt x="17" y="48"/>
                          <a:pt x="17" y="48"/>
                        </a:cubicBezTo>
                        <a:cubicBezTo>
                          <a:pt x="17" y="48"/>
                          <a:pt x="17" y="48"/>
                          <a:pt x="17" y="48"/>
                        </a:cubicBezTo>
                        <a:cubicBezTo>
                          <a:pt x="49" y="34"/>
                          <a:pt x="49" y="34"/>
                          <a:pt x="49" y="34"/>
                        </a:cubicBezTo>
                        <a:cubicBezTo>
                          <a:pt x="80" y="48"/>
                          <a:pt x="80" y="48"/>
                          <a:pt x="80" y="48"/>
                        </a:cubicBezTo>
                        <a:cubicBezTo>
                          <a:pt x="80" y="48"/>
                          <a:pt x="80" y="48"/>
                          <a:pt x="80" y="48"/>
                        </a:cubicBezTo>
                        <a:cubicBezTo>
                          <a:pt x="80" y="48"/>
                          <a:pt x="80" y="48"/>
                          <a:pt x="80" y="48"/>
                        </a:cubicBezTo>
                        <a:cubicBezTo>
                          <a:pt x="80" y="49"/>
                          <a:pt x="79" y="50"/>
                          <a:pt x="79" y="51"/>
                        </a:cubicBezTo>
                        <a:cubicBezTo>
                          <a:pt x="79" y="55"/>
                          <a:pt x="82" y="58"/>
                          <a:pt x="86" y="58"/>
                        </a:cubicBezTo>
                        <a:cubicBezTo>
                          <a:pt x="90" y="58"/>
                          <a:pt x="92" y="55"/>
                          <a:pt x="92" y="51"/>
                        </a:cubicBezTo>
                        <a:cubicBezTo>
                          <a:pt x="92" y="50"/>
                          <a:pt x="92" y="49"/>
                          <a:pt x="92" y="48"/>
                        </a:cubicBezTo>
                        <a:cubicBezTo>
                          <a:pt x="95" y="48"/>
                          <a:pt x="98" y="45"/>
                          <a:pt x="98" y="42"/>
                        </a:cubicBezTo>
                        <a:cubicBezTo>
                          <a:pt x="98" y="38"/>
                          <a:pt x="95" y="36"/>
                          <a:pt x="91" y="36"/>
                        </a:cubicBezTo>
                        <a:cubicBezTo>
                          <a:pt x="88" y="36"/>
                          <a:pt x="86" y="37"/>
                          <a:pt x="85" y="40"/>
                        </a:cubicBezTo>
                        <a:cubicBezTo>
                          <a:pt x="60" y="29"/>
                          <a:pt x="60" y="29"/>
                          <a:pt x="60" y="29"/>
                        </a:cubicBezTo>
                        <a:cubicBezTo>
                          <a:pt x="85" y="19"/>
                          <a:pt x="85" y="19"/>
                          <a:pt x="85" y="19"/>
                        </a:cubicBezTo>
                        <a:cubicBezTo>
                          <a:pt x="87" y="21"/>
                          <a:pt x="89" y="22"/>
                          <a:pt x="91" y="2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</p:grpSp>
        </p:grp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xmlns="" id="{99626D04-BE39-4A25-B7E4-845F500AAF92}"/>
                </a:ext>
              </a:extLst>
            </p:cNvPr>
            <p:cNvSpPr/>
            <p:nvPr/>
          </p:nvSpPr>
          <p:spPr>
            <a:xfrm>
              <a:off x="5782923" y="2044203"/>
              <a:ext cx="708253" cy="527547"/>
            </a:xfrm>
            <a:prstGeom prst="roundRect">
              <a:avLst>
                <a:gd name="adj" fmla="val 14134"/>
              </a:avLst>
            </a:prstGeom>
            <a:noFill/>
            <a:ln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818" name="Rectangle: Rounded Corners 3817">
              <a:extLst>
                <a:ext uri="{FF2B5EF4-FFF2-40B4-BE49-F238E27FC236}">
                  <a16:creationId xmlns:a16="http://schemas.microsoft.com/office/drawing/2014/main" xmlns="" id="{6A7FEFA5-EE6D-4715-A902-EE1FE3BBBA21}"/>
                </a:ext>
              </a:extLst>
            </p:cNvPr>
            <p:cNvSpPr/>
            <p:nvPr/>
          </p:nvSpPr>
          <p:spPr>
            <a:xfrm>
              <a:off x="5782923" y="2790238"/>
              <a:ext cx="708253" cy="527547"/>
            </a:xfrm>
            <a:prstGeom prst="roundRect">
              <a:avLst>
                <a:gd name="adj" fmla="val 14134"/>
              </a:avLst>
            </a:prstGeom>
            <a:noFill/>
            <a:ln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819" name="Rectangle: Rounded Corners 3818">
              <a:extLst>
                <a:ext uri="{FF2B5EF4-FFF2-40B4-BE49-F238E27FC236}">
                  <a16:creationId xmlns:a16="http://schemas.microsoft.com/office/drawing/2014/main" xmlns="" id="{D9C6590D-A391-4AB9-9D24-DC6493A05C1F}"/>
                </a:ext>
              </a:extLst>
            </p:cNvPr>
            <p:cNvSpPr/>
            <p:nvPr/>
          </p:nvSpPr>
          <p:spPr>
            <a:xfrm>
              <a:off x="5487816" y="2914850"/>
              <a:ext cx="293138" cy="303808"/>
            </a:xfrm>
            <a:prstGeom prst="roundRect">
              <a:avLst>
                <a:gd name="adj" fmla="val 14134"/>
              </a:avLst>
            </a:prstGeom>
            <a:noFill/>
            <a:ln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820" name="Rectangle: Rounded Corners 3819">
              <a:extLst>
                <a:ext uri="{FF2B5EF4-FFF2-40B4-BE49-F238E27FC236}">
                  <a16:creationId xmlns:a16="http://schemas.microsoft.com/office/drawing/2014/main" xmlns="" id="{26456287-3E49-4055-9D5E-3AB6E11B2178}"/>
                </a:ext>
              </a:extLst>
            </p:cNvPr>
            <p:cNvSpPr/>
            <p:nvPr/>
          </p:nvSpPr>
          <p:spPr>
            <a:xfrm>
              <a:off x="5487816" y="2169141"/>
              <a:ext cx="293138" cy="303808"/>
            </a:xfrm>
            <a:prstGeom prst="roundRect">
              <a:avLst>
                <a:gd name="adj" fmla="val 14134"/>
              </a:avLst>
            </a:prstGeom>
            <a:noFill/>
            <a:ln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xmlns="" id="{F4F03C86-2FF0-49E6-8104-9537CE1FD5D0}"/>
                </a:ext>
              </a:extLst>
            </p:cNvPr>
            <p:cNvCxnSpPr>
              <a:stCxn id="48" idx="2"/>
              <a:endCxn id="3818" idx="0"/>
            </p:cNvCxnSpPr>
            <p:nvPr/>
          </p:nvCxnSpPr>
          <p:spPr>
            <a:xfrm>
              <a:off x="6137050" y="2571750"/>
              <a:ext cx="0" cy="218488"/>
            </a:xfrm>
            <a:prstGeom prst="line">
              <a:avLst/>
            </a:prstGeom>
            <a:noFill/>
            <a:ln cap="rnd">
              <a:solidFill>
                <a:schemeClr val="accent5"/>
              </a:soli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831" name="TextBox 3830">
              <a:extLst>
                <a:ext uri="{FF2B5EF4-FFF2-40B4-BE49-F238E27FC236}">
                  <a16:creationId xmlns:a16="http://schemas.microsoft.com/office/drawing/2014/main" xmlns="" id="{51262F29-0788-4DCF-A6BF-217C990B5CCF}"/>
                </a:ext>
              </a:extLst>
            </p:cNvPr>
            <p:cNvSpPr txBox="1"/>
            <p:nvPr/>
          </p:nvSpPr>
          <p:spPr>
            <a:xfrm>
              <a:off x="4856883" y="2425448"/>
              <a:ext cx="526416" cy="519728"/>
            </a:xfrm>
            <a:prstGeom prst="ellipse">
              <a:avLst/>
            </a:prstGeom>
            <a:noFill/>
            <a:ln>
              <a:solidFill>
                <a:schemeClr val="accent5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/>
            </a:lstStyle>
            <a:p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xmlns="" id="{E11EDA28-5997-4875-802F-B9185A7AF5BE}"/>
                </a:ext>
              </a:extLst>
            </p:cNvPr>
            <p:cNvSpPr/>
            <p:nvPr/>
          </p:nvSpPr>
          <p:spPr>
            <a:xfrm>
              <a:off x="4861357" y="2427829"/>
              <a:ext cx="517468" cy="517468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xmlns="" id="{5B045896-7B7F-49C7-A721-992ABCE4AB14}"/>
                </a:ext>
              </a:extLst>
            </p:cNvPr>
            <p:cNvGrpSpPr/>
            <p:nvPr/>
          </p:nvGrpSpPr>
          <p:grpSpPr>
            <a:xfrm>
              <a:off x="5555760" y="1912187"/>
              <a:ext cx="666253" cy="1036712"/>
              <a:chOff x="5555760" y="1912187"/>
              <a:chExt cx="666253" cy="1036712"/>
            </a:xfrm>
          </p:grpSpPr>
          <p:pic>
            <p:nvPicPr>
              <p:cNvPr id="1279" name="Picture 1278">
                <a:extLst>
                  <a:ext uri="{FF2B5EF4-FFF2-40B4-BE49-F238E27FC236}">
                    <a16:creationId xmlns:a16="http://schemas.microsoft.com/office/drawing/2014/main" xmlns="" id="{A659622B-5935-42F1-BF74-A9A7D9083A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55760" y="2040179"/>
                <a:ext cx="157900" cy="155766"/>
              </a:xfrm>
              <a:prstGeom prst="rect">
                <a:avLst/>
              </a:prstGeom>
            </p:spPr>
          </p:pic>
          <p:pic>
            <p:nvPicPr>
              <p:cNvPr id="1281" name="Picture 1280">
                <a:extLst>
                  <a:ext uri="{FF2B5EF4-FFF2-40B4-BE49-F238E27FC236}">
                    <a16:creationId xmlns:a16="http://schemas.microsoft.com/office/drawing/2014/main" xmlns="" id="{D5FF75AE-502E-4A9A-898F-E12791105A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063827" y="1912187"/>
                <a:ext cx="157900" cy="157900"/>
              </a:xfrm>
              <a:prstGeom prst="rect">
                <a:avLst/>
              </a:prstGeom>
            </p:spPr>
          </p:pic>
          <p:pic>
            <p:nvPicPr>
              <p:cNvPr id="1282" name="Picture 1281">
                <a:extLst>
                  <a:ext uri="{FF2B5EF4-FFF2-40B4-BE49-F238E27FC236}">
                    <a16:creationId xmlns:a16="http://schemas.microsoft.com/office/drawing/2014/main" xmlns="" id="{169DB7B8-0B73-436D-9110-ED8A14A1DB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58141" y="2793133"/>
                <a:ext cx="157900" cy="155766"/>
              </a:xfrm>
              <a:prstGeom prst="rect">
                <a:avLst/>
              </a:prstGeom>
            </p:spPr>
          </p:pic>
          <p:pic>
            <p:nvPicPr>
              <p:cNvPr id="1283" name="Picture 1282">
                <a:extLst>
                  <a:ext uri="{FF2B5EF4-FFF2-40B4-BE49-F238E27FC236}">
                    <a16:creationId xmlns:a16="http://schemas.microsoft.com/office/drawing/2014/main" xmlns="" id="{F7FE0CEF-D40F-47CE-9570-17A5230A4F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064113" y="2655490"/>
                <a:ext cx="157900" cy="157900"/>
              </a:xfrm>
              <a:prstGeom prst="rect">
                <a:avLst/>
              </a:prstGeom>
            </p:spPr>
          </p:pic>
        </p:grpSp>
        <p:grpSp>
          <p:nvGrpSpPr>
            <p:cNvPr id="1302" name="Group 1301">
              <a:extLst>
                <a:ext uri="{FF2B5EF4-FFF2-40B4-BE49-F238E27FC236}">
                  <a16:creationId xmlns:a16="http://schemas.microsoft.com/office/drawing/2014/main" xmlns="" id="{756E6EA3-A222-4357-B3F1-2E5C46A85885}"/>
                </a:ext>
              </a:extLst>
            </p:cNvPr>
            <p:cNvGrpSpPr/>
            <p:nvPr/>
          </p:nvGrpSpPr>
          <p:grpSpPr>
            <a:xfrm>
              <a:off x="4844282" y="1560778"/>
              <a:ext cx="891129" cy="465927"/>
              <a:chOff x="3359209" y="303257"/>
              <a:chExt cx="891129" cy="465927"/>
            </a:xfrm>
          </p:grpSpPr>
          <p:sp>
            <p:nvSpPr>
              <p:cNvPr id="1303" name="Isosceles Triangle 1302">
                <a:extLst>
                  <a:ext uri="{FF2B5EF4-FFF2-40B4-BE49-F238E27FC236}">
                    <a16:creationId xmlns:a16="http://schemas.microsoft.com/office/drawing/2014/main" xmlns="" id="{DEA74633-A9F0-459A-BAD1-8A1D262076ED}"/>
                  </a:ext>
                </a:extLst>
              </p:cNvPr>
              <p:cNvSpPr/>
              <p:nvPr/>
            </p:nvSpPr>
            <p:spPr>
              <a:xfrm flipV="1">
                <a:off x="3995204" y="600121"/>
                <a:ext cx="196113" cy="169063"/>
              </a:xfrm>
              <a:prstGeom prst="triangl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04" name="Rectangle: Rounded Corners 1303">
                <a:extLst>
                  <a:ext uri="{FF2B5EF4-FFF2-40B4-BE49-F238E27FC236}">
                    <a16:creationId xmlns:a16="http://schemas.microsoft.com/office/drawing/2014/main" xmlns="" id="{C30095A3-AFCD-4C20-947C-FC53E50C1B93}"/>
                  </a:ext>
                </a:extLst>
              </p:cNvPr>
              <p:cNvSpPr/>
              <p:nvPr/>
            </p:nvSpPr>
            <p:spPr>
              <a:xfrm>
                <a:off x="3359209" y="303257"/>
                <a:ext cx="891129" cy="379815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dirty="0" smtClean="0">
                    <a:solidFill>
                      <a:schemeClr val="bg2"/>
                    </a:solidFill>
                    <a:latin typeface="CiscoSans ExtraLight" charset="0"/>
                    <a:ea typeface="CiscoSans ExtraLight" charset="0"/>
                    <a:cs typeface="CiscoSans ExtraLight" charset="0"/>
                  </a:rPr>
                  <a:t>East-West</a:t>
                </a:r>
                <a:endParaRPr lang="en-US" sz="1100" dirty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grpSp>
          <p:nvGrpSpPr>
            <p:cNvPr id="1305" name="Group 1304">
              <a:extLst>
                <a:ext uri="{FF2B5EF4-FFF2-40B4-BE49-F238E27FC236}">
                  <a16:creationId xmlns:a16="http://schemas.microsoft.com/office/drawing/2014/main" xmlns="" id="{CFCF9753-5652-4198-A71B-F8A05043CAD4}"/>
                </a:ext>
              </a:extLst>
            </p:cNvPr>
            <p:cNvGrpSpPr/>
            <p:nvPr/>
          </p:nvGrpSpPr>
          <p:grpSpPr>
            <a:xfrm flipH="1">
              <a:off x="6300162" y="1743106"/>
              <a:ext cx="988102" cy="379815"/>
              <a:chOff x="3719147" y="303257"/>
              <a:chExt cx="604759" cy="379815"/>
            </a:xfrm>
            <a:solidFill>
              <a:schemeClr val="accent5"/>
            </a:solidFill>
          </p:grpSpPr>
          <p:sp>
            <p:nvSpPr>
              <p:cNvPr id="1306" name="Isosceles Triangle 1305">
                <a:extLst>
                  <a:ext uri="{FF2B5EF4-FFF2-40B4-BE49-F238E27FC236}">
                    <a16:creationId xmlns:a16="http://schemas.microsoft.com/office/drawing/2014/main" xmlns="" id="{F997298E-5B4B-401E-8302-8FD471F8161F}"/>
                  </a:ext>
                </a:extLst>
              </p:cNvPr>
              <p:cNvSpPr/>
              <p:nvPr/>
            </p:nvSpPr>
            <p:spPr>
              <a:xfrm rot="16200000" flipV="1">
                <a:off x="4151235" y="445280"/>
                <a:ext cx="212595" cy="132747"/>
              </a:xfrm>
              <a:prstGeom prst="triangl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07" name="Rectangle: Rounded Corners 1306">
                <a:extLst>
                  <a:ext uri="{FF2B5EF4-FFF2-40B4-BE49-F238E27FC236}">
                    <a16:creationId xmlns:a16="http://schemas.microsoft.com/office/drawing/2014/main" xmlns="" id="{FC090F91-5D84-4721-8363-AE3A80A7593E}"/>
                  </a:ext>
                </a:extLst>
              </p:cNvPr>
              <p:cNvSpPr/>
              <p:nvPr/>
            </p:nvSpPr>
            <p:spPr>
              <a:xfrm>
                <a:off x="3719147" y="303257"/>
                <a:ext cx="531191" cy="379815"/>
              </a:xfrm>
              <a:prstGeom prst="round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50" dirty="0" smtClean="0">
                    <a:solidFill>
                      <a:schemeClr val="bg2"/>
                    </a:solidFill>
                    <a:latin typeface="CiscoSans ExtraLight" charset="0"/>
                    <a:ea typeface="CiscoSans ExtraLight" charset="0"/>
                    <a:cs typeface="CiscoSans ExtraLight" charset="0"/>
                  </a:rPr>
                  <a:t>Process to Process</a:t>
                </a:r>
                <a:endParaRPr lang="en-US" sz="1050" dirty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grpSp>
          <p:nvGrpSpPr>
            <p:cNvPr id="1308" name="Group 1307">
              <a:extLst>
                <a:ext uri="{FF2B5EF4-FFF2-40B4-BE49-F238E27FC236}">
                  <a16:creationId xmlns:a16="http://schemas.microsoft.com/office/drawing/2014/main" xmlns="" id="{E95483ED-DC07-4785-B185-01FC86D7258B}"/>
                </a:ext>
              </a:extLst>
            </p:cNvPr>
            <p:cNvGrpSpPr/>
            <p:nvPr/>
          </p:nvGrpSpPr>
          <p:grpSpPr>
            <a:xfrm>
              <a:off x="4191318" y="2974615"/>
              <a:ext cx="1038940" cy="547377"/>
              <a:chOff x="3211398" y="200071"/>
              <a:chExt cx="1038940" cy="547377"/>
            </a:xfrm>
          </p:grpSpPr>
          <p:sp>
            <p:nvSpPr>
              <p:cNvPr id="1309" name="Isosceles Triangle 1308">
                <a:extLst>
                  <a:ext uri="{FF2B5EF4-FFF2-40B4-BE49-F238E27FC236}">
                    <a16:creationId xmlns:a16="http://schemas.microsoft.com/office/drawing/2014/main" xmlns="" id="{80F01E6C-C6CC-40FD-939A-C112DCCD689F}"/>
                  </a:ext>
                </a:extLst>
              </p:cNvPr>
              <p:cNvSpPr/>
              <p:nvPr/>
            </p:nvSpPr>
            <p:spPr>
              <a:xfrm>
                <a:off x="3995204" y="200071"/>
                <a:ext cx="196113" cy="169063"/>
              </a:xfrm>
              <a:prstGeom prst="triangl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10" name="Rectangle: Rounded Corners 1309">
                <a:extLst>
                  <a:ext uri="{FF2B5EF4-FFF2-40B4-BE49-F238E27FC236}">
                    <a16:creationId xmlns:a16="http://schemas.microsoft.com/office/drawing/2014/main" xmlns="" id="{4970F6A9-C162-4F87-8E45-724BD82A0300}"/>
                  </a:ext>
                </a:extLst>
              </p:cNvPr>
              <p:cNvSpPr/>
              <p:nvPr/>
            </p:nvSpPr>
            <p:spPr>
              <a:xfrm>
                <a:off x="3211398" y="303257"/>
                <a:ext cx="1038940" cy="444191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dirty="0">
                    <a:solidFill>
                      <a:schemeClr val="bg2"/>
                    </a:solidFill>
                    <a:latin typeface="CiscoSans ExtraLight" charset="0"/>
                    <a:ea typeface="CiscoSans ExtraLight" charset="0"/>
                    <a:cs typeface="CiscoSans ExtraLight" charset="0"/>
                  </a:rPr>
                  <a:t>North-South Perimeter</a:t>
                </a:r>
              </a:p>
            </p:txBody>
          </p:sp>
        </p:grpSp>
        <p:pic>
          <p:nvPicPr>
            <p:cNvPr id="1210" name="Picture 1209">
              <a:extLst>
                <a:ext uri="{FF2B5EF4-FFF2-40B4-BE49-F238E27FC236}">
                  <a16:creationId xmlns:a16="http://schemas.microsoft.com/office/drawing/2014/main" xmlns="" id="{E3DA7DE3-46AC-46C1-AE4F-1BBE5CDF415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66844" y="1305933"/>
              <a:ext cx="571661" cy="571661"/>
            </a:xfrm>
            <a:prstGeom prst="rect">
              <a:avLst/>
            </a:prstGeom>
          </p:spPr>
        </p:pic>
        <p:pic>
          <p:nvPicPr>
            <p:cNvPr id="1212" name="Picture 1211">
              <a:extLst>
                <a:ext uri="{FF2B5EF4-FFF2-40B4-BE49-F238E27FC236}">
                  <a16:creationId xmlns:a16="http://schemas.microsoft.com/office/drawing/2014/main" xmlns="" id="{5E0E5021-93C8-4D94-B981-C605C3556A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0166620" y="3503871"/>
              <a:ext cx="571661" cy="571661"/>
            </a:xfrm>
            <a:prstGeom prst="rect">
              <a:avLst/>
            </a:prstGeom>
          </p:spPr>
        </p:pic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xmlns="" id="{AE333C18-42B2-48D4-B43B-6863811CDE58}"/>
                </a:ext>
              </a:extLst>
            </p:cNvPr>
            <p:cNvGrpSpPr/>
            <p:nvPr/>
          </p:nvGrpSpPr>
          <p:grpSpPr>
            <a:xfrm>
              <a:off x="8508630" y="1560778"/>
              <a:ext cx="3096946" cy="1961214"/>
              <a:chOff x="13127003" y="1560778"/>
              <a:chExt cx="3096946" cy="1961214"/>
            </a:xfrm>
          </p:grpSpPr>
          <p:grpSp>
            <p:nvGrpSpPr>
              <p:cNvPr id="1401" name="Group 1400">
                <a:extLst>
                  <a:ext uri="{FF2B5EF4-FFF2-40B4-BE49-F238E27FC236}">
                    <a16:creationId xmlns:a16="http://schemas.microsoft.com/office/drawing/2014/main" xmlns="" id="{B1A42D29-EF7D-4522-AFE3-2FDD31BF05C2}"/>
                  </a:ext>
                </a:extLst>
              </p:cNvPr>
              <p:cNvGrpSpPr/>
              <p:nvPr/>
            </p:nvGrpSpPr>
            <p:grpSpPr>
              <a:xfrm>
                <a:off x="14760091" y="2082895"/>
                <a:ext cx="618697" cy="448449"/>
                <a:chOff x="4207537" y="2273730"/>
                <a:chExt cx="598923" cy="434116"/>
              </a:xfrm>
            </p:grpSpPr>
            <p:grpSp>
              <p:nvGrpSpPr>
                <p:cNvPr id="1544" name="Group 1543">
                  <a:extLst>
                    <a:ext uri="{FF2B5EF4-FFF2-40B4-BE49-F238E27FC236}">
                      <a16:creationId xmlns:a16="http://schemas.microsoft.com/office/drawing/2014/main" xmlns="" id="{BC74036A-BB27-4026-8913-47CCE1265474}"/>
                    </a:ext>
                  </a:extLst>
                </p:cNvPr>
                <p:cNvGrpSpPr/>
                <p:nvPr/>
              </p:nvGrpSpPr>
              <p:grpSpPr>
                <a:xfrm>
                  <a:off x="4207537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559" name="Freeform 201">
                    <a:extLst>
                      <a:ext uri="{FF2B5EF4-FFF2-40B4-BE49-F238E27FC236}">
                        <a16:creationId xmlns:a16="http://schemas.microsoft.com/office/drawing/2014/main" xmlns="" id="{2E4388AE-8AF5-4BD9-92AD-69A03F5BC49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60" name="Line 202">
                    <a:extLst>
                      <a:ext uri="{FF2B5EF4-FFF2-40B4-BE49-F238E27FC236}">
                        <a16:creationId xmlns:a16="http://schemas.microsoft.com/office/drawing/2014/main" xmlns="" id="{95C49818-2FA9-461C-89AF-51C9AA0694F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61" name="Line 203">
                    <a:extLst>
                      <a:ext uri="{FF2B5EF4-FFF2-40B4-BE49-F238E27FC236}">
                        <a16:creationId xmlns:a16="http://schemas.microsoft.com/office/drawing/2014/main" xmlns="" id="{409BB736-3782-47F4-A032-57101D171B7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62" name="Line 204">
                    <a:extLst>
                      <a:ext uri="{FF2B5EF4-FFF2-40B4-BE49-F238E27FC236}">
                        <a16:creationId xmlns:a16="http://schemas.microsoft.com/office/drawing/2014/main" xmlns="" id="{3787E859-1A8A-4988-928B-79E5F7ACE81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63" name="Line 205">
                    <a:extLst>
                      <a:ext uri="{FF2B5EF4-FFF2-40B4-BE49-F238E27FC236}">
                        <a16:creationId xmlns:a16="http://schemas.microsoft.com/office/drawing/2014/main" xmlns="" id="{B096C036-779D-4043-9359-79A865BACBF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64" name="Line 206">
                    <a:extLst>
                      <a:ext uri="{FF2B5EF4-FFF2-40B4-BE49-F238E27FC236}">
                        <a16:creationId xmlns:a16="http://schemas.microsoft.com/office/drawing/2014/main" xmlns="" id="{25870EDD-C1E7-4D6B-BF24-2D3B99AC629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545" name="Group 1544">
                  <a:extLst>
                    <a:ext uri="{FF2B5EF4-FFF2-40B4-BE49-F238E27FC236}">
                      <a16:creationId xmlns:a16="http://schemas.microsoft.com/office/drawing/2014/main" xmlns="" id="{EA480857-1971-4E3E-9FC1-15C43D83CA41}"/>
                    </a:ext>
                  </a:extLst>
                </p:cNvPr>
                <p:cNvGrpSpPr/>
                <p:nvPr/>
              </p:nvGrpSpPr>
              <p:grpSpPr>
                <a:xfrm>
                  <a:off x="4417305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553" name="Freeform 201">
                    <a:extLst>
                      <a:ext uri="{FF2B5EF4-FFF2-40B4-BE49-F238E27FC236}">
                        <a16:creationId xmlns:a16="http://schemas.microsoft.com/office/drawing/2014/main" xmlns="" id="{CE5FC2A9-5168-4823-A3C9-A1088BAE95D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54" name="Line 202">
                    <a:extLst>
                      <a:ext uri="{FF2B5EF4-FFF2-40B4-BE49-F238E27FC236}">
                        <a16:creationId xmlns:a16="http://schemas.microsoft.com/office/drawing/2014/main" xmlns="" id="{9A136F8C-3F6F-4E0C-9F7F-84A9601733B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55" name="Line 203">
                    <a:extLst>
                      <a:ext uri="{FF2B5EF4-FFF2-40B4-BE49-F238E27FC236}">
                        <a16:creationId xmlns:a16="http://schemas.microsoft.com/office/drawing/2014/main" xmlns="" id="{2B3356F6-EFCB-41DB-9DED-2E81A13AA90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56" name="Line 204">
                    <a:extLst>
                      <a:ext uri="{FF2B5EF4-FFF2-40B4-BE49-F238E27FC236}">
                        <a16:creationId xmlns:a16="http://schemas.microsoft.com/office/drawing/2014/main" xmlns="" id="{55572E3D-7659-4E15-8185-760265A691A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57" name="Line 205">
                    <a:extLst>
                      <a:ext uri="{FF2B5EF4-FFF2-40B4-BE49-F238E27FC236}">
                        <a16:creationId xmlns:a16="http://schemas.microsoft.com/office/drawing/2014/main" xmlns="" id="{DEF44EEA-1765-445C-8435-40EF654EAF9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58" name="Line 206">
                    <a:extLst>
                      <a:ext uri="{FF2B5EF4-FFF2-40B4-BE49-F238E27FC236}">
                        <a16:creationId xmlns:a16="http://schemas.microsoft.com/office/drawing/2014/main" xmlns="" id="{9EA24A9C-27F2-455D-B990-636B74CFC3D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546" name="Group 1545">
                  <a:extLst>
                    <a:ext uri="{FF2B5EF4-FFF2-40B4-BE49-F238E27FC236}">
                      <a16:creationId xmlns:a16="http://schemas.microsoft.com/office/drawing/2014/main" xmlns="" id="{8EB179BC-F639-4695-AA82-52416D1A7060}"/>
                    </a:ext>
                  </a:extLst>
                </p:cNvPr>
                <p:cNvGrpSpPr/>
                <p:nvPr/>
              </p:nvGrpSpPr>
              <p:grpSpPr>
                <a:xfrm>
                  <a:off x="4627073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547" name="Freeform 201">
                    <a:extLst>
                      <a:ext uri="{FF2B5EF4-FFF2-40B4-BE49-F238E27FC236}">
                        <a16:creationId xmlns:a16="http://schemas.microsoft.com/office/drawing/2014/main" xmlns="" id="{A28490BA-291F-410A-A9A6-C482E314222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48" name="Line 202">
                    <a:extLst>
                      <a:ext uri="{FF2B5EF4-FFF2-40B4-BE49-F238E27FC236}">
                        <a16:creationId xmlns:a16="http://schemas.microsoft.com/office/drawing/2014/main" xmlns="" id="{CAC40F72-C1D8-4526-891D-88DDFB28803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49" name="Line 203">
                    <a:extLst>
                      <a:ext uri="{FF2B5EF4-FFF2-40B4-BE49-F238E27FC236}">
                        <a16:creationId xmlns:a16="http://schemas.microsoft.com/office/drawing/2014/main" xmlns="" id="{341A8BBE-6383-4FB0-9944-9E06BD7D10C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50" name="Line 204">
                    <a:extLst>
                      <a:ext uri="{FF2B5EF4-FFF2-40B4-BE49-F238E27FC236}">
                        <a16:creationId xmlns:a16="http://schemas.microsoft.com/office/drawing/2014/main" xmlns="" id="{F45FF648-674B-4AA9-AE32-8206BA1D9B2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51" name="Line 205">
                    <a:extLst>
                      <a:ext uri="{FF2B5EF4-FFF2-40B4-BE49-F238E27FC236}">
                        <a16:creationId xmlns:a16="http://schemas.microsoft.com/office/drawing/2014/main" xmlns="" id="{0E3F56AA-81D7-4D96-A5FA-92BDF0AD0DC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52" name="Line 206">
                    <a:extLst>
                      <a:ext uri="{FF2B5EF4-FFF2-40B4-BE49-F238E27FC236}">
                        <a16:creationId xmlns:a16="http://schemas.microsoft.com/office/drawing/2014/main" xmlns="" id="{F928081B-3D02-4B8A-AC82-203D25A6A4B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</p:grpSp>
          <p:grpSp>
            <p:nvGrpSpPr>
              <p:cNvPr id="1402" name="Group 1401">
                <a:extLst>
                  <a:ext uri="{FF2B5EF4-FFF2-40B4-BE49-F238E27FC236}">
                    <a16:creationId xmlns:a16="http://schemas.microsoft.com/office/drawing/2014/main" xmlns="" id="{A86A258C-42DB-4FD8-8524-555E1D26D7F2}"/>
                  </a:ext>
                </a:extLst>
              </p:cNvPr>
              <p:cNvGrpSpPr/>
              <p:nvPr/>
            </p:nvGrpSpPr>
            <p:grpSpPr>
              <a:xfrm>
                <a:off x="14760091" y="2835347"/>
                <a:ext cx="618697" cy="448449"/>
                <a:chOff x="4207537" y="2273730"/>
                <a:chExt cx="598923" cy="434116"/>
              </a:xfrm>
            </p:grpSpPr>
            <p:grpSp>
              <p:nvGrpSpPr>
                <p:cNvPr id="1523" name="Group 1522">
                  <a:extLst>
                    <a:ext uri="{FF2B5EF4-FFF2-40B4-BE49-F238E27FC236}">
                      <a16:creationId xmlns:a16="http://schemas.microsoft.com/office/drawing/2014/main" xmlns="" id="{D6D51494-AB87-497D-8931-7D3EB4F30AE4}"/>
                    </a:ext>
                  </a:extLst>
                </p:cNvPr>
                <p:cNvGrpSpPr/>
                <p:nvPr/>
              </p:nvGrpSpPr>
              <p:grpSpPr>
                <a:xfrm>
                  <a:off x="4207537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538" name="Freeform 201">
                    <a:extLst>
                      <a:ext uri="{FF2B5EF4-FFF2-40B4-BE49-F238E27FC236}">
                        <a16:creationId xmlns:a16="http://schemas.microsoft.com/office/drawing/2014/main" xmlns="" id="{9D722F2E-282B-4E19-9330-9950FD15FB9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39" name="Line 202">
                    <a:extLst>
                      <a:ext uri="{FF2B5EF4-FFF2-40B4-BE49-F238E27FC236}">
                        <a16:creationId xmlns:a16="http://schemas.microsoft.com/office/drawing/2014/main" xmlns="" id="{E3BEB078-5F01-456F-95A2-413D62C05A8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40" name="Line 203">
                    <a:extLst>
                      <a:ext uri="{FF2B5EF4-FFF2-40B4-BE49-F238E27FC236}">
                        <a16:creationId xmlns:a16="http://schemas.microsoft.com/office/drawing/2014/main" xmlns="" id="{0EC84204-CCBB-49D8-9818-C841D2E402A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41" name="Line 204">
                    <a:extLst>
                      <a:ext uri="{FF2B5EF4-FFF2-40B4-BE49-F238E27FC236}">
                        <a16:creationId xmlns:a16="http://schemas.microsoft.com/office/drawing/2014/main" xmlns="" id="{6AA3B364-E230-4BB0-AAF5-74D79F1BCA2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42" name="Line 205">
                    <a:extLst>
                      <a:ext uri="{FF2B5EF4-FFF2-40B4-BE49-F238E27FC236}">
                        <a16:creationId xmlns:a16="http://schemas.microsoft.com/office/drawing/2014/main" xmlns="" id="{130E5B46-DFAE-4FF4-973C-F8373748D29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43" name="Line 206">
                    <a:extLst>
                      <a:ext uri="{FF2B5EF4-FFF2-40B4-BE49-F238E27FC236}">
                        <a16:creationId xmlns:a16="http://schemas.microsoft.com/office/drawing/2014/main" xmlns="" id="{E069E31F-F6D5-44DB-A100-6BC106AD204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524" name="Group 1523">
                  <a:extLst>
                    <a:ext uri="{FF2B5EF4-FFF2-40B4-BE49-F238E27FC236}">
                      <a16:creationId xmlns:a16="http://schemas.microsoft.com/office/drawing/2014/main" xmlns="" id="{450B3628-306D-49A1-832D-7DE5FF1A1989}"/>
                    </a:ext>
                  </a:extLst>
                </p:cNvPr>
                <p:cNvGrpSpPr/>
                <p:nvPr/>
              </p:nvGrpSpPr>
              <p:grpSpPr>
                <a:xfrm>
                  <a:off x="4417305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532" name="Freeform 201">
                    <a:extLst>
                      <a:ext uri="{FF2B5EF4-FFF2-40B4-BE49-F238E27FC236}">
                        <a16:creationId xmlns:a16="http://schemas.microsoft.com/office/drawing/2014/main" xmlns="" id="{55F05C52-31B5-44E0-B0B2-F9F69B86989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33" name="Line 202">
                    <a:extLst>
                      <a:ext uri="{FF2B5EF4-FFF2-40B4-BE49-F238E27FC236}">
                        <a16:creationId xmlns:a16="http://schemas.microsoft.com/office/drawing/2014/main" xmlns="" id="{37E03C86-76DB-45DA-9F0C-A997230ABAB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34" name="Line 203">
                    <a:extLst>
                      <a:ext uri="{FF2B5EF4-FFF2-40B4-BE49-F238E27FC236}">
                        <a16:creationId xmlns:a16="http://schemas.microsoft.com/office/drawing/2014/main" xmlns="" id="{326C8600-BC11-488E-BAB7-3F67EC73133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35" name="Line 204">
                    <a:extLst>
                      <a:ext uri="{FF2B5EF4-FFF2-40B4-BE49-F238E27FC236}">
                        <a16:creationId xmlns:a16="http://schemas.microsoft.com/office/drawing/2014/main" xmlns="" id="{3CD92FBC-722F-432A-9B26-45E2AD2993D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36" name="Line 205">
                    <a:extLst>
                      <a:ext uri="{FF2B5EF4-FFF2-40B4-BE49-F238E27FC236}">
                        <a16:creationId xmlns:a16="http://schemas.microsoft.com/office/drawing/2014/main" xmlns="" id="{E06828FD-B4F6-4DEE-9C46-6FE725B17AF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37" name="Line 206">
                    <a:extLst>
                      <a:ext uri="{FF2B5EF4-FFF2-40B4-BE49-F238E27FC236}">
                        <a16:creationId xmlns:a16="http://schemas.microsoft.com/office/drawing/2014/main" xmlns="" id="{76F21121-3B28-4D94-919F-AEC81D57425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  <p:grpSp>
              <p:nvGrpSpPr>
                <p:cNvPr id="1525" name="Group 1524">
                  <a:extLst>
                    <a:ext uri="{FF2B5EF4-FFF2-40B4-BE49-F238E27FC236}">
                      <a16:creationId xmlns:a16="http://schemas.microsoft.com/office/drawing/2014/main" xmlns="" id="{0AB98748-04C2-4A24-A0BE-E7551967CFDA}"/>
                    </a:ext>
                  </a:extLst>
                </p:cNvPr>
                <p:cNvGrpSpPr/>
                <p:nvPr/>
              </p:nvGrpSpPr>
              <p:grpSpPr>
                <a:xfrm>
                  <a:off x="4627073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526" name="Freeform 201">
                    <a:extLst>
                      <a:ext uri="{FF2B5EF4-FFF2-40B4-BE49-F238E27FC236}">
                        <a16:creationId xmlns:a16="http://schemas.microsoft.com/office/drawing/2014/main" xmlns="" id="{AD200E6D-00B1-41A2-A9DE-D044BAF1EE4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27" name="Line 202">
                    <a:extLst>
                      <a:ext uri="{FF2B5EF4-FFF2-40B4-BE49-F238E27FC236}">
                        <a16:creationId xmlns:a16="http://schemas.microsoft.com/office/drawing/2014/main" xmlns="" id="{B53D312D-40A5-4C82-B779-BE63F1E9D80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28" name="Line 203">
                    <a:extLst>
                      <a:ext uri="{FF2B5EF4-FFF2-40B4-BE49-F238E27FC236}">
                        <a16:creationId xmlns:a16="http://schemas.microsoft.com/office/drawing/2014/main" xmlns="" id="{7AAE3110-24BA-4218-9CA6-DB9C661C40D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29" name="Line 204">
                    <a:extLst>
                      <a:ext uri="{FF2B5EF4-FFF2-40B4-BE49-F238E27FC236}">
                        <a16:creationId xmlns:a16="http://schemas.microsoft.com/office/drawing/2014/main" xmlns="" id="{858DD5CF-B444-40B1-AA75-9F27EED0B2A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30" name="Line 205">
                    <a:extLst>
                      <a:ext uri="{FF2B5EF4-FFF2-40B4-BE49-F238E27FC236}">
                        <a16:creationId xmlns:a16="http://schemas.microsoft.com/office/drawing/2014/main" xmlns="" id="{75AED1B7-AA6D-4C2E-86C9-8AC086179FC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31" name="Line 206">
                    <a:extLst>
                      <a:ext uri="{FF2B5EF4-FFF2-40B4-BE49-F238E27FC236}">
                        <a16:creationId xmlns:a16="http://schemas.microsoft.com/office/drawing/2014/main" xmlns="" id="{19A8EE2E-6497-4A16-B73C-66C1076B2BD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</p:grpSp>
          <p:cxnSp>
            <p:nvCxnSpPr>
              <p:cNvPr id="1403" name="Connector: Elbow 1402">
                <a:extLst>
                  <a:ext uri="{FF2B5EF4-FFF2-40B4-BE49-F238E27FC236}">
                    <a16:creationId xmlns:a16="http://schemas.microsoft.com/office/drawing/2014/main" xmlns="" id="{C9A3B5D9-14AD-475D-B106-51D3353ADE6D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4479062" y="2405535"/>
                <a:ext cx="372347" cy="189715"/>
              </a:xfrm>
              <a:prstGeom prst="bentConnector3">
                <a:avLst>
                  <a:gd name="adj1" fmla="val -184"/>
                </a:avLst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4" name="Connector: Elbow 1403">
                <a:extLst>
                  <a:ext uri="{FF2B5EF4-FFF2-40B4-BE49-F238E27FC236}">
                    <a16:creationId xmlns:a16="http://schemas.microsoft.com/office/drawing/2014/main" xmlns="" id="{F54ACBA9-0A56-4343-80A7-9425E7450B2F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V="1">
                <a:off x="14479062" y="2785822"/>
                <a:ext cx="372347" cy="189715"/>
              </a:xfrm>
              <a:prstGeom prst="bentConnector3">
                <a:avLst>
                  <a:gd name="adj1" fmla="val -184"/>
                </a:avLst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405" name="Group 1404">
                <a:extLst>
                  <a:ext uri="{FF2B5EF4-FFF2-40B4-BE49-F238E27FC236}">
                    <a16:creationId xmlns:a16="http://schemas.microsoft.com/office/drawing/2014/main" xmlns="" id="{2DA6BFB7-969C-4FAB-A55D-5B9FEF5F220A}"/>
                  </a:ext>
                </a:extLst>
              </p:cNvPr>
              <p:cNvGrpSpPr/>
              <p:nvPr/>
            </p:nvGrpSpPr>
            <p:grpSpPr>
              <a:xfrm>
                <a:off x="14459054" y="2953858"/>
                <a:ext cx="226628" cy="226628"/>
                <a:chOff x="1358899" y="2193925"/>
                <a:chExt cx="390525" cy="390525"/>
              </a:xfrm>
            </p:grpSpPr>
            <p:sp>
              <p:nvSpPr>
                <p:cNvPr id="1515" name="Rectangle: Rounded Corners 1514">
                  <a:extLst>
                    <a:ext uri="{FF2B5EF4-FFF2-40B4-BE49-F238E27FC236}">
                      <a16:creationId xmlns:a16="http://schemas.microsoft.com/office/drawing/2014/main" xmlns="" id="{407C2025-FBF9-4488-93B3-2E84470CF208}"/>
                    </a:ext>
                  </a:extLst>
                </p:cNvPr>
                <p:cNvSpPr/>
                <p:nvPr/>
              </p:nvSpPr>
              <p:spPr>
                <a:xfrm>
                  <a:off x="1358899" y="2193925"/>
                  <a:ext cx="390525" cy="390525"/>
                </a:xfrm>
                <a:prstGeom prst="roundRect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grpSp>
              <p:nvGrpSpPr>
                <p:cNvPr id="1516" name="Group 1515">
                  <a:extLst>
                    <a:ext uri="{FF2B5EF4-FFF2-40B4-BE49-F238E27FC236}">
                      <a16:creationId xmlns:a16="http://schemas.microsoft.com/office/drawing/2014/main" xmlns="" id="{5B739F62-CB31-46F2-9400-6F03CCC09B51}"/>
                    </a:ext>
                  </a:extLst>
                </p:cNvPr>
                <p:cNvGrpSpPr/>
                <p:nvPr/>
              </p:nvGrpSpPr>
              <p:grpSpPr>
                <a:xfrm>
                  <a:off x="1420588" y="2248963"/>
                  <a:ext cx="267146" cy="280448"/>
                  <a:chOff x="1401763" y="2228851"/>
                  <a:chExt cx="307974" cy="323308"/>
                </a:xfrm>
              </p:grpSpPr>
              <p:grpSp>
                <p:nvGrpSpPr>
                  <p:cNvPr id="1517" name="Group 1516">
                    <a:extLst>
                      <a:ext uri="{FF2B5EF4-FFF2-40B4-BE49-F238E27FC236}">
                        <a16:creationId xmlns:a16="http://schemas.microsoft.com/office/drawing/2014/main" xmlns="" id="{C22292FB-BF46-4FA4-A117-612694268E13}"/>
                      </a:ext>
                    </a:extLst>
                  </p:cNvPr>
                  <p:cNvGrpSpPr/>
                  <p:nvPr/>
                </p:nvGrpSpPr>
                <p:grpSpPr>
                  <a:xfrm>
                    <a:off x="1482725" y="2295526"/>
                    <a:ext cx="227012" cy="256633"/>
                    <a:chOff x="1482725" y="2276476"/>
                    <a:chExt cx="227012" cy="256633"/>
                  </a:xfrm>
                  <a:solidFill>
                    <a:schemeClr val="bg2"/>
                  </a:solidFill>
                </p:grpSpPr>
                <p:sp>
                  <p:nvSpPr>
                    <p:cNvPr id="1521" name="Freeform 33">
                      <a:extLst>
                        <a:ext uri="{FF2B5EF4-FFF2-40B4-BE49-F238E27FC236}">
                          <a16:creationId xmlns:a16="http://schemas.microsoft.com/office/drawing/2014/main" xmlns="" id="{106F4060-E0A5-479E-AAEE-687988B752B7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433639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>
                        <a:latin typeface="CiscoSans ExtraLight" charset="0"/>
                        <a:ea typeface="CiscoSans ExtraLight" charset="0"/>
                        <a:cs typeface="CiscoSans ExtraLight" charset="0"/>
                      </a:endParaRPr>
                    </a:p>
                  </p:txBody>
                </p:sp>
                <p:sp>
                  <p:nvSpPr>
                    <p:cNvPr id="1522" name="Freeform 33">
                      <a:extLst>
                        <a:ext uri="{FF2B5EF4-FFF2-40B4-BE49-F238E27FC236}">
                          <a16:creationId xmlns:a16="http://schemas.microsoft.com/office/drawing/2014/main" xmlns="" id="{E5369B3C-B7B7-435A-A7BA-74F93FF83F3D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276476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>
                        <a:latin typeface="CiscoSans ExtraLight" charset="0"/>
                        <a:ea typeface="CiscoSans ExtraLight" charset="0"/>
                        <a:cs typeface="CiscoSans ExtraLight" charset="0"/>
                      </a:endParaRPr>
                    </a:p>
                  </p:txBody>
                </p:sp>
              </p:grpSp>
              <p:grpSp>
                <p:nvGrpSpPr>
                  <p:cNvPr id="1518" name="Group 1517">
                    <a:extLst>
                      <a:ext uri="{FF2B5EF4-FFF2-40B4-BE49-F238E27FC236}">
                        <a16:creationId xmlns:a16="http://schemas.microsoft.com/office/drawing/2014/main" xmlns="" id="{E4497A37-46BA-4589-AE1D-729B0C717EB2}"/>
                      </a:ext>
                    </a:extLst>
                  </p:cNvPr>
                  <p:cNvGrpSpPr/>
                  <p:nvPr/>
                </p:nvGrpSpPr>
                <p:grpSpPr>
                  <a:xfrm flipH="1">
                    <a:off x="1401763" y="2228851"/>
                    <a:ext cx="227012" cy="256633"/>
                    <a:chOff x="1482725" y="2276476"/>
                    <a:chExt cx="227012" cy="256633"/>
                  </a:xfrm>
                </p:grpSpPr>
                <p:sp>
                  <p:nvSpPr>
                    <p:cNvPr id="1519" name="Freeform 33">
                      <a:extLst>
                        <a:ext uri="{FF2B5EF4-FFF2-40B4-BE49-F238E27FC236}">
                          <a16:creationId xmlns:a16="http://schemas.microsoft.com/office/drawing/2014/main" xmlns="" id="{4CD4595C-9838-45FE-B027-8188B5FFB8A9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433639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solidFill>
                      <a:srgbClr val="0050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>
                        <a:latin typeface="CiscoSans ExtraLight" charset="0"/>
                        <a:ea typeface="CiscoSans ExtraLight" charset="0"/>
                        <a:cs typeface="CiscoSans ExtraLight" charset="0"/>
                      </a:endParaRPr>
                    </a:p>
                  </p:txBody>
                </p:sp>
                <p:sp>
                  <p:nvSpPr>
                    <p:cNvPr id="1520" name="Freeform 33">
                      <a:extLst>
                        <a:ext uri="{FF2B5EF4-FFF2-40B4-BE49-F238E27FC236}">
                          <a16:creationId xmlns:a16="http://schemas.microsoft.com/office/drawing/2014/main" xmlns="" id="{54A2272D-4DD4-402E-926A-9905D8BF6C43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276476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solidFill>
                      <a:srgbClr val="0050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>
                        <a:latin typeface="CiscoSans ExtraLight" charset="0"/>
                        <a:ea typeface="CiscoSans ExtraLight" charset="0"/>
                        <a:cs typeface="CiscoSans ExtraLight" charset="0"/>
                      </a:endParaRPr>
                    </a:p>
                  </p:txBody>
                </p:sp>
              </p:grpSp>
            </p:grpSp>
          </p:grpSp>
          <p:grpSp>
            <p:nvGrpSpPr>
              <p:cNvPr id="1406" name="Group 1405">
                <a:extLst>
                  <a:ext uri="{FF2B5EF4-FFF2-40B4-BE49-F238E27FC236}">
                    <a16:creationId xmlns:a16="http://schemas.microsoft.com/office/drawing/2014/main" xmlns="" id="{4D52520F-FA90-4AB3-99F3-B7EEB9465723}"/>
                  </a:ext>
                </a:extLst>
              </p:cNvPr>
              <p:cNvGrpSpPr/>
              <p:nvPr/>
            </p:nvGrpSpPr>
            <p:grpSpPr>
              <a:xfrm>
                <a:off x="14459054" y="2210215"/>
                <a:ext cx="226628" cy="226628"/>
                <a:chOff x="1358899" y="2193925"/>
                <a:chExt cx="390525" cy="390525"/>
              </a:xfrm>
            </p:grpSpPr>
            <p:sp>
              <p:nvSpPr>
                <p:cNvPr id="1507" name="Rectangle: Rounded Corners 1506">
                  <a:extLst>
                    <a:ext uri="{FF2B5EF4-FFF2-40B4-BE49-F238E27FC236}">
                      <a16:creationId xmlns:a16="http://schemas.microsoft.com/office/drawing/2014/main" xmlns="" id="{965A558D-F476-4B2E-9CA4-AB7D5CAB365A}"/>
                    </a:ext>
                  </a:extLst>
                </p:cNvPr>
                <p:cNvSpPr/>
                <p:nvPr/>
              </p:nvSpPr>
              <p:spPr>
                <a:xfrm>
                  <a:off x="1358899" y="2193925"/>
                  <a:ext cx="390525" cy="390525"/>
                </a:xfrm>
                <a:prstGeom prst="roundRect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grpSp>
              <p:nvGrpSpPr>
                <p:cNvPr id="1508" name="Group 1507">
                  <a:extLst>
                    <a:ext uri="{FF2B5EF4-FFF2-40B4-BE49-F238E27FC236}">
                      <a16:creationId xmlns:a16="http://schemas.microsoft.com/office/drawing/2014/main" xmlns="" id="{1A2ADD61-6EC3-479B-BD11-48F65FA1BA78}"/>
                    </a:ext>
                  </a:extLst>
                </p:cNvPr>
                <p:cNvGrpSpPr/>
                <p:nvPr/>
              </p:nvGrpSpPr>
              <p:grpSpPr>
                <a:xfrm>
                  <a:off x="1420588" y="2248963"/>
                  <a:ext cx="267146" cy="280448"/>
                  <a:chOff x="1401763" y="2228851"/>
                  <a:chExt cx="307974" cy="323308"/>
                </a:xfrm>
              </p:grpSpPr>
              <p:grpSp>
                <p:nvGrpSpPr>
                  <p:cNvPr id="1509" name="Group 1508">
                    <a:extLst>
                      <a:ext uri="{FF2B5EF4-FFF2-40B4-BE49-F238E27FC236}">
                        <a16:creationId xmlns:a16="http://schemas.microsoft.com/office/drawing/2014/main" xmlns="" id="{B0AD5B78-B52B-4177-96F1-90A46B9B3DEC}"/>
                      </a:ext>
                    </a:extLst>
                  </p:cNvPr>
                  <p:cNvGrpSpPr/>
                  <p:nvPr/>
                </p:nvGrpSpPr>
                <p:grpSpPr>
                  <a:xfrm>
                    <a:off x="1482725" y="2295526"/>
                    <a:ext cx="227012" cy="256633"/>
                    <a:chOff x="1482725" y="2276476"/>
                    <a:chExt cx="227012" cy="256633"/>
                  </a:xfrm>
                  <a:solidFill>
                    <a:schemeClr val="bg2"/>
                  </a:solidFill>
                </p:grpSpPr>
                <p:sp>
                  <p:nvSpPr>
                    <p:cNvPr id="1513" name="Freeform 33">
                      <a:extLst>
                        <a:ext uri="{FF2B5EF4-FFF2-40B4-BE49-F238E27FC236}">
                          <a16:creationId xmlns:a16="http://schemas.microsoft.com/office/drawing/2014/main" xmlns="" id="{EE4D6D2B-D5BF-44F4-89B1-6804AC7BF7D4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433639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>
                        <a:latin typeface="CiscoSans ExtraLight" charset="0"/>
                        <a:ea typeface="CiscoSans ExtraLight" charset="0"/>
                        <a:cs typeface="CiscoSans ExtraLight" charset="0"/>
                      </a:endParaRPr>
                    </a:p>
                  </p:txBody>
                </p:sp>
                <p:sp>
                  <p:nvSpPr>
                    <p:cNvPr id="1514" name="Freeform 33">
                      <a:extLst>
                        <a:ext uri="{FF2B5EF4-FFF2-40B4-BE49-F238E27FC236}">
                          <a16:creationId xmlns:a16="http://schemas.microsoft.com/office/drawing/2014/main" xmlns="" id="{1513339E-D824-4219-B2DA-C70DAFD1FC9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276476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>
                        <a:latin typeface="CiscoSans ExtraLight" charset="0"/>
                        <a:ea typeface="CiscoSans ExtraLight" charset="0"/>
                        <a:cs typeface="CiscoSans ExtraLight" charset="0"/>
                      </a:endParaRPr>
                    </a:p>
                  </p:txBody>
                </p:sp>
              </p:grpSp>
              <p:grpSp>
                <p:nvGrpSpPr>
                  <p:cNvPr id="1510" name="Group 1509">
                    <a:extLst>
                      <a:ext uri="{FF2B5EF4-FFF2-40B4-BE49-F238E27FC236}">
                        <a16:creationId xmlns:a16="http://schemas.microsoft.com/office/drawing/2014/main" xmlns="" id="{CAF04DC1-750D-4E60-87ED-D78B8EB334F4}"/>
                      </a:ext>
                    </a:extLst>
                  </p:cNvPr>
                  <p:cNvGrpSpPr/>
                  <p:nvPr/>
                </p:nvGrpSpPr>
                <p:grpSpPr>
                  <a:xfrm flipH="1">
                    <a:off x="1401763" y="2228851"/>
                    <a:ext cx="227012" cy="256633"/>
                    <a:chOff x="1482725" y="2276476"/>
                    <a:chExt cx="227012" cy="256633"/>
                  </a:xfrm>
                </p:grpSpPr>
                <p:sp>
                  <p:nvSpPr>
                    <p:cNvPr id="1511" name="Freeform 33">
                      <a:extLst>
                        <a:ext uri="{FF2B5EF4-FFF2-40B4-BE49-F238E27FC236}">
                          <a16:creationId xmlns:a16="http://schemas.microsoft.com/office/drawing/2014/main" xmlns="" id="{3E82B7D9-0A21-45C8-B3E6-96002FA06544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433639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solidFill>
                      <a:srgbClr val="0050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>
                        <a:latin typeface="CiscoSans ExtraLight" charset="0"/>
                        <a:ea typeface="CiscoSans ExtraLight" charset="0"/>
                        <a:cs typeface="CiscoSans ExtraLight" charset="0"/>
                      </a:endParaRPr>
                    </a:p>
                  </p:txBody>
                </p:sp>
                <p:sp>
                  <p:nvSpPr>
                    <p:cNvPr id="1512" name="Freeform 33">
                      <a:extLst>
                        <a:ext uri="{FF2B5EF4-FFF2-40B4-BE49-F238E27FC236}">
                          <a16:creationId xmlns:a16="http://schemas.microsoft.com/office/drawing/2014/main" xmlns="" id="{63517602-2E71-4B3E-80EB-0CE34EDCC10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276476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solidFill>
                      <a:srgbClr val="0050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>
                        <a:latin typeface="CiscoSans ExtraLight" charset="0"/>
                        <a:ea typeface="CiscoSans ExtraLight" charset="0"/>
                        <a:cs typeface="CiscoSans ExtraLight" charset="0"/>
                      </a:endParaRPr>
                    </a:p>
                  </p:txBody>
                </p:sp>
              </p:grpSp>
            </p:grpSp>
          </p:grpSp>
          <p:grpSp>
            <p:nvGrpSpPr>
              <p:cNvPr id="1415" name="Group 1414">
                <a:extLst>
                  <a:ext uri="{FF2B5EF4-FFF2-40B4-BE49-F238E27FC236}">
                    <a16:creationId xmlns:a16="http://schemas.microsoft.com/office/drawing/2014/main" xmlns="" id="{CF7252FC-5EA3-457B-8DED-82A13CECAB9B}"/>
                  </a:ext>
                </a:extLst>
              </p:cNvPr>
              <p:cNvGrpSpPr/>
              <p:nvPr/>
            </p:nvGrpSpPr>
            <p:grpSpPr>
              <a:xfrm>
                <a:off x="13832728" y="2465614"/>
                <a:ext cx="443632" cy="443680"/>
                <a:chOff x="542940" y="1857375"/>
                <a:chExt cx="914400" cy="914494"/>
              </a:xfrm>
            </p:grpSpPr>
            <p:sp>
              <p:nvSpPr>
                <p:cNvPr id="1485" name="Oval 1484">
                  <a:extLst>
                    <a:ext uri="{FF2B5EF4-FFF2-40B4-BE49-F238E27FC236}">
                      <a16:creationId xmlns:a16="http://schemas.microsoft.com/office/drawing/2014/main" xmlns="" id="{E24A6D2B-15A2-4648-BBBC-59CD98CE332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42940" y="1857422"/>
                  <a:ext cx="914400" cy="9144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grpSp>
              <p:nvGrpSpPr>
                <p:cNvPr id="1486" name="Group 4">
                  <a:extLst>
                    <a:ext uri="{FF2B5EF4-FFF2-40B4-BE49-F238E27FC236}">
                      <a16:creationId xmlns:a16="http://schemas.microsoft.com/office/drawing/2014/main" xmlns="" id="{BAB14D0A-D66D-4200-960B-0C79B759C7A1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43174" y="1857375"/>
                  <a:ext cx="913932" cy="914494"/>
                  <a:chOff x="1261" y="0"/>
                  <a:chExt cx="3238" cy="3240"/>
                </a:xfrm>
                <a:solidFill>
                  <a:schemeClr val="tx2"/>
                </a:solidFill>
              </p:grpSpPr>
              <p:sp>
                <p:nvSpPr>
                  <p:cNvPr id="1487" name="Freeform 5">
                    <a:extLst>
                      <a:ext uri="{FF2B5EF4-FFF2-40B4-BE49-F238E27FC236}">
                        <a16:creationId xmlns:a16="http://schemas.microsoft.com/office/drawing/2014/main" xmlns="" id="{38EBE0E2-DF07-4048-B62E-2344690136D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31" y="443"/>
                    <a:ext cx="36" cy="37"/>
                  </a:xfrm>
                  <a:custGeom>
                    <a:avLst/>
                    <a:gdLst>
                      <a:gd name="T0" fmla="*/ 0 w 29"/>
                      <a:gd name="T1" fmla="*/ 30 h 30"/>
                      <a:gd name="T2" fmla="*/ 29 w 29"/>
                      <a:gd name="T3" fmla="*/ 0 h 30"/>
                      <a:gd name="T4" fmla="*/ 0 w 29"/>
                      <a:gd name="T5" fmla="*/ 3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9" h="30">
                        <a:moveTo>
                          <a:pt x="0" y="30"/>
                        </a:moveTo>
                        <a:cubicBezTo>
                          <a:pt x="15" y="27"/>
                          <a:pt x="26" y="15"/>
                          <a:pt x="29" y="0"/>
                        </a:cubicBezTo>
                        <a:cubicBezTo>
                          <a:pt x="19" y="10"/>
                          <a:pt x="10" y="20"/>
                          <a:pt x="0" y="3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88" name="Freeform 6">
                    <a:extLst>
                      <a:ext uri="{FF2B5EF4-FFF2-40B4-BE49-F238E27FC236}">
                        <a16:creationId xmlns:a16="http://schemas.microsoft.com/office/drawing/2014/main" xmlns="" id="{4B127766-85DC-458A-8494-E9CC5726924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833" y="0"/>
                    <a:ext cx="1056" cy="480"/>
                  </a:xfrm>
                  <a:custGeom>
                    <a:avLst/>
                    <a:gdLst>
                      <a:gd name="T0" fmla="*/ 0 w 845"/>
                      <a:gd name="T1" fmla="*/ 346 h 384"/>
                      <a:gd name="T2" fmla="*/ 38 w 845"/>
                      <a:gd name="T3" fmla="*/ 384 h 384"/>
                      <a:gd name="T4" fmla="*/ 807 w 845"/>
                      <a:gd name="T5" fmla="*/ 384 h 384"/>
                      <a:gd name="T6" fmla="*/ 845 w 845"/>
                      <a:gd name="T7" fmla="*/ 346 h 384"/>
                      <a:gd name="T8" fmla="*/ 845 w 845"/>
                      <a:gd name="T9" fmla="*/ 38 h 384"/>
                      <a:gd name="T10" fmla="*/ 812 w 845"/>
                      <a:gd name="T11" fmla="*/ 0 h 384"/>
                      <a:gd name="T12" fmla="*/ 0 w 845"/>
                      <a:gd name="T13" fmla="*/ 308 h 384"/>
                      <a:gd name="T14" fmla="*/ 0 w 845"/>
                      <a:gd name="T15" fmla="*/ 346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45" h="384">
                        <a:moveTo>
                          <a:pt x="0" y="346"/>
                        </a:move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9"/>
                          <a:pt x="830" y="3"/>
                          <a:pt x="812" y="0"/>
                        </a:cubicBezTo>
                        <a:cubicBezTo>
                          <a:pt x="502" y="6"/>
                          <a:pt x="219" y="121"/>
                          <a:pt x="0" y="308"/>
                        </a:cubicBezTo>
                        <a:lnTo>
                          <a:pt x="0" y="34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89" name="Freeform 7">
                    <a:extLst>
                      <a:ext uri="{FF2B5EF4-FFF2-40B4-BE49-F238E27FC236}">
                        <a16:creationId xmlns:a16="http://schemas.microsoft.com/office/drawing/2014/main" xmlns="" id="{67E3B8ED-FE69-4F88-B0EC-1D0B8FCA017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52" y="4"/>
                    <a:ext cx="1051" cy="476"/>
                  </a:xfrm>
                  <a:custGeom>
                    <a:avLst/>
                    <a:gdLst>
                      <a:gd name="T0" fmla="*/ 24 w 841"/>
                      <a:gd name="T1" fmla="*/ 0 h 381"/>
                      <a:gd name="T2" fmla="*/ 0 w 841"/>
                      <a:gd name="T3" fmla="*/ 35 h 381"/>
                      <a:gd name="T4" fmla="*/ 0 w 841"/>
                      <a:gd name="T5" fmla="*/ 343 h 381"/>
                      <a:gd name="T6" fmla="*/ 38 w 841"/>
                      <a:gd name="T7" fmla="*/ 381 h 381"/>
                      <a:gd name="T8" fmla="*/ 807 w 841"/>
                      <a:gd name="T9" fmla="*/ 381 h 381"/>
                      <a:gd name="T10" fmla="*/ 841 w 841"/>
                      <a:gd name="T11" fmla="*/ 360 h 381"/>
                      <a:gd name="T12" fmla="*/ 24 w 841"/>
                      <a:gd name="T13" fmla="*/ 0 h 38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41" h="381">
                        <a:moveTo>
                          <a:pt x="24" y="0"/>
                        </a:moveTo>
                        <a:cubicBezTo>
                          <a:pt x="10" y="5"/>
                          <a:pt x="0" y="19"/>
                          <a:pt x="0" y="35"/>
                        </a:cubicBezTo>
                        <a:cubicBezTo>
                          <a:pt x="0" y="343"/>
                          <a:pt x="0" y="343"/>
                          <a:pt x="0" y="343"/>
                        </a:cubicBezTo>
                        <a:cubicBezTo>
                          <a:pt x="0" y="364"/>
                          <a:pt x="17" y="381"/>
                          <a:pt x="38" y="381"/>
                        </a:cubicBezTo>
                        <a:cubicBezTo>
                          <a:pt x="807" y="381"/>
                          <a:pt x="807" y="381"/>
                          <a:pt x="807" y="381"/>
                        </a:cubicBezTo>
                        <a:cubicBezTo>
                          <a:pt x="822" y="381"/>
                          <a:pt x="835" y="373"/>
                          <a:pt x="841" y="360"/>
                        </a:cubicBezTo>
                        <a:cubicBezTo>
                          <a:pt x="627" y="153"/>
                          <a:pt x="341" y="20"/>
                          <a:pt x="2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90" name="Freeform 8">
                    <a:extLst>
                      <a:ext uri="{FF2B5EF4-FFF2-40B4-BE49-F238E27FC236}">
                        <a16:creationId xmlns:a16="http://schemas.microsoft.com/office/drawing/2014/main" xmlns="" id="{1F661548-A12C-4D3C-9079-FC861568A0D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70" y="555"/>
                    <a:ext cx="943" cy="480"/>
                  </a:xfrm>
                  <a:custGeom>
                    <a:avLst/>
                    <a:gdLst>
                      <a:gd name="T0" fmla="*/ 717 w 755"/>
                      <a:gd name="T1" fmla="*/ 0 h 384"/>
                      <a:gd name="T2" fmla="*/ 233 w 755"/>
                      <a:gd name="T3" fmla="*/ 0 h 384"/>
                      <a:gd name="T4" fmla="*/ 0 w 755"/>
                      <a:gd name="T5" fmla="*/ 384 h 384"/>
                      <a:gd name="T6" fmla="*/ 717 w 755"/>
                      <a:gd name="T7" fmla="*/ 384 h 384"/>
                      <a:gd name="T8" fmla="*/ 755 w 755"/>
                      <a:gd name="T9" fmla="*/ 346 h 384"/>
                      <a:gd name="T10" fmla="*/ 755 w 755"/>
                      <a:gd name="T11" fmla="*/ 38 h 384"/>
                      <a:gd name="T12" fmla="*/ 717 w 755"/>
                      <a:gd name="T13" fmla="*/ 0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5" h="384">
                        <a:moveTo>
                          <a:pt x="717" y="0"/>
                        </a:moveTo>
                        <a:cubicBezTo>
                          <a:pt x="233" y="0"/>
                          <a:pt x="233" y="0"/>
                          <a:pt x="233" y="0"/>
                        </a:cubicBezTo>
                        <a:cubicBezTo>
                          <a:pt x="134" y="113"/>
                          <a:pt x="55" y="242"/>
                          <a:pt x="0" y="384"/>
                        </a:cubicBezTo>
                        <a:cubicBezTo>
                          <a:pt x="717" y="384"/>
                          <a:pt x="717" y="384"/>
                          <a:pt x="717" y="384"/>
                        </a:cubicBezTo>
                        <a:cubicBezTo>
                          <a:pt x="738" y="384"/>
                          <a:pt x="755" y="367"/>
                          <a:pt x="755" y="346"/>
                        </a:cubicBezTo>
                        <a:cubicBezTo>
                          <a:pt x="755" y="38"/>
                          <a:pt x="755" y="38"/>
                          <a:pt x="755" y="38"/>
                        </a:cubicBezTo>
                        <a:cubicBezTo>
                          <a:pt x="755" y="17"/>
                          <a:pt x="738" y="0"/>
                          <a:pt x="71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91" name="Freeform 9">
                    <a:extLst>
                      <a:ext uri="{FF2B5EF4-FFF2-40B4-BE49-F238E27FC236}">
                        <a16:creationId xmlns:a16="http://schemas.microsoft.com/office/drawing/2014/main" xmlns="" id="{40657C21-AF75-4CE3-805D-C183B38E099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77" y="555"/>
                    <a:ext cx="1055" cy="480"/>
                  </a:xfrm>
                  <a:custGeom>
                    <a:avLst/>
                    <a:gdLst>
                      <a:gd name="T0" fmla="*/ 807 w 845"/>
                      <a:gd name="T1" fmla="*/ 0 h 384"/>
                      <a:gd name="T2" fmla="*/ 38 w 845"/>
                      <a:gd name="T3" fmla="*/ 0 h 384"/>
                      <a:gd name="T4" fmla="*/ 0 w 845"/>
                      <a:gd name="T5" fmla="*/ 38 h 384"/>
                      <a:gd name="T6" fmla="*/ 0 w 845"/>
                      <a:gd name="T7" fmla="*/ 346 h 384"/>
                      <a:gd name="T8" fmla="*/ 38 w 845"/>
                      <a:gd name="T9" fmla="*/ 384 h 384"/>
                      <a:gd name="T10" fmla="*/ 807 w 845"/>
                      <a:gd name="T11" fmla="*/ 384 h 384"/>
                      <a:gd name="T12" fmla="*/ 845 w 845"/>
                      <a:gd name="T13" fmla="*/ 346 h 384"/>
                      <a:gd name="T14" fmla="*/ 845 w 845"/>
                      <a:gd name="T15" fmla="*/ 38 h 384"/>
                      <a:gd name="T16" fmla="*/ 807 w 845"/>
                      <a:gd name="T17" fmla="*/ 0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807" y="0"/>
                        </a:move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92" name="Freeform 10">
                    <a:extLst>
                      <a:ext uri="{FF2B5EF4-FFF2-40B4-BE49-F238E27FC236}">
                        <a16:creationId xmlns:a16="http://schemas.microsoft.com/office/drawing/2014/main" xmlns="" id="{289E03F0-A501-402A-9477-3B498ACF37D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97" y="555"/>
                    <a:ext cx="893" cy="480"/>
                  </a:xfrm>
                  <a:custGeom>
                    <a:avLst/>
                    <a:gdLst>
                      <a:gd name="T0" fmla="*/ 0 w 715"/>
                      <a:gd name="T1" fmla="*/ 38 h 384"/>
                      <a:gd name="T2" fmla="*/ 0 w 715"/>
                      <a:gd name="T3" fmla="*/ 346 h 384"/>
                      <a:gd name="T4" fmla="*/ 38 w 715"/>
                      <a:gd name="T5" fmla="*/ 384 h 384"/>
                      <a:gd name="T6" fmla="*/ 715 w 715"/>
                      <a:gd name="T7" fmla="*/ 384 h 384"/>
                      <a:gd name="T8" fmla="*/ 482 w 715"/>
                      <a:gd name="T9" fmla="*/ 0 h 384"/>
                      <a:gd name="T10" fmla="*/ 38 w 715"/>
                      <a:gd name="T11" fmla="*/ 0 h 384"/>
                      <a:gd name="T12" fmla="*/ 0 w 715"/>
                      <a:gd name="T13" fmla="*/ 38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15" h="384">
                        <a:moveTo>
                          <a:pt x="0" y="38"/>
                        </a:move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715" y="384"/>
                          <a:pt x="715" y="384"/>
                          <a:pt x="715" y="384"/>
                        </a:cubicBezTo>
                        <a:cubicBezTo>
                          <a:pt x="660" y="242"/>
                          <a:pt x="581" y="113"/>
                          <a:pt x="482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93" name="Freeform 11">
                    <a:extLst>
                      <a:ext uri="{FF2B5EF4-FFF2-40B4-BE49-F238E27FC236}">
                        <a16:creationId xmlns:a16="http://schemas.microsoft.com/office/drawing/2014/main" xmlns="" id="{A491D75F-A738-4D58-A5E4-346B0B2ABB5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61" y="1110"/>
                    <a:ext cx="507" cy="480"/>
                  </a:xfrm>
                  <a:custGeom>
                    <a:avLst/>
                    <a:gdLst>
                      <a:gd name="T0" fmla="*/ 368 w 406"/>
                      <a:gd name="T1" fmla="*/ 384 h 384"/>
                      <a:gd name="T2" fmla="*/ 406 w 406"/>
                      <a:gd name="T3" fmla="*/ 346 h 384"/>
                      <a:gd name="T4" fmla="*/ 406 w 406"/>
                      <a:gd name="T5" fmla="*/ 38 h 384"/>
                      <a:gd name="T6" fmla="*/ 368 w 406"/>
                      <a:gd name="T7" fmla="*/ 0 h 384"/>
                      <a:gd name="T8" fmla="*/ 66 w 406"/>
                      <a:gd name="T9" fmla="*/ 0 h 384"/>
                      <a:gd name="T10" fmla="*/ 0 w 406"/>
                      <a:gd name="T11" fmla="*/ 384 h 384"/>
                      <a:gd name="T12" fmla="*/ 368 w 406"/>
                      <a:gd name="T13" fmla="*/ 384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6" h="384">
                        <a:moveTo>
                          <a:pt x="368" y="384"/>
                        </a:moveTo>
                        <a:cubicBezTo>
                          <a:pt x="389" y="384"/>
                          <a:pt x="406" y="367"/>
                          <a:pt x="406" y="346"/>
                        </a:cubicBezTo>
                        <a:cubicBezTo>
                          <a:pt x="406" y="38"/>
                          <a:pt x="406" y="38"/>
                          <a:pt x="406" y="38"/>
                        </a:cubicBezTo>
                        <a:cubicBezTo>
                          <a:pt x="406" y="17"/>
                          <a:pt x="389" y="0"/>
                          <a:pt x="368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25" y="121"/>
                          <a:pt x="3" y="250"/>
                          <a:pt x="0" y="384"/>
                        </a:cubicBezTo>
                        <a:lnTo>
                          <a:pt x="368" y="38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94" name="Freeform 12">
                    <a:extLst>
                      <a:ext uri="{FF2B5EF4-FFF2-40B4-BE49-F238E27FC236}">
                        <a16:creationId xmlns:a16="http://schemas.microsoft.com/office/drawing/2014/main" xmlns="" id="{B2309077-D4BE-42A9-BE6B-9CBA5524B75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833" y="1110"/>
                    <a:ext cx="1056" cy="480"/>
                  </a:xfrm>
                  <a:custGeom>
                    <a:avLst/>
                    <a:gdLst>
                      <a:gd name="T0" fmla="*/ 0 w 845"/>
                      <a:gd name="T1" fmla="*/ 38 h 384"/>
                      <a:gd name="T2" fmla="*/ 0 w 845"/>
                      <a:gd name="T3" fmla="*/ 346 h 384"/>
                      <a:gd name="T4" fmla="*/ 38 w 845"/>
                      <a:gd name="T5" fmla="*/ 384 h 384"/>
                      <a:gd name="T6" fmla="*/ 807 w 845"/>
                      <a:gd name="T7" fmla="*/ 384 h 384"/>
                      <a:gd name="T8" fmla="*/ 845 w 845"/>
                      <a:gd name="T9" fmla="*/ 346 h 384"/>
                      <a:gd name="T10" fmla="*/ 845 w 845"/>
                      <a:gd name="T11" fmla="*/ 38 h 384"/>
                      <a:gd name="T12" fmla="*/ 807 w 845"/>
                      <a:gd name="T13" fmla="*/ 0 h 384"/>
                      <a:gd name="T14" fmla="*/ 38 w 845"/>
                      <a:gd name="T15" fmla="*/ 0 h 384"/>
                      <a:gd name="T16" fmla="*/ 0 w 845"/>
                      <a:gd name="T17" fmla="*/ 38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0" y="38"/>
                        </a:move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95" name="Freeform 13">
                    <a:extLst>
                      <a:ext uri="{FF2B5EF4-FFF2-40B4-BE49-F238E27FC236}">
                        <a16:creationId xmlns:a16="http://schemas.microsoft.com/office/drawing/2014/main" xmlns="" id="{9FF3FD9D-0992-4BE3-9813-12C833F943B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52" y="1110"/>
                    <a:ext cx="1056" cy="480"/>
                  </a:xfrm>
                  <a:custGeom>
                    <a:avLst/>
                    <a:gdLst>
                      <a:gd name="T0" fmla="*/ 0 w 845"/>
                      <a:gd name="T1" fmla="*/ 38 h 384"/>
                      <a:gd name="T2" fmla="*/ 0 w 845"/>
                      <a:gd name="T3" fmla="*/ 346 h 384"/>
                      <a:gd name="T4" fmla="*/ 38 w 845"/>
                      <a:gd name="T5" fmla="*/ 384 h 384"/>
                      <a:gd name="T6" fmla="*/ 807 w 845"/>
                      <a:gd name="T7" fmla="*/ 384 h 384"/>
                      <a:gd name="T8" fmla="*/ 845 w 845"/>
                      <a:gd name="T9" fmla="*/ 346 h 384"/>
                      <a:gd name="T10" fmla="*/ 845 w 845"/>
                      <a:gd name="T11" fmla="*/ 38 h 384"/>
                      <a:gd name="T12" fmla="*/ 807 w 845"/>
                      <a:gd name="T13" fmla="*/ 0 h 384"/>
                      <a:gd name="T14" fmla="*/ 38 w 845"/>
                      <a:gd name="T15" fmla="*/ 0 h 384"/>
                      <a:gd name="T16" fmla="*/ 0 w 845"/>
                      <a:gd name="T17" fmla="*/ 38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0" y="38"/>
                        </a:move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96" name="Freeform 14">
                    <a:extLst>
                      <a:ext uri="{FF2B5EF4-FFF2-40B4-BE49-F238E27FC236}">
                        <a16:creationId xmlns:a16="http://schemas.microsoft.com/office/drawing/2014/main" xmlns="" id="{03E02D79-E962-44A2-8A3A-D1F16E672E5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73" y="1110"/>
                    <a:ext cx="426" cy="480"/>
                  </a:xfrm>
                  <a:custGeom>
                    <a:avLst/>
                    <a:gdLst>
                      <a:gd name="T0" fmla="*/ 38 w 341"/>
                      <a:gd name="T1" fmla="*/ 0 h 384"/>
                      <a:gd name="T2" fmla="*/ 0 w 341"/>
                      <a:gd name="T3" fmla="*/ 38 h 384"/>
                      <a:gd name="T4" fmla="*/ 0 w 341"/>
                      <a:gd name="T5" fmla="*/ 346 h 384"/>
                      <a:gd name="T6" fmla="*/ 38 w 341"/>
                      <a:gd name="T7" fmla="*/ 384 h 384"/>
                      <a:gd name="T8" fmla="*/ 341 w 341"/>
                      <a:gd name="T9" fmla="*/ 384 h 384"/>
                      <a:gd name="T10" fmla="*/ 275 w 341"/>
                      <a:gd name="T11" fmla="*/ 0 h 384"/>
                      <a:gd name="T12" fmla="*/ 38 w 341"/>
                      <a:gd name="T13" fmla="*/ 0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1" h="384">
                        <a:moveTo>
                          <a:pt x="38" y="0"/>
                        </a:move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341" y="384"/>
                          <a:pt x="341" y="384"/>
                          <a:pt x="341" y="384"/>
                        </a:cubicBezTo>
                        <a:cubicBezTo>
                          <a:pt x="338" y="250"/>
                          <a:pt x="316" y="121"/>
                          <a:pt x="275" y="0"/>
                        </a:cubicBezTo>
                        <a:lnTo>
                          <a:pt x="3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97" name="Freeform 15">
                    <a:extLst>
                      <a:ext uri="{FF2B5EF4-FFF2-40B4-BE49-F238E27FC236}">
                        <a16:creationId xmlns:a16="http://schemas.microsoft.com/office/drawing/2014/main" xmlns="" id="{63825721-C57B-4F10-AFD8-7293EAE44EA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62" y="1665"/>
                    <a:ext cx="1051" cy="480"/>
                  </a:xfrm>
                  <a:custGeom>
                    <a:avLst/>
                    <a:gdLst>
                      <a:gd name="T0" fmla="*/ 841 w 841"/>
                      <a:gd name="T1" fmla="*/ 346 h 384"/>
                      <a:gd name="T2" fmla="*/ 841 w 841"/>
                      <a:gd name="T3" fmla="*/ 38 h 384"/>
                      <a:gd name="T4" fmla="*/ 803 w 841"/>
                      <a:gd name="T5" fmla="*/ 0 h 384"/>
                      <a:gd name="T6" fmla="*/ 34 w 841"/>
                      <a:gd name="T7" fmla="*/ 0 h 384"/>
                      <a:gd name="T8" fmla="*/ 0 w 841"/>
                      <a:gd name="T9" fmla="*/ 19 h 384"/>
                      <a:gd name="T10" fmla="*/ 69 w 841"/>
                      <a:gd name="T11" fmla="*/ 384 h 384"/>
                      <a:gd name="T12" fmla="*/ 803 w 841"/>
                      <a:gd name="T13" fmla="*/ 384 h 384"/>
                      <a:gd name="T14" fmla="*/ 841 w 841"/>
                      <a:gd name="T15" fmla="*/ 346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41" h="384">
                        <a:moveTo>
                          <a:pt x="841" y="346"/>
                        </a:moveTo>
                        <a:cubicBezTo>
                          <a:pt x="841" y="38"/>
                          <a:pt x="841" y="38"/>
                          <a:pt x="841" y="38"/>
                        </a:cubicBezTo>
                        <a:cubicBezTo>
                          <a:pt x="841" y="17"/>
                          <a:pt x="824" y="0"/>
                          <a:pt x="803" y="0"/>
                        </a:cubicBezTo>
                        <a:cubicBezTo>
                          <a:pt x="34" y="0"/>
                          <a:pt x="34" y="0"/>
                          <a:pt x="34" y="0"/>
                        </a:cubicBezTo>
                        <a:cubicBezTo>
                          <a:pt x="19" y="0"/>
                          <a:pt x="7" y="8"/>
                          <a:pt x="0" y="19"/>
                        </a:cubicBezTo>
                        <a:cubicBezTo>
                          <a:pt x="6" y="147"/>
                          <a:pt x="29" y="269"/>
                          <a:pt x="69" y="384"/>
                        </a:cubicBezTo>
                        <a:cubicBezTo>
                          <a:pt x="803" y="384"/>
                          <a:pt x="803" y="384"/>
                          <a:pt x="803" y="384"/>
                        </a:cubicBezTo>
                        <a:cubicBezTo>
                          <a:pt x="824" y="384"/>
                          <a:pt x="841" y="367"/>
                          <a:pt x="841" y="34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98" name="Freeform 16">
                    <a:extLst>
                      <a:ext uri="{FF2B5EF4-FFF2-40B4-BE49-F238E27FC236}">
                        <a16:creationId xmlns:a16="http://schemas.microsoft.com/office/drawing/2014/main" xmlns="" id="{FC32E6C1-7860-4172-BBC8-F4EFFFD59AC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77" y="1665"/>
                    <a:ext cx="1055" cy="480"/>
                  </a:xfrm>
                  <a:custGeom>
                    <a:avLst/>
                    <a:gdLst>
                      <a:gd name="T0" fmla="*/ 845 w 845"/>
                      <a:gd name="T1" fmla="*/ 346 h 384"/>
                      <a:gd name="T2" fmla="*/ 845 w 845"/>
                      <a:gd name="T3" fmla="*/ 38 h 384"/>
                      <a:gd name="T4" fmla="*/ 807 w 845"/>
                      <a:gd name="T5" fmla="*/ 0 h 384"/>
                      <a:gd name="T6" fmla="*/ 38 w 845"/>
                      <a:gd name="T7" fmla="*/ 0 h 384"/>
                      <a:gd name="T8" fmla="*/ 0 w 845"/>
                      <a:gd name="T9" fmla="*/ 38 h 384"/>
                      <a:gd name="T10" fmla="*/ 0 w 845"/>
                      <a:gd name="T11" fmla="*/ 346 h 384"/>
                      <a:gd name="T12" fmla="*/ 38 w 845"/>
                      <a:gd name="T13" fmla="*/ 384 h 384"/>
                      <a:gd name="T14" fmla="*/ 807 w 845"/>
                      <a:gd name="T15" fmla="*/ 384 h 384"/>
                      <a:gd name="T16" fmla="*/ 845 w 845"/>
                      <a:gd name="T17" fmla="*/ 346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845" y="346"/>
                        </a:move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499" name="Freeform 17">
                    <a:extLst>
                      <a:ext uri="{FF2B5EF4-FFF2-40B4-BE49-F238E27FC236}">
                        <a16:creationId xmlns:a16="http://schemas.microsoft.com/office/drawing/2014/main" xmlns="" id="{BE6CD4F3-CE9B-4A13-9BC9-AE36DA8E309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97" y="1665"/>
                    <a:ext cx="1001" cy="480"/>
                  </a:xfrm>
                  <a:custGeom>
                    <a:avLst/>
                    <a:gdLst>
                      <a:gd name="T0" fmla="*/ 801 w 801"/>
                      <a:gd name="T1" fmla="*/ 0 h 384"/>
                      <a:gd name="T2" fmla="*/ 38 w 801"/>
                      <a:gd name="T3" fmla="*/ 0 h 384"/>
                      <a:gd name="T4" fmla="*/ 0 w 801"/>
                      <a:gd name="T5" fmla="*/ 38 h 384"/>
                      <a:gd name="T6" fmla="*/ 0 w 801"/>
                      <a:gd name="T7" fmla="*/ 346 h 384"/>
                      <a:gd name="T8" fmla="*/ 38 w 801"/>
                      <a:gd name="T9" fmla="*/ 384 h 384"/>
                      <a:gd name="T10" fmla="*/ 732 w 801"/>
                      <a:gd name="T11" fmla="*/ 384 h 384"/>
                      <a:gd name="T12" fmla="*/ 801 w 801"/>
                      <a:gd name="T13" fmla="*/ 0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1" h="384">
                        <a:moveTo>
                          <a:pt x="801" y="0"/>
                        </a:move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732" y="384"/>
                          <a:pt x="732" y="384"/>
                          <a:pt x="732" y="384"/>
                        </a:cubicBezTo>
                        <a:cubicBezTo>
                          <a:pt x="774" y="263"/>
                          <a:pt x="798" y="134"/>
                          <a:pt x="801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00" name="Freeform 18">
                    <a:extLst>
                      <a:ext uri="{FF2B5EF4-FFF2-40B4-BE49-F238E27FC236}">
                        <a16:creationId xmlns:a16="http://schemas.microsoft.com/office/drawing/2014/main" xmlns="" id="{7CD73A6B-D08D-48D1-87CD-E95E529DAB7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76" y="2220"/>
                    <a:ext cx="392" cy="480"/>
                  </a:xfrm>
                  <a:custGeom>
                    <a:avLst/>
                    <a:gdLst>
                      <a:gd name="T0" fmla="*/ 314 w 314"/>
                      <a:gd name="T1" fmla="*/ 346 h 384"/>
                      <a:gd name="T2" fmla="*/ 314 w 314"/>
                      <a:gd name="T3" fmla="*/ 38 h 384"/>
                      <a:gd name="T4" fmla="*/ 276 w 314"/>
                      <a:gd name="T5" fmla="*/ 0 h 384"/>
                      <a:gd name="T6" fmla="*/ 0 w 314"/>
                      <a:gd name="T7" fmla="*/ 0 h 384"/>
                      <a:gd name="T8" fmla="*/ 238 w 314"/>
                      <a:gd name="T9" fmla="*/ 384 h 384"/>
                      <a:gd name="T10" fmla="*/ 276 w 314"/>
                      <a:gd name="T11" fmla="*/ 384 h 384"/>
                      <a:gd name="T12" fmla="*/ 314 w 314"/>
                      <a:gd name="T13" fmla="*/ 346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14" h="384">
                        <a:moveTo>
                          <a:pt x="314" y="346"/>
                        </a:moveTo>
                        <a:cubicBezTo>
                          <a:pt x="314" y="38"/>
                          <a:pt x="314" y="38"/>
                          <a:pt x="314" y="38"/>
                        </a:cubicBezTo>
                        <a:cubicBezTo>
                          <a:pt x="314" y="17"/>
                          <a:pt x="297" y="0"/>
                          <a:pt x="276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56" y="142"/>
                          <a:pt x="138" y="272"/>
                          <a:pt x="238" y="384"/>
                        </a:cubicBezTo>
                        <a:cubicBezTo>
                          <a:pt x="276" y="384"/>
                          <a:pt x="276" y="384"/>
                          <a:pt x="276" y="384"/>
                        </a:cubicBezTo>
                        <a:cubicBezTo>
                          <a:pt x="297" y="384"/>
                          <a:pt x="314" y="367"/>
                          <a:pt x="314" y="34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01" name="Freeform 19">
                    <a:extLst>
                      <a:ext uri="{FF2B5EF4-FFF2-40B4-BE49-F238E27FC236}">
                        <a16:creationId xmlns:a16="http://schemas.microsoft.com/office/drawing/2014/main" xmlns="" id="{74265E48-88DA-475A-8CFB-617B781C8AA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833" y="2220"/>
                    <a:ext cx="1056" cy="480"/>
                  </a:xfrm>
                  <a:custGeom>
                    <a:avLst/>
                    <a:gdLst>
                      <a:gd name="T0" fmla="*/ 38 w 845"/>
                      <a:gd name="T1" fmla="*/ 384 h 384"/>
                      <a:gd name="T2" fmla="*/ 807 w 845"/>
                      <a:gd name="T3" fmla="*/ 384 h 384"/>
                      <a:gd name="T4" fmla="*/ 845 w 845"/>
                      <a:gd name="T5" fmla="*/ 346 h 384"/>
                      <a:gd name="T6" fmla="*/ 845 w 845"/>
                      <a:gd name="T7" fmla="*/ 38 h 384"/>
                      <a:gd name="T8" fmla="*/ 807 w 845"/>
                      <a:gd name="T9" fmla="*/ 0 h 384"/>
                      <a:gd name="T10" fmla="*/ 38 w 845"/>
                      <a:gd name="T11" fmla="*/ 0 h 384"/>
                      <a:gd name="T12" fmla="*/ 0 w 845"/>
                      <a:gd name="T13" fmla="*/ 38 h 384"/>
                      <a:gd name="T14" fmla="*/ 0 w 845"/>
                      <a:gd name="T15" fmla="*/ 346 h 384"/>
                      <a:gd name="T16" fmla="*/ 38 w 845"/>
                      <a:gd name="T17" fmla="*/ 384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38" y="384"/>
                        </a:move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02" name="Freeform 20">
                    <a:extLst>
                      <a:ext uri="{FF2B5EF4-FFF2-40B4-BE49-F238E27FC236}">
                        <a16:creationId xmlns:a16="http://schemas.microsoft.com/office/drawing/2014/main" xmlns="" id="{93E0668A-9ABE-4248-888E-B569FF68ACB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52" y="2220"/>
                    <a:ext cx="1056" cy="480"/>
                  </a:xfrm>
                  <a:custGeom>
                    <a:avLst/>
                    <a:gdLst>
                      <a:gd name="T0" fmla="*/ 38 w 845"/>
                      <a:gd name="T1" fmla="*/ 384 h 384"/>
                      <a:gd name="T2" fmla="*/ 807 w 845"/>
                      <a:gd name="T3" fmla="*/ 384 h 384"/>
                      <a:gd name="T4" fmla="*/ 845 w 845"/>
                      <a:gd name="T5" fmla="*/ 346 h 384"/>
                      <a:gd name="T6" fmla="*/ 845 w 845"/>
                      <a:gd name="T7" fmla="*/ 38 h 384"/>
                      <a:gd name="T8" fmla="*/ 807 w 845"/>
                      <a:gd name="T9" fmla="*/ 0 h 384"/>
                      <a:gd name="T10" fmla="*/ 38 w 845"/>
                      <a:gd name="T11" fmla="*/ 0 h 384"/>
                      <a:gd name="T12" fmla="*/ 0 w 845"/>
                      <a:gd name="T13" fmla="*/ 38 h 384"/>
                      <a:gd name="T14" fmla="*/ 0 w 845"/>
                      <a:gd name="T15" fmla="*/ 346 h 384"/>
                      <a:gd name="T16" fmla="*/ 38 w 845"/>
                      <a:gd name="T17" fmla="*/ 384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38" y="384"/>
                        </a:move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03" name="Freeform 21">
                    <a:extLst>
                      <a:ext uri="{FF2B5EF4-FFF2-40B4-BE49-F238E27FC236}">
                        <a16:creationId xmlns:a16="http://schemas.microsoft.com/office/drawing/2014/main" xmlns="" id="{39ACC2C5-3481-4431-A222-F4CCD5B7B1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73" y="2220"/>
                    <a:ext cx="311" cy="473"/>
                  </a:xfrm>
                  <a:custGeom>
                    <a:avLst/>
                    <a:gdLst>
                      <a:gd name="T0" fmla="*/ 38 w 249"/>
                      <a:gd name="T1" fmla="*/ 0 h 378"/>
                      <a:gd name="T2" fmla="*/ 0 w 249"/>
                      <a:gd name="T3" fmla="*/ 38 h 378"/>
                      <a:gd name="T4" fmla="*/ 0 w 249"/>
                      <a:gd name="T5" fmla="*/ 346 h 378"/>
                      <a:gd name="T6" fmla="*/ 17 w 249"/>
                      <a:gd name="T7" fmla="*/ 378 h 378"/>
                      <a:gd name="T8" fmla="*/ 249 w 249"/>
                      <a:gd name="T9" fmla="*/ 0 h 378"/>
                      <a:gd name="T10" fmla="*/ 38 w 249"/>
                      <a:gd name="T11" fmla="*/ 0 h 37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49" h="378">
                        <a:moveTo>
                          <a:pt x="38" y="0"/>
                        </a:move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59"/>
                          <a:pt x="6" y="371"/>
                          <a:pt x="17" y="378"/>
                        </a:cubicBezTo>
                        <a:cubicBezTo>
                          <a:pt x="114" y="267"/>
                          <a:pt x="194" y="139"/>
                          <a:pt x="249" y="0"/>
                        </a:cubicBezTo>
                        <a:lnTo>
                          <a:pt x="3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04" name="Freeform 22">
                    <a:extLst>
                      <a:ext uri="{FF2B5EF4-FFF2-40B4-BE49-F238E27FC236}">
                        <a16:creationId xmlns:a16="http://schemas.microsoft.com/office/drawing/2014/main" xmlns="" id="{16C3C9B9-1C3C-4EFF-B2E3-8DB36EF0CA2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44" y="2775"/>
                    <a:ext cx="569" cy="363"/>
                  </a:xfrm>
                  <a:custGeom>
                    <a:avLst/>
                    <a:gdLst>
                      <a:gd name="T0" fmla="*/ 455 w 455"/>
                      <a:gd name="T1" fmla="*/ 38 h 290"/>
                      <a:gd name="T2" fmla="*/ 417 w 455"/>
                      <a:gd name="T3" fmla="*/ 0 h 290"/>
                      <a:gd name="T4" fmla="*/ 0 w 455"/>
                      <a:gd name="T5" fmla="*/ 0 h 290"/>
                      <a:gd name="T6" fmla="*/ 455 w 455"/>
                      <a:gd name="T7" fmla="*/ 290 h 290"/>
                      <a:gd name="T8" fmla="*/ 455 w 455"/>
                      <a:gd name="T9" fmla="*/ 38 h 2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5" h="290">
                        <a:moveTo>
                          <a:pt x="455" y="38"/>
                        </a:moveTo>
                        <a:cubicBezTo>
                          <a:pt x="455" y="17"/>
                          <a:pt x="438" y="0"/>
                          <a:pt x="4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28" y="126"/>
                          <a:pt x="283" y="226"/>
                          <a:pt x="455" y="290"/>
                        </a:cubicBezTo>
                        <a:lnTo>
                          <a:pt x="455" y="3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05" name="Freeform 23">
                    <a:extLst>
                      <a:ext uri="{FF2B5EF4-FFF2-40B4-BE49-F238E27FC236}">
                        <a16:creationId xmlns:a16="http://schemas.microsoft.com/office/drawing/2014/main" xmlns="" id="{1F7000D4-4BB5-4A00-9DE5-7E2DF5AC2E7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77" y="2775"/>
                    <a:ext cx="1055" cy="465"/>
                  </a:xfrm>
                  <a:custGeom>
                    <a:avLst/>
                    <a:gdLst>
                      <a:gd name="T0" fmla="*/ 845 w 845"/>
                      <a:gd name="T1" fmla="*/ 294 h 372"/>
                      <a:gd name="T2" fmla="*/ 845 w 845"/>
                      <a:gd name="T3" fmla="*/ 38 h 372"/>
                      <a:gd name="T4" fmla="*/ 807 w 845"/>
                      <a:gd name="T5" fmla="*/ 0 h 372"/>
                      <a:gd name="T6" fmla="*/ 38 w 845"/>
                      <a:gd name="T7" fmla="*/ 0 h 372"/>
                      <a:gd name="T8" fmla="*/ 0 w 845"/>
                      <a:gd name="T9" fmla="*/ 38 h 372"/>
                      <a:gd name="T10" fmla="*/ 0 w 845"/>
                      <a:gd name="T11" fmla="*/ 308 h 372"/>
                      <a:gd name="T12" fmla="*/ 403 w 845"/>
                      <a:gd name="T13" fmla="*/ 372 h 372"/>
                      <a:gd name="T14" fmla="*/ 845 w 845"/>
                      <a:gd name="T15" fmla="*/ 294 h 3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45" h="372">
                        <a:moveTo>
                          <a:pt x="845" y="294"/>
                        </a:move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08"/>
                          <a:pt x="0" y="308"/>
                          <a:pt x="0" y="308"/>
                        </a:cubicBezTo>
                        <a:cubicBezTo>
                          <a:pt x="127" y="349"/>
                          <a:pt x="262" y="372"/>
                          <a:pt x="403" y="372"/>
                        </a:cubicBezTo>
                        <a:cubicBezTo>
                          <a:pt x="558" y="372"/>
                          <a:pt x="707" y="345"/>
                          <a:pt x="845" y="29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  <p:sp>
                <p:nvSpPr>
                  <p:cNvPr id="1506" name="Freeform 24">
                    <a:extLst>
                      <a:ext uri="{FF2B5EF4-FFF2-40B4-BE49-F238E27FC236}">
                        <a16:creationId xmlns:a16="http://schemas.microsoft.com/office/drawing/2014/main" xmlns="" id="{2F607021-E717-44E5-B478-47D90A8D803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97" y="2775"/>
                    <a:ext cx="519" cy="344"/>
                  </a:xfrm>
                  <a:custGeom>
                    <a:avLst/>
                    <a:gdLst>
                      <a:gd name="T0" fmla="*/ 38 w 415"/>
                      <a:gd name="T1" fmla="*/ 0 h 275"/>
                      <a:gd name="T2" fmla="*/ 0 w 415"/>
                      <a:gd name="T3" fmla="*/ 38 h 275"/>
                      <a:gd name="T4" fmla="*/ 0 w 415"/>
                      <a:gd name="T5" fmla="*/ 275 h 275"/>
                      <a:gd name="T6" fmla="*/ 415 w 415"/>
                      <a:gd name="T7" fmla="*/ 0 h 275"/>
                      <a:gd name="T8" fmla="*/ 38 w 415"/>
                      <a:gd name="T9" fmla="*/ 0 h 2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15" h="275">
                        <a:moveTo>
                          <a:pt x="38" y="0"/>
                        </a:move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275"/>
                          <a:pt x="0" y="275"/>
                          <a:pt x="0" y="275"/>
                        </a:cubicBezTo>
                        <a:cubicBezTo>
                          <a:pt x="156" y="210"/>
                          <a:pt x="297" y="116"/>
                          <a:pt x="415" y="0"/>
                        </a:cubicBezTo>
                        <a:lnTo>
                          <a:pt x="3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iscoSans ExtraLight" charset="0"/>
                      <a:ea typeface="CiscoSans ExtraLight" charset="0"/>
                      <a:cs typeface="CiscoSans ExtraLight" charset="0"/>
                    </a:endParaRPr>
                  </a:p>
                </p:txBody>
              </p:sp>
            </p:grpSp>
          </p:grpSp>
          <p:sp>
            <p:nvSpPr>
              <p:cNvPr id="1331" name="Rectangle: Rounded Corners 1330">
                <a:extLst>
                  <a:ext uri="{FF2B5EF4-FFF2-40B4-BE49-F238E27FC236}">
                    <a16:creationId xmlns:a16="http://schemas.microsoft.com/office/drawing/2014/main" xmlns="" id="{B192423F-8108-4DB3-B4AA-1B2AC61B0188}"/>
                  </a:ext>
                </a:extLst>
              </p:cNvPr>
              <p:cNvSpPr/>
              <p:nvPr/>
            </p:nvSpPr>
            <p:spPr>
              <a:xfrm>
                <a:off x="14718608" y="2044203"/>
                <a:ext cx="708253" cy="527547"/>
              </a:xfrm>
              <a:prstGeom prst="roundRect">
                <a:avLst>
                  <a:gd name="adj" fmla="val 14134"/>
                </a:avLst>
              </a:prstGeom>
              <a:noFill/>
              <a:ln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32" name="Rectangle: Rounded Corners 1331">
                <a:extLst>
                  <a:ext uri="{FF2B5EF4-FFF2-40B4-BE49-F238E27FC236}">
                    <a16:creationId xmlns:a16="http://schemas.microsoft.com/office/drawing/2014/main" xmlns="" id="{A6DE1689-0A58-4B29-A769-97121BFD86EF}"/>
                  </a:ext>
                </a:extLst>
              </p:cNvPr>
              <p:cNvSpPr/>
              <p:nvPr/>
            </p:nvSpPr>
            <p:spPr>
              <a:xfrm>
                <a:off x="14718608" y="2790238"/>
                <a:ext cx="708253" cy="527547"/>
              </a:xfrm>
              <a:prstGeom prst="roundRect">
                <a:avLst>
                  <a:gd name="adj" fmla="val 14134"/>
                </a:avLst>
              </a:prstGeom>
              <a:noFill/>
              <a:ln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33" name="Rectangle: Rounded Corners 1332">
                <a:extLst>
                  <a:ext uri="{FF2B5EF4-FFF2-40B4-BE49-F238E27FC236}">
                    <a16:creationId xmlns:a16="http://schemas.microsoft.com/office/drawing/2014/main" xmlns="" id="{36C0B4FB-71E7-4551-AE9A-718E2A16BBF6}"/>
                  </a:ext>
                </a:extLst>
              </p:cNvPr>
              <p:cNvSpPr/>
              <p:nvPr/>
            </p:nvSpPr>
            <p:spPr>
              <a:xfrm>
                <a:off x="14423501" y="2914850"/>
                <a:ext cx="293138" cy="303808"/>
              </a:xfrm>
              <a:prstGeom prst="roundRect">
                <a:avLst>
                  <a:gd name="adj" fmla="val 14134"/>
                </a:avLst>
              </a:prstGeom>
              <a:noFill/>
              <a:ln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34" name="Rectangle: Rounded Corners 1333">
                <a:extLst>
                  <a:ext uri="{FF2B5EF4-FFF2-40B4-BE49-F238E27FC236}">
                    <a16:creationId xmlns:a16="http://schemas.microsoft.com/office/drawing/2014/main" xmlns="" id="{2F7F704C-8992-4142-A6E4-03DCA4D8E43B}"/>
                  </a:ext>
                </a:extLst>
              </p:cNvPr>
              <p:cNvSpPr/>
              <p:nvPr/>
            </p:nvSpPr>
            <p:spPr>
              <a:xfrm>
                <a:off x="14423501" y="2169141"/>
                <a:ext cx="293138" cy="303808"/>
              </a:xfrm>
              <a:prstGeom prst="roundRect">
                <a:avLst>
                  <a:gd name="adj" fmla="val 14134"/>
                </a:avLst>
              </a:prstGeom>
              <a:noFill/>
              <a:ln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cxnSp>
            <p:nvCxnSpPr>
              <p:cNvPr id="1335" name="Straight Connector 1334">
                <a:extLst>
                  <a:ext uri="{FF2B5EF4-FFF2-40B4-BE49-F238E27FC236}">
                    <a16:creationId xmlns:a16="http://schemas.microsoft.com/office/drawing/2014/main" xmlns="" id="{7ADA55DD-B131-42D2-9B44-BAA9A6B90DCC}"/>
                  </a:ext>
                </a:extLst>
              </p:cNvPr>
              <p:cNvCxnSpPr>
                <a:stCxn id="1331" idx="2"/>
                <a:endCxn id="1332" idx="0"/>
              </p:cNvCxnSpPr>
              <p:nvPr/>
            </p:nvCxnSpPr>
            <p:spPr>
              <a:xfrm>
                <a:off x="15072735" y="2571750"/>
                <a:ext cx="0" cy="218488"/>
              </a:xfrm>
              <a:prstGeom prst="line">
                <a:avLst/>
              </a:prstGeom>
              <a:noFill/>
              <a:ln cap="rnd">
                <a:solidFill>
                  <a:schemeClr val="accent5"/>
                </a:solidFill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336" name="TextBox 1335">
                <a:extLst>
                  <a:ext uri="{FF2B5EF4-FFF2-40B4-BE49-F238E27FC236}">
                    <a16:creationId xmlns:a16="http://schemas.microsoft.com/office/drawing/2014/main" xmlns="" id="{2198837D-D385-4726-829D-3251A62F7076}"/>
                  </a:ext>
                </a:extLst>
              </p:cNvPr>
              <p:cNvSpPr txBox="1"/>
              <p:nvPr/>
            </p:nvSpPr>
            <p:spPr>
              <a:xfrm>
                <a:off x="13792568" y="2425448"/>
                <a:ext cx="526416" cy="519728"/>
              </a:xfrm>
              <a:prstGeom prst="ellipse">
                <a:avLst/>
              </a:prstGeom>
              <a:noFill/>
              <a:ln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algn="ctr"/>
              </a:lstStyle>
              <a:p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37" name="Oval 1336">
                <a:extLst>
                  <a:ext uri="{FF2B5EF4-FFF2-40B4-BE49-F238E27FC236}">
                    <a16:creationId xmlns:a16="http://schemas.microsoft.com/office/drawing/2014/main" xmlns="" id="{7BEA92DE-3A03-4F2D-8DA1-5F3345D0154E}"/>
                  </a:ext>
                </a:extLst>
              </p:cNvPr>
              <p:cNvSpPr/>
              <p:nvPr/>
            </p:nvSpPr>
            <p:spPr>
              <a:xfrm>
                <a:off x="13797042" y="2427829"/>
                <a:ext cx="517468" cy="517468"/>
              </a:xfrm>
              <a:prstGeom prst="ellipse">
                <a:avLst/>
              </a:prstGeom>
              <a:noFill/>
              <a:ln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grpSp>
            <p:nvGrpSpPr>
              <p:cNvPr id="1338" name="Group 1337">
                <a:extLst>
                  <a:ext uri="{FF2B5EF4-FFF2-40B4-BE49-F238E27FC236}">
                    <a16:creationId xmlns:a16="http://schemas.microsoft.com/office/drawing/2014/main" xmlns="" id="{35006E9A-108E-4FBE-AFD7-E264E573A770}"/>
                  </a:ext>
                </a:extLst>
              </p:cNvPr>
              <p:cNvGrpSpPr/>
              <p:nvPr/>
            </p:nvGrpSpPr>
            <p:grpSpPr>
              <a:xfrm>
                <a:off x="14491445" y="1912187"/>
                <a:ext cx="666253" cy="1036712"/>
                <a:chOff x="5555760" y="1912187"/>
                <a:chExt cx="666253" cy="1036712"/>
              </a:xfrm>
            </p:grpSpPr>
            <p:pic>
              <p:nvPicPr>
                <p:cNvPr id="1348" name="Picture 1347">
                  <a:extLst>
                    <a:ext uri="{FF2B5EF4-FFF2-40B4-BE49-F238E27FC236}">
                      <a16:creationId xmlns:a16="http://schemas.microsoft.com/office/drawing/2014/main" xmlns="" id="{BDBB7A1E-E647-431F-A76C-F51DF722DC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555760" y="2040179"/>
                  <a:ext cx="157900" cy="155766"/>
                </a:xfrm>
                <a:prstGeom prst="rect">
                  <a:avLst/>
                </a:prstGeom>
              </p:spPr>
            </p:pic>
            <p:pic>
              <p:nvPicPr>
                <p:cNvPr id="1349" name="Picture 1348">
                  <a:extLst>
                    <a:ext uri="{FF2B5EF4-FFF2-40B4-BE49-F238E27FC236}">
                      <a16:creationId xmlns:a16="http://schemas.microsoft.com/office/drawing/2014/main" xmlns="" id="{80C0A5B6-FD85-4F1B-8EF0-E79F86DD3A9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6063827" y="1912187"/>
                  <a:ext cx="157900" cy="157900"/>
                </a:xfrm>
                <a:prstGeom prst="rect">
                  <a:avLst/>
                </a:prstGeom>
              </p:spPr>
            </p:pic>
            <p:pic>
              <p:nvPicPr>
                <p:cNvPr id="1350" name="Picture 1349">
                  <a:extLst>
                    <a:ext uri="{FF2B5EF4-FFF2-40B4-BE49-F238E27FC236}">
                      <a16:creationId xmlns:a16="http://schemas.microsoft.com/office/drawing/2014/main" xmlns="" id="{F728F7B0-9E98-4FB6-8FBA-A83C1D6CFC2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558141" y="2793133"/>
                  <a:ext cx="157900" cy="155766"/>
                </a:xfrm>
                <a:prstGeom prst="rect">
                  <a:avLst/>
                </a:prstGeom>
              </p:spPr>
            </p:pic>
            <p:pic>
              <p:nvPicPr>
                <p:cNvPr id="1351" name="Picture 1350">
                  <a:extLst>
                    <a:ext uri="{FF2B5EF4-FFF2-40B4-BE49-F238E27FC236}">
                      <a16:creationId xmlns:a16="http://schemas.microsoft.com/office/drawing/2014/main" xmlns="" id="{1F13831E-A0A2-4663-AF79-0A38CAE824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6064113" y="2655490"/>
                  <a:ext cx="157900" cy="157900"/>
                </a:xfrm>
                <a:prstGeom prst="rect">
                  <a:avLst/>
                </a:prstGeom>
              </p:spPr>
            </p:pic>
          </p:grpSp>
          <p:grpSp>
            <p:nvGrpSpPr>
              <p:cNvPr id="1339" name="Group 1338">
                <a:extLst>
                  <a:ext uri="{FF2B5EF4-FFF2-40B4-BE49-F238E27FC236}">
                    <a16:creationId xmlns:a16="http://schemas.microsoft.com/office/drawing/2014/main" xmlns="" id="{CE557D6C-36E3-47AE-B82E-882DA678FE26}"/>
                  </a:ext>
                </a:extLst>
              </p:cNvPr>
              <p:cNvGrpSpPr/>
              <p:nvPr/>
            </p:nvGrpSpPr>
            <p:grpSpPr>
              <a:xfrm>
                <a:off x="13779976" y="1560778"/>
                <a:ext cx="891121" cy="465927"/>
                <a:chOff x="3359218" y="303257"/>
                <a:chExt cx="891121" cy="465927"/>
              </a:xfrm>
            </p:grpSpPr>
            <p:sp>
              <p:nvSpPr>
                <p:cNvPr id="1346" name="Isosceles Triangle 1345">
                  <a:extLst>
                    <a:ext uri="{FF2B5EF4-FFF2-40B4-BE49-F238E27FC236}">
                      <a16:creationId xmlns:a16="http://schemas.microsoft.com/office/drawing/2014/main" xmlns="" id="{125588EE-6A0C-46CB-9931-998998561653}"/>
                    </a:ext>
                  </a:extLst>
                </p:cNvPr>
                <p:cNvSpPr/>
                <p:nvPr/>
              </p:nvSpPr>
              <p:spPr>
                <a:xfrm flipV="1">
                  <a:off x="3995204" y="600121"/>
                  <a:ext cx="196113" cy="169063"/>
                </a:xfrm>
                <a:prstGeom prst="triangle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347" name="Rectangle: Rounded Corners 1346">
                  <a:extLst>
                    <a:ext uri="{FF2B5EF4-FFF2-40B4-BE49-F238E27FC236}">
                      <a16:creationId xmlns:a16="http://schemas.microsoft.com/office/drawing/2014/main" xmlns="" id="{A80EE7C1-17B8-4517-8D4F-3AD4420CAC56}"/>
                    </a:ext>
                  </a:extLst>
                </p:cNvPr>
                <p:cNvSpPr/>
                <p:nvPr/>
              </p:nvSpPr>
              <p:spPr>
                <a:xfrm>
                  <a:off x="3359218" y="303257"/>
                  <a:ext cx="891121" cy="379815"/>
                </a:xfrm>
                <a:prstGeom prst="roundRect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100" dirty="0" smtClean="0">
                      <a:solidFill>
                        <a:schemeClr val="bg2"/>
                      </a:solidFill>
                      <a:latin typeface="CiscoSans ExtraLight" charset="0"/>
                      <a:ea typeface="CiscoSans ExtraLight" charset="0"/>
                      <a:cs typeface="CiscoSans ExtraLight" charset="0"/>
                    </a:rPr>
                    <a:t>East-West</a:t>
                  </a:r>
                  <a:endParaRPr lang="en-US" sz="1100" dirty="0">
                    <a:solidFill>
                      <a:schemeClr val="bg2"/>
                    </a:solidFill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  <p:grpSp>
            <p:nvGrpSpPr>
              <p:cNvPr id="1340" name="Group 1339">
                <a:extLst>
                  <a:ext uri="{FF2B5EF4-FFF2-40B4-BE49-F238E27FC236}">
                    <a16:creationId xmlns:a16="http://schemas.microsoft.com/office/drawing/2014/main" xmlns="" id="{B22337A1-1D76-4A36-BC29-1F5D54FEACCB}"/>
                  </a:ext>
                </a:extLst>
              </p:cNvPr>
              <p:cNvGrpSpPr/>
              <p:nvPr/>
            </p:nvGrpSpPr>
            <p:grpSpPr>
              <a:xfrm flipH="1">
                <a:off x="15235847" y="1743106"/>
                <a:ext cx="988102" cy="379815"/>
                <a:chOff x="3719147" y="303257"/>
                <a:chExt cx="604759" cy="379815"/>
              </a:xfrm>
              <a:solidFill>
                <a:schemeClr val="accent5"/>
              </a:solidFill>
            </p:grpSpPr>
            <p:sp>
              <p:nvSpPr>
                <p:cNvPr id="1344" name="Isosceles Triangle 1343">
                  <a:extLst>
                    <a:ext uri="{FF2B5EF4-FFF2-40B4-BE49-F238E27FC236}">
                      <a16:creationId xmlns:a16="http://schemas.microsoft.com/office/drawing/2014/main" xmlns="" id="{AA2BB6DB-23A4-4A6C-9503-960192010E85}"/>
                    </a:ext>
                  </a:extLst>
                </p:cNvPr>
                <p:cNvSpPr/>
                <p:nvPr/>
              </p:nvSpPr>
              <p:spPr>
                <a:xfrm rot="16200000" flipV="1">
                  <a:off x="4151235" y="445280"/>
                  <a:ext cx="212595" cy="132747"/>
                </a:xfrm>
                <a:prstGeom prst="triangle">
                  <a:avLst/>
                </a:pr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345" name="Rectangle: Rounded Corners 1344">
                  <a:extLst>
                    <a:ext uri="{FF2B5EF4-FFF2-40B4-BE49-F238E27FC236}">
                      <a16:creationId xmlns:a16="http://schemas.microsoft.com/office/drawing/2014/main" xmlns="" id="{E189E600-C189-4469-8051-038727A59774}"/>
                    </a:ext>
                  </a:extLst>
                </p:cNvPr>
                <p:cNvSpPr/>
                <p:nvPr/>
              </p:nvSpPr>
              <p:spPr>
                <a:xfrm>
                  <a:off x="3719147" y="303257"/>
                  <a:ext cx="531191" cy="379815"/>
                </a:xfrm>
                <a:prstGeom prst="round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050" dirty="0" smtClean="0">
                      <a:solidFill>
                        <a:schemeClr val="bg2"/>
                      </a:solidFill>
                      <a:latin typeface="CiscoSans ExtraLight" charset="0"/>
                      <a:ea typeface="CiscoSans ExtraLight" charset="0"/>
                      <a:cs typeface="CiscoSans ExtraLight" charset="0"/>
                    </a:rPr>
                    <a:t>Process to Process</a:t>
                  </a:r>
                  <a:endParaRPr lang="en-US" sz="1050" dirty="0">
                    <a:solidFill>
                      <a:schemeClr val="bg2"/>
                    </a:solidFill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  <p:grpSp>
            <p:nvGrpSpPr>
              <p:cNvPr id="1341" name="Group 1340">
                <a:extLst>
                  <a:ext uri="{FF2B5EF4-FFF2-40B4-BE49-F238E27FC236}">
                    <a16:creationId xmlns:a16="http://schemas.microsoft.com/office/drawing/2014/main" xmlns="" id="{0CC02CD7-2F1C-43D0-82D1-1D26F684DE72}"/>
                  </a:ext>
                </a:extLst>
              </p:cNvPr>
              <p:cNvGrpSpPr/>
              <p:nvPr/>
            </p:nvGrpSpPr>
            <p:grpSpPr>
              <a:xfrm>
                <a:off x="13127003" y="2974615"/>
                <a:ext cx="1038940" cy="547377"/>
                <a:chOff x="3211398" y="200071"/>
                <a:chExt cx="1038940" cy="547377"/>
              </a:xfrm>
            </p:grpSpPr>
            <p:sp>
              <p:nvSpPr>
                <p:cNvPr id="1342" name="Isosceles Triangle 1341">
                  <a:extLst>
                    <a:ext uri="{FF2B5EF4-FFF2-40B4-BE49-F238E27FC236}">
                      <a16:creationId xmlns:a16="http://schemas.microsoft.com/office/drawing/2014/main" xmlns="" id="{020EB0BB-F141-43C6-8B6A-D37E5D8680C9}"/>
                    </a:ext>
                  </a:extLst>
                </p:cNvPr>
                <p:cNvSpPr/>
                <p:nvPr/>
              </p:nvSpPr>
              <p:spPr>
                <a:xfrm>
                  <a:off x="3995204" y="200071"/>
                  <a:ext cx="196113" cy="169063"/>
                </a:xfrm>
                <a:prstGeom prst="triangle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343" name="Rectangle: Rounded Corners 1342">
                  <a:extLst>
                    <a:ext uri="{FF2B5EF4-FFF2-40B4-BE49-F238E27FC236}">
                      <a16:creationId xmlns:a16="http://schemas.microsoft.com/office/drawing/2014/main" xmlns="" id="{BBE348E3-5AC2-489E-A04E-832152B7FE7F}"/>
                    </a:ext>
                  </a:extLst>
                </p:cNvPr>
                <p:cNvSpPr/>
                <p:nvPr/>
              </p:nvSpPr>
              <p:spPr>
                <a:xfrm>
                  <a:off x="3211398" y="303257"/>
                  <a:ext cx="1038940" cy="444191"/>
                </a:xfrm>
                <a:prstGeom prst="round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100" dirty="0" smtClean="0">
                      <a:solidFill>
                        <a:schemeClr val="bg2"/>
                      </a:solidFill>
                      <a:latin typeface="CiscoSans ExtraLight" charset="0"/>
                      <a:ea typeface="CiscoSans ExtraLight" charset="0"/>
                      <a:cs typeface="CiscoSans ExtraLight" charset="0"/>
                    </a:rPr>
                    <a:t>North-South</a:t>
                  </a:r>
                </a:p>
                <a:p>
                  <a:pPr algn="ctr"/>
                  <a:r>
                    <a:rPr lang="en-US" sz="1100" dirty="0" smtClean="0">
                      <a:solidFill>
                        <a:schemeClr val="bg2"/>
                      </a:solidFill>
                      <a:latin typeface="CiscoSans ExtraLight" charset="0"/>
                      <a:ea typeface="CiscoSans ExtraLight" charset="0"/>
                      <a:cs typeface="CiscoSans ExtraLight" charset="0"/>
                    </a:rPr>
                    <a:t>Perimeter</a:t>
                  </a:r>
                  <a:endParaRPr lang="en-US" sz="1100" dirty="0">
                    <a:solidFill>
                      <a:schemeClr val="bg2"/>
                    </a:solidFill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941A42D-75B0-47CC-BB9B-14DCA7FBC5D0}"/>
              </a:ext>
            </a:extLst>
          </p:cNvPr>
          <p:cNvSpPr/>
          <p:nvPr/>
        </p:nvSpPr>
        <p:spPr>
          <a:xfrm>
            <a:off x="0" y="0"/>
            <a:ext cx="3048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CF3393CF-03E8-4CF0-A5FC-11D4DD9F6333}"/>
              </a:ext>
            </a:extLst>
          </p:cNvPr>
          <p:cNvSpPr txBox="1"/>
          <p:nvPr/>
        </p:nvSpPr>
        <p:spPr>
          <a:xfrm>
            <a:off x="386201" y="1341444"/>
            <a:ext cx="2709423" cy="114492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685783">
              <a:lnSpc>
                <a:spcPct val="90000"/>
              </a:lnSpc>
              <a:spcBef>
                <a:spcPts val="600"/>
              </a:spcBef>
            </a:pPr>
            <a:r>
              <a:rPr lang="en-US" sz="2800" dirty="0">
                <a:solidFill>
                  <a:schemeClr val="bg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Segmentation: </a:t>
            </a:r>
            <a:r>
              <a:rPr lang="en-US" sz="24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Reduce the Attack Surfac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FCC2024E-4C1C-491C-89B0-E218DD07924A}"/>
              </a:ext>
            </a:extLst>
          </p:cNvPr>
          <p:cNvSpPr txBox="1"/>
          <p:nvPr/>
        </p:nvSpPr>
        <p:spPr>
          <a:xfrm>
            <a:off x="470129" y="437529"/>
            <a:ext cx="485546" cy="2631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0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66B1CDC2-09F5-46B2-8C85-49C88B6107BE}"/>
              </a:ext>
            </a:extLst>
          </p:cNvPr>
          <p:cNvSpPr txBox="1"/>
          <p:nvPr/>
        </p:nvSpPr>
        <p:spPr>
          <a:xfrm>
            <a:off x="1624281" y="437529"/>
            <a:ext cx="485546" cy="2631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03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973EDB0B-5B05-4D71-ABD7-10D5C483FEC6}"/>
              </a:ext>
            </a:extLst>
          </p:cNvPr>
          <p:cNvSpPr txBox="1"/>
          <p:nvPr/>
        </p:nvSpPr>
        <p:spPr>
          <a:xfrm>
            <a:off x="1047205" y="437529"/>
            <a:ext cx="485546" cy="2631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02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87E70065-45E0-4FA6-AA09-27E3B9D1C080}"/>
              </a:ext>
            </a:extLst>
          </p:cNvPr>
          <p:cNvGrpSpPr/>
          <p:nvPr/>
        </p:nvGrpSpPr>
        <p:grpSpPr>
          <a:xfrm>
            <a:off x="1064458" y="710972"/>
            <a:ext cx="457390" cy="457390"/>
            <a:chOff x="1176043" y="485585"/>
            <a:chExt cx="457390" cy="457390"/>
          </a:xfrm>
        </p:grpSpPr>
        <p:sp>
          <p:nvSpPr>
            <p:cNvPr id="145" name="Oval 144">
              <a:extLst>
                <a:ext uri="{FF2B5EF4-FFF2-40B4-BE49-F238E27FC236}">
                  <a16:creationId xmlns:a16="http://schemas.microsoft.com/office/drawing/2014/main" xmlns="" id="{0E7507E6-D844-4F56-92A0-3B2CEB3CBC0D}"/>
                </a:ext>
              </a:extLst>
            </p:cNvPr>
            <p:cNvSpPr/>
            <p:nvPr/>
          </p:nvSpPr>
          <p:spPr>
            <a:xfrm>
              <a:off x="1176043" y="485585"/>
              <a:ext cx="457390" cy="45739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1230721" y="544915"/>
              <a:ext cx="349271" cy="349271"/>
              <a:chOff x="2581275" y="2152858"/>
              <a:chExt cx="933450" cy="933450"/>
            </a:xfrm>
          </p:grpSpPr>
          <p:sp>
            <p:nvSpPr>
              <p:cNvPr id="7" name="Freeform 5"/>
              <p:cNvSpPr>
                <a:spLocks/>
              </p:cNvSpPr>
              <p:nvPr/>
            </p:nvSpPr>
            <p:spPr bwMode="auto">
              <a:xfrm>
                <a:off x="2581275" y="2152858"/>
                <a:ext cx="933450" cy="933450"/>
              </a:xfrm>
              <a:custGeom>
                <a:avLst/>
                <a:gdLst>
                  <a:gd name="T0" fmla="*/ 1039 w 1264"/>
                  <a:gd name="T1" fmla="*/ 1039 h 1264"/>
                  <a:gd name="T2" fmla="*/ 225 w 1264"/>
                  <a:gd name="T3" fmla="*/ 1039 h 1264"/>
                  <a:gd name="T4" fmla="*/ 225 w 1264"/>
                  <a:gd name="T5" fmla="*/ 225 h 1264"/>
                  <a:gd name="T6" fmla="*/ 1039 w 1264"/>
                  <a:gd name="T7" fmla="*/ 225 h 1264"/>
                  <a:gd name="T8" fmla="*/ 1039 w 1264"/>
                  <a:gd name="T9" fmla="*/ 1039 h 1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4" h="1264">
                    <a:moveTo>
                      <a:pt x="1039" y="1039"/>
                    </a:moveTo>
                    <a:cubicBezTo>
                      <a:pt x="814" y="1264"/>
                      <a:pt x="450" y="1264"/>
                      <a:pt x="225" y="1039"/>
                    </a:cubicBezTo>
                    <a:cubicBezTo>
                      <a:pt x="0" y="814"/>
                      <a:pt x="0" y="450"/>
                      <a:pt x="225" y="225"/>
                    </a:cubicBezTo>
                    <a:cubicBezTo>
                      <a:pt x="450" y="0"/>
                      <a:pt x="814" y="0"/>
                      <a:pt x="1039" y="225"/>
                    </a:cubicBezTo>
                    <a:cubicBezTo>
                      <a:pt x="1264" y="450"/>
                      <a:pt x="1264" y="814"/>
                      <a:pt x="1039" y="1039"/>
                    </a:cubicBezTo>
                    <a:close/>
                  </a:path>
                </a:pathLst>
              </a:cu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grpSp>
            <p:nvGrpSpPr>
              <p:cNvPr id="26" name="Group 25"/>
              <p:cNvGrpSpPr/>
              <p:nvPr/>
            </p:nvGrpSpPr>
            <p:grpSpPr>
              <a:xfrm>
                <a:off x="2728913" y="2324308"/>
                <a:ext cx="638175" cy="590551"/>
                <a:chOff x="2728913" y="2324100"/>
                <a:chExt cx="638175" cy="590551"/>
              </a:xfrm>
              <a:solidFill>
                <a:schemeClr val="accent1">
                  <a:lumMod val="75000"/>
                  <a:alpha val="40000"/>
                </a:schemeClr>
              </a:solidFill>
            </p:grpSpPr>
            <p:sp>
              <p:nvSpPr>
                <p:cNvPr id="8" name="Freeform 6"/>
                <p:cNvSpPr>
                  <a:spLocks noEditPoints="1"/>
                </p:cNvSpPr>
                <p:nvPr/>
              </p:nvSpPr>
              <p:spPr bwMode="auto">
                <a:xfrm>
                  <a:off x="2728913" y="2324100"/>
                  <a:ext cx="638175" cy="333375"/>
                </a:xfrm>
                <a:custGeom>
                  <a:avLst/>
                  <a:gdLst>
                    <a:gd name="T0" fmla="*/ 237 w 864"/>
                    <a:gd name="T1" fmla="*/ 452 h 452"/>
                    <a:gd name="T2" fmla="*/ 628 w 864"/>
                    <a:gd name="T3" fmla="*/ 452 h 452"/>
                    <a:gd name="T4" fmla="*/ 835 w 864"/>
                    <a:gd name="T5" fmla="*/ 452 h 452"/>
                    <a:gd name="T6" fmla="*/ 864 w 864"/>
                    <a:gd name="T7" fmla="*/ 412 h 452"/>
                    <a:gd name="T8" fmla="*/ 788 w 864"/>
                    <a:gd name="T9" fmla="*/ 188 h 452"/>
                    <a:gd name="T10" fmla="*/ 749 w 864"/>
                    <a:gd name="T11" fmla="*/ 139 h 452"/>
                    <a:gd name="T12" fmla="*/ 721 w 864"/>
                    <a:gd name="T13" fmla="*/ 111 h 452"/>
                    <a:gd name="T14" fmla="*/ 701 w 864"/>
                    <a:gd name="T15" fmla="*/ 94 h 452"/>
                    <a:gd name="T16" fmla="*/ 680 w 864"/>
                    <a:gd name="T17" fmla="*/ 79 h 452"/>
                    <a:gd name="T18" fmla="*/ 660 w 864"/>
                    <a:gd name="T19" fmla="*/ 65 h 452"/>
                    <a:gd name="T20" fmla="*/ 636 w 864"/>
                    <a:gd name="T21" fmla="*/ 51 h 452"/>
                    <a:gd name="T22" fmla="*/ 615 w 864"/>
                    <a:gd name="T23" fmla="*/ 41 h 452"/>
                    <a:gd name="T24" fmla="*/ 601 w 864"/>
                    <a:gd name="T25" fmla="*/ 35 h 452"/>
                    <a:gd name="T26" fmla="*/ 578 w 864"/>
                    <a:gd name="T27" fmla="*/ 26 h 452"/>
                    <a:gd name="T28" fmla="*/ 563 w 864"/>
                    <a:gd name="T29" fmla="*/ 21 h 452"/>
                    <a:gd name="T30" fmla="*/ 540 w 864"/>
                    <a:gd name="T31" fmla="*/ 14 h 452"/>
                    <a:gd name="T32" fmla="*/ 524 w 864"/>
                    <a:gd name="T33" fmla="*/ 10 h 452"/>
                    <a:gd name="T34" fmla="*/ 503 w 864"/>
                    <a:gd name="T35" fmla="*/ 6 h 452"/>
                    <a:gd name="T36" fmla="*/ 486 w 864"/>
                    <a:gd name="T37" fmla="*/ 4 h 452"/>
                    <a:gd name="T38" fmla="*/ 462 w 864"/>
                    <a:gd name="T39" fmla="*/ 1 h 452"/>
                    <a:gd name="T40" fmla="*/ 452 w 864"/>
                    <a:gd name="T41" fmla="*/ 0 h 452"/>
                    <a:gd name="T42" fmla="*/ 407 w 864"/>
                    <a:gd name="T43" fmla="*/ 1 h 452"/>
                    <a:gd name="T44" fmla="*/ 390 w 864"/>
                    <a:gd name="T45" fmla="*/ 2 h 452"/>
                    <a:gd name="T46" fmla="*/ 365 w 864"/>
                    <a:gd name="T47" fmla="*/ 5 h 452"/>
                    <a:gd name="T48" fmla="*/ 349 w 864"/>
                    <a:gd name="T49" fmla="*/ 8 h 452"/>
                    <a:gd name="T50" fmla="*/ 327 w 864"/>
                    <a:gd name="T51" fmla="*/ 13 h 452"/>
                    <a:gd name="T52" fmla="*/ 311 w 864"/>
                    <a:gd name="T53" fmla="*/ 18 h 452"/>
                    <a:gd name="T54" fmla="*/ 289 w 864"/>
                    <a:gd name="T55" fmla="*/ 25 h 452"/>
                    <a:gd name="T56" fmla="*/ 275 w 864"/>
                    <a:gd name="T57" fmla="*/ 30 h 452"/>
                    <a:gd name="T58" fmla="*/ 252 w 864"/>
                    <a:gd name="T59" fmla="*/ 40 h 452"/>
                    <a:gd name="T60" fmla="*/ 238 w 864"/>
                    <a:gd name="T61" fmla="*/ 46 h 452"/>
                    <a:gd name="T62" fmla="*/ 206 w 864"/>
                    <a:gd name="T63" fmla="*/ 64 h 452"/>
                    <a:gd name="T64" fmla="*/ 194 w 864"/>
                    <a:gd name="T65" fmla="*/ 72 h 452"/>
                    <a:gd name="T66" fmla="*/ 164 w 864"/>
                    <a:gd name="T67" fmla="*/ 94 h 452"/>
                    <a:gd name="T68" fmla="*/ 153 w 864"/>
                    <a:gd name="T69" fmla="*/ 103 h 452"/>
                    <a:gd name="T70" fmla="*/ 117 w 864"/>
                    <a:gd name="T71" fmla="*/ 138 h 452"/>
                    <a:gd name="T72" fmla="*/ 83 w 864"/>
                    <a:gd name="T73" fmla="*/ 178 h 452"/>
                    <a:gd name="T74" fmla="*/ 76 w 864"/>
                    <a:gd name="T75" fmla="*/ 188 h 452"/>
                    <a:gd name="T76" fmla="*/ 0 w 864"/>
                    <a:gd name="T77" fmla="*/ 423 h 452"/>
                    <a:gd name="T78" fmla="*/ 757 w 864"/>
                    <a:gd name="T79" fmla="*/ 214 h 452"/>
                    <a:gd name="T80" fmla="*/ 648 w 864"/>
                    <a:gd name="T81" fmla="*/ 258 h 452"/>
                    <a:gd name="T82" fmla="*/ 580 w 864"/>
                    <a:gd name="T83" fmla="*/ 69 h 452"/>
                    <a:gd name="T84" fmla="*/ 597 w 864"/>
                    <a:gd name="T85" fmla="*/ 77 h 452"/>
                    <a:gd name="T86" fmla="*/ 610 w 864"/>
                    <a:gd name="T87" fmla="*/ 83 h 452"/>
                    <a:gd name="T88" fmla="*/ 638 w 864"/>
                    <a:gd name="T89" fmla="*/ 220 h 452"/>
                    <a:gd name="T90" fmla="*/ 452 w 864"/>
                    <a:gd name="T91" fmla="*/ 43 h 452"/>
                    <a:gd name="T92" fmla="*/ 452 w 864"/>
                    <a:gd name="T93" fmla="*/ 244 h 452"/>
                    <a:gd name="T94" fmla="*/ 609 w 864"/>
                    <a:gd name="T95" fmla="*/ 267 h 452"/>
                    <a:gd name="T96" fmla="*/ 452 w 864"/>
                    <a:gd name="T97" fmla="*/ 284 h 452"/>
                    <a:gd name="T98" fmla="*/ 255 w 864"/>
                    <a:gd name="T99" fmla="*/ 267 h 452"/>
                    <a:gd name="T100" fmla="*/ 412 w 864"/>
                    <a:gd name="T101" fmla="*/ 43 h 452"/>
                    <a:gd name="T102" fmla="*/ 300 w 864"/>
                    <a:gd name="T103" fmla="*/ 146 h 452"/>
                    <a:gd name="T104" fmla="*/ 254 w 864"/>
                    <a:gd name="T105" fmla="*/ 83 h 452"/>
                    <a:gd name="T106" fmla="*/ 268 w 864"/>
                    <a:gd name="T107" fmla="*/ 77 h 452"/>
                    <a:gd name="T108" fmla="*/ 285 w 864"/>
                    <a:gd name="T109" fmla="*/ 69 h 452"/>
                    <a:gd name="T110" fmla="*/ 227 w 864"/>
                    <a:gd name="T111" fmla="*/ 220 h 452"/>
                    <a:gd name="T112" fmla="*/ 107 w 864"/>
                    <a:gd name="T113" fmla="*/ 214 h 452"/>
                    <a:gd name="T114" fmla="*/ 41 w 864"/>
                    <a:gd name="T115" fmla="*/ 412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64" h="452">
                      <a:moveTo>
                        <a:pt x="41" y="452"/>
                      </a:moveTo>
                      <a:cubicBezTo>
                        <a:pt x="197" y="452"/>
                        <a:pt x="197" y="452"/>
                        <a:pt x="197" y="452"/>
                      </a:cubicBezTo>
                      <a:cubicBezTo>
                        <a:pt x="237" y="452"/>
                        <a:pt x="237" y="452"/>
                        <a:pt x="237" y="452"/>
                      </a:cubicBezTo>
                      <a:cubicBezTo>
                        <a:pt x="412" y="452"/>
                        <a:pt x="412" y="452"/>
                        <a:pt x="412" y="452"/>
                      </a:cubicBezTo>
                      <a:cubicBezTo>
                        <a:pt x="452" y="452"/>
                        <a:pt x="452" y="452"/>
                        <a:pt x="452" y="452"/>
                      </a:cubicBezTo>
                      <a:cubicBezTo>
                        <a:pt x="628" y="452"/>
                        <a:pt x="628" y="452"/>
                        <a:pt x="628" y="452"/>
                      </a:cubicBezTo>
                      <a:cubicBezTo>
                        <a:pt x="668" y="452"/>
                        <a:pt x="668" y="452"/>
                        <a:pt x="668" y="452"/>
                      </a:cubicBezTo>
                      <a:cubicBezTo>
                        <a:pt x="823" y="452"/>
                        <a:pt x="823" y="452"/>
                        <a:pt x="823" y="452"/>
                      </a:cubicBezTo>
                      <a:cubicBezTo>
                        <a:pt x="835" y="452"/>
                        <a:pt x="835" y="452"/>
                        <a:pt x="835" y="452"/>
                      </a:cubicBezTo>
                      <a:cubicBezTo>
                        <a:pt x="851" y="452"/>
                        <a:pt x="864" y="439"/>
                        <a:pt x="864" y="423"/>
                      </a:cubicBezTo>
                      <a:cubicBezTo>
                        <a:pt x="864" y="412"/>
                        <a:pt x="864" y="412"/>
                        <a:pt x="864" y="412"/>
                      </a:cubicBezTo>
                      <a:cubicBezTo>
                        <a:pt x="864" y="412"/>
                        <a:pt x="864" y="412"/>
                        <a:pt x="864" y="412"/>
                      </a:cubicBezTo>
                      <a:cubicBezTo>
                        <a:pt x="860" y="329"/>
                        <a:pt x="833" y="252"/>
                        <a:pt x="788" y="188"/>
                      </a:cubicBezTo>
                      <a:cubicBezTo>
                        <a:pt x="788" y="188"/>
                        <a:pt x="788" y="188"/>
                        <a:pt x="788" y="188"/>
                      </a:cubicBezTo>
                      <a:cubicBezTo>
                        <a:pt x="788" y="188"/>
                        <a:pt x="788" y="188"/>
                        <a:pt x="788" y="188"/>
                      </a:cubicBezTo>
                      <a:cubicBezTo>
                        <a:pt x="786" y="184"/>
                        <a:pt x="783" y="181"/>
                        <a:pt x="781" y="178"/>
                      </a:cubicBezTo>
                      <a:cubicBezTo>
                        <a:pt x="778" y="173"/>
                        <a:pt x="778" y="173"/>
                        <a:pt x="778" y="173"/>
                      </a:cubicBezTo>
                      <a:cubicBezTo>
                        <a:pt x="769" y="161"/>
                        <a:pt x="759" y="150"/>
                        <a:pt x="749" y="139"/>
                      </a:cubicBezTo>
                      <a:cubicBezTo>
                        <a:pt x="749" y="138"/>
                        <a:pt x="748" y="138"/>
                        <a:pt x="748" y="138"/>
                      </a:cubicBezTo>
                      <a:cubicBezTo>
                        <a:pt x="739" y="128"/>
                        <a:pt x="730" y="119"/>
                        <a:pt x="721" y="111"/>
                      </a:cubicBezTo>
                      <a:cubicBezTo>
                        <a:pt x="721" y="111"/>
                        <a:pt x="721" y="111"/>
                        <a:pt x="721" y="111"/>
                      </a:cubicBezTo>
                      <a:cubicBezTo>
                        <a:pt x="718" y="108"/>
                        <a:pt x="715" y="105"/>
                        <a:pt x="711" y="103"/>
                      </a:cubicBezTo>
                      <a:cubicBezTo>
                        <a:pt x="711" y="102"/>
                        <a:pt x="711" y="102"/>
                        <a:pt x="710" y="102"/>
                      </a:cubicBezTo>
                      <a:cubicBezTo>
                        <a:pt x="707" y="99"/>
                        <a:pt x="704" y="97"/>
                        <a:pt x="701" y="94"/>
                      </a:cubicBezTo>
                      <a:cubicBezTo>
                        <a:pt x="701" y="94"/>
                        <a:pt x="701" y="94"/>
                        <a:pt x="701" y="94"/>
                      </a:cubicBezTo>
                      <a:cubicBezTo>
                        <a:pt x="694" y="89"/>
                        <a:pt x="687" y="84"/>
                        <a:pt x="681" y="79"/>
                      </a:cubicBezTo>
                      <a:cubicBezTo>
                        <a:pt x="680" y="79"/>
                        <a:pt x="680" y="79"/>
                        <a:pt x="680" y="79"/>
                      </a:cubicBezTo>
                      <a:cubicBezTo>
                        <a:pt x="677" y="76"/>
                        <a:pt x="674" y="74"/>
                        <a:pt x="671" y="72"/>
                      </a:cubicBezTo>
                      <a:cubicBezTo>
                        <a:pt x="669" y="71"/>
                        <a:pt x="668" y="71"/>
                        <a:pt x="667" y="70"/>
                      </a:cubicBezTo>
                      <a:cubicBezTo>
                        <a:pt x="665" y="68"/>
                        <a:pt x="663" y="67"/>
                        <a:pt x="660" y="65"/>
                      </a:cubicBezTo>
                      <a:cubicBezTo>
                        <a:pt x="659" y="65"/>
                        <a:pt x="659" y="65"/>
                        <a:pt x="658" y="64"/>
                      </a:cubicBezTo>
                      <a:cubicBezTo>
                        <a:pt x="651" y="60"/>
                        <a:pt x="644" y="56"/>
                        <a:pt x="637" y="52"/>
                      </a:cubicBezTo>
                      <a:cubicBezTo>
                        <a:pt x="636" y="52"/>
                        <a:pt x="636" y="51"/>
                        <a:pt x="636" y="51"/>
                      </a:cubicBezTo>
                      <a:cubicBezTo>
                        <a:pt x="633" y="50"/>
                        <a:pt x="629" y="48"/>
                        <a:pt x="626" y="46"/>
                      </a:cubicBezTo>
                      <a:cubicBezTo>
                        <a:pt x="625" y="46"/>
                        <a:pt x="624" y="45"/>
                        <a:pt x="624" y="45"/>
                      </a:cubicBezTo>
                      <a:cubicBezTo>
                        <a:pt x="621" y="44"/>
                        <a:pt x="618" y="42"/>
                        <a:pt x="615" y="41"/>
                      </a:cubicBezTo>
                      <a:cubicBezTo>
                        <a:pt x="614" y="40"/>
                        <a:pt x="613" y="40"/>
                        <a:pt x="612" y="40"/>
                      </a:cubicBezTo>
                      <a:cubicBezTo>
                        <a:pt x="609" y="38"/>
                        <a:pt x="606" y="36"/>
                        <a:pt x="602" y="35"/>
                      </a:cubicBezTo>
                      <a:cubicBezTo>
                        <a:pt x="602" y="35"/>
                        <a:pt x="602" y="35"/>
                        <a:pt x="601" y="35"/>
                      </a:cubicBezTo>
                      <a:cubicBezTo>
                        <a:pt x="597" y="33"/>
                        <a:pt x="594" y="31"/>
                        <a:pt x="590" y="30"/>
                      </a:cubicBezTo>
                      <a:cubicBezTo>
                        <a:pt x="589" y="30"/>
                        <a:pt x="589" y="30"/>
                        <a:pt x="588" y="29"/>
                      </a:cubicBezTo>
                      <a:cubicBezTo>
                        <a:pt x="585" y="28"/>
                        <a:pt x="582" y="27"/>
                        <a:pt x="578" y="26"/>
                      </a:cubicBezTo>
                      <a:cubicBezTo>
                        <a:pt x="577" y="25"/>
                        <a:pt x="576" y="25"/>
                        <a:pt x="575" y="25"/>
                      </a:cubicBezTo>
                      <a:cubicBezTo>
                        <a:pt x="572" y="24"/>
                        <a:pt x="569" y="23"/>
                        <a:pt x="567" y="22"/>
                      </a:cubicBezTo>
                      <a:cubicBezTo>
                        <a:pt x="565" y="21"/>
                        <a:pt x="564" y="21"/>
                        <a:pt x="563" y="21"/>
                      </a:cubicBezTo>
                      <a:cubicBezTo>
                        <a:pt x="560" y="20"/>
                        <a:pt x="557" y="19"/>
                        <a:pt x="554" y="18"/>
                      </a:cubicBezTo>
                      <a:cubicBezTo>
                        <a:pt x="553" y="17"/>
                        <a:pt x="552" y="17"/>
                        <a:pt x="552" y="17"/>
                      </a:cubicBezTo>
                      <a:cubicBezTo>
                        <a:pt x="548" y="16"/>
                        <a:pt x="544" y="15"/>
                        <a:pt x="540" y="14"/>
                      </a:cubicBezTo>
                      <a:cubicBezTo>
                        <a:pt x="539" y="14"/>
                        <a:pt x="538" y="13"/>
                        <a:pt x="538" y="13"/>
                      </a:cubicBezTo>
                      <a:cubicBezTo>
                        <a:pt x="535" y="12"/>
                        <a:pt x="531" y="12"/>
                        <a:pt x="528" y="11"/>
                      </a:cubicBezTo>
                      <a:cubicBezTo>
                        <a:pt x="526" y="11"/>
                        <a:pt x="525" y="10"/>
                        <a:pt x="524" y="10"/>
                      </a:cubicBezTo>
                      <a:cubicBezTo>
                        <a:pt x="521" y="9"/>
                        <a:pt x="518" y="9"/>
                        <a:pt x="516" y="8"/>
                      </a:cubicBezTo>
                      <a:cubicBezTo>
                        <a:pt x="514" y="8"/>
                        <a:pt x="513" y="8"/>
                        <a:pt x="511" y="8"/>
                      </a:cubicBezTo>
                      <a:cubicBezTo>
                        <a:pt x="509" y="7"/>
                        <a:pt x="506" y="7"/>
                        <a:pt x="503" y="6"/>
                      </a:cubicBezTo>
                      <a:cubicBezTo>
                        <a:pt x="502" y="6"/>
                        <a:pt x="500" y="6"/>
                        <a:pt x="499" y="5"/>
                      </a:cubicBezTo>
                      <a:cubicBezTo>
                        <a:pt x="495" y="5"/>
                        <a:pt x="491" y="4"/>
                        <a:pt x="487" y="4"/>
                      </a:cubicBezTo>
                      <a:cubicBezTo>
                        <a:pt x="487" y="4"/>
                        <a:pt x="486" y="4"/>
                        <a:pt x="486" y="4"/>
                      </a:cubicBezTo>
                      <a:cubicBezTo>
                        <a:pt x="482" y="3"/>
                        <a:pt x="478" y="3"/>
                        <a:pt x="475" y="2"/>
                      </a:cubicBezTo>
                      <a:cubicBezTo>
                        <a:pt x="473" y="2"/>
                        <a:pt x="472" y="2"/>
                        <a:pt x="471" y="2"/>
                      </a:cubicBezTo>
                      <a:cubicBezTo>
                        <a:pt x="468" y="2"/>
                        <a:pt x="465" y="2"/>
                        <a:pt x="462" y="1"/>
                      </a:cubicBezTo>
                      <a:cubicBezTo>
                        <a:pt x="461" y="1"/>
                        <a:pt x="459" y="1"/>
                        <a:pt x="458" y="1"/>
                      </a:cubicBezTo>
                      <a:cubicBezTo>
                        <a:pt x="456" y="1"/>
                        <a:pt x="454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  <a:cubicBezTo>
                        <a:pt x="412" y="0"/>
                        <a:pt x="412" y="0"/>
                        <a:pt x="412" y="0"/>
                      </a:cubicBezTo>
                      <a:cubicBezTo>
                        <a:pt x="412" y="1"/>
                        <a:pt x="412" y="1"/>
                        <a:pt x="412" y="1"/>
                      </a:cubicBezTo>
                      <a:cubicBezTo>
                        <a:pt x="410" y="1"/>
                        <a:pt x="409" y="1"/>
                        <a:pt x="407" y="1"/>
                      </a:cubicBezTo>
                      <a:cubicBezTo>
                        <a:pt x="405" y="1"/>
                        <a:pt x="404" y="1"/>
                        <a:pt x="402" y="1"/>
                      </a:cubicBezTo>
                      <a:cubicBezTo>
                        <a:pt x="400" y="2"/>
                        <a:pt x="397" y="2"/>
                        <a:pt x="394" y="2"/>
                      </a:cubicBezTo>
                      <a:cubicBezTo>
                        <a:pt x="393" y="2"/>
                        <a:pt x="391" y="2"/>
                        <a:pt x="390" y="2"/>
                      </a:cubicBezTo>
                      <a:cubicBezTo>
                        <a:pt x="386" y="3"/>
                        <a:pt x="383" y="3"/>
                        <a:pt x="379" y="4"/>
                      </a:cubicBezTo>
                      <a:cubicBezTo>
                        <a:pt x="378" y="4"/>
                        <a:pt x="378" y="4"/>
                        <a:pt x="378" y="4"/>
                      </a:cubicBezTo>
                      <a:cubicBezTo>
                        <a:pt x="373" y="4"/>
                        <a:pt x="369" y="5"/>
                        <a:pt x="365" y="5"/>
                      </a:cubicBezTo>
                      <a:cubicBezTo>
                        <a:pt x="364" y="6"/>
                        <a:pt x="363" y="6"/>
                        <a:pt x="362" y="6"/>
                      </a:cubicBezTo>
                      <a:cubicBezTo>
                        <a:pt x="359" y="7"/>
                        <a:pt x="356" y="7"/>
                        <a:pt x="353" y="8"/>
                      </a:cubicBezTo>
                      <a:cubicBezTo>
                        <a:pt x="352" y="8"/>
                        <a:pt x="350" y="8"/>
                        <a:pt x="349" y="8"/>
                      </a:cubicBezTo>
                      <a:cubicBezTo>
                        <a:pt x="346" y="9"/>
                        <a:pt x="343" y="9"/>
                        <a:pt x="340" y="10"/>
                      </a:cubicBezTo>
                      <a:cubicBezTo>
                        <a:pt x="339" y="10"/>
                        <a:pt x="338" y="11"/>
                        <a:pt x="337" y="11"/>
                      </a:cubicBezTo>
                      <a:cubicBezTo>
                        <a:pt x="333" y="12"/>
                        <a:pt x="330" y="12"/>
                        <a:pt x="327" y="13"/>
                      </a:cubicBezTo>
                      <a:cubicBezTo>
                        <a:pt x="326" y="13"/>
                        <a:pt x="325" y="14"/>
                        <a:pt x="325" y="14"/>
                      </a:cubicBezTo>
                      <a:cubicBezTo>
                        <a:pt x="321" y="15"/>
                        <a:pt x="317" y="16"/>
                        <a:pt x="313" y="17"/>
                      </a:cubicBezTo>
                      <a:cubicBezTo>
                        <a:pt x="312" y="17"/>
                        <a:pt x="311" y="17"/>
                        <a:pt x="311" y="18"/>
                      </a:cubicBezTo>
                      <a:cubicBezTo>
                        <a:pt x="307" y="19"/>
                        <a:pt x="304" y="20"/>
                        <a:pt x="301" y="21"/>
                      </a:cubicBezTo>
                      <a:cubicBezTo>
                        <a:pt x="300" y="21"/>
                        <a:pt x="299" y="21"/>
                        <a:pt x="298" y="22"/>
                      </a:cubicBezTo>
                      <a:cubicBezTo>
                        <a:pt x="295" y="23"/>
                        <a:pt x="292" y="24"/>
                        <a:pt x="289" y="25"/>
                      </a:cubicBezTo>
                      <a:cubicBezTo>
                        <a:pt x="288" y="25"/>
                        <a:pt x="287" y="25"/>
                        <a:pt x="286" y="26"/>
                      </a:cubicBezTo>
                      <a:cubicBezTo>
                        <a:pt x="283" y="27"/>
                        <a:pt x="280" y="28"/>
                        <a:pt x="276" y="29"/>
                      </a:cubicBezTo>
                      <a:cubicBezTo>
                        <a:pt x="276" y="30"/>
                        <a:pt x="275" y="30"/>
                        <a:pt x="275" y="30"/>
                      </a:cubicBezTo>
                      <a:cubicBezTo>
                        <a:pt x="271" y="31"/>
                        <a:pt x="267" y="33"/>
                        <a:pt x="263" y="35"/>
                      </a:cubicBezTo>
                      <a:cubicBezTo>
                        <a:pt x="263" y="35"/>
                        <a:pt x="263" y="35"/>
                        <a:pt x="262" y="35"/>
                      </a:cubicBezTo>
                      <a:cubicBezTo>
                        <a:pt x="259" y="36"/>
                        <a:pt x="256" y="38"/>
                        <a:pt x="252" y="40"/>
                      </a:cubicBezTo>
                      <a:cubicBezTo>
                        <a:pt x="251" y="40"/>
                        <a:pt x="251" y="40"/>
                        <a:pt x="250" y="41"/>
                      </a:cubicBezTo>
                      <a:cubicBezTo>
                        <a:pt x="247" y="42"/>
                        <a:pt x="243" y="44"/>
                        <a:pt x="240" y="45"/>
                      </a:cubicBezTo>
                      <a:cubicBezTo>
                        <a:pt x="240" y="46"/>
                        <a:pt x="239" y="46"/>
                        <a:pt x="238" y="46"/>
                      </a:cubicBezTo>
                      <a:cubicBezTo>
                        <a:pt x="235" y="48"/>
                        <a:pt x="232" y="50"/>
                        <a:pt x="229" y="51"/>
                      </a:cubicBezTo>
                      <a:cubicBezTo>
                        <a:pt x="228" y="51"/>
                        <a:pt x="228" y="52"/>
                        <a:pt x="228" y="52"/>
                      </a:cubicBezTo>
                      <a:cubicBezTo>
                        <a:pt x="220" y="56"/>
                        <a:pt x="213" y="60"/>
                        <a:pt x="206" y="64"/>
                      </a:cubicBezTo>
                      <a:cubicBezTo>
                        <a:pt x="206" y="65"/>
                        <a:pt x="205" y="65"/>
                        <a:pt x="205" y="65"/>
                      </a:cubicBezTo>
                      <a:cubicBezTo>
                        <a:pt x="202" y="67"/>
                        <a:pt x="200" y="68"/>
                        <a:pt x="197" y="70"/>
                      </a:cubicBezTo>
                      <a:cubicBezTo>
                        <a:pt x="196" y="70"/>
                        <a:pt x="195" y="71"/>
                        <a:pt x="194" y="72"/>
                      </a:cubicBezTo>
                      <a:cubicBezTo>
                        <a:pt x="191" y="74"/>
                        <a:pt x="188" y="76"/>
                        <a:pt x="184" y="79"/>
                      </a:cubicBezTo>
                      <a:cubicBezTo>
                        <a:pt x="184" y="79"/>
                        <a:pt x="184" y="79"/>
                        <a:pt x="184" y="79"/>
                      </a:cubicBezTo>
                      <a:cubicBezTo>
                        <a:pt x="177" y="84"/>
                        <a:pt x="170" y="89"/>
                        <a:pt x="164" y="94"/>
                      </a:cubicBezTo>
                      <a:cubicBezTo>
                        <a:pt x="163" y="94"/>
                        <a:pt x="163" y="94"/>
                        <a:pt x="163" y="94"/>
                      </a:cubicBezTo>
                      <a:cubicBezTo>
                        <a:pt x="160" y="97"/>
                        <a:pt x="157" y="99"/>
                        <a:pt x="154" y="102"/>
                      </a:cubicBezTo>
                      <a:cubicBezTo>
                        <a:pt x="154" y="102"/>
                        <a:pt x="153" y="102"/>
                        <a:pt x="153" y="103"/>
                      </a:cubicBezTo>
                      <a:cubicBezTo>
                        <a:pt x="150" y="105"/>
                        <a:pt x="147" y="108"/>
                        <a:pt x="144" y="111"/>
                      </a:cubicBezTo>
                      <a:cubicBezTo>
                        <a:pt x="144" y="111"/>
                        <a:pt x="144" y="111"/>
                        <a:pt x="144" y="111"/>
                      </a:cubicBezTo>
                      <a:cubicBezTo>
                        <a:pt x="134" y="119"/>
                        <a:pt x="125" y="128"/>
                        <a:pt x="117" y="138"/>
                      </a:cubicBezTo>
                      <a:cubicBezTo>
                        <a:pt x="116" y="138"/>
                        <a:pt x="116" y="138"/>
                        <a:pt x="116" y="139"/>
                      </a:cubicBezTo>
                      <a:cubicBezTo>
                        <a:pt x="104" y="151"/>
                        <a:pt x="94" y="164"/>
                        <a:pt x="84" y="177"/>
                      </a:cubicBezTo>
                      <a:cubicBezTo>
                        <a:pt x="83" y="178"/>
                        <a:pt x="83" y="178"/>
                        <a:pt x="83" y="178"/>
                      </a:cubicBezTo>
                      <a:cubicBezTo>
                        <a:pt x="81" y="181"/>
                        <a:pt x="79" y="184"/>
                        <a:pt x="76" y="188"/>
                      </a:cubicBezTo>
                      <a:cubicBezTo>
                        <a:pt x="76" y="188"/>
                        <a:pt x="76" y="188"/>
                        <a:pt x="76" y="188"/>
                      </a:cubicBezTo>
                      <a:cubicBezTo>
                        <a:pt x="76" y="188"/>
                        <a:pt x="76" y="188"/>
                        <a:pt x="76" y="188"/>
                      </a:cubicBezTo>
                      <a:cubicBezTo>
                        <a:pt x="32" y="252"/>
                        <a:pt x="5" y="329"/>
                        <a:pt x="1" y="412"/>
                      </a:cubicBezTo>
                      <a:cubicBezTo>
                        <a:pt x="0" y="412"/>
                        <a:pt x="0" y="412"/>
                        <a:pt x="0" y="412"/>
                      </a:cubicBezTo>
                      <a:cubicBezTo>
                        <a:pt x="0" y="423"/>
                        <a:pt x="0" y="423"/>
                        <a:pt x="0" y="423"/>
                      </a:cubicBezTo>
                      <a:cubicBezTo>
                        <a:pt x="0" y="439"/>
                        <a:pt x="13" y="452"/>
                        <a:pt x="29" y="452"/>
                      </a:cubicBezTo>
                      <a:lnTo>
                        <a:pt x="41" y="452"/>
                      </a:lnTo>
                      <a:close/>
                      <a:moveTo>
                        <a:pt x="757" y="214"/>
                      </a:moveTo>
                      <a:cubicBezTo>
                        <a:pt x="796" y="271"/>
                        <a:pt x="820" y="339"/>
                        <a:pt x="823" y="412"/>
                      </a:cubicBezTo>
                      <a:cubicBezTo>
                        <a:pt x="668" y="412"/>
                        <a:pt x="668" y="412"/>
                        <a:pt x="668" y="412"/>
                      </a:cubicBezTo>
                      <a:cubicBezTo>
                        <a:pt x="667" y="358"/>
                        <a:pt x="660" y="306"/>
                        <a:pt x="648" y="258"/>
                      </a:cubicBezTo>
                      <a:cubicBezTo>
                        <a:pt x="693" y="247"/>
                        <a:pt x="730" y="231"/>
                        <a:pt x="757" y="214"/>
                      </a:cubicBezTo>
                      <a:close/>
                      <a:moveTo>
                        <a:pt x="579" y="69"/>
                      </a:moveTo>
                      <a:cubicBezTo>
                        <a:pt x="579" y="69"/>
                        <a:pt x="579" y="69"/>
                        <a:pt x="580" y="69"/>
                      </a:cubicBezTo>
                      <a:cubicBezTo>
                        <a:pt x="582" y="70"/>
                        <a:pt x="585" y="71"/>
                        <a:pt x="588" y="73"/>
                      </a:cubicBezTo>
                      <a:cubicBezTo>
                        <a:pt x="589" y="73"/>
                        <a:pt x="589" y="73"/>
                        <a:pt x="590" y="74"/>
                      </a:cubicBezTo>
                      <a:cubicBezTo>
                        <a:pt x="592" y="75"/>
                        <a:pt x="595" y="76"/>
                        <a:pt x="597" y="77"/>
                      </a:cubicBezTo>
                      <a:cubicBezTo>
                        <a:pt x="598" y="77"/>
                        <a:pt x="599" y="78"/>
                        <a:pt x="600" y="78"/>
                      </a:cubicBezTo>
                      <a:cubicBezTo>
                        <a:pt x="602" y="79"/>
                        <a:pt x="603" y="80"/>
                        <a:pt x="605" y="80"/>
                      </a:cubicBezTo>
                      <a:cubicBezTo>
                        <a:pt x="607" y="81"/>
                        <a:pt x="608" y="82"/>
                        <a:pt x="610" y="83"/>
                      </a:cubicBezTo>
                      <a:cubicBezTo>
                        <a:pt x="611" y="83"/>
                        <a:pt x="611" y="84"/>
                        <a:pt x="612" y="84"/>
                      </a:cubicBezTo>
                      <a:cubicBezTo>
                        <a:pt x="658" y="108"/>
                        <a:pt x="700" y="141"/>
                        <a:pt x="733" y="181"/>
                      </a:cubicBezTo>
                      <a:cubicBezTo>
                        <a:pt x="710" y="196"/>
                        <a:pt x="678" y="209"/>
                        <a:pt x="638" y="220"/>
                      </a:cubicBezTo>
                      <a:cubicBezTo>
                        <a:pt x="617" y="153"/>
                        <a:pt x="587" y="97"/>
                        <a:pt x="551" y="59"/>
                      </a:cubicBezTo>
                      <a:cubicBezTo>
                        <a:pt x="560" y="62"/>
                        <a:pt x="570" y="65"/>
                        <a:pt x="579" y="69"/>
                      </a:cubicBezTo>
                      <a:close/>
                      <a:moveTo>
                        <a:pt x="452" y="43"/>
                      </a:moveTo>
                      <a:cubicBezTo>
                        <a:pt x="493" y="52"/>
                        <a:pt x="533" y="88"/>
                        <a:pt x="564" y="146"/>
                      </a:cubicBezTo>
                      <a:cubicBezTo>
                        <a:pt x="578" y="171"/>
                        <a:pt x="589" y="199"/>
                        <a:pt x="599" y="229"/>
                      </a:cubicBezTo>
                      <a:cubicBezTo>
                        <a:pt x="556" y="237"/>
                        <a:pt x="506" y="243"/>
                        <a:pt x="452" y="244"/>
                      </a:cubicBezTo>
                      <a:lnTo>
                        <a:pt x="452" y="43"/>
                      </a:lnTo>
                      <a:close/>
                      <a:moveTo>
                        <a:pt x="452" y="284"/>
                      </a:moveTo>
                      <a:cubicBezTo>
                        <a:pt x="509" y="283"/>
                        <a:pt x="562" y="277"/>
                        <a:pt x="609" y="267"/>
                      </a:cubicBezTo>
                      <a:cubicBezTo>
                        <a:pt x="620" y="312"/>
                        <a:pt x="627" y="361"/>
                        <a:pt x="628" y="412"/>
                      </a:cubicBezTo>
                      <a:cubicBezTo>
                        <a:pt x="452" y="412"/>
                        <a:pt x="452" y="412"/>
                        <a:pt x="452" y="412"/>
                      </a:cubicBezTo>
                      <a:lnTo>
                        <a:pt x="452" y="284"/>
                      </a:lnTo>
                      <a:close/>
                      <a:moveTo>
                        <a:pt x="412" y="412"/>
                      </a:moveTo>
                      <a:cubicBezTo>
                        <a:pt x="237" y="412"/>
                        <a:pt x="237" y="412"/>
                        <a:pt x="237" y="412"/>
                      </a:cubicBezTo>
                      <a:cubicBezTo>
                        <a:pt x="238" y="361"/>
                        <a:pt x="244" y="312"/>
                        <a:pt x="255" y="267"/>
                      </a:cubicBezTo>
                      <a:cubicBezTo>
                        <a:pt x="302" y="277"/>
                        <a:pt x="356" y="283"/>
                        <a:pt x="412" y="284"/>
                      </a:cubicBezTo>
                      <a:lnTo>
                        <a:pt x="412" y="412"/>
                      </a:lnTo>
                      <a:close/>
                      <a:moveTo>
                        <a:pt x="412" y="43"/>
                      </a:moveTo>
                      <a:cubicBezTo>
                        <a:pt x="412" y="244"/>
                        <a:pt x="412" y="244"/>
                        <a:pt x="412" y="244"/>
                      </a:cubicBezTo>
                      <a:cubicBezTo>
                        <a:pt x="358" y="243"/>
                        <a:pt x="309" y="237"/>
                        <a:pt x="266" y="229"/>
                      </a:cubicBezTo>
                      <a:cubicBezTo>
                        <a:pt x="275" y="199"/>
                        <a:pt x="287" y="171"/>
                        <a:pt x="300" y="146"/>
                      </a:cubicBezTo>
                      <a:cubicBezTo>
                        <a:pt x="332" y="88"/>
                        <a:pt x="372" y="52"/>
                        <a:pt x="412" y="43"/>
                      </a:cubicBezTo>
                      <a:close/>
                      <a:moveTo>
                        <a:pt x="253" y="84"/>
                      </a:moveTo>
                      <a:cubicBezTo>
                        <a:pt x="253" y="84"/>
                        <a:pt x="254" y="83"/>
                        <a:pt x="254" y="83"/>
                      </a:cubicBezTo>
                      <a:cubicBezTo>
                        <a:pt x="256" y="82"/>
                        <a:pt x="258" y="81"/>
                        <a:pt x="260" y="80"/>
                      </a:cubicBezTo>
                      <a:cubicBezTo>
                        <a:pt x="261" y="80"/>
                        <a:pt x="263" y="79"/>
                        <a:pt x="264" y="78"/>
                      </a:cubicBezTo>
                      <a:cubicBezTo>
                        <a:pt x="265" y="78"/>
                        <a:pt x="267" y="77"/>
                        <a:pt x="268" y="77"/>
                      </a:cubicBezTo>
                      <a:cubicBezTo>
                        <a:pt x="270" y="76"/>
                        <a:pt x="272" y="75"/>
                        <a:pt x="274" y="74"/>
                      </a:cubicBezTo>
                      <a:cubicBezTo>
                        <a:pt x="275" y="73"/>
                        <a:pt x="276" y="73"/>
                        <a:pt x="276" y="73"/>
                      </a:cubicBezTo>
                      <a:cubicBezTo>
                        <a:pt x="279" y="71"/>
                        <a:pt x="282" y="70"/>
                        <a:pt x="285" y="69"/>
                      </a:cubicBezTo>
                      <a:cubicBezTo>
                        <a:pt x="285" y="69"/>
                        <a:pt x="285" y="69"/>
                        <a:pt x="285" y="69"/>
                      </a:cubicBezTo>
                      <a:cubicBezTo>
                        <a:pt x="295" y="65"/>
                        <a:pt x="304" y="62"/>
                        <a:pt x="314" y="59"/>
                      </a:cubicBezTo>
                      <a:cubicBezTo>
                        <a:pt x="277" y="97"/>
                        <a:pt x="247" y="153"/>
                        <a:pt x="227" y="220"/>
                      </a:cubicBezTo>
                      <a:cubicBezTo>
                        <a:pt x="187" y="209"/>
                        <a:pt x="154" y="196"/>
                        <a:pt x="131" y="181"/>
                      </a:cubicBezTo>
                      <a:cubicBezTo>
                        <a:pt x="165" y="141"/>
                        <a:pt x="206" y="108"/>
                        <a:pt x="253" y="84"/>
                      </a:cubicBezTo>
                      <a:close/>
                      <a:moveTo>
                        <a:pt x="107" y="214"/>
                      </a:moveTo>
                      <a:cubicBezTo>
                        <a:pt x="135" y="231"/>
                        <a:pt x="172" y="247"/>
                        <a:pt x="216" y="258"/>
                      </a:cubicBezTo>
                      <a:cubicBezTo>
                        <a:pt x="205" y="306"/>
                        <a:pt x="198" y="358"/>
                        <a:pt x="197" y="412"/>
                      </a:cubicBezTo>
                      <a:cubicBezTo>
                        <a:pt x="41" y="412"/>
                        <a:pt x="41" y="412"/>
                        <a:pt x="41" y="412"/>
                      </a:cubicBezTo>
                      <a:cubicBezTo>
                        <a:pt x="45" y="339"/>
                        <a:pt x="69" y="271"/>
                        <a:pt x="107" y="214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9" name="Freeform 7"/>
                <p:cNvSpPr>
                  <a:spLocks/>
                </p:cNvSpPr>
                <p:nvPr/>
              </p:nvSpPr>
              <p:spPr bwMode="auto">
                <a:xfrm>
                  <a:off x="2738438" y="2674938"/>
                  <a:ext cx="77788" cy="77788"/>
                </a:xfrm>
                <a:custGeom>
                  <a:avLst/>
                  <a:gdLst>
                    <a:gd name="T0" fmla="*/ 76 w 105"/>
                    <a:gd name="T1" fmla="*/ 105 h 105"/>
                    <a:gd name="T2" fmla="*/ 29 w 105"/>
                    <a:gd name="T3" fmla="*/ 105 h 105"/>
                    <a:gd name="T4" fmla="*/ 0 w 105"/>
                    <a:gd name="T5" fmla="*/ 76 h 105"/>
                    <a:gd name="T6" fmla="*/ 0 w 105"/>
                    <a:gd name="T7" fmla="*/ 29 h 105"/>
                    <a:gd name="T8" fmla="*/ 29 w 105"/>
                    <a:gd name="T9" fmla="*/ 0 h 105"/>
                    <a:gd name="T10" fmla="*/ 76 w 105"/>
                    <a:gd name="T11" fmla="*/ 0 h 105"/>
                    <a:gd name="T12" fmla="*/ 105 w 105"/>
                    <a:gd name="T13" fmla="*/ 29 h 105"/>
                    <a:gd name="T14" fmla="*/ 105 w 105"/>
                    <a:gd name="T15" fmla="*/ 76 h 105"/>
                    <a:gd name="T16" fmla="*/ 76 w 105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5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5" y="13"/>
                        <a:pt x="105" y="29"/>
                      </a:cubicBezTo>
                      <a:cubicBezTo>
                        <a:pt x="105" y="76"/>
                        <a:pt x="105" y="76"/>
                        <a:pt x="105" y="76"/>
                      </a:cubicBezTo>
                      <a:cubicBezTo>
                        <a:pt x="105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0" name="Freeform 8"/>
                <p:cNvSpPr>
                  <a:spLocks/>
                </p:cNvSpPr>
                <p:nvPr/>
              </p:nvSpPr>
              <p:spPr bwMode="auto">
                <a:xfrm>
                  <a:off x="284638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8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8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8" y="105"/>
                        <a:pt x="28" y="105"/>
                        <a:pt x="28" y="105"/>
                      </a:cubicBezTo>
                      <a:cubicBezTo>
                        <a:pt x="12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1" name="Freeform 9"/>
                <p:cNvSpPr>
                  <a:spLocks/>
                </p:cNvSpPr>
                <p:nvPr/>
              </p:nvSpPr>
              <p:spPr bwMode="auto">
                <a:xfrm>
                  <a:off x="295433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3" name="Freeform 10"/>
                <p:cNvSpPr>
                  <a:spLocks/>
                </p:cNvSpPr>
                <p:nvPr/>
              </p:nvSpPr>
              <p:spPr bwMode="auto">
                <a:xfrm>
                  <a:off x="306228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4" name="Freeform 11"/>
                <p:cNvSpPr>
                  <a:spLocks/>
                </p:cNvSpPr>
                <p:nvPr/>
              </p:nvSpPr>
              <p:spPr bwMode="auto">
                <a:xfrm>
                  <a:off x="3170238" y="2674938"/>
                  <a:ext cx="77788" cy="77788"/>
                </a:xfrm>
                <a:custGeom>
                  <a:avLst/>
                  <a:gdLst>
                    <a:gd name="T0" fmla="*/ 76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6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6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5" name="Freeform 12"/>
                <p:cNvSpPr>
                  <a:spLocks/>
                </p:cNvSpPr>
                <p:nvPr/>
              </p:nvSpPr>
              <p:spPr bwMode="auto">
                <a:xfrm>
                  <a:off x="3278188" y="2674938"/>
                  <a:ext cx="77788" cy="77788"/>
                </a:xfrm>
                <a:custGeom>
                  <a:avLst/>
                  <a:gdLst>
                    <a:gd name="T0" fmla="*/ 76 w 105"/>
                    <a:gd name="T1" fmla="*/ 105 h 105"/>
                    <a:gd name="T2" fmla="*/ 29 w 105"/>
                    <a:gd name="T3" fmla="*/ 105 h 105"/>
                    <a:gd name="T4" fmla="*/ 0 w 105"/>
                    <a:gd name="T5" fmla="*/ 76 h 105"/>
                    <a:gd name="T6" fmla="*/ 0 w 105"/>
                    <a:gd name="T7" fmla="*/ 29 h 105"/>
                    <a:gd name="T8" fmla="*/ 29 w 105"/>
                    <a:gd name="T9" fmla="*/ 0 h 105"/>
                    <a:gd name="T10" fmla="*/ 76 w 105"/>
                    <a:gd name="T11" fmla="*/ 0 h 105"/>
                    <a:gd name="T12" fmla="*/ 105 w 105"/>
                    <a:gd name="T13" fmla="*/ 29 h 105"/>
                    <a:gd name="T14" fmla="*/ 105 w 105"/>
                    <a:gd name="T15" fmla="*/ 76 h 105"/>
                    <a:gd name="T16" fmla="*/ 76 w 105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5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5" y="13"/>
                        <a:pt x="105" y="29"/>
                      </a:cubicBezTo>
                      <a:cubicBezTo>
                        <a:pt x="105" y="76"/>
                        <a:pt x="105" y="76"/>
                        <a:pt x="105" y="76"/>
                      </a:cubicBezTo>
                      <a:cubicBezTo>
                        <a:pt x="105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6" name="Freeform 13"/>
                <p:cNvSpPr>
                  <a:spLocks/>
                </p:cNvSpPr>
                <p:nvPr/>
              </p:nvSpPr>
              <p:spPr bwMode="auto">
                <a:xfrm>
                  <a:off x="2789238" y="2776538"/>
                  <a:ext cx="65088" cy="65088"/>
                </a:xfrm>
                <a:custGeom>
                  <a:avLst/>
                  <a:gdLst>
                    <a:gd name="T0" fmla="*/ 58 w 87"/>
                    <a:gd name="T1" fmla="*/ 87 h 87"/>
                    <a:gd name="T2" fmla="*/ 28 w 87"/>
                    <a:gd name="T3" fmla="*/ 87 h 87"/>
                    <a:gd name="T4" fmla="*/ 0 w 87"/>
                    <a:gd name="T5" fmla="*/ 58 h 87"/>
                    <a:gd name="T6" fmla="*/ 0 w 87"/>
                    <a:gd name="T7" fmla="*/ 29 h 87"/>
                    <a:gd name="T8" fmla="*/ 28 w 87"/>
                    <a:gd name="T9" fmla="*/ 0 h 87"/>
                    <a:gd name="T10" fmla="*/ 58 w 87"/>
                    <a:gd name="T11" fmla="*/ 0 h 87"/>
                    <a:gd name="T12" fmla="*/ 87 w 87"/>
                    <a:gd name="T13" fmla="*/ 29 h 87"/>
                    <a:gd name="T14" fmla="*/ 87 w 87"/>
                    <a:gd name="T15" fmla="*/ 58 h 87"/>
                    <a:gd name="T16" fmla="*/ 58 w 87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7" h="87">
                      <a:moveTo>
                        <a:pt x="58" y="87"/>
                      </a:moveTo>
                      <a:cubicBezTo>
                        <a:pt x="28" y="87"/>
                        <a:pt x="28" y="87"/>
                        <a:pt x="28" y="87"/>
                      </a:cubicBezTo>
                      <a:cubicBezTo>
                        <a:pt x="12" y="87"/>
                        <a:pt x="0" y="74"/>
                        <a:pt x="0" y="58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74" y="0"/>
                        <a:pt x="87" y="13"/>
                        <a:pt x="87" y="29"/>
                      </a:cubicBezTo>
                      <a:cubicBezTo>
                        <a:pt x="87" y="58"/>
                        <a:pt x="87" y="58"/>
                        <a:pt x="87" y="58"/>
                      </a:cubicBezTo>
                      <a:cubicBezTo>
                        <a:pt x="87" y="74"/>
                        <a:pt x="74" y="87"/>
                        <a:pt x="58" y="8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7" name="Freeform 14"/>
                <p:cNvSpPr>
                  <a:spLocks/>
                </p:cNvSpPr>
                <p:nvPr/>
              </p:nvSpPr>
              <p:spPr bwMode="auto">
                <a:xfrm>
                  <a:off x="2901950" y="2776538"/>
                  <a:ext cx="65088" cy="65088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9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9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9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8" name="Freeform 15"/>
                <p:cNvSpPr>
                  <a:spLocks/>
                </p:cNvSpPr>
                <p:nvPr/>
              </p:nvSpPr>
              <p:spPr bwMode="auto">
                <a:xfrm>
                  <a:off x="3014663" y="2778125"/>
                  <a:ext cx="65088" cy="63500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8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8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8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9" name="Freeform 16"/>
                <p:cNvSpPr>
                  <a:spLocks/>
                </p:cNvSpPr>
                <p:nvPr/>
              </p:nvSpPr>
              <p:spPr bwMode="auto">
                <a:xfrm>
                  <a:off x="3127375" y="2778125"/>
                  <a:ext cx="65088" cy="63500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8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8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8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20" name="Freeform 17"/>
                <p:cNvSpPr>
                  <a:spLocks/>
                </p:cNvSpPr>
                <p:nvPr/>
              </p:nvSpPr>
              <p:spPr bwMode="auto">
                <a:xfrm>
                  <a:off x="3240088" y="2778125"/>
                  <a:ext cx="65088" cy="63500"/>
                </a:xfrm>
                <a:custGeom>
                  <a:avLst/>
                  <a:gdLst>
                    <a:gd name="T0" fmla="*/ 59 w 87"/>
                    <a:gd name="T1" fmla="*/ 87 h 87"/>
                    <a:gd name="T2" fmla="*/ 29 w 87"/>
                    <a:gd name="T3" fmla="*/ 87 h 87"/>
                    <a:gd name="T4" fmla="*/ 0 w 87"/>
                    <a:gd name="T5" fmla="*/ 58 h 87"/>
                    <a:gd name="T6" fmla="*/ 0 w 87"/>
                    <a:gd name="T7" fmla="*/ 28 h 87"/>
                    <a:gd name="T8" fmla="*/ 29 w 87"/>
                    <a:gd name="T9" fmla="*/ 0 h 87"/>
                    <a:gd name="T10" fmla="*/ 59 w 87"/>
                    <a:gd name="T11" fmla="*/ 0 h 87"/>
                    <a:gd name="T12" fmla="*/ 87 w 87"/>
                    <a:gd name="T13" fmla="*/ 28 h 87"/>
                    <a:gd name="T14" fmla="*/ 87 w 87"/>
                    <a:gd name="T15" fmla="*/ 58 h 87"/>
                    <a:gd name="T16" fmla="*/ 59 w 87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7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7" y="13"/>
                        <a:pt x="87" y="28"/>
                      </a:cubicBezTo>
                      <a:cubicBezTo>
                        <a:pt x="87" y="58"/>
                        <a:pt x="87" y="58"/>
                        <a:pt x="87" y="58"/>
                      </a:cubicBezTo>
                      <a:cubicBezTo>
                        <a:pt x="87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21" name="Freeform 18"/>
                <p:cNvSpPr>
                  <a:spLocks/>
                </p:cNvSpPr>
                <p:nvPr/>
              </p:nvSpPr>
              <p:spPr bwMode="auto">
                <a:xfrm>
                  <a:off x="2841625" y="2862263"/>
                  <a:ext cx="50800" cy="52388"/>
                </a:xfrm>
                <a:custGeom>
                  <a:avLst/>
                  <a:gdLst>
                    <a:gd name="T0" fmla="*/ 41 w 70"/>
                    <a:gd name="T1" fmla="*/ 70 h 70"/>
                    <a:gd name="T2" fmla="*/ 28 w 70"/>
                    <a:gd name="T3" fmla="*/ 70 h 70"/>
                    <a:gd name="T4" fmla="*/ 0 w 70"/>
                    <a:gd name="T5" fmla="*/ 41 h 70"/>
                    <a:gd name="T6" fmla="*/ 0 w 70"/>
                    <a:gd name="T7" fmla="*/ 29 h 70"/>
                    <a:gd name="T8" fmla="*/ 28 w 70"/>
                    <a:gd name="T9" fmla="*/ 0 h 70"/>
                    <a:gd name="T10" fmla="*/ 41 w 70"/>
                    <a:gd name="T11" fmla="*/ 0 h 70"/>
                    <a:gd name="T12" fmla="*/ 70 w 70"/>
                    <a:gd name="T13" fmla="*/ 29 h 70"/>
                    <a:gd name="T14" fmla="*/ 70 w 70"/>
                    <a:gd name="T15" fmla="*/ 41 h 70"/>
                    <a:gd name="T16" fmla="*/ 41 w 70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0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7" y="0"/>
                        <a:pt x="70" y="13"/>
                        <a:pt x="70" y="29"/>
                      </a:cubicBezTo>
                      <a:cubicBezTo>
                        <a:pt x="70" y="41"/>
                        <a:pt x="70" y="41"/>
                        <a:pt x="70" y="41"/>
                      </a:cubicBezTo>
                      <a:cubicBezTo>
                        <a:pt x="70" y="57"/>
                        <a:pt x="57" y="70"/>
                        <a:pt x="41" y="7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22" name="Freeform 19"/>
                <p:cNvSpPr>
                  <a:spLocks/>
                </p:cNvSpPr>
                <p:nvPr/>
              </p:nvSpPr>
              <p:spPr bwMode="auto">
                <a:xfrm>
                  <a:off x="2962275" y="2862263"/>
                  <a:ext cx="50800" cy="52388"/>
                </a:xfrm>
                <a:custGeom>
                  <a:avLst/>
                  <a:gdLst>
                    <a:gd name="T0" fmla="*/ 41 w 69"/>
                    <a:gd name="T1" fmla="*/ 70 h 70"/>
                    <a:gd name="T2" fmla="*/ 28 w 69"/>
                    <a:gd name="T3" fmla="*/ 70 h 70"/>
                    <a:gd name="T4" fmla="*/ 0 w 69"/>
                    <a:gd name="T5" fmla="*/ 41 h 70"/>
                    <a:gd name="T6" fmla="*/ 0 w 69"/>
                    <a:gd name="T7" fmla="*/ 29 h 70"/>
                    <a:gd name="T8" fmla="*/ 28 w 69"/>
                    <a:gd name="T9" fmla="*/ 0 h 70"/>
                    <a:gd name="T10" fmla="*/ 41 w 69"/>
                    <a:gd name="T11" fmla="*/ 0 h 70"/>
                    <a:gd name="T12" fmla="*/ 69 w 69"/>
                    <a:gd name="T13" fmla="*/ 29 h 70"/>
                    <a:gd name="T14" fmla="*/ 69 w 69"/>
                    <a:gd name="T15" fmla="*/ 41 h 70"/>
                    <a:gd name="T16" fmla="*/ 41 w 69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7" y="0"/>
                        <a:pt x="69" y="13"/>
                        <a:pt x="69" y="29"/>
                      </a:cubicBezTo>
                      <a:cubicBezTo>
                        <a:pt x="69" y="41"/>
                        <a:pt x="69" y="41"/>
                        <a:pt x="69" y="41"/>
                      </a:cubicBezTo>
                      <a:cubicBezTo>
                        <a:pt x="69" y="57"/>
                        <a:pt x="57" y="70"/>
                        <a:pt x="41" y="70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24" name="Freeform 20"/>
                <p:cNvSpPr>
                  <a:spLocks/>
                </p:cNvSpPr>
                <p:nvPr/>
              </p:nvSpPr>
              <p:spPr bwMode="auto">
                <a:xfrm>
                  <a:off x="3081338" y="2863850"/>
                  <a:ext cx="52388" cy="50800"/>
                </a:xfrm>
                <a:custGeom>
                  <a:avLst/>
                  <a:gdLst>
                    <a:gd name="T0" fmla="*/ 41 w 69"/>
                    <a:gd name="T1" fmla="*/ 70 h 70"/>
                    <a:gd name="T2" fmla="*/ 28 w 69"/>
                    <a:gd name="T3" fmla="*/ 70 h 70"/>
                    <a:gd name="T4" fmla="*/ 0 w 69"/>
                    <a:gd name="T5" fmla="*/ 41 h 70"/>
                    <a:gd name="T6" fmla="*/ 0 w 69"/>
                    <a:gd name="T7" fmla="*/ 29 h 70"/>
                    <a:gd name="T8" fmla="*/ 28 w 69"/>
                    <a:gd name="T9" fmla="*/ 0 h 70"/>
                    <a:gd name="T10" fmla="*/ 41 w 69"/>
                    <a:gd name="T11" fmla="*/ 0 h 70"/>
                    <a:gd name="T12" fmla="*/ 69 w 69"/>
                    <a:gd name="T13" fmla="*/ 29 h 70"/>
                    <a:gd name="T14" fmla="*/ 69 w 69"/>
                    <a:gd name="T15" fmla="*/ 41 h 70"/>
                    <a:gd name="T16" fmla="*/ 41 w 69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2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6" y="0"/>
                        <a:pt x="69" y="13"/>
                        <a:pt x="69" y="29"/>
                      </a:cubicBezTo>
                      <a:cubicBezTo>
                        <a:pt x="69" y="41"/>
                        <a:pt x="69" y="41"/>
                        <a:pt x="69" y="41"/>
                      </a:cubicBezTo>
                      <a:cubicBezTo>
                        <a:pt x="69" y="57"/>
                        <a:pt x="56" y="70"/>
                        <a:pt x="41" y="7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25" name="Freeform 21"/>
                <p:cNvSpPr>
                  <a:spLocks/>
                </p:cNvSpPr>
                <p:nvPr/>
              </p:nvSpPr>
              <p:spPr bwMode="auto">
                <a:xfrm>
                  <a:off x="3201988" y="2863850"/>
                  <a:ext cx="50800" cy="50800"/>
                </a:xfrm>
                <a:custGeom>
                  <a:avLst/>
                  <a:gdLst>
                    <a:gd name="T0" fmla="*/ 42 w 70"/>
                    <a:gd name="T1" fmla="*/ 70 h 70"/>
                    <a:gd name="T2" fmla="*/ 29 w 70"/>
                    <a:gd name="T3" fmla="*/ 70 h 70"/>
                    <a:gd name="T4" fmla="*/ 0 w 70"/>
                    <a:gd name="T5" fmla="*/ 41 h 70"/>
                    <a:gd name="T6" fmla="*/ 0 w 70"/>
                    <a:gd name="T7" fmla="*/ 29 h 70"/>
                    <a:gd name="T8" fmla="*/ 29 w 70"/>
                    <a:gd name="T9" fmla="*/ 0 h 70"/>
                    <a:gd name="T10" fmla="*/ 42 w 70"/>
                    <a:gd name="T11" fmla="*/ 0 h 70"/>
                    <a:gd name="T12" fmla="*/ 70 w 70"/>
                    <a:gd name="T13" fmla="*/ 29 h 70"/>
                    <a:gd name="T14" fmla="*/ 70 w 70"/>
                    <a:gd name="T15" fmla="*/ 41 h 70"/>
                    <a:gd name="T16" fmla="*/ 42 w 70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0" h="70">
                      <a:moveTo>
                        <a:pt x="42" y="70"/>
                      </a:moveTo>
                      <a:cubicBezTo>
                        <a:pt x="29" y="70"/>
                        <a:pt x="29" y="70"/>
                        <a:pt x="29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57" y="0"/>
                        <a:pt x="70" y="13"/>
                        <a:pt x="70" y="29"/>
                      </a:cubicBezTo>
                      <a:cubicBezTo>
                        <a:pt x="70" y="41"/>
                        <a:pt x="70" y="41"/>
                        <a:pt x="70" y="41"/>
                      </a:cubicBezTo>
                      <a:cubicBezTo>
                        <a:pt x="70" y="57"/>
                        <a:pt x="57" y="70"/>
                        <a:pt x="42" y="70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D509A774-3AF6-49E0-B164-3495FD8AB9F8}"/>
              </a:ext>
            </a:extLst>
          </p:cNvPr>
          <p:cNvGrpSpPr/>
          <p:nvPr/>
        </p:nvGrpSpPr>
        <p:grpSpPr>
          <a:xfrm>
            <a:off x="485585" y="710972"/>
            <a:ext cx="457390" cy="457390"/>
            <a:chOff x="485585" y="485585"/>
            <a:chExt cx="457390" cy="45739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xmlns="" id="{61C01907-C391-464F-908A-D62C0216549E}"/>
                </a:ext>
              </a:extLst>
            </p:cNvPr>
            <p:cNvSpPr/>
            <p:nvPr/>
          </p:nvSpPr>
          <p:spPr>
            <a:xfrm>
              <a:off x="485585" y="485585"/>
              <a:ext cx="457390" cy="45739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56" name="Group 55"/>
            <p:cNvGrpSpPr>
              <a:grpSpLocks noChangeAspect="1"/>
            </p:cNvGrpSpPr>
            <p:nvPr/>
          </p:nvGrpSpPr>
          <p:grpSpPr>
            <a:xfrm>
              <a:off x="549267" y="560453"/>
              <a:ext cx="318407" cy="318194"/>
              <a:chOff x="2439988" y="-1801813"/>
              <a:chExt cx="2363788" cy="2362200"/>
            </a:xfrm>
          </p:grpSpPr>
          <p:sp>
            <p:nvSpPr>
              <p:cNvPr id="52" name="Oval 36"/>
              <p:cNvSpPr>
                <a:spLocks noChangeArrowheads="1"/>
              </p:cNvSpPr>
              <p:nvPr/>
            </p:nvSpPr>
            <p:spPr bwMode="auto">
              <a:xfrm>
                <a:off x="2439988" y="-1801813"/>
                <a:ext cx="2363788" cy="2362200"/>
              </a:xfrm>
              <a:prstGeom prst="ellipse">
                <a:avLst/>
              </a:pr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51" name="Freeform 35"/>
              <p:cNvSpPr>
                <a:spLocks/>
              </p:cNvSpPr>
              <p:nvPr/>
            </p:nvSpPr>
            <p:spPr bwMode="auto">
              <a:xfrm>
                <a:off x="2624138" y="-979488"/>
                <a:ext cx="2163763" cy="1539875"/>
              </a:xfrm>
              <a:custGeom>
                <a:avLst/>
                <a:gdLst>
                  <a:gd name="T0" fmla="*/ 574 w 574"/>
                  <a:gd name="T1" fmla="*/ 141 h 409"/>
                  <a:gd name="T2" fmla="*/ 527 w 574"/>
                  <a:gd name="T3" fmla="*/ 94 h 409"/>
                  <a:gd name="T4" fmla="*/ 507 w 574"/>
                  <a:gd name="T5" fmla="*/ 66 h 409"/>
                  <a:gd name="T6" fmla="*/ 505 w 574"/>
                  <a:gd name="T7" fmla="*/ 63 h 409"/>
                  <a:gd name="T8" fmla="*/ 501 w 574"/>
                  <a:gd name="T9" fmla="*/ 61 h 409"/>
                  <a:gd name="T10" fmla="*/ 499 w 574"/>
                  <a:gd name="T11" fmla="*/ 59 h 409"/>
                  <a:gd name="T12" fmla="*/ 494 w 574"/>
                  <a:gd name="T13" fmla="*/ 57 h 409"/>
                  <a:gd name="T14" fmla="*/ 493 w 574"/>
                  <a:gd name="T15" fmla="*/ 56 h 409"/>
                  <a:gd name="T16" fmla="*/ 487 w 574"/>
                  <a:gd name="T17" fmla="*/ 54 h 409"/>
                  <a:gd name="T18" fmla="*/ 485 w 574"/>
                  <a:gd name="T19" fmla="*/ 53 h 409"/>
                  <a:gd name="T20" fmla="*/ 482 w 574"/>
                  <a:gd name="T21" fmla="*/ 49 h 409"/>
                  <a:gd name="T22" fmla="*/ 479 w 574"/>
                  <a:gd name="T23" fmla="*/ 45 h 409"/>
                  <a:gd name="T24" fmla="*/ 479 w 574"/>
                  <a:gd name="T25" fmla="*/ 45 h 409"/>
                  <a:gd name="T26" fmla="*/ 475 w 574"/>
                  <a:gd name="T27" fmla="*/ 41 h 409"/>
                  <a:gd name="T28" fmla="*/ 475 w 574"/>
                  <a:gd name="T29" fmla="*/ 41 h 409"/>
                  <a:gd name="T30" fmla="*/ 471 w 574"/>
                  <a:gd name="T31" fmla="*/ 37 h 409"/>
                  <a:gd name="T32" fmla="*/ 471 w 574"/>
                  <a:gd name="T33" fmla="*/ 37 h 409"/>
                  <a:gd name="T34" fmla="*/ 466 w 574"/>
                  <a:gd name="T35" fmla="*/ 33 h 409"/>
                  <a:gd name="T36" fmla="*/ 399 w 574"/>
                  <a:gd name="T37" fmla="*/ 10 h 409"/>
                  <a:gd name="T38" fmla="*/ 327 w 574"/>
                  <a:gd name="T39" fmla="*/ 38 h 409"/>
                  <a:gd name="T40" fmla="*/ 265 w 574"/>
                  <a:gd name="T41" fmla="*/ 0 h 409"/>
                  <a:gd name="T42" fmla="*/ 256 w 574"/>
                  <a:gd name="T43" fmla="*/ 1 h 409"/>
                  <a:gd name="T44" fmla="*/ 253 w 574"/>
                  <a:gd name="T45" fmla="*/ 1 h 409"/>
                  <a:gd name="T46" fmla="*/ 251 w 574"/>
                  <a:gd name="T47" fmla="*/ 1 h 409"/>
                  <a:gd name="T48" fmla="*/ 249 w 574"/>
                  <a:gd name="T49" fmla="*/ 2 h 409"/>
                  <a:gd name="T50" fmla="*/ 247 w 574"/>
                  <a:gd name="T51" fmla="*/ 3 h 409"/>
                  <a:gd name="T52" fmla="*/ 244 w 574"/>
                  <a:gd name="T53" fmla="*/ 3 h 409"/>
                  <a:gd name="T54" fmla="*/ 242 w 574"/>
                  <a:gd name="T55" fmla="*/ 4 h 409"/>
                  <a:gd name="T56" fmla="*/ 240 w 574"/>
                  <a:gd name="T57" fmla="*/ 5 h 409"/>
                  <a:gd name="T58" fmla="*/ 238 w 574"/>
                  <a:gd name="T59" fmla="*/ 5 h 409"/>
                  <a:gd name="T60" fmla="*/ 236 w 574"/>
                  <a:gd name="T61" fmla="*/ 6 h 409"/>
                  <a:gd name="T62" fmla="*/ 234 w 574"/>
                  <a:gd name="T63" fmla="*/ 7 h 409"/>
                  <a:gd name="T64" fmla="*/ 232 w 574"/>
                  <a:gd name="T65" fmla="*/ 8 h 409"/>
                  <a:gd name="T66" fmla="*/ 230 w 574"/>
                  <a:gd name="T67" fmla="*/ 10 h 409"/>
                  <a:gd name="T68" fmla="*/ 228 w 574"/>
                  <a:gd name="T69" fmla="*/ 11 h 409"/>
                  <a:gd name="T70" fmla="*/ 225 w 574"/>
                  <a:gd name="T71" fmla="*/ 13 h 409"/>
                  <a:gd name="T72" fmla="*/ 223 w 574"/>
                  <a:gd name="T73" fmla="*/ 14 h 409"/>
                  <a:gd name="T74" fmla="*/ 221 w 574"/>
                  <a:gd name="T75" fmla="*/ 16 h 409"/>
                  <a:gd name="T76" fmla="*/ 220 w 574"/>
                  <a:gd name="T77" fmla="*/ 17 h 409"/>
                  <a:gd name="T78" fmla="*/ 218 w 574"/>
                  <a:gd name="T79" fmla="*/ 19 h 409"/>
                  <a:gd name="T80" fmla="*/ 216 w 574"/>
                  <a:gd name="T81" fmla="*/ 20 h 409"/>
                  <a:gd name="T82" fmla="*/ 215 w 574"/>
                  <a:gd name="T83" fmla="*/ 22 h 409"/>
                  <a:gd name="T84" fmla="*/ 213 w 574"/>
                  <a:gd name="T85" fmla="*/ 23 h 409"/>
                  <a:gd name="T86" fmla="*/ 212 w 574"/>
                  <a:gd name="T87" fmla="*/ 25 h 409"/>
                  <a:gd name="T88" fmla="*/ 210 w 574"/>
                  <a:gd name="T89" fmla="*/ 26 h 409"/>
                  <a:gd name="T90" fmla="*/ 209 w 574"/>
                  <a:gd name="T91" fmla="*/ 29 h 409"/>
                  <a:gd name="T92" fmla="*/ 208 w 574"/>
                  <a:gd name="T93" fmla="*/ 30 h 409"/>
                  <a:gd name="T94" fmla="*/ 206 w 574"/>
                  <a:gd name="T95" fmla="*/ 33 h 409"/>
                  <a:gd name="T96" fmla="*/ 205 w 574"/>
                  <a:gd name="T97" fmla="*/ 34 h 409"/>
                  <a:gd name="T98" fmla="*/ 203 w 574"/>
                  <a:gd name="T99" fmla="*/ 38 h 409"/>
                  <a:gd name="T100" fmla="*/ 131 w 574"/>
                  <a:gd name="T101" fmla="*/ 10 h 409"/>
                  <a:gd name="T102" fmla="*/ 45 w 574"/>
                  <a:gd name="T103" fmla="*/ 53 h 409"/>
                  <a:gd name="T104" fmla="*/ 39 w 574"/>
                  <a:gd name="T105" fmla="*/ 55 h 409"/>
                  <a:gd name="T106" fmla="*/ 38 w 574"/>
                  <a:gd name="T107" fmla="*/ 56 h 409"/>
                  <a:gd name="T108" fmla="*/ 33 w 574"/>
                  <a:gd name="T109" fmla="*/ 58 h 409"/>
                  <a:gd name="T110" fmla="*/ 32 w 574"/>
                  <a:gd name="T111" fmla="*/ 59 h 409"/>
                  <a:gd name="T112" fmla="*/ 21 w 574"/>
                  <a:gd name="T113" fmla="*/ 67 h 409"/>
                  <a:gd name="T114" fmla="*/ 0 w 574"/>
                  <a:gd name="T115" fmla="*/ 116 h 409"/>
                  <a:gd name="T116" fmla="*/ 45 w 574"/>
                  <a:gd name="T117" fmla="*/ 180 h 409"/>
                  <a:gd name="T118" fmla="*/ 75 w 574"/>
                  <a:gd name="T119" fmla="*/ 207 h 409"/>
                  <a:gd name="T120" fmla="*/ 277 w 574"/>
                  <a:gd name="T121" fmla="*/ 409 h 409"/>
                  <a:gd name="T122" fmla="*/ 574 w 574"/>
                  <a:gd name="T123" fmla="*/ 141 h 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74" h="409">
                    <a:moveTo>
                      <a:pt x="574" y="141"/>
                    </a:moveTo>
                    <a:cubicBezTo>
                      <a:pt x="527" y="94"/>
                      <a:pt x="527" y="94"/>
                      <a:pt x="527" y="94"/>
                    </a:cubicBezTo>
                    <a:cubicBezTo>
                      <a:pt x="523" y="83"/>
                      <a:pt x="516" y="73"/>
                      <a:pt x="507" y="66"/>
                    </a:cubicBezTo>
                    <a:cubicBezTo>
                      <a:pt x="506" y="65"/>
                      <a:pt x="505" y="64"/>
                      <a:pt x="505" y="63"/>
                    </a:cubicBezTo>
                    <a:cubicBezTo>
                      <a:pt x="504" y="63"/>
                      <a:pt x="502" y="62"/>
                      <a:pt x="501" y="61"/>
                    </a:cubicBezTo>
                    <a:cubicBezTo>
                      <a:pt x="500" y="60"/>
                      <a:pt x="500" y="60"/>
                      <a:pt x="499" y="59"/>
                    </a:cubicBezTo>
                    <a:cubicBezTo>
                      <a:pt x="497" y="58"/>
                      <a:pt x="496" y="58"/>
                      <a:pt x="494" y="57"/>
                    </a:cubicBezTo>
                    <a:cubicBezTo>
                      <a:pt x="494" y="57"/>
                      <a:pt x="493" y="56"/>
                      <a:pt x="493" y="56"/>
                    </a:cubicBezTo>
                    <a:cubicBezTo>
                      <a:pt x="491" y="55"/>
                      <a:pt x="489" y="54"/>
                      <a:pt x="487" y="54"/>
                    </a:cubicBezTo>
                    <a:cubicBezTo>
                      <a:pt x="486" y="53"/>
                      <a:pt x="486" y="53"/>
                      <a:pt x="485" y="53"/>
                    </a:cubicBezTo>
                    <a:cubicBezTo>
                      <a:pt x="484" y="52"/>
                      <a:pt x="483" y="51"/>
                      <a:pt x="482" y="49"/>
                    </a:cubicBezTo>
                    <a:cubicBezTo>
                      <a:pt x="481" y="48"/>
                      <a:pt x="480" y="47"/>
                      <a:pt x="479" y="45"/>
                    </a:cubicBezTo>
                    <a:cubicBezTo>
                      <a:pt x="479" y="45"/>
                      <a:pt x="479" y="45"/>
                      <a:pt x="479" y="45"/>
                    </a:cubicBezTo>
                    <a:cubicBezTo>
                      <a:pt x="477" y="44"/>
                      <a:pt x="476" y="42"/>
                      <a:pt x="475" y="41"/>
                    </a:cubicBezTo>
                    <a:cubicBezTo>
                      <a:pt x="475" y="41"/>
                      <a:pt x="475" y="41"/>
                      <a:pt x="475" y="41"/>
                    </a:cubicBezTo>
                    <a:cubicBezTo>
                      <a:pt x="473" y="39"/>
                      <a:pt x="472" y="38"/>
                      <a:pt x="471" y="37"/>
                    </a:cubicBezTo>
                    <a:cubicBezTo>
                      <a:pt x="471" y="37"/>
                      <a:pt x="471" y="37"/>
                      <a:pt x="471" y="37"/>
                    </a:cubicBezTo>
                    <a:cubicBezTo>
                      <a:pt x="469" y="36"/>
                      <a:pt x="468" y="34"/>
                      <a:pt x="466" y="33"/>
                    </a:cubicBezTo>
                    <a:cubicBezTo>
                      <a:pt x="448" y="18"/>
                      <a:pt x="425" y="10"/>
                      <a:pt x="399" y="10"/>
                    </a:cubicBezTo>
                    <a:cubicBezTo>
                      <a:pt x="372" y="10"/>
                      <a:pt x="346" y="20"/>
                      <a:pt x="327" y="38"/>
                    </a:cubicBezTo>
                    <a:cubicBezTo>
                      <a:pt x="316" y="15"/>
                      <a:pt x="292" y="0"/>
                      <a:pt x="265" y="0"/>
                    </a:cubicBezTo>
                    <a:cubicBezTo>
                      <a:pt x="262" y="0"/>
                      <a:pt x="259" y="0"/>
                      <a:pt x="256" y="1"/>
                    </a:cubicBezTo>
                    <a:cubicBezTo>
                      <a:pt x="255" y="1"/>
                      <a:pt x="254" y="1"/>
                      <a:pt x="253" y="1"/>
                    </a:cubicBezTo>
                    <a:cubicBezTo>
                      <a:pt x="252" y="1"/>
                      <a:pt x="252" y="1"/>
                      <a:pt x="251" y="1"/>
                    </a:cubicBezTo>
                    <a:cubicBezTo>
                      <a:pt x="250" y="2"/>
                      <a:pt x="249" y="2"/>
                      <a:pt x="249" y="2"/>
                    </a:cubicBezTo>
                    <a:cubicBezTo>
                      <a:pt x="248" y="2"/>
                      <a:pt x="247" y="2"/>
                      <a:pt x="247" y="3"/>
                    </a:cubicBezTo>
                    <a:cubicBezTo>
                      <a:pt x="246" y="3"/>
                      <a:pt x="245" y="3"/>
                      <a:pt x="244" y="3"/>
                    </a:cubicBezTo>
                    <a:cubicBezTo>
                      <a:pt x="244" y="3"/>
                      <a:pt x="243" y="4"/>
                      <a:pt x="242" y="4"/>
                    </a:cubicBezTo>
                    <a:cubicBezTo>
                      <a:pt x="242" y="4"/>
                      <a:pt x="241" y="4"/>
                      <a:pt x="240" y="5"/>
                    </a:cubicBezTo>
                    <a:cubicBezTo>
                      <a:pt x="239" y="5"/>
                      <a:pt x="239" y="5"/>
                      <a:pt x="238" y="5"/>
                    </a:cubicBezTo>
                    <a:cubicBezTo>
                      <a:pt x="237" y="6"/>
                      <a:pt x="237" y="6"/>
                      <a:pt x="236" y="6"/>
                    </a:cubicBezTo>
                    <a:cubicBezTo>
                      <a:pt x="235" y="7"/>
                      <a:pt x="235" y="7"/>
                      <a:pt x="234" y="7"/>
                    </a:cubicBezTo>
                    <a:cubicBezTo>
                      <a:pt x="233" y="8"/>
                      <a:pt x="233" y="8"/>
                      <a:pt x="232" y="8"/>
                    </a:cubicBezTo>
                    <a:cubicBezTo>
                      <a:pt x="231" y="9"/>
                      <a:pt x="231" y="9"/>
                      <a:pt x="230" y="10"/>
                    </a:cubicBezTo>
                    <a:cubicBezTo>
                      <a:pt x="229" y="10"/>
                      <a:pt x="229" y="10"/>
                      <a:pt x="228" y="11"/>
                    </a:cubicBezTo>
                    <a:cubicBezTo>
                      <a:pt x="227" y="11"/>
                      <a:pt x="226" y="12"/>
                      <a:pt x="225" y="13"/>
                    </a:cubicBezTo>
                    <a:cubicBezTo>
                      <a:pt x="224" y="13"/>
                      <a:pt x="224" y="14"/>
                      <a:pt x="223" y="14"/>
                    </a:cubicBezTo>
                    <a:cubicBezTo>
                      <a:pt x="223" y="15"/>
                      <a:pt x="222" y="15"/>
                      <a:pt x="221" y="16"/>
                    </a:cubicBezTo>
                    <a:cubicBezTo>
                      <a:pt x="221" y="16"/>
                      <a:pt x="220" y="16"/>
                      <a:pt x="220" y="17"/>
                    </a:cubicBezTo>
                    <a:cubicBezTo>
                      <a:pt x="219" y="17"/>
                      <a:pt x="218" y="18"/>
                      <a:pt x="218" y="19"/>
                    </a:cubicBezTo>
                    <a:cubicBezTo>
                      <a:pt x="217" y="19"/>
                      <a:pt x="217" y="19"/>
                      <a:pt x="216" y="20"/>
                    </a:cubicBezTo>
                    <a:cubicBezTo>
                      <a:pt x="216" y="21"/>
                      <a:pt x="215" y="21"/>
                      <a:pt x="215" y="22"/>
                    </a:cubicBezTo>
                    <a:cubicBezTo>
                      <a:pt x="214" y="22"/>
                      <a:pt x="214" y="23"/>
                      <a:pt x="213" y="23"/>
                    </a:cubicBezTo>
                    <a:cubicBezTo>
                      <a:pt x="213" y="24"/>
                      <a:pt x="212" y="24"/>
                      <a:pt x="212" y="25"/>
                    </a:cubicBezTo>
                    <a:cubicBezTo>
                      <a:pt x="211" y="26"/>
                      <a:pt x="211" y="26"/>
                      <a:pt x="210" y="26"/>
                    </a:cubicBezTo>
                    <a:cubicBezTo>
                      <a:pt x="210" y="27"/>
                      <a:pt x="209" y="28"/>
                      <a:pt x="209" y="29"/>
                    </a:cubicBezTo>
                    <a:cubicBezTo>
                      <a:pt x="208" y="29"/>
                      <a:pt x="208" y="30"/>
                      <a:pt x="208" y="30"/>
                    </a:cubicBezTo>
                    <a:cubicBezTo>
                      <a:pt x="207" y="31"/>
                      <a:pt x="207" y="32"/>
                      <a:pt x="206" y="33"/>
                    </a:cubicBezTo>
                    <a:cubicBezTo>
                      <a:pt x="206" y="33"/>
                      <a:pt x="206" y="33"/>
                      <a:pt x="205" y="34"/>
                    </a:cubicBezTo>
                    <a:cubicBezTo>
                      <a:pt x="205" y="35"/>
                      <a:pt x="204" y="36"/>
                      <a:pt x="203" y="38"/>
                    </a:cubicBezTo>
                    <a:cubicBezTo>
                      <a:pt x="184" y="20"/>
                      <a:pt x="159" y="10"/>
                      <a:pt x="131" y="10"/>
                    </a:cubicBezTo>
                    <a:cubicBezTo>
                      <a:pt x="96" y="10"/>
                      <a:pt x="65" y="27"/>
                      <a:pt x="45" y="53"/>
                    </a:cubicBezTo>
                    <a:cubicBezTo>
                      <a:pt x="43" y="53"/>
                      <a:pt x="41" y="54"/>
                      <a:pt x="39" y="55"/>
                    </a:cubicBezTo>
                    <a:cubicBezTo>
                      <a:pt x="39" y="55"/>
                      <a:pt x="38" y="56"/>
                      <a:pt x="38" y="56"/>
                    </a:cubicBezTo>
                    <a:cubicBezTo>
                      <a:pt x="36" y="57"/>
                      <a:pt x="35" y="57"/>
                      <a:pt x="33" y="58"/>
                    </a:cubicBezTo>
                    <a:cubicBezTo>
                      <a:pt x="33" y="59"/>
                      <a:pt x="33" y="59"/>
                      <a:pt x="32" y="59"/>
                    </a:cubicBezTo>
                    <a:cubicBezTo>
                      <a:pt x="28" y="61"/>
                      <a:pt x="25" y="64"/>
                      <a:pt x="21" y="67"/>
                    </a:cubicBezTo>
                    <a:cubicBezTo>
                      <a:pt x="8" y="79"/>
                      <a:pt x="0" y="97"/>
                      <a:pt x="0" y="116"/>
                    </a:cubicBezTo>
                    <a:cubicBezTo>
                      <a:pt x="0" y="146"/>
                      <a:pt x="19" y="171"/>
                      <a:pt x="45" y="180"/>
                    </a:cubicBezTo>
                    <a:cubicBezTo>
                      <a:pt x="53" y="191"/>
                      <a:pt x="63" y="200"/>
                      <a:pt x="75" y="207"/>
                    </a:cubicBezTo>
                    <a:cubicBezTo>
                      <a:pt x="277" y="409"/>
                      <a:pt x="277" y="409"/>
                      <a:pt x="277" y="409"/>
                    </a:cubicBezTo>
                    <a:cubicBezTo>
                      <a:pt x="429" y="403"/>
                      <a:pt x="553" y="289"/>
                      <a:pt x="574" y="141"/>
                    </a:cubicBezTo>
                    <a:close/>
                  </a:path>
                </a:pathLst>
              </a:custGeom>
              <a:solidFill>
                <a:srgbClr val="00B6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53" name="Freeform 34"/>
              <p:cNvSpPr>
                <a:spLocks/>
              </p:cNvSpPr>
              <p:nvPr/>
            </p:nvSpPr>
            <p:spPr bwMode="auto">
              <a:xfrm>
                <a:off x="2624138" y="-979488"/>
                <a:ext cx="2001838" cy="839788"/>
              </a:xfrm>
              <a:custGeom>
                <a:avLst/>
                <a:gdLst>
                  <a:gd name="T0" fmla="*/ 485 w 531"/>
                  <a:gd name="T1" fmla="*/ 53 h 223"/>
                  <a:gd name="T2" fmla="*/ 399 w 531"/>
                  <a:gd name="T3" fmla="*/ 10 h 223"/>
                  <a:gd name="T4" fmla="*/ 327 w 531"/>
                  <a:gd name="T5" fmla="*/ 38 h 223"/>
                  <a:gd name="T6" fmla="*/ 265 w 531"/>
                  <a:gd name="T7" fmla="*/ 0 h 223"/>
                  <a:gd name="T8" fmla="*/ 203 w 531"/>
                  <a:gd name="T9" fmla="*/ 38 h 223"/>
                  <a:gd name="T10" fmla="*/ 131 w 531"/>
                  <a:gd name="T11" fmla="*/ 10 h 223"/>
                  <a:gd name="T12" fmla="*/ 45 w 531"/>
                  <a:gd name="T13" fmla="*/ 53 h 223"/>
                  <a:gd name="T14" fmla="*/ 0 w 531"/>
                  <a:gd name="T15" fmla="*/ 116 h 223"/>
                  <a:gd name="T16" fmla="*/ 45 w 531"/>
                  <a:gd name="T17" fmla="*/ 180 h 223"/>
                  <a:gd name="T18" fmla="*/ 131 w 531"/>
                  <a:gd name="T19" fmla="*/ 223 h 223"/>
                  <a:gd name="T20" fmla="*/ 236 w 531"/>
                  <a:gd name="T21" fmla="*/ 134 h 223"/>
                  <a:gd name="T22" fmla="*/ 265 w 531"/>
                  <a:gd name="T23" fmla="*/ 140 h 223"/>
                  <a:gd name="T24" fmla="*/ 294 w 531"/>
                  <a:gd name="T25" fmla="*/ 134 h 223"/>
                  <a:gd name="T26" fmla="*/ 399 w 531"/>
                  <a:gd name="T27" fmla="*/ 223 h 223"/>
                  <a:gd name="T28" fmla="*/ 485 w 531"/>
                  <a:gd name="T29" fmla="*/ 180 h 223"/>
                  <a:gd name="T30" fmla="*/ 531 w 531"/>
                  <a:gd name="T31" fmla="*/ 116 h 223"/>
                  <a:gd name="T32" fmla="*/ 485 w 531"/>
                  <a:gd name="T33" fmla="*/ 5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1" h="223">
                    <a:moveTo>
                      <a:pt x="485" y="53"/>
                    </a:moveTo>
                    <a:cubicBezTo>
                      <a:pt x="466" y="27"/>
                      <a:pt x="434" y="10"/>
                      <a:pt x="399" y="10"/>
                    </a:cubicBezTo>
                    <a:cubicBezTo>
                      <a:pt x="372" y="10"/>
                      <a:pt x="346" y="20"/>
                      <a:pt x="327" y="38"/>
                    </a:cubicBezTo>
                    <a:cubicBezTo>
                      <a:pt x="316" y="15"/>
                      <a:pt x="292" y="0"/>
                      <a:pt x="265" y="0"/>
                    </a:cubicBezTo>
                    <a:cubicBezTo>
                      <a:pt x="238" y="0"/>
                      <a:pt x="215" y="15"/>
                      <a:pt x="203" y="38"/>
                    </a:cubicBezTo>
                    <a:cubicBezTo>
                      <a:pt x="184" y="20"/>
                      <a:pt x="159" y="10"/>
                      <a:pt x="131" y="10"/>
                    </a:cubicBezTo>
                    <a:cubicBezTo>
                      <a:pt x="96" y="10"/>
                      <a:pt x="65" y="27"/>
                      <a:pt x="45" y="53"/>
                    </a:cubicBezTo>
                    <a:cubicBezTo>
                      <a:pt x="19" y="62"/>
                      <a:pt x="0" y="87"/>
                      <a:pt x="0" y="116"/>
                    </a:cubicBezTo>
                    <a:cubicBezTo>
                      <a:pt x="0" y="146"/>
                      <a:pt x="19" y="171"/>
                      <a:pt x="45" y="180"/>
                    </a:cubicBezTo>
                    <a:cubicBezTo>
                      <a:pt x="65" y="206"/>
                      <a:pt x="96" y="223"/>
                      <a:pt x="131" y="223"/>
                    </a:cubicBezTo>
                    <a:cubicBezTo>
                      <a:pt x="184" y="223"/>
                      <a:pt x="228" y="184"/>
                      <a:pt x="236" y="134"/>
                    </a:cubicBezTo>
                    <a:cubicBezTo>
                      <a:pt x="245" y="138"/>
                      <a:pt x="255" y="140"/>
                      <a:pt x="265" y="140"/>
                    </a:cubicBezTo>
                    <a:cubicBezTo>
                      <a:pt x="276" y="140"/>
                      <a:pt x="285" y="138"/>
                      <a:pt x="294" y="134"/>
                    </a:cubicBezTo>
                    <a:cubicBezTo>
                      <a:pt x="302" y="184"/>
                      <a:pt x="346" y="223"/>
                      <a:pt x="399" y="223"/>
                    </a:cubicBezTo>
                    <a:cubicBezTo>
                      <a:pt x="434" y="223"/>
                      <a:pt x="466" y="206"/>
                      <a:pt x="485" y="180"/>
                    </a:cubicBezTo>
                    <a:cubicBezTo>
                      <a:pt x="512" y="171"/>
                      <a:pt x="531" y="146"/>
                      <a:pt x="531" y="116"/>
                    </a:cubicBezTo>
                    <a:cubicBezTo>
                      <a:pt x="531" y="87"/>
                      <a:pt x="512" y="62"/>
                      <a:pt x="485" y="53"/>
                    </a:cubicBezTo>
                    <a:close/>
                  </a:path>
                </a:pathLst>
              </a:custGeom>
              <a:solidFill>
                <a:srgbClr val="00A3C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54" name="Oval 32"/>
              <p:cNvSpPr>
                <a:spLocks noChangeArrowheads="1"/>
              </p:cNvSpPr>
              <p:nvPr/>
            </p:nvSpPr>
            <p:spPr bwMode="auto">
              <a:xfrm>
                <a:off x="2851151" y="-806451"/>
                <a:ext cx="534988" cy="530225"/>
              </a:xfrm>
              <a:prstGeom prst="ellipse">
                <a:avLst/>
              </a:prstGeom>
              <a:solidFill>
                <a:srgbClr val="00BCEB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55" name="Oval 33"/>
              <p:cNvSpPr>
                <a:spLocks noChangeArrowheads="1"/>
              </p:cNvSpPr>
              <p:nvPr/>
            </p:nvSpPr>
            <p:spPr bwMode="auto">
              <a:xfrm>
                <a:off x="3863976" y="-806451"/>
                <a:ext cx="531813" cy="530225"/>
              </a:xfrm>
              <a:prstGeom prst="ellipse">
                <a:avLst/>
              </a:prstGeom>
              <a:solidFill>
                <a:srgbClr val="00BCEB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00C164E4-AA47-44D6-A4CF-A840F3257CAD}"/>
              </a:ext>
            </a:extLst>
          </p:cNvPr>
          <p:cNvGrpSpPr/>
          <p:nvPr/>
        </p:nvGrpSpPr>
        <p:grpSpPr>
          <a:xfrm>
            <a:off x="1643331" y="710972"/>
            <a:ext cx="457390" cy="457390"/>
            <a:chOff x="1866501" y="485585"/>
            <a:chExt cx="457390" cy="457390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xmlns="" id="{E7BA089C-A271-4556-8CB7-A3D326590ACE}"/>
                </a:ext>
              </a:extLst>
            </p:cNvPr>
            <p:cNvSpPr/>
            <p:nvPr/>
          </p:nvSpPr>
          <p:spPr>
            <a:xfrm>
              <a:off x="1866501" y="485585"/>
              <a:ext cx="457390" cy="45739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64" name="Group 63"/>
            <p:cNvGrpSpPr/>
            <p:nvPr/>
          </p:nvGrpSpPr>
          <p:grpSpPr>
            <a:xfrm>
              <a:off x="1925765" y="544915"/>
              <a:ext cx="349271" cy="349271"/>
              <a:chOff x="2581275" y="3149114"/>
              <a:chExt cx="933450" cy="933450"/>
            </a:xfrm>
          </p:grpSpPr>
          <p:sp>
            <p:nvSpPr>
              <p:cNvPr id="30" name="Freeform 25"/>
              <p:cNvSpPr>
                <a:spLocks/>
              </p:cNvSpPr>
              <p:nvPr/>
            </p:nvSpPr>
            <p:spPr bwMode="auto">
              <a:xfrm>
                <a:off x="2581275" y="3149114"/>
                <a:ext cx="933450" cy="933450"/>
              </a:xfrm>
              <a:custGeom>
                <a:avLst/>
                <a:gdLst>
                  <a:gd name="T0" fmla="*/ 1039 w 1264"/>
                  <a:gd name="T1" fmla="*/ 1039 h 1264"/>
                  <a:gd name="T2" fmla="*/ 225 w 1264"/>
                  <a:gd name="T3" fmla="*/ 1039 h 1264"/>
                  <a:gd name="T4" fmla="*/ 225 w 1264"/>
                  <a:gd name="T5" fmla="*/ 225 h 1264"/>
                  <a:gd name="T6" fmla="*/ 1039 w 1264"/>
                  <a:gd name="T7" fmla="*/ 225 h 1264"/>
                  <a:gd name="T8" fmla="*/ 1039 w 1264"/>
                  <a:gd name="T9" fmla="*/ 1039 h 1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4" h="1264">
                    <a:moveTo>
                      <a:pt x="1039" y="1039"/>
                    </a:moveTo>
                    <a:cubicBezTo>
                      <a:pt x="814" y="1264"/>
                      <a:pt x="450" y="1264"/>
                      <a:pt x="225" y="1039"/>
                    </a:cubicBezTo>
                    <a:cubicBezTo>
                      <a:pt x="0" y="814"/>
                      <a:pt x="0" y="450"/>
                      <a:pt x="225" y="225"/>
                    </a:cubicBezTo>
                    <a:cubicBezTo>
                      <a:pt x="450" y="0"/>
                      <a:pt x="814" y="0"/>
                      <a:pt x="1039" y="225"/>
                    </a:cubicBezTo>
                    <a:cubicBezTo>
                      <a:pt x="1264" y="450"/>
                      <a:pt x="1264" y="814"/>
                      <a:pt x="1039" y="1039"/>
                    </a:cubicBezTo>
                    <a:close/>
                  </a:path>
                </a:pathLst>
              </a:cu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60" name="Freeform 59"/>
              <p:cNvSpPr>
                <a:spLocks/>
              </p:cNvSpPr>
              <p:nvPr/>
            </p:nvSpPr>
            <p:spPr bwMode="auto">
              <a:xfrm>
                <a:off x="2912865" y="3411052"/>
                <a:ext cx="560585" cy="619125"/>
              </a:xfrm>
              <a:custGeom>
                <a:avLst/>
                <a:gdLst>
                  <a:gd name="connsiteX0" fmla="*/ 343475 w 560585"/>
                  <a:gd name="connsiteY0" fmla="*/ 0 h 619125"/>
                  <a:gd name="connsiteX1" fmla="*/ 560585 w 560585"/>
                  <a:gd name="connsiteY1" fmla="*/ 219427 h 619125"/>
                  <a:gd name="connsiteX2" fmla="*/ 435784 w 560585"/>
                  <a:gd name="connsiteY2" fmla="*/ 506087 h 619125"/>
                  <a:gd name="connsiteX3" fmla="*/ 236397 w 560585"/>
                  <a:gd name="connsiteY3" fmla="*/ 619125 h 619125"/>
                  <a:gd name="connsiteX4" fmla="*/ 87 w 560585"/>
                  <a:gd name="connsiteY4" fmla="*/ 393048 h 619125"/>
                  <a:gd name="connsiteX5" fmla="*/ 64 w 560585"/>
                  <a:gd name="connsiteY5" fmla="*/ 391571 h 619125"/>
                  <a:gd name="connsiteX6" fmla="*/ 0 w 560585"/>
                  <a:gd name="connsiteY6" fmla="*/ 387488 h 619125"/>
                  <a:gd name="connsiteX7" fmla="*/ 49858 w 560585"/>
                  <a:gd name="connsiteY7" fmla="*/ 430601 h 619125"/>
                  <a:gd name="connsiteX8" fmla="*/ 135135 w 560585"/>
                  <a:gd name="connsiteY8" fmla="*/ 463550 h 619125"/>
                  <a:gd name="connsiteX9" fmla="*/ 347860 w 560585"/>
                  <a:gd name="connsiteY9" fmla="*/ 204928 h 619125"/>
                  <a:gd name="connsiteX10" fmla="*/ 347860 w 560585"/>
                  <a:gd name="connsiteY10" fmla="*/ 14093 h 619125"/>
                  <a:gd name="connsiteX11" fmla="*/ 342392 w 560585"/>
                  <a:gd name="connsiteY11" fmla="*/ 938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60585" h="619125">
                    <a:moveTo>
                      <a:pt x="343475" y="0"/>
                    </a:moveTo>
                    <a:cubicBezTo>
                      <a:pt x="343475" y="0"/>
                      <a:pt x="343475" y="0"/>
                      <a:pt x="560585" y="219427"/>
                    </a:cubicBezTo>
                    <a:cubicBezTo>
                      <a:pt x="556893" y="323600"/>
                      <a:pt x="515539" y="427034"/>
                      <a:pt x="435784" y="506087"/>
                    </a:cubicBezTo>
                    <a:cubicBezTo>
                      <a:pt x="378922" y="563714"/>
                      <a:pt x="309506" y="601394"/>
                      <a:pt x="236397" y="619125"/>
                    </a:cubicBezTo>
                    <a:cubicBezTo>
                      <a:pt x="236397" y="619125"/>
                      <a:pt x="236397" y="619125"/>
                      <a:pt x="87" y="393048"/>
                    </a:cubicBezTo>
                    <a:cubicBezTo>
                      <a:pt x="87" y="393048"/>
                      <a:pt x="87" y="393048"/>
                      <a:pt x="64" y="391571"/>
                    </a:cubicBezTo>
                    <a:lnTo>
                      <a:pt x="0" y="387488"/>
                    </a:lnTo>
                    <a:lnTo>
                      <a:pt x="49858" y="430601"/>
                    </a:lnTo>
                    <a:cubicBezTo>
                      <a:pt x="75583" y="446143"/>
                      <a:pt x="104297" y="457471"/>
                      <a:pt x="135135" y="463550"/>
                    </a:cubicBezTo>
                    <a:cubicBezTo>
                      <a:pt x="258486" y="439235"/>
                      <a:pt x="347860" y="330924"/>
                      <a:pt x="347860" y="204928"/>
                    </a:cubicBezTo>
                    <a:cubicBezTo>
                      <a:pt x="347860" y="14093"/>
                      <a:pt x="347860" y="14093"/>
                      <a:pt x="347860" y="14093"/>
                    </a:cubicBezTo>
                    <a:lnTo>
                      <a:pt x="342392" y="938"/>
                    </a:lnTo>
                    <a:close/>
                  </a:path>
                </a:pathLst>
              </a:custGeom>
              <a:solidFill>
                <a:srgbClr val="00A2E1">
                  <a:alpha val="23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grpSp>
            <p:nvGrpSpPr>
              <p:cNvPr id="63" name="Group 62"/>
              <p:cNvGrpSpPr/>
              <p:nvPr/>
            </p:nvGrpSpPr>
            <p:grpSpPr>
              <a:xfrm>
                <a:off x="2835275" y="3350727"/>
                <a:ext cx="425450" cy="523875"/>
                <a:chOff x="2835275" y="3350727"/>
                <a:chExt cx="425450" cy="523875"/>
              </a:xfrm>
              <a:solidFill>
                <a:schemeClr val="accent1">
                  <a:lumMod val="75000"/>
                  <a:alpha val="40000"/>
                </a:schemeClr>
              </a:solidFill>
            </p:grpSpPr>
            <p:sp>
              <p:nvSpPr>
                <p:cNvPr id="61" name="Freeform 27"/>
                <p:cNvSpPr>
                  <a:spLocks/>
                </p:cNvSpPr>
                <p:nvPr/>
              </p:nvSpPr>
              <p:spPr bwMode="auto">
                <a:xfrm>
                  <a:off x="2835275" y="3350727"/>
                  <a:ext cx="425450" cy="523875"/>
                </a:xfrm>
                <a:custGeom>
                  <a:avLst/>
                  <a:gdLst>
                    <a:gd name="T0" fmla="*/ 0 w 576"/>
                    <a:gd name="T1" fmla="*/ 101 h 711"/>
                    <a:gd name="T2" fmla="*/ 0 w 576"/>
                    <a:gd name="T3" fmla="*/ 360 h 711"/>
                    <a:gd name="T4" fmla="*/ 288 w 576"/>
                    <a:gd name="T5" fmla="*/ 711 h 711"/>
                    <a:gd name="T6" fmla="*/ 288 w 576"/>
                    <a:gd name="T7" fmla="*/ 711 h 711"/>
                    <a:gd name="T8" fmla="*/ 288 w 576"/>
                    <a:gd name="T9" fmla="*/ 711 h 711"/>
                    <a:gd name="T10" fmla="*/ 576 w 576"/>
                    <a:gd name="T11" fmla="*/ 360 h 711"/>
                    <a:gd name="T12" fmla="*/ 576 w 576"/>
                    <a:gd name="T13" fmla="*/ 101 h 711"/>
                    <a:gd name="T14" fmla="*/ 547 w 576"/>
                    <a:gd name="T15" fmla="*/ 72 h 711"/>
                    <a:gd name="T16" fmla="*/ 513 w 576"/>
                    <a:gd name="T17" fmla="*/ 72 h 711"/>
                    <a:gd name="T18" fmla="*/ 288 w 576"/>
                    <a:gd name="T19" fmla="*/ 0 h 711"/>
                    <a:gd name="T20" fmla="*/ 288 w 576"/>
                    <a:gd name="T21" fmla="*/ 0 h 711"/>
                    <a:gd name="T22" fmla="*/ 288 w 576"/>
                    <a:gd name="T23" fmla="*/ 0 h 711"/>
                    <a:gd name="T24" fmla="*/ 63 w 576"/>
                    <a:gd name="T25" fmla="*/ 72 h 711"/>
                    <a:gd name="T26" fmla="*/ 29 w 576"/>
                    <a:gd name="T27" fmla="*/ 72 h 711"/>
                    <a:gd name="T28" fmla="*/ 0 w 576"/>
                    <a:gd name="T29" fmla="*/ 101 h 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76" h="711">
                      <a:moveTo>
                        <a:pt x="0" y="101"/>
                      </a:moveTo>
                      <a:cubicBezTo>
                        <a:pt x="0" y="360"/>
                        <a:pt x="0" y="360"/>
                        <a:pt x="0" y="360"/>
                      </a:cubicBezTo>
                      <a:cubicBezTo>
                        <a:pt x="0" y="531"/>
                        <a:pt x="121" y="678"/>
                        <a:pt x="288" y="711"/>
                      </a:cubicBezTo>
                      <a:cubicBezTo>
                        <a:pt x="288" y="711"/>
                        <a:pt x="288" y="711"/>
                        <a:pt x="288" y="711"/>
                      </a:cubicBezTo>
                      <a:cubicBezTo>
                        <a:pt x="288" y="711"/>
                        <a:pt x="288" y="711"/>
                        <a:pt x="288" y="711"/>
                      </a:cubicBezTo>
                      <a:cubicBezTo>
                        <a:pt x="455" y="678"/>
                        <a:pt x="576" y="531"/>
                        <a:pt x="576" y="360"/>
                      </a:cubicBezTo>
                      <a:cubicBezTo>
                        <a:pt x="576" y="101"/>
                        <a:pt x="576" y="101"/>
                        <a:pt x="576" y="101"/>
                      </a:cubicBezTo>
                      <a:cubicBezTo>
                        <a:pt x="576" y="85"/>
                        <a:pt x="563" y="72"/>
                        <a:pt x="547" y="72"/>
                      </a:cubicBezTo>
                      <a:cubicBezTo>
                        <a:pt x="513" y="72"/>
                        <a:pt x="513" y="72"/>
                        <a:pt x="513" y="72"/>
                      </a:cubicBezTo>
                      <a:cubicBezTo>
                        <a:pt x="432" y="72"/>
                        <a:pt x="354" y="47"/>
                        <a:pt x="288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22" y="47"/>
                        <a:pt x="144" y="72"/>
                        <a:pt x="63" y="72"/>
                      </a:cubicBezTo>
                      <a:cubicBezTo>
                        <a:pt x="29" y="72"/>
                        <a:pt x="29" y="72"/>
                        <a:pt x="29" y="72"/>
                      </a:cubicBezTo>
                      <a:cubicBezTo>
                        <a:pt x="13" y="72"/>
                        <a:pt x="0" y="85"/>
                        <a:pt x="0" y="10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58" name="Freeform 28"/>
                <p:cNvSpPr>
                  <a:spLocks/>
                </p:cNvSpPr>
                <p:nvPr/>
              </p:nvSpPr>
              <p:spPr bwMode="auto">
                <a:xfrm>
                  <a:off x="3048000" y="3350727"/>
                  <a:ext cx="212725" cy="523875"/>
                </a:xfrm>
                <a:custGeom>
                  <a:avLst/>
                  <a:gdLst>
                    <a:gd name="T0" fmla="*/ 0 w 288"/>
                    <a:gd name="T1" fmla="*/ 0 h 711"/>
                    <a:gd name="T2" fmla="*/ 225 w 288"/>
                    <a:gd name="T3" fmla="*/ 72 h 711"/>
                    <a:gd name="T4" fmla="*/ 259 w 288"/>
                    <a:gd name="T5" fmla="*/ 72 h 711"/>
                    <a:gd name="T6" fmla="*/ 288 w 288"/>
                    <a:gd name="T7" fmla="*/ 101 h 711"/>
                    <a:gd name="T8" fmla="*/ 288 w 288"/>
                    <a:gd name="T9" fmla="*/ 360 h 711"/>
                    <a:gd name="T10" fmla="*/ 0 w 288"/>
                    <a:gd name="T11" fmla="*/ 711 h 711"/>
                    <a:gd name="T12" fmla="*/ 0 w 288"/>
                    <a:gd name="T13" fmla="*/ 0 h 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8" h="711">
                      <a:moveTo>
                        <a:pt x="0" y="0"/>
                      </a:moveTo>
                      <a:cubicBezTo>
                        <a:pt x="66" y="47"/>
                        <a:pt x="144" y="72"/>
                        <a:pt x="225" y="72"/>
                      </a:cubicBezTo>
                      <a:cubicBezTo>
                        <a:pt x="259" y="72"/>
                        <a:pt x="259" y="72"/>
                        <a:pt x="259" y="72"/>
                      </a:cubicBezTo>
                      <a:cubicBezTo>
                        <a:pt x="275" y="72"/>
                        <a:pt x="288" y="85"/>
                        <a:pt x="288" y="101"/>
                      </a:cubicBezTo>
                      <a:cubicBezTo>
                        <a:pt x="288" y="360"/>
                        <a:pt x="288" y="360"/>
                        <a:pt x="288" y="360"/>
                      </a:cubicBezTo>
                      <a:cubicBezTo>
                        <a:pt x="288" y="531"/>
                        <a:pt x="167" y="678"/>
                        <a:pt x="0" y="711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  <a:alpha val="2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</p:grpSp>
      </p:grpSp>
      <p:grpSp>
        <p:nvGrpSpPr>
          <p:cNvPr id="1201" name="Group 1200">
            <a:extLst>
              <a:ext uri="{FF2B5EF4-FFF2-40B4-BE49-F238E27FC236}">
                <a16:creationId xmlns:a16="http://schemas.microsoft.com/office/drawing/2014/main" xmlns="" id="{A54063F4-81D5-403B-B9AB-060A72F8DE7F}"/>
              </a:ext>
            </a:extLst>
          </p:cNvPr>
          <p:cNvGrpSpPr/>
          <p:nvPr/>
        </p:nvGrpSpPr>
        <p:grpSpPr>
          <a:xfrm>
            <a:off x="6593387" y="3286794"/>
            <a:ext cx="1993017" cy="486806"/>
            <a:chOff x="4755699" y="3092016"/>
            <a:chExt cx="2151216" cy="1240479"/>
          </a:xfrm>
        </p:grpSpPr>
        <p:sp>
          <p:nvSpPr>
            <p:cNvPr id="1202" name="Rectangle: Rounded Corners 1201">
              <a:extLst>
                <a:ext uri="{FF2B5EF4-FFF2-40B4-BE49-F238E27FC236}">
                  <a16:creationId xmlns:a16="http://schemas.microsoft.com/office/drawing/2014/main" xmlns="" id="{6863B459-687A-4D16-8908-35E3ECFFB6D1}"/>
                </a:ext>
              </a:extLst>
            </p:cNvPr>
            <p:cNvSpPr/>
            <p:nvPr/>
          </p:nvSpPr>
          <p:spPr>
            <a:xfrm>
              <a:off x="4755699" y="3217089"/>
              <a:ext cx="1579614" cy="1057592"/>
            </a:xfrm>
            <a:prstGeom prst="roundRect">
              <a:avLst>
                <a:gd name="adj" fmla="val 10749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203" name="Isosceles Triangle 1202">
              <a:extLst>
                <a:ext uri="{FF2B5EF4-FFF2-40B4-BE49-F238E27FC236}">
                  <a16:creationId xmlns:a16="http://schemas.microsoft.com/office/drawing/2014/main" xmlns="" id="{16BFEE40-CF60-4C8A-A68C-E63BCC924303}"/>
                </a:ext>
              </a:extLst>
            </p:cNvPr>
            <p:cNvSpPr/>
            <p:nvPr/>
          </p:nvSpPr>
          <p:spPr>
            <a:xfrm rot="10800000" flipV="1">
              <a:off x="4859066" y="3092016"/>
              <a:ext cx="147754" cy="131304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204" name="Rectangle 1203">
              <a:extLst>
                <a:ext uri="{FF2B5EF4-FFF2-40B4-BE49-F238E27FC236}">
                  <a16:creationId xmlns:a16="http://schemas.microsoft.com/office/drawing/2014/main" xmlns="" id="{FBBE6A86-2BF7-401D-8FB4-8D538C238DF1}"/>
                </a:ext>
              </a:extLst>
            </p:cNvPr>
            <p:cNvSpPr/>
            <p:nvPr/>
          </p:nvSpPr>
          <p:spPr>
            <a:xfrm>
              <a:off x="4775783" y="3273723"/>
              <a:ext cx="2131132" cy="1058772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1050" dirty="0" smtClean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Segmentation across </a:t>
              </a:r>
              <a:br>
                <a:rPr lang="en-US" sz="1050" dirty="0" smtClean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</a:br>
              <a:r>
                <a:rPr lang="en-US" sz="1050" dirty="0" smtClean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multiple clouds</a:t>
              </a:r>
              <a:endParaRPr lang="en-US" sz="12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sp>
        <p:nvSpPr>
          <p:cNvPr id="1293" name="Rectangle: Rounded Corners 30">
            <a:extLst>
              <a:ext uri="{FF2B5EF4-FFF2-40B4-BE49-F238E27FC236}">
                <a16:creationId xmlns:a16="http://schemas.microsoft.com/office/drawing/2014/main" xmlns="" id="{BDD1837A-886D-40A3-8B58-B970F3C1C40C}"/>
              </a:ext>
            </a:extLst>
          </p:cNvPr>
          <p:cNvSpPr/>
          <p:nvPr/>
        </p:nvSpPr>
        <p:spPr>
          <a:xfrm>
            <a:off x="480060" y="2780127"/>
            <a:ext cx="1224049" cy="269045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294" name="Rectangle 1293">
            <a:extLst>
              <a:ext uri="{FF2B5EF4-FFF2-40B4-BE49-F238E27FC236}">
                <a16:creationId xmlns:a16="http://schemas.microsoft.com/office/drawing/2014/main" xmlns="" id="{67B3A002-29DF-4AAC-B80F-4975850276B9}"/>
              </a:ext>
            </a:extLst>
          </p:cNvPr>
          <p:cNvSpPr/>
          <p:nvPr/>
        </p:nvSpPr>
        <p:spPr>
          <a:xfrm>
            <a:off x="510757" y="2774515"/>
            <a:ext cx="1000595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1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Cisco </a:t>
            </a:r>
            <a:r>
              <a:rPr lang="en-US" sz="1100" dirty="0" smtClean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NGFW</a:t>
            </a:r>
            <a:endParaRPr lang="en-US" sz="1400" dirty="0">
              <a:solidFill>
                <a:schemeClr val="bg2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295" name="Rectangle: Rounded Corners 30">
            <a:extLst>
              <a:ext uri="{FF2B5EF4-FFF2-40B4-BE49-F238E27FC236}">
                <a16:creationId xmlns:a16="http://schemas.microsoft.com/office/drawing/2014/main" xmlns="" id="{BDD1837A-886D-40A3-8B58-B970F3C1C40C}"/>
              </a:ext>
            </a:extLst>
          </p:cNvPr>
          <p:cNvSpPr/>
          <p:nvPr/>
        </p:nvSpPr>
        <p:spPr>
          <a:xfrm>
            <a:off x="453012" y="3582441"/>
            <a:ext cx="1224049" cy="269045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1296" name="Group 1295"/>
          <p:cNvGrpSpPr/>
          <p:nvPr/>
        </p:nvGrpSpPr>
        <p:grpSpPr>
          <a:xfrm>
            <a:off x="455159" y="3170348"/>
            <a:ext cx="1224049" cy="269045"/>
            <a:chOff x="455159" y="3170348"/>
            <a:chExt cx="1224049" cy="269045"/>
          </a:xfrm>
          <a:solidFill>
            <a:schemeClr val="accent2"/>
          </a:solidFill>
        </p:grpSpPr>
        <p:sp>
          <p:nvSpPr>
            <p:cNvPr id="1297" name="Rectangle: Rounded Corners 30">
              <a:extLst>
                <a:ext uri="{FF2B5EF4-FFF2-40B4-BE49-F238E27FC236}">
                  <a16:creationId xmlns:a16="http://schemas.microsoft.com/office/drawing/2014/main" xmlns="" id="{BDD1837A-886D-40A3-8B58-B970F3C1C40C}"/>
                </a:ext>
              </a:extLst>
            </p:cNvPr>
            <p:cNvSpPr/>
            <p:nvPr/>
          </p:nvSpPr>
          <p:spPr>
            <a:xfrm>
              <a:off x="455159" y="3170348"/>
              <a:ext cx="1224049" cy="269045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298" name="Rectangle 1297">
              <a:extLst>
                <a:ext uri="{FF2B5EF4-FFF2-40B4-BE49-F238E27FC236}">
                  <a16:creationId xmlns:a16="http://schemas.microsoft.com/office/drawing/2014/main" xmlns="" id="{67B3A002-29DF-4AAC-B80F-4975850276B9}"/>
                </a:ext>
              </a:extLst>
            </p:cNvPr>
            <p:cNvSpPr/>
            <p:nvPr/>
          </p:nvSpPr>
          <p:spPr>
            <a:xfrm>
              <a:off x="510757" y="3171720"/>
              <a:ext cx="808235" cy="261610"/>
            </a:xfrm>
            <a:prstGeom prst="rect">
              <a:avLst/>
            </a:prstGeom>
            <a:grpFill/>
          </p:spPr>
          <p:txBody>
            <a:bodyPr wrap="none" anchor="ctr">
              <a:spAutoFit/>
            </a:bodyPr>
            <a:lstStyle/>
            <a:p>
              <a:r>
                <a:rPr lang="en-US" sz="1100" dirty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Cisco </a:t>
              </a:r>
              <a:r>
                <a:rPr lang="en-US" sz="1100" dirty="0" smtClean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ACI</a:t>
              </a:r>
              <a:endParaRPr lang="en-US" sz="14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sp>
        <p:nvSpPr>
          <p:cNvPr id="1299" name="Rectangle 1298">
            <a:extLst>
              <a:ext uri="{FF2B5EF4-FFF2-40B4-BE49-F238E27FC236}">
                <a16:creationId xmlns:a16="http://schemas.microsoft.com/office/drawing/2014/main" xmlns="" id="{67B3A002-29DF-4AAC-B80F-4975850276B9}"/>
              </a:ext>
            </a:extLst>
          </p:cNvPr>
          <p:cNvSpPr/>
          <p:nvPr/>
        </p:nvSpPr>
        <p:spPr>
          <a:xfrm>
            <a:off x="479719" y="3579357"/>
            <a:ext cx="1184940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1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Cisco </a:t>
            </a:r>
            <a:r>
              <a:rPr lang="en-US" sz="1100" dirty="0" err="1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Tetration</a:t>
            </a:r>
            <a:r>
              <a:rPr lang="en-US" sz="11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 </a:t>
            </a:r>
            <a:endParaRPr lang="en-US" sz="1400" dirty="0">
              <a:solidFill>
                <a:schemeClr val="bg2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5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-4.32099E-6 L -0.46459 -4.32099E-6 " pathEditMode="relative" rAng="0" ptsTypes="AA">
                                      <p:cBhvr>
                                        <p:cTn id="6" dur="2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229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1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animScale>
                                      <p:cBhvr>
                                        <p:cTn id="11" dur="10" fill="hold"/>
                                        <p:tgtEl>
                                          <p:spTgt spid="1201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6" presetClass="emph" presetSubtype="0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Scale>
                                      <p:cBhvr>
                                        <p:cTn id="13" dur="1000" fill="hold"/>
                                        <p:tgtEl>
                                          <p:spTgt spid="1201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3.88889E-6 2.46914E-7 L -0.075 -0.10926 " pathEditMode="relative" rAng="0" ptsTypes="AA">
                                      <p:cBhvr>
                                        <p:cTn id="15" dur="1000" spd="-100000" fill="hold"/>
                                        <p:tgtEl>
                                          <p:spTgt spid="12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-546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9A1242C5-353F-4E0D-B96B-F4B4FCB66C4E}"/>
              </a:ext>
            </a:extLst>
          </p:cNvPr>
          <p:cNvSpPr/>
          <p:nvPr/>
        </p:nvSpPr>
        <p:spPr>
          <a:xfrm>
            <a:off x="0" y="4533900"/>
            <a:ext cx="4048125" cy="6096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602" name="Group 2380">
            <a:extLst>
              <a:ext uri="{FF2B5EF4-FFF2-40B4-BE49-F238E27FC236}">
                <a16:creationId xmlns:a16="http://schemas.microsoft.com/office/drawing/2014/main" xmlns="" id="{0EDEE642-4793-44E0-94E8-2A77AECB015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51873" y="-615394"/>
            <a:ext cx="6429375" cy="6374289"/>
            <a:chOff x="1246" y="0"/>
            <a:chExt cx="3268" cy="3240"/>
          </a:xfrm>
        </p:grpSpPr>
        <p:grpSp>
          <p:nvGrpSpPr>
            <p:cNvPr id="2604" name="Group 2581">
              <a:extLst>
                <a:ext uri="{FF2B5EF4-FFF2-40B4-BE49-F238E27FC236}">
                  <a16:creationId xmlns:a16="http://schemas.microsoft.com/office/drawing/2014/main" xmlns="" id="{EEF02138-350E-4B6F-A9F9-3E6ABF8E47A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76" y="30"/>
              <a:ext cx="3178" cy="3180"/>
              <a:chOff x="1276" y="30"/>
              <a:chExt cx="3178" cy="3180"/>
            </a:xfrm>
          </p:grpSpPr>
          <p:sp>
            <p:nvSpPr>
              <p:cNvPr id="3192" name="Line 2381">
                <a:extLst>
                  <a:ext uri="{FF2B5EF4-FFF2-40B4-BE49-F238E27FC236}">
                    <a16:creationId xmlns:a16="http://schemas.microsoft.com/office/drawing/2014/main" xmlns="" id="{1ECBEB15-D25A-4424-9F12-6EAB46551E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47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3" name="Freeform 2382">
                <a:extLst>
                  <a:ext uri="{FF2B5EF4-FFF2-40B4-BE49-F238E27FC236}">
                    <a16:creationId xmlns:a16="http://schemas.microsoft.com/office/drawing/2014/main" xmlns="" id="{8D1389BA-1FA9-4EA6-94FA-166A13A3F3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1410"/>
                <a:ext cx="300" cy="210"/>
              </a:xfrm>
              <a:custGeom>
                <a:avLst/>
                <a:gdLst>
                  <a:gd name="T0" fmla="*/ 210 w 300"/>
                  <a:gd name="T1" fmla="*/ 90 h 210"/>
                  <a:gd name="T2" fmla="*/ 300 w 300"/>
                  <a:gd name="T3" fmla="*/ 30 h 210"/>
                  <a:gd name="T4" fmla="*/ 300 w 300"/>
                  <a:gd name="T5" fmla="*/ 120 h 210"/>
                  <a:gd name="T6" fmla="*/ 240 w 300"/>
                  <a:gd name="T7" fmla="*/ 210 h 210"/>
                  <a:gd name="T8" fmla="*/ 150 w 300"/>
                  <a:gd name="T9" fmla="*/ 150 h 210"/>
                  <a:gd name="T10" fmla="*/ 60 w 300"/>
                  <a:gd name="T11" fmla="*/ 90 h 210"/>
                  <a:gd name="T12" fmla="*/ 0 w 300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0" h="210">
                    <a:moveTo>
                      <a:pt x="210" y="90"/>
                    </a:moveTo>
                    <a:lnTo>
                      <a:pt x="300" y="30"/>
                    </a:lnTo>
                    <a:lnTo>
                      <a:pt x="300" y="120"/>
                    </a:lnTo>
                    <a:lnTo>
                      <a:pt x="240" y="210"/>
                    </a:lnTo>
                    <a:lnTo>
                      <a:pt x="150" y="150"/>
                    </a:lnTo>
                    <a:lnTo>
                      <a:pt x="60" y="9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4" name="Freeform 2383">
                <a:extLst>
                  <a:ext uri="{FF2B5EF4-FFF2-40B4-BE49-F238E27FC236}">
                    <a16:creationId xmlns:a16="http://schemas.microsoft.com/office/drawing/2014/main" xmlns="" id="{A5EAB024-A9DB-41F4-85FA-3DEC21014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5" y="1292"/>
                <a:ext cx="180" cy="208"/>
              </a:xfrm>
              <a:custGeom>
                <a:avLst/>
                <a:gdLst>
                  <a:gd name="T0" fmla="*/ 0 w 180"/>
                  <a:gd name="T1" fmla="*/ 149 h 208"/>
                  <a:gd name="T2" fmla="*/ 150 w 180"/>
                  <a:gd name="T3" fmla="*/ 208 h 208"/>
                  <a:gd name="T4" fmla="*/ 180 w 180"/>
                  <a:gd name="T5" fmla="*/ 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08">
                    <a:moveTo>
                      <a:pt x="0" y="149"/>
                    </a:moveTo>
                    <a:lnTo>
                      <a:pt x="150" y="208"/>
                    </a:lnTo>
                    <a:lnTo>
                      <a:pt x="1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5" name="Line 2384">
                <a:extLst>
                  <a:ext uri="{FF2B5EF4-FFF2-40B4-BE49-F238E27FC236}">
                    <a16:creationId xmlns:a16="http://schemas.microsoft.com/office/drawing/2014/main" xmlns="" id="{C0105CE3-91E4-49BD-A09C-133AA6C6EE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535" y="1620"/>
                <a:ext cx="18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6" name="Line 2385">
                <a:extLst>
                  <a:ext uri="{FF2B5EF4-FFF2-40B4-BE49-F238E27FC236}">
                    <a16:creationId xmlns:a16="http://schemas.microsoft.com/office/drawing/2014/main" xmlns="" id="{00FD4591-1FAA-4A52-BF05-0A469113DA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560"/>
                <a:ext cx="6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7" name="Freeform 2386">
                <a:extLst>
                  <a:ext uri="{FF2B5EF4-FFF2-40B4-BE49-F238E27FC236}">
                    <a16:creationId xmlns:a16="http://schemas.microsoft.com/office/drawing/2014/main" xmlns="" id="{3DC532BC-999E-4E57-A580-8052E03F79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5" y="1650"/>
                <a:ext cx="210" cy="330"/>
              </a:xfrm>
              <a:custGeom>
                <a:avLst/>
                <a:gdLst>
                  <a:gd name="T0" fmla="*/ 120 w 210"/>
                  <a:gd name="T1" fmla="*/ 60 h 330"/>
                  <a:gd name="T2" fmla="*/ 0 w 210"/>
                  <a:gd name="T3" fmla="*/ 0 h 330"/>
                  <a:gd name="T4" fmla="*/ 0 w 210"/>
                  <a:gd name="T5" fmla="*/ 330 h 330"/>
                  <a:gd name="T6" fmla="*/ 210 w 210"/>
                  <a:gd name="T7" fmla="*/ 270 h 330"/>
                  <a:gd name="T8" fmla="*/ 119 w 210"/>
                  <a:gd name="T9" fmla="*/ 182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0" h="330">
                    <a:moveTo>
                      <a:pt x="120" y="60"/>
                    </a:moveTo>
                    <a:lnTo>
                      <a:pt x="0" y="0"/>
                    </a:lnTo>
                    <a:lnTo>
                      <a:pt x="0" y="330"/>
                    </a:lnTo>
                    <a:lnTo>
                      <a:pt x="210" y="270"/>
                    </a:lnTo>
                    <a:lnTo>
                      <a:pt x="119" y="18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8" name="Freeform 2387">
                <a:extLst>
                  <a:ext uri="{FF2B5EF4-FFF2-40B4-BE49-F238E27FC236}">
                    <a16:creationId xmlns:a16="http://schemas.microsoft.com/office/drawing/2014/main" xmlns="" id="{0AB008BF-00BD-4037-B5DC-D9802EF350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4" y="1680"/>
                <a:ext cx="151" cy="152"/>
              </a:xfrm>
              <a:custGeom>
                <a:avLst/>
                <a:gdLst>
                  <a:gd name="T0" fmla="*/ 121 w 151"/>
                  <a:gd name="T1" fmla="*/ 0 h 152"/>
                  <a:gd name="T2" fmla="*/ 151 w 151"/>
                  <a:gd name="T3" fmla="*/ 120 h 152"/>
                  <a:gd name="T4" fmla="*/ 0 w 151"/>
                  <a:gd name="T5" fmla="*/ 152 h 152"/>
                  <a:gd name="T6" fmla="*/ 1 w 151"/>
                  <a:gd name="T7" fmla="*/ 30 h 152"/>
                  <a:gd name="T8" fmla="*/ 121 w 151"/>
                  <a:gd name="T9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1" h="152">
                    <a:moveTo>
                      <a:pt x="121" y="0"/>
                    </a:moveTo>
                    <a:lnTo>
                      <a:pt x="151" y="120"/>
                    </a:lnTo>
                    <a:lnTo>
                      <a:pt x="0" y="152"/>
                    </a:lnTo>
                    <a:lnTo>
                      <a:pt x="1" y="30"/>
                    </a:lnTo>
                    <a:lnTo>
                      <a:pt x="121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9" name="Freeform 2388">
                <a:extLst>
                  <a:ext uri="{FF2B5EF4-FFF2-40B4-BE49-F238E27FC236}">
                    <a16:creationId xmlns:a16="http://schemas.microsoft.com/office/drawing/2014/main" xmlns="" id="{25E9705F-6348-40DE-9BCD-3F90416B8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620"/>
                <a:ext cx="240" cy="270"/>
              </a:xfrm>
              <a:custGeom>
                <a:avLst/>
                <a:gdLst>
                  <a:gd name="T0" fmla="*/ 0 w 240"/>
                  <a:gd name="T1" fmla="*/ 180 h 270"/>
                  <a:gd name="T2" fmla="*/ 60 w 240"/>
                  <a:gd name="T3" fmla="*/ 0 h 270"/>
                  <a:gd name="T4" fmla="*/ 90 w 240"/>
                  <a:gd name="T5" fmla="*/ 90 h 270"/>
                  <a:gd name="T6" fmla="*/ 120 w 240"/>
                  <a:gd name="T7" fmla="*/ 180 h 270"/>
                  <a:gd name="T8" fmla="*/ 150 w 240"/>
                  <a:gd name="T9" fmla="*/ 270 h 270"/>
                  <a:gd name="T10" fmla="*/ 240 w 240"/>
                  <a:gd name="T11" fmla="*/ 15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0" h="270">
                    <a:moveTo>
                      <a:pt x="0" y="180"/>
                    </a:moveTo>
                    <a:lnTo>
                      <a:pt x="60" y="0"/>
                    </a:lnTo>
                    <a:lnTo>
                      <a:pt x="90" y="90"/>
                    </a:lnTo>
                    <a:lnTo>
                      <a:pt x="120" y="180"/>
                    </a:lnTo>
                    <a:lnTo>
                      <a:pt x="150" y="270"/>
                    </a:lnTo>
                    <a:lnTo>
                      <a:pt x="24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0" name="Freeform 2389">
                <a:extLst>
                  <a:ext uri="{FF2B5EF4-FFF2-40B4-BE49-F238E27FC236}">
                    <a16:creationId xmlns:a16="http://schemas.microsoft.com/office/drawing/2014/main" xmlns="" id="{AE724297-FBA2-4E6F-AD6E-ADDAD1291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8" y="1800"/>
                <a:ext cx="237" cy="270"/>
              </a:xfrm>
              <a:custGeom>
                <a:avLst/>
                <a:gdLst>
                  <a:gd name="T0" fmla="*/ 237 w 237"/>
                  <a:gd name="T1" fmla="*/ 0 h 270"/>
                  <a:gd name="T2" fmla="*/ 177 w 237"/>
                  <a:gd name="T3" fmla="*/ 122 h 270"/>
                  <a:gd name="T4" fmla="*/ 117 w 237"/>
                  <a:gd name="T5" fmla="*/ 0 h 270"/>
                  <a:gd name="T6" fmla="*/ 57 w 237"/>
                  <a:gd name="T7" fmla="*/ 120 h 270"/>
                  <a:gd name="T8" fmla="*/ 147 w 237"/>
                  <a:gd name="T9" fmla="*/ 270 h 270"/>
                  <a:gd name="T10" fmla="*/ 0 w 237"/>
                  <a:gd name="T11" fmla="*/ 213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7" h="270">
                    <a:moveTo>
                      <a:pt x="237" y="0"/>
                    </a:moveTo>
                    <a:lnTo>
                      <a:pt x="177" y="122"/>
                    </a:lnTo>
                    <a:lnTo>
                      <a:pt x="117" y="0"/>
                    </a:lnTo>
                    <a:lnTo>
                      <a:pt x="57" y="120"/>
                    </a:lnTo>
                    <a:lnTo>
                      <a:pt x="147" y="270"/>
                    </a:lnTo>
                    <a:lnTo>
                      <a:pt x="0" y="213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1" name="Freeform 2390">
                <a:extLst>
                  <a:ext uri="{FF2B5EF4-FFF2-40B4-BE49-F238E27FC236}">
                    <a16:creationId xmlns:a16="http://schemas.microsoft.com/office/drawing/2014/main" xmlns="" id="{1ECF84DE-5057-4ECA-BDC7-6E65C89328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440"/>
                <a:ext cx="390" cy="570"/>
              </a:xfrm>
              <a:custGeom>
                <a:avLst/>
                <a:gdLst>
                  <a:gd name="T0" fmla="*/ 390 w 390"/>
                  <a:gd name="T1" fmla="*/ 480 h 570"/>
                  <a:gd name="T2" fmla="*/ 330 w 390"/>
                  <a:gd name="T3" fmla="*/ 570 h 570"/>
                  <a:gd name="T4" fmla="*/ 180 w 390"/>
                  <a:gd name="T5" fmla="*/ 540 h 570"/>
                  <a:gd name="T6" fmla="*/ 300 w 390"/>
                  <a:gd name="T7" fmla="*/ 390 h 570"/>
                  <a:gd name="T8" fmla="*/ 120 w 390"/>
                  <a:gd name="T9" fmla="*/ 390 h 570"/>
                  <a:gd name="T10" fmla="*/ 180 w 390"/>
                  <a:gd name="T11" fmla="*/ 210 h 570"/>
                  <a:gd name="T12" fmla="*/ 60 w 390"/>
                  <a:gd name="T13" fmla="*/ 330 h 570"/>
                  <a:gd name="T14" fmla="*/ 0 w 390"/>
                  <a:gd name="T15" fmla="*/ 180 h 570"/>
                  <a:gd name="T16" fmla="*/ 60 w 390"/>
                  <a:gd name="T17" fmla="*/ 60 h 570"/>
                  <a:gd name="T18" fmla="*/ 240 w 390"/>
                  <a:gd name="T19" fmla="*/ 120 h 570"/>
                  <a:gd name="T20" fmla="*/ 180 w 390"/>
                  <a:gd name="T21" fmla="*/ 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0" h="570">
                    <a:moveTo>
                      <a:pt x="390" y="480"/>
                    </a:moveTo>
                    <a:lnTo>
                      <a:pt x="330" y="570"/>
                    </a:lnTo>
                    <a:lnTo>
                      <a:pt x="180" y="540"/>
                    </a:lnTo>
                    <a:lnTo>
                      <a:pt x="300" y="390"/>
                    </a:lnTo>
                    <a:lnTo>
                      <a:pt x="120" y="390"/>
                    </a:lnTo>
                    <a:lnTo>
                      <a:pt x="180" y="210"/>
                    </a:lnTo>
                    <a:lnTo>
                      <a:pt x="60" y="330"/>
                    </a:lnTo>
                    <a:lnTo>
                      <a:pt x="0" y="180"/>
                    </a:lnTo>
                    <a:lnTo>
                      <a:pt x="60" y="60"/>
                    </a:lnTo>
                    <a:lnTo>
                      <a:pt x="240" y="120"/>
                    </a:lnTo>
                    <a:lnTo>
                      <a:pt x="1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2" name="Freeform 2391">
                <a:extLst>
                  <a:ext uri="{FF2B5EF4-FFF2-40B4-BE49-F238E27FC236}">
                    <a16:creationId xmlns:a16="http://schemas.microsoft.com/office/drawing/2014/main" xmlns="" id="{CA331197-3057-4A48-A8AA-7C9771DE5F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410"/>
                <a:ext cx="480" cy="420"/>
              </a:xfrm>
              <a:custGeom>
                <a:avLst/>
                <a:gdLst>
                  <a:gd name="T0" fmla="*/ 300 w 480"/>
                  <a:gd name="T1" fmla="*/ 420 h 420"/>
                  <a:gd name="T2" fmla="*/ 0 w 480"/>
                  <a:gd name="T3" fmla="*/ 210 h 420"/>
                  <a:gd name="T4" fmla="*/ 180 w 480"/>
                  <a:gd name="T5" fmla="*/ 240 h 420"/>
                  <a:gd name="T6" fmla="*/ 90 w 480"/>
                  <a:gd name="T7" fmla="*/ 0 h 420"/>
                  <a:gd name="T8" fmla="*/ 240 w 480"/>
                  <a:gd name="T9" fmla="*/ 150 h 420"/>
                  <a:gd name="T10" fmla="*/ 270 w 480"/>
                  <a:gd name="T11" fmla="*/ 0 h 420"/>
                  <a:gd name="T12" fmla="*/ 420 w 480"/>
                  <a:gd name="T13" fmla="*/ 0 h 420"/>
                  <a:gd name="T14" fmla="*/ 480 w 480"/>
                  <a:gd name="T15" fmla="*/ 9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0" h="420">
                    <a:moveTo>
                      <a:pt x="300" y="420"/>
                    </a:moveTo>
                    <a:lnTo>
                      <a:pt x="0" y="210"/>
                    </a:lnTo>
                    <a:lnTo>
                      <a:pt x="180" y="240"/>
                    </a:lnTo>
                    <a:lnTo>
                      <a:pt x="90" y="0"/>
                    </a:lnTo>
                    <a:lnTo>
                      <a:pt x="240" y="150"/>
                    </a:lnTo>
                    <a:lnTo>
                      <a:pt x="270" y="0"/>
                    </a:lnTo>
                    <a:lnTo>
                      <a:pt x="420" y="0"/>
                    </a:lnTo>
                    <a:lnTo>
                      <a:pt x="4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3" name="Freeform 2392">
                <a:extLst>
                  <a:ext uri="{FF2B5EF4-FFF2-40B4-BE49-F238E27FC236}">
                    <a16:creationId xmlns:a16="http://schemas.microsoft.com/office/drawing/2014/main" xmlns="" id="{C52AF545-197E-476E-AA37-6F3453FE4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" y="1260"/>
                <a:ext cx="120" cy="300"/>
              </a:xfrm>
              <a:custGeom>
                <a:avLst/>
                <a:gdLst>
                  <a:gd name="T0" fmla="*/ 0 w 120"/>
                  <a:gd name="T1" fmla="*/ 0 h 300"/>
                  <a:gd name="T2" fmla="*/ 0 w 120"/>
                  <a:gd name="T3" fmla="*/ 180 h 300"/>
                  <a:gd name="T4" fmla="*/ 120 w 120"/>
                  <a:gd name="T5" fmla="*/ 90 h 300"/>
                  <a:gd name="T6" fmla="*/ 120 w 120"/>
                  <a:gd name="T7" fmla="*/ 210 h 300"/>
                  <a:gd name="T8" fmla="*/ 90 w 120"/>
                  <a:gd name="T9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300">
                    <a:moveTo>
                      <a:pt x="0" y="0"/>
                    </a:moveTo>
                    <a:lnTo>
                      <a:pt x="0" y="180"/>
                    </a:lnTo>
                    <a:lnTo>
                      <a:pt x="120" y="90"/>
                    </a:lnTo>
                    <a:lnTo>
                      <a:pt x="120" y="210"/>
                    </a:lnTo>
                    <a:lnTo>
                      <a:pt x="9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4" name="Freeform 2393">
                <a:extLst>
                  <a:ext uri="{FF2B5EF4-FFF2-40B4-BE49-F238E27FC236}">
                    <a16:creationId xmlns:a16="http://schemas.microsoft.com/office/drawing/2014/main" xmlns="" id="{81E07F59-EA5D-467C-BA5F-96E5C3CA15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292"/>
                <a:ext cx="330" cy="178"/>
              </a:xfrm>
              <a:custGeom>
                <a:avLst/>
                <a:gdLst>
                  <a:gd name="T0" fmla="*/ 0 w 330"/>
                  <a:gd name="T1" fmla="*/ 0 h 178"/>
                  <a:gd name="T2" fmla="*/ 60 w 330"/>
                  <a:gd name="T3" fmla="*/ 118 h 178"/>
                  <a:gd name="T4" fmla="*/ 150 w 330"/>
                  <a:gd name="T5" fmla="*/ 28 h 178"/>
                  <a:gd name="T6" fmla="*/ 330 w 330"/>
                  <a:gd name="T7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0" h="178">
                    <a:moveTo>
                      <a:pt x="0" y="0"/>
                    </a:moveTo>
                    <a:lnTo>
                      <a:pt x="60" y="118"/>
                    </a:lnTo>
                    <a:lnTo>
                      <a:pt x="150" y="28"/>
                    </a:lnTo>
                    <a:lnTo>
                      <a:pt x="330" y="17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5" name="Line 2394">
                <a:extLst>
                  <a:ext uri="{FF2B5EF4-FFF2-40B4-BE49-F238E27FC236}">
                    <a16:creationId xmlns:a16="http://schemas.microsoft.com/office/drawing/2014/main" xmlns="" id="{92DFA82E-4DE7-4F77-9605-15DB7A7C7D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925" y="1410"/>
                <a:ext cx="24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6" name="Freeform 2395">
                <a:extLst>
                  <a:ext uri="{FF2B5EF4-FFF2-40B4-BE49-F238E27FC236}">
                    <a16:creationId xmlns:a16="http://schemas.microsoft.com/office/drawing/2014/main" xmlns="" id="{5606F496-2131-455D-BE54-2E2164F78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2070"/>
                <a:ext cx="899" cy="720"/>
              </a:xfrm>
              <a:custGeom>
                <a:avLst/>
                <a:gdLst>
                  <a:gd name="T0" fmla="*/ 59 w 899"/>
                  <a:gd name="T1" fmla="*/ 240 h 720"/>
                  <a:gd name="T2" fmla="*/ 179 w 899"/>
                  <a:gd name="T3" fmla="*/ 390 h 720"/>
                  <a:gd name="T4" fmla="*/ 239 w 899"/>
                  <a:gd name="T5" fmla="*/ 300 h 720"/>
                  <a:gd name="T6" fmla="*/ 329 w 899"/>
                  <a:gd name="T7" fmla="*/ 360 h 720"/>
                  <a:gd name="T8" fmla="*/ 329 w 899"/>
                  <a:gd name="T9" fmla="*/ 240 h 720"/>
                  <a:gd name="T10" fmla="*/ 179 w 899"/>
                  <a:gd name="T11" fmla="*/ 181 h 720"/>
                  <a:gd name="T12" fmla="*/ 269 w 899"/>
                  <a:gd name="T13" fmla="*/ 150 h 720"/>
                  <a:gd name="T14" fmla="*/ 389 w 899"/>
                  <a:gd name="T15" fmla="*/ 120 h 720"/>
                  <a:gd name="T16" fmla="*/ 449 w 899"/>
                  <a:gd name="T17" fmla="*/ 300 h 720"/>
                  <a:gd name="T18" fmla="*/ 539 w 899"/>
                  <a:gd name="T19" fmla="*/ 180 h 720"/>
                  <a:gd name="T20" fmla="*/ 509 w 899"/>
                  <a:gd name="T21" fmla="*/ 60 h 720"/>
                  <a:gd name="T22" fmla="*/ 359 w 899"/>
                  <a:gd name="T23" fmla="*/ 30 h 720"/>
                  <a:gd name="T24" fmla="*/ 569 w 899"/>
                  <a:gd name="T25" fmla="*/ 0 h 720"/>
                  <a:gd name="T26" fmla="*/ 689 w 899"/>
                  <a:gd name="T27" fmla="*/ 90 h 720"/>
                  <a:gd name="T28" fmla="*/ 659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89 w 899"/>
                  <a:gd name="T41" fmla="*/ 390 h 720"/>
                  <a:gd name="T42" fmla="*/ 539 w 899"/>
                  <a:gd name="T43" fmla="*/ 330 h 720"/>
                  <a:gd name="T44" fmla="*/ 569 w 899"/>
                  <a:gd name="T45" fmla="*/ 450 h 720"/>
                  <a:gd name="T46" fmla="*/ 419 w 899"/>
                  <a:gd name="T47" fmla="*/ 420 h 720"/>
                  <a:gd name="T48" fmla="*/ 389 w 899"/>
                  <a:gd name="T49" fmla="*/ 540 h 720"/>
                  <a:gd name="T50" fmla="*/ 509 w 899"/>
                  <a:gd name="T51" fmla="*/ 570 h 720"/>
                  <a:gd name="T52" fmla="*/ 659 w 899"/>
                  <a:gd name="T53" fmla="*/ 570 h 720"/>
                  <a:gd name="T54" fmla="*/ 599 w 899"/>
                  <a:gd name="T55" fmla="*/ 720 h 720"/>
                  <a:gd name="T56" fmla="*/ 299 w 899"/>
                  <a:gd name="T57" fmla="*/ 630 h 720"/>
                  <a:gd name="T58" fmla="*/ 268 w 899"/>
                  <a:gd name="T59" fmla="*/ 482 h 720"/>
                  <a:gd name="T60" fmla="*/ 179 w 899"/>
                  <a:gd name="T61" fmla="*/ 570 h 720"/>
                  <a:gd name="T62" fmla="*/ 59 w 899"/>
                  <a:gd name="T63" fmla="*/ 480 h 720"/>
                  <a:gd name="T64" fmla="*/ 0 w 899"/>
                  <a:gd name="T65" fmla="*/ 360 h 720"/>
                  <a:gd name="T66" fmla="*/ 59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59" y="240"/>
                    </a:moveTo>
                    <a:lnTo>
                      <a:pt x="179" y="390"/>
                    </a:lnTo>
                    <a:lnTo>
                      <a:pt x="239" y="300"/>
                    </a:lnTo>
                    <a:lnTo>
                      <a:pt x="329" y="360"/>
                    </a:lnTo>
                    <a:lnTo>
                      <a:pt x="329" y="240"/>
                    </a:lnTo>
                    <a:lnTo>
                      <a:pt x="179" y="181"/>
                    </a:lnTo>
                    <a:lnTo>
                      <a:pt x="269" y="150"/>
                    </a:lnTo>
                    <a:lnTo>
                      <a:pt x="389" y="120"/>
                    </a:lnTo>
                    <a:lnTo>
                      <a:pt x="449" y="300"/>
                    </a:lnTo>
                    <a:lnTo>
                      <a:pt x="539" y="180"/>
                    </a:lnTo>
                    <a:lnTo>
                      <a:pt x="509" y="60"/>
                    </a:lnTo>
                    <a:lnTo>
                      <a:pt x="359" y="30"/>
                    </a:lnTo>
                    <a:lnTo>
                      <a:pt x="569" y="0"/>
                    </a:lnTo>
                    <a:lnTo>
                      <a:pt x="689" y="90"/>
                    </a:lnTo>
                    <a:lnTo>
                      <a:pt x="659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89" y="390"/>
                    </a:lnTo>
                    <a:lnTo>
                      <a:pt x="539" y="330"/>
                    </a:lnTo>
                    <a:lnTo>
                      <a:pt x="569" y="450"/>
                    </a:lnTo>
                    <a:lnTo>
                      <a:pt x="419" y="420"/>
                    </a:lnTo>
                    <a:lnTo>
                      <a:pt x="389" y="540"/>
                    </a:lnTo>
                    <a:lnTo>
                      <a:pt x="509" y="570"/>
                    </a:lnTo>
                    <a:lnTo>
                      <a:pt x="659" y="570"/>
                    </a:lnTo>
                    <a:lnTo>
                      <a:pt x="599" y="720"/>
                    </a:lnTo>
                    <a:lnTo>
                      <a:pt x="299" y="630"/>
                    </a:lnTo>
                    <a:lnTo>
                      <a:pt x="268" y="482"/>
                    </a:lnTo>
                    <a:lnTo>
                      <a:pt x="179" y="570"/>
                    </a:lnTo>
                    <a:lnTo>
                      <a:pt x="59" y="480"/>
                    </a:lnTo>
                    <a:lnTo>
                      <a:pt x="0" y="360"/>
                    </a:lnTo>
                    <a:lnTo>
                      <a:pt x="59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7" name="Line 2396">
                <a:extLst>
                  <a:ext uri="{FF2B5EF4-FFF2-40B4-BE49-F238E27FC236}">
                    <a16:creationId xmlns:a16="http://schemas.microsoft.com/office/drawing/2014/main" xmlns="" id="{A046A652-3A64-44DE-9578-0270B723AF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145" y="2251"/>
                <a:ext cx="120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8" name="Freeform 2397">
                <a:extLst>
                  <a:ext uri="{FF2B5EF4-FFF2-40B4-BE49-F238E27FC236}">
                    <a16:creationId xmlns:a16="http://schemas.microsoft.com/office/drawing/2014/main" xmlns="" id="{07F41C8C-7EB2-46E4-9D3F-BB63074A61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4" y="2430"/>
                <a:ext cx="121" cy="180"/>
              </a:xfrm>
              <a:custGeom>
                <a:avLst/>
                <a:gdLst>
                  <a:gd name="T0" fmla="*/ 61 w 121"/>
                  <a:gd name="T1" fmla="*/ 0 h 180"/>
                  <a:gd name="T2" fmla="*/ 121 w 121"/>
                  <a:gd name="T3" fmla="*/ 180 h 180"/>
                  <a:gd name="T4" fmla="*/ 0 w 121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1" h="180">
                    <a:moveTo>
                      <a:pt x="61" y="0"/>
                    </a:moveTo>
                    <a:lnTo>
                      <a:pt x="121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9" name="Freeform 2398">
                <a:extLst>
                  <a:ext uri="{FF2B5EF4-FFF2-40B4-BE49-F238E27FC236}">
                    <a16:creationId xmlns:a16="http://schemas.microsoft.com/office/drawing/2014/main" xmlns="" id="{8FC47CB8-19B4-404B-BAB5-8DB9752FBB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5" y="1980"/>
                <a:ext cx="240" cy="330"/>
              </a:xfrm>
              <a:custGeom>
                <a:avLst/>
                <a:gdLst>
                  <a:gd name="T0" fmla="*/ 180 w 240"/>
                  <a:gd name="T1" fmla="*/ 150 h 330"/>
                  <a:gd name="T2" fmla="*/ 120 w 240"/>
                  <a:gd name="T3" fmla="*/ 0 h 330"/>
                  <a:gd name="T4" fmla="*/ 240 w 240"/>
                  <a:gd name="T5" fmla="*/ 90 h 330"/>
                  <a:gd name="T6" fmla="*/ 210 w 240"/>
                  <a:gd name="T7" fmla="*/ 270 h 330"/>
                  <a:gd name="T8" fmla="*/ 0 w 240"/>
                  <a:gd name="T9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30">
                    <a:moveTo>
                      <a:pt x="180" y="150"/>
                    </a:moveTo>
                    <a:lnTo>
                      <a:pt x="120" y="0"/>
                    </a:lnTo>
                    <a:lnTo>
                      <a:pt x="240" y="90"/>
                    </a:lnTo>
                    <a:lnTo>
                      <a:pt x="210" y="270"/>
                    </a:lnTo>
                    <a:lnTo>
                      <a:pt x="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0" name="Line 2399">
                <a:extLst>
                  <a:ext uri="{FF2B5EF4-FFF2-40B4-BE49-F238E27FC236}">
                    <a16:creationId xmlns:a16="http://schemas.microsoft.com/office/drawing/2014/main" xmlns="" id="{3C76CECA-7678-4B73-B96B-032E5152AF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5" y="219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1" name="Freeform 2400">
                <a:extLst>
                  <a:ext uri="{FF2B5EF4-FFF2-40B4-BE49-F238E27FC236}">
                    <a16:creationId xmlns:a16="http://schemas.microsoft.com/office/drawing/2014/main" xmlns="" id="{F543B3C8-6283-486A-AB6C-3DBF593E85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2070"/>
                <a:ext cx="899" cy="720"/>
              </a:xfrm>
              <a:custGeom>
                <a:avLst/>
                <a:gdLst>
                  <a:gd name="T0" fmla="*/ 60 w 899"/>
                  <a:gd name="T1" fmla="*/ 240 h 720"/>
                  <a:gd name="T2" fmla="*/ 180 w 899"/>
                  <a:gd name="T3" fmla="*/ 390 h 720"/>
                  <a:gd name="T4" fmla="*/ 240 w 899"/>
                  <a:gd name="T5" fmla="*/ 300 h 720"/>
                  <a:gd name="T6" fmla="*/ 330 w 899"/>
                  <a:gd name="T7" fmla="*/ 360 h 720"/>
                  <a:gd name="T8" fmla="*/ 330 w 899"/>
                  <a:gd name="T9" fmla="*/ 240 h 720"/>
                  <a:gd name="T10" fmla="*/ 180 w 899"/>
                  <a:gd name="T11" fmla="*/ 181 h 720"/>
                  <a:gd name="T12" fmla="*/ 270 w 899"/>
                  <a:gd name="T13" fmla="*/ 150 h 720"/>
                  <a:gd name="T14" fmla="*/ 390 w 899"/>
                  <a:gd name="T15" fmla="*/ 120 h 720"/>
                  <a:gd name="T16" fmla="*/ 450 w 899"/>
                  <a:gd name="T17" fmla="*/ 300 h 720"/>
                  <a:gd name="T18" fmla="*/ 540 w 899"/>
                  <a:gd name="T19" fmla="*/ 180 h 720"/>
                  <a:gd name="T20" fmla="*/ 510 w 899"/>
                  <a:gd name="T21" fmla="*/ 60 h 720"/>
                  <a:gd name="T22" fmla="*/ 360 w 899"/>
                  <a:gd name="T23" fmla="*/ 30 h 720"/>
                  <a:gd name="T24" fmla="*/ 570 w 899"/>
                  <a:gd name="T25" fmla="*/ 0 h 720"/>
                  <a:gd name="T26" fmla="*/ 690 w 899"/>
                  <a:gd name="T27" fmla="*/ 90 h 720"/>
                  <a:gd name="T28" fmla="*/ 660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90 w 899"/>
                  <a:gd name="T41" fmla="*/ 390 h 720"/>
                  <a:gd name="T42" fmla="*/ 540 w 899"/>
                  <a:gd name="T43" fmla="*/ 330 h 720"/>
                  <a:gd name="T44" fmla="*/ 570 w 899"/>
                  <a:gd name="T45" fmla="*/ 450 h 720"/>
                  <a:gd name="T46" fmla="*/ 420 w 899"/>
                  <a:gd name="T47" fmla="*/ 420 h 720"/>
                  <a:gd name="T48" fmla="*/ 390 w 899"/>
                  <a:gd name="T49" fmla="*/ 540 h 720"/>
                  <a:gd name="T50" fmla="*/ 510 w 899"/>
                  <a:gd name="T51" fmla="*/ 570 h 720"/>
                  <a:gd name="T52" fmla="*/ 660 w 899"/>
                  <a:gd name="T53" fmla="*/ 570 h 720"/>
                  <a:gd name="T54" fmla="*/ 600 w 899"/>
                  <a:gd name="T55" fmla="*/ 720 h 720"/>
                  <a:gd name="T56" fmla="*/ 300 w 899"/>
                  <a:gd name="T57" fmla="*/ 630 h 720"/>
                  <a:gd name="T58" fmla="*/ 268 w 899"/>
                  <a:gd name="T59" fmla="*/ 482 h 720"/>
                  <a:gd name="T60" fmla="*/ 180 w 899"/>
                  <a:gd name="T61" fmla="*/ 570 h 720"/>
                  <a:gd name="T62" fmla="*/ 60 w 899"/>
                  <a:gd name="T63" fmla="*/ 480 h 720"/>
                  <a:gd name="T64" fmla="*/ 0 w 899"/>
                  <a:gd name="T65" fmla="*/ 360 h 720"/>
                  <a:gd name="T66" fmla="*/ 60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60" y="240"/>
                    </a:moveTo>
                    <a:lnTo>
                      <a:pt x="180" y="390"/>
                    </a:lnTo>
                    <a:lnTo>
                      <a:pt x="240" y="300"/>
                    </a:lnTo>
                    <a:lnTo>
                      <a:pt x="330" y="360"/>
                    </a:lnTo>
                    <a:lnTo>
                      <a:pt x="330" y="240"/>
                    </a:lnTo>
                    <a:lnTo>
                      <a:pt x="180" y="181"/>
                    </a:lnTo>
                    <a:lnTo>
                      <a:pt x="270" y="150"/>
                    </a:lnTo>
                    <a:lnTo>
                      <a:pt x="390" y="120"/>
                    </a:lnTo>
                    <a:lnTo>
                      <a:pt x="450" y="300"/>
                    </a:lnTo>
                    <a:lnTo>
                      <a:pt x="540" y="180"/>
                    </a:lnTo>
                    <a:lnTo>
                      <a:pt x="510" y="60"/>
                    </a:lnTo>
                    <a:lnTo>
                      <a:pt x="360" y="30"/>
                    </a:lnTo>
                    <a:lnTo>
                      <a:pt x="570" y="0"/>
                    </a:lnTo>
                    <a:lnTo>
                      <a:pt x="690" y="90"/>
                    </a:lnTo>
                    <a:lnTo>
                      <a:pt x="660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90" y="390"/>
                    </a:lnTo>
                    <a:lnTo>
                      <a:pt x="540" y="330"/>
                    </a:lnTo>
                    <a:lnTo>
                      <a:pt x="570" y="450"/>
                    </a:lnTo>
                    <a:lnTo>
                      <a:pt x="420" y="420"/>
                    </a:lnTo>
                    <a:lnTo>
                      <a:pt x="390" y="540"/>
                    </a:lnTo>
                    <a:lnTo>
                      <a:pt x="510" y="570"/>
                    </a:lnTo>
                    <a:lnTo>
                      <a:pt x="660" y="570"/>
                    </a:lnTo>
                    <a:lnTo>
                      <a:pt x="600" y="720"/>
                    </a:lnTo>
                    <a:lnTo>
                      <a:pt x="300" y="630"/>
                    </a:lnTo>
                    <a:lnTo>
                      <a:pt x="268" y="482"/>
                    </a:lnTo>
                    <a:lnTo>
                      <a:pt x="180" y="570"/>
                    </a:lnTo>
                    <a:lnTo>
                      <a:pt x="60" y="480"/>
                    </a:lnTo>
                    <a:lnTo>
                      <a:pt x="0" y="360"/>
                    </a:lnTo>
                    <a:lnTo>
                      <a:pt x="6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2" name="Freeform 2401">
                <a:extLst>
                  <a:ext uri="{FF2B5EF4-FFF2-40B4-BE49-F238E27FC236}">
                    <a16:creationId xmlns:a16="http://schemas.microsoft.com/office/drawing/2014/main" xmlns="" id="{83E96365-B4AE-414A-B221-31F44F7461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2220"/>
                <a:ext cx="210" cy="150"/>
              </a:xfrm>
              <a:custGeom>
                <a:avLst/>
                <a:gdLst>
                  <a:gd name="T0" fmla="*/ 0 w 210"/>
                  <a:gd name="T1" fmla="*/ 90 h 150"/>
                  <a:gd name="T2" fmla="*/ 180 w 210"/>
                  <a:gd name="T3" fmla="*/ 150 h 150"/>
                  <a:gd name="T4" fmla="*/ 210 w 210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150">
                    <a:moveTo>
                      <a:pt x="0" y="90"/>
                    </a:moveTo>
                    <a:lnTo>
                      <a:pt x="180" y="150"/>
                    </a:lnTo>
                    <a:lnTo>
                      <a:pt x="21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3" name="Freeform 2402">
                <a:extLst>
                  <a:ext uri="{FF2B5EF4-FFF2-40B4-BE49-F238E27FC236}">
                    <a16:creationId xmlns:a16="http://schemas.microsoft.com/office/drawing/2014/main" xmlns="" id="{B76B3836-D7A6-40D4-A0BF-6142C522CF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5" y="2251"/>
                <a:ext cx="240" cy="389"/>
              </a:xfrm>
              <a:custGeom>
                <a:avLst/>
                <a:gdLst>
                  <a:gd name="T0" fmla="*/ 240 w 240"/>
                  <a:gd name="T1" fmla="*/ 0 h 389"/>
                  <a:gd name="T2" fmla="*/ 120 w 240"/>
                  <a:gd name="T3" fmla="*/ 299 h 389"/>
                  <a:gd name="T4" fmla="*/ 0 w 240"/>
                  <a:gd name="T5" fmla="*/ 389 h 389"/>
                  <a:gd name="T6" fmla="*/ 60 w 240"/>
                  <a:gd name="T7" fmla="*/ 179 h 389"/>
                  <a:gd name="T8" fmla="*/ 0 w 240"/>
                  <a:gd name="T9" fmla="*/ 59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89">
                    <a:moveTo>
                      <a:pt x="240" y="0"/>
                    </a:moveTo>
                    <a:lnTo>
                      <a:pt x="120" y="299"/>
                    </a:lnTo>
                    <a:lnTo>
                      <a:pt x="0" y="389"/>
                    </a:lnTo>
                    <a:lnTo>
                      <a:pt x="60" y="179"/>
                    </a:lnTo>
                    <a:lnTo>
                      <a:pt x="0" y="5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4" name="Freeform 2403">
                <a:extLst>
                  <a:ext uri="{FF2B5EF4-FFF2-40B4-BE49-F238E27FC236}">
                    <a16:creationId xmlns:a16="http://schemas.microsoft.com/office/drawing/2014/main" xmlns="" id="{1DA23454-0E94-40AF-9820-8835AE7651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2430"/>
                <a:ext cx="122" cy="180"/>
              </a:xfrm>
              <a:custGeom>
                <a:avLst/>
                <a:gdLst>
                  <a:gd name="T0" fmla="*/ 62 w 122"/>
                  <a:gd name="T1" fmla="*/ 0 h 180"/>
                  <a:gd name="T2" fmla="*/ 122 w 122"/>
                  <a:gd name="T3" fmla="*/ 180 h 180"/>
                  <a:gd name="T4" fmla="*/ 0 w 122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2" h="180">
                    <a:moveTo>
                      <a:pt x="62" y="0"/>
                    </a:moveTo>
                    <a:lnTo>
                      <a:pt x="122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5" name="Freeform 2404">
                <a:extLst>
                  <a:ext uri="{FF2B5EF4-FFF2-40B4-BE49-F238E27FC236}">
                    <a16:creationId xmlns:a16="http://schemas.microsoft.com/office/drawing/2014/main" xmlns="" id="{93B04752-F4EB-4780-B5D9-DEC6C341A0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5" y="204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6" name="Line 2405">
                <a:extLst>
                  <a:ext uri="{FF2B5EF4-FFF2-40B4-BE49-F238E27FC236}">
                    <a16:creationId xmlns:a16="http://schemas.microsoft.com/office/drawing/2014/main" xmlns="" id="{FE780FEF-FA2C-4405-8C0F-01647448EE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35" y="219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7" name="Line 2406">
                <a:extLst>
                  <a:ext uri="{FF2B5EF4-FFF2-40B4-BE49-F238E27FC236}">
                    <a16:creationId xmlns:a16="http://schemas.microsoft.com/office/drawing/2014/main" xmlns="" id="{50B6133D-07FF-4912-8183-F5B1543668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55" y="18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8" name="Line 2407">
                <a:extLst>
                  <a:ext uri="{FF2B5EF4-FFF2-40B4-BE49-F238E27FC236}">
                    <a16:creationId xmlns:a16="http://schemas.microsoft.com/office/drawing/2014/main" xmlns="" id="{05130E31-ABC3-4967-B247-520CBE2B74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55" y="183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9" name="Line 2408">
                <a:extLst>
                  <a:ext uri="{FF2B5EF4-FFF2-40B4-BE49-F238E27FC236}">
                    <a16:creationId xmlns:a16="http://schemas.microsoft.com/office/drawing/2014/main" xmlns="" id="{65CF0AE6-463B-4F6D-81A3-E8BAA8DCEF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77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0" name="Line 2409">
                <a:extLst>
                  <a:ext uri="{FF2B5EF4-FFF2-40B4-BE49-F238E27FC236}">
                    <a16:creationId xmlns:a16="http://schemas.microsoft.com/office/drawing/2014/main" xmlns="" id="{36088EEA-A2BC-4B8C-B584-417F228A56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3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1" name="Line 2410">
                <a:extLst>
                  <a:ext uri="{FF2B5EF4-FFF2-40B4-BE49-F238E27FC236}">
                    <a16:creationId xmlns:a16="http://schemas.microsoft.com/office/drawing/2014/main" xmlns="" id="{CBEDC4F8-D87D-4585-94AD-B3273D72A2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415" y="1770"/>
                <a:ext cx="6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2" name="Line 2411">
                <a:extLst>
                  <a:ext uri="{FF2B5EF4-FFF2-40B4-BE49-F238E27FC236}">
                    <a16:creationId xmlns:a16="http://schemas.microsoft.com/office/drawing/2014/main" xmlns="" id="{7386F278-D864-4A24-AF11-6A613C6130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5" y="1830"/>
                <a:ext cx="21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3" name="Line 2412">
                <a:extLst>
                  <a:ext uri="{FF2B5EF4-FFF2-40B4-BE49-F238E27FC236}">
                    <a16:creationId xmlns:a16="http://schemas.microsoft.com/office/drawing/2014/main" xmlns="" id="{FBA35497-967B-4C8E-9DDB-07510B11B4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35" y="165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4" name="Line 2413">
                <a:extLst>
                  <a:ext uri="{FF2B5EF4-FFF2-40B4-BE49-F238E27FC236}">
                    <a16:creationId xmlns:a16="http://schemas.microsoft.com/office/drawing/2014/main" xmlns="" id="{B68F6885-E3B4-4F95-92F1-99F635B85E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35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5" name="Line 2414">
                <a:extLst>
                  <a:ext uri="{FF2B5EF4-FFF2-40B4-BE49-F238E27FC236}">
                    <a16:creationId xmlns:a16="http://schemas.microsoft.com/office/drawing/2014/main" xmlns="" id="{985E2B84-1458-4E20-8324-91D9A3E76F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25" y="12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6" name="Freeform 2415">
                <a:extLst>
                  <a:ext uri="{FF2B5EF4-FFF2-40B4-BE49-F238E27FC236}">
                    <a16:creationId xmlns:a16="http://schemas.microsoft.com/office/drawing/2014/main" xmlns="" id="{266283E5-D104-4D07-A65C-C7ED37E89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5" y="1710"/>
                <a:ext cx="240" cy="240"/>
              </a:xfrm>
              <a:custGeom>
                <a:avLst/>
                <a:gdLst>
                  <a:gd name="T0" fmla="*/ 240 w 240"/>
                  <a:gd name="T1" fmla="*/ 0 h 240"/>
                  <a:gd name="T2" fmla="*/ 210 w 240"/>
                  <a:gd name="T3" fmla="*/ 180 h 240"/>
                  <a:gd name="T4" fmla="*/ 180 w 240"/>
                  <a:gd name="T5" fmla="*/ 60 h 240"/>
                  <a:gd name="T6" fmla="*/ 150 w 240"/>
                  <a:gd name="T7" fmla="*/ 240 h 240"/>
                  <a:gd name="T8" fmla="*/ 90 w 240"/>
                  <a:gd name="T9" fmla="*/ 180 h 240"/>
                  <a:gd name="T10" fmla="*/ 0 w 240"/>
                  <a:gd name="T11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0" h="240">
                    <a:moveTo>
                      <a:pt x="240" y="0"/>
                    </a:moveTo>
                    <a:lnTo>
                      <a:pt x="210" y="180"/>
                    </a:lnTo>
                    <a:lnTo>
                      <a:pt x="180" y="60"/>
                    </a:lnTo>
                    <a:lnTo>
                      <a:pt x="150" y="240"/>
                    </a:lnTo>
                    <a:lnTo>
                      <a:pt x="90" y="18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7" name="Line 2416">
                <a:extLst>
                  <a:ext uri="{FF2B5EF4-FFF2-40B4-BE49-F238E27FC236}">
                    <a16:creationId xmlns:a16="http://schemas.microsoft.com/office/drawing/2014/main" xmlns="" id="{28670604-1B2A-4183-8F39-350929E7C2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9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8" name="Freeform 2417">
                <a:extLst>
                  <a:ext uri="{FF2B5EF4-FFF2-40B4-BE49-F238E27FC236}">
                    <a16:creationId xmlns:a16="http://schemas.microsoft.com/office/drawing/2014/main" xmlns="" id="{980F12FC-73EF-4A49-AE96-140F9C0BC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1770"/>
                <a:ext cx="180" cy="120"/>
              </a:xfrm>
              <a:custGeom>
                <a:avLst/>
                <a:gdLst>
                  <a:gd name="T0" fmla="*/ 150 w 180"/>
                  <a:gd name="T1" fmla="*/ 120 h 120"/>
                  <a:gd name="T2" fmla="*/ 180 w 180"/>
                  <a:gd name="T3" fmla="*/ 0 h 120"/>
                  <a:gd name="T4" fmla="*/ 30 w 180"/>
                  <a:gd name="T5" fmla="*/ 120 h 120"/>
                  <a:gd name="T6" fmla="*/ 150 w 180"/>
                  <a:gd name="T7" fmla="*/ 120 h 120"/>
                  <a:gd name="T8" fmla="*/ 0 w 180"/>
                  <a:gd name="T9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120">
                    <a:moveTo>
                      <a:pt x="150" y="120"/>
                    </a:moveTo>
                    <a:lnTo>
                      <a:pt x="180" y="0"/>
                    </a:lnTo>
                    <a:lnTo>
                      <a:pt x="30" y="120"/>
                    </a:lnTo>
                    <a:lnTo>
                      <a:pt x="150" y="12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9" name="Freeform 2418">
                <a:extLst>
                  <a:ext uri="{FF2B5EF4-FFF2-40B4-BE49-F238E27FC236}">
                    <a16:creationId xmlns:a16="http://schemas.microsoft.com/office/drawing/2014/main" xmlns="" id="{D3F81549-A5B3-40F7-BF58-FB5FE82F13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530"/>
                <a:ext cx="240" cy="360"/>
              </a:xfrm>
              <a:custGeom>
                <a:avLst/>
                <a:gdLst>
                  <a:gd name="T0" fmla="*/ 120 w 240"/>
                  <a:gd name="T1" fmla="*/ 240 h 360"/>
                  <a:gd name="T2" fmla="*/ 90 w 240"/>
                  <a:gd name="T3" fmla="*/ 120 h 360"/>
                  <a:gd name="T4" fmla="*/ 90 w 240"/>
                  <a:gd name="T5" fmla="*/ 0 h 360"/>
                  <a:gd name="T6" fmla="*/ 210 w 240"/>
                  <a:gd name="T7" fmla="*/ 30 h 360"/>
                  <a:gd name="T8" fmla="*/ 240 w 240"/>
                  <a:gd name="T9" fmla="*/ 180 h 360"/>
                  <a:gd name="T10" fmla="*/ 120 w 240"/>
                  <a:gd name="T11" fmla="*/ 240 h 360"/>
                  <a:gd name="T12" fmla="*/ 210 w 240"/>
                  <a:gd name="T13" fmla="*/ 330 h 360"/>
                  <a:gd name="T14" fmla="*/ 90 w 240"/>
                  <a:gd name="T15" fmla="*/ 360 h 360"/>
                  <a:gd name="T16" fmla="*/ 0 w 240"/>
                  <a:gd name="T17" fmla="*/ 18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360">
                    <a:moveTo>
                      <a:pt x="120" y="240"/>
                    </a:moveTo>
                    <a:lnTo>
                      <a:pt x="90" y="120"/>
                    </a:lnTo>
                    <a:lnTo>
                      <a:pt x="90" y="0"/>
                    </a:lnTo>
                    <a:lnTo>
                      <a:pt x="210" y="30"/>
                    </a:lnTo>
                    <a:lnTo>
                      <a:pt x="240" y="180"/>
                    </a:lnTo>
                    <a:lnTo>
                      <a:pt x="120" y="240"/>
                    </a:lnTo>
                    <a:lnTo>
                      <a:pt x="210" y="330"/>
                    </a:lnTo>
                    <a:lnTo>
                      <a:pt x="90" y="36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0" name="Freeform 2419">
                <a:extLst>
                  <a:ext uri="{FF2B5EF4-FFF2-40B4-BE49-F238E27FC236}">
                    <a16:creationId xmlns:a16="http://schemas.microsoft.com/office/drawing/2014/main" xmlns="" id="{396FE12F-3DEC-4E47-A37C-9FE894434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590"/>
                <a:ext cx="90" cy="120"/>
              </a:xfrm>
              <a:custGeom>
                <a:avLst/>
                <a:gdLst>
                  <a:gd name="T0" fmla="*/ 0 w 90"/>
                  <a:gd name="T1" fmla="*/ 120 h 120"/>
                  <a:gd name="T2" fmla="*/ 90 w 90"/>
                  <a:gd name="T3" fmla="*/ 60 h 120"/>
                  <a:gd name="T4" fmla="*/ 0 w 90"/>
                  <a:gd name="T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120">
                    <a:moveTo>
                      <a:pt x="0" y="120"/>
                    </a:moveTo>
                    <a:lnTo>
                      <a:pt x="9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1" name="Line 2420">
                <a:extLst>
                  <a:ext uri="{FF2B5EF4-FFF2-40B4-BE49-F238E27FC236}">
                    <a16:creationId xmlns:a16="http://schemas.microsoft.com/office/drawing/2014/main" xmlns="" id="{7509DD0B-388A-4FBE-AC16-5FA915C93A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5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2" name="Freeform 2421">
                <a:extLst>
                  <a:ext uri="{FF2B5EF4-FFF2-40B4-BE49-F238E27FC236}">
                    <a16:creationId xmlns:a16="http://schemas.microsoft.com/office/drawing/2014/main" xmlns="" id="{1E9738AE-A95A-473B-A072-85395EC12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230"/>
                <a:ext cx="450" cy="180"/>
              </a:xfrm>
              <a:custGeom>
                <a:avLst/>
                <a:gdLst>
                  <a:gd name="T0" fmla="*/ 450 w 450"/>
                  <a:gd name="T1" fmla="*/ 180 h 180"/>
                  <a:gd name="T2" fmla="*/ 450 w 450"/>
                  <a:gd name="T3" fmla="*/ 60 h 180"/>
                  <a:gd name="T4" fmla="*/ 330 w 450"/>
                  <a:gd name="T5" fmla="*/ 120 h 180"/>
                  <a:gd name="T6" fmla="*/ 210 w 450"/>
                  <a:gd name="T7" fmla="*/ 30 h 180"/>
                  <a:gd name="T8" fmla="*/ 90 w 450"/>
                  <a:gd name="T9" fmla="*/ 0 h 180"/>
                  <a:gd name="T10" fmla="*/ 150 w 450"/>
                  <a:gd name="T11" fmla="*/ 90 h 180"/>
                  <a:gd name="T12" fmla="*/ 0 w 450"/>
                  <a:gd name="T13" fmla="*/ 6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0" h="180">
                    <a:moveTo>
                      <a:pt x="450" y="180"/>
                    </a:moveTo>
                    <a:lnTo>
                      <a:pt x="450" y="60"/>
                    </a:lnTo>
                    <a:lnTo>
                      <a:pt x="330" y="120"/>
                    </a:lnTo>
                    <a:lnTo>
                      <a:pt x="210" y="30"/>
                    </a:lnTo>
                    <a:lnTo>
                      <a:pt x="90" y="0"/>
                    </a:lnTo>
                    <a:lnTo>
                      <a:pt x="150" y="9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3" name="Freeform 2422">
                <a:extLst>
                  <a:ext uri="{FF2B5EF4-FFF2-40B4-BE49-F238E27FC236}">
                    <a16:creationId xmlns:a16="http://schemas.microsoft.com/office/drawing/2014/main" xmlns="" id="{5DA8B0CF-EC86-4160-AB0A-AEE84A1A93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440"/>
                <a:ext cx="180" cy="150"/>
              </a:xfrm>
              <a:custGeom>
                <a:avLst/>
                <a:gdLst>
                  <a:gd name="T0" fmla="*/ 180 w 180"/>
                  <a:gd name="T1" fmla="*/ 0 h 150"/>
                  <a:gd name="T2" fmla="*/ 90 w 180"/>
                  <a:gd name="T3" fmla="*/ 90 h 150"/>
                  <a:gd name="T4" fmla="*/ 0 w 180"/>
                  <a:gd name="T5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180" y="0"/>
                    </a:moveTo>
                    <a:lnTo>
                      <a:pt x="90" y="90"/>
                    </a:lnTo>
                    <a:lnTo>
                      <a:pt x="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4" name="Freeform 2423">
                <a:extLst>
                  <a:ext uri="{FF2B5EF4-FFF2-40B4-BE49-F238E27FC236}">
                    <a16:creationId xmlns:a16="http://schemas.microsoft.com/office/drawing/2014/main" xmlns="" id="{BB18136F-6660-4F40-B0F0-C6A3AC5528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" y="1260"/>
                <a:ext cx="390" cy="390"/>
              </a:xfrm>
              <a:custGeom>
                <a:avLst/>
                <a:gdLst>
                  <a:gd name="T0" fmla="*/ 270 w 390"/>
                  <a:gd name="T1" fmla="*/ 390 h 390"/>
                  <a:gd name="T2" fmla="*/ 390 w 390"/>
                  <a:gd name="T3" fmla="*/ 300 h 390"/>
                  <a:gd name="T4" fmla="*/ 360 w 390"/>
                  <a:gd name="T5" fmla="*/ 180 h 390"/>
                  <a:gd name="T6" fmla="*/ 240 w 390"/>
                  <a:gd name="T7" fmla="*/ 30 h 390"/>
                  <a:gd name="T8" fmla="*/ 0 w 390"/>
                  <a:gd name="T9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0" h="390">
                    <a:moveTo>
                      <a:pt x="270" y="390"/>
                    </a:moveTo>
                    <a:lnTo>
                      <a:pt x="390" y="300"/>
                    </a:lnTo>
                    <a:lnTo>
                      <a:pt x="360" y="180"/>
                    </a:lnTo>
                    <a:lnTo>
                      <a:pt x="24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5" name="Freeform 2424">
                <a:extLst>
                  <a:ext uri="{FF2B5EF4-FFF2-40B4-BE49-F238E27FC236}">
                    <a16:creationId xmlns:a16="http://schemas.microsoft.com/office/drawing/2014/main" xmlns="" id="{27911EAA-6238-49F0-84A5-CD151891CD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5" y="1230"/>
                <a:ext cx="360" cy="210"/>
              </a:xfrm>
              <a:custGeom>
                <a:avLst/>
                <a:gdLst>
                  <a:gd name="T0" fmla="*/ 90 w 360"/>
                  <a:gd name="T1" fmla="*/ 60 h 210"/>
                  <a:gd name="T2" fmla="*/ 0 w 360"/>
                  <a:gd name="T3" fmla="*/ 180 h 210"/>
                  <a:gd name="T4" fmla="*/ 90 w 360"/>
                  <a:gd name="T5" fmla="*/ 210 h 210"/>
                  <a:gd name="T6" fmla="*/ 180 w 360"/>
                  <a:gd name="T7" fmla="*/ 180 h 210"/>
                  <a:gd name="T8" fmla="*/ 90 w 360"/>
                  <a:gd name="T9" fmla="*/ 60 h 210"/>
                  <a:gd name="T10" fmla="*/ 270 w 360"/>
                  <a:gd name="T11" fmla="*/ 60 h 210"/>
                  <a:gd name="T12" fmla="*/ 360 w 360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0" h="210">
                    <a:moveTo>
                      <a:pt x="90" y="60"/>
                    </a:moveTo>
                    <a:lnTo>
                      <a:pt x="0" y="180"/>
                    </a:lnTo>
                    <a:lnTo>
                      <a:pt x="90" y="210"/>
                    </a:lnTo>
                    <a:lnTo>
                      <a:pt x="180" y="180"/>
                    </a:lnTo>
                    <a:lnTo>
                      <a:pt x="90" y="60"/>
                    </a:lnTo>
                    <a:lnTo>
                      <a:pt x="270" y="60"/>
                    </a:lnTo>
                    <a:lnTo>
                      <a:pt x="3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6" name="Line 2425">
                <a:extLst>
                  <a:ext uri="{FF2B5EF4-FFF2-40B4-BE49-F238E27FC236}">
                    <a16:creationId xmlns:a16="http://schemas.microsoft.com/office/drawing/2014/main" xmlns="" id="{8268A157-E1C8-4D59-AFE0-DDDD9A5385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3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7" name="Line 2426">
                <a:extLst>
                  <a:ext uri="{FF2B5EF4-FFF2-40B4-BE49-F238E27FC236}">
                    <a16:creationId xmlns:a16="http://schemas.microsoft.com/office/drawing/2014/main" xmlns="" id="{1E3FDC2D-37DE-4D8C-972B-A7826AEF96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105" y="141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8" name="Freeform 2427">
                <a:extLst>
                  <a:ext uri="{FF2B5EF4-FFF2-40B4-BE49-F238E27FC236}">
                    <a16:creationId xmlns:a16="http://schemas.microsoft.com/office/drawing/2014/main" xmlns="" id="{BE99F115-7C58-4FD2-8DD9-6C40DC005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5" y="2490"/>
                <a:ext cx="450" cy="300"/>
              </a:xfrm>
              <a:custGeom>
                <a:avLst/>
                <a:gdLst>
                  <a:gd name="T0" fmla="*/ 180 w 450"/>
                  <a:gd name="T1" fmla="*/ 300 h 300"/>
                  <a:gd name="T2" fmla="*/ 300 w 450"/>
                  <a:gd name="T3" fmla="*/ 240 h 300"/>
                  <a:gd name="T4" fmla="*/ 450 w 450"/>
                  <a:gd name="T5" fmla="*/ 300 h 300"/>
                  <a:gd name="T6" fmla="*/ 360 w 450"/>
                  <a:gd name="T7" fmla="*/ 90 h 300"/>
                  <a:gd name="T8" fmla="*/ 240 w 450"/>
                  <a:gd name="T9" fmla="*/ 150 h 300"/>
                  <a:gd name="T10" fmla="*/ 0 w 450"/>
                  <a:gd name="T11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0" h="300">
                    <a:moveTo>
                      <a:pt x="180" y="300"/>
                    </a:moveTo>
                    <a:lnTo>
                      <a:pt x="300" y="240"/>
                    </a:lnTo>
                    <a:lnTo>
                      <a:pt x="450" y="300"/>
                    </a:lnTo>
                    <a:lnTo>
                      <a:pt x="360" y="9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9" name="Line 2428">
                <a:extLst>
                  <a:ext uri="{FF2B5EF4-FFF2-40B4-BE49-F238E27FC236}">
                    <a16:creationId xmlns:a16="http://schemas.microsoft.com/office/drawing/2014/main" xmlns="" id="{4FA8AFF8-3D78-4FF6-9F8A-1DC6F40571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925" y="243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0" name="Freeform 2429">
                <a:extLst>
                  <a:ext uri="{FF2B5EF4-FFF2-40B4-BE49-F238E27FC236}">
                    <a16:creationId xmlns:a16="http://schemas.microsoft.com/office/drawing/2014/main" xmlns="" id="{EA568BC4-F458-45E1-87EB-7CE82BC4E2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2070"/>
                <a:ext cx="300" cy="240"/>
              </a:xfrm>
              <a:custGeom>
                <a:avLst/>
                <a:gdLst>
                  <a:gd name="T0" fmla="*/ 180 w 300"/>
                  <a:gd name="T1" fmla="*/ 0 h 240"/>
                  <a:gd name="T2" fmla="*/ 0 w 300"/>
                  <a:gd name="T3" fmla="*/ 0 h 240"/>
                  <a:gd name="T4" fmla="*/ 60 w 300"/>
                  <a:gd name="T5" fmla="*/ 120 h 240"/>
                  <a:gd name="T6" fmla="*/ 180 w 300"/>
                  <a:gd name="T7" fmla="*/ 0 h 240"/>
                  <a:gd name="T8" fmla="*/ 300 w 300"/>
                  <a:gd name="T9" fmla="*/ 150 h 240"/>
                  <a:gd name="T10" fmla="*/ 150 w 300"/>
                  <a:gd name="T11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0" h="240">
                    <a:moveTo>
                      <a:pt x="180" y="0"/>
                    </a:moveTo>
                    <a:lnTo>
                      <a:pt x="0" y="0"/>
                    </a:lnTo>
                    <a:lnTo>
                      <a:pt x="60" y="120"/>
                    </a:lnTo>
                    <a:lnTo>
                      <a:pt x="180" y="0"/>
                    </a:lnTo>
                    <a:lnTo>
                      <a:pt x="300" y="150"/>
                    </a:lnTo>
                    <a:lnTo>
                      <a:pt x="15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1" name="Line 2430">
                <a:extLst>
                  <a:ext uri="{FF2B5EF4-FFF2-40B4-BE49-F238E27FC236}">
                    <a16:creationId xmlns:a16="http://schemas.microsoft.com/office/drawing/2014/main" xmlns="" id="{DAFC6CC4-FC5E-4EDA-9957-AA350D3D31C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35" y="2040"/>
                <a:ext cx="90" cy="21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2" name="Freeform 2431">
                <a:extLst>
                  <a:ext uri="{FF2B5EF4-FFF2-40B4-BE49-F238E27FC236}">
                    <a16:creationId xmlns:a16="http://schemas.microsoft.com/office/drawing/2014/main" xmlns="" id="{33356E3A-DA1D-4CF0-82AA-2DF76CECF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2310"/>
                <a:ext cx="690" cy="420"/>
              </a:xfrm>
              <a:custGeom>
                <a:avLst/>
                <a:gdLst>
                  <a:gd name="T0" fmla="*/ 120 w 690"/>
                  <a:gd name="T1" fmla="*/ 150 h 420"/>
                  <a:gd name="T2" fmla="*/ 330 w 690"/>
                  <a:gd name="T3" fmla="*/ 0 h 420"/>
                  <a:gd name="T4" fmla="*/ 180 w 690"/>
                  <a:gd name="T5" fmla="*/ 30 h 420"/>
                  <a:gd name="T6" fmla="*/ 270 w 690"/>
                  <a:gd name="T7" fmla="*/ 180 h 420"/>
                  <a:gd name="T8" fmla="*/ 0 w 690"/>
                  <a:gd name="T9" fmla="*/ 210 h 420"/>
                  <a:gd name="T10" fmla="*/ 210 w 690"/>
                  <a:gd name="T11" fmla="*/ 270 h 420"/>
                  <a:gd name="T12" fmla="*/ 330 w 690"/>
                  <a:gd name="T13" fmla="*/ 330 h 420"/>
                  <a:gd name="T14" fmla="*/ 420 w 690"/>
                  <a:gd name="T15" fmla="*/ 420 h 420"/>
                  <a:gd name="T16" fmla="*/ 450 w 690"/>
                  <a:gd name="T17" fmla="*/ 240 h 420"/>
                  <a:gd name="T18" fmla="*/ 570 w 690"/>
                  <a:gd name="T19" fmla="*/ 420 h 420"/>
                  <a:gd name="T20" fmla="*/ 690 w 690"/>
                  <a:gd name="T21" fmla="*/ 39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0" h="420">
                    <a:moveTo>
                      <a:pt x="120" y="150"/>
                    </a:moveTo>
                    <a:lnTo>
                      <a:pt x="330" y="0"/>
                    </a:lnTo>
                    <a:lnTo>
                      <a:pt x="180" y="30"/>
                    </a:lnTo>
                    <a:lnTo>
                      <a:pt x="270" y="180"/>
                    </a:lnTo>
                    <a:lnTo>
                      <a:pt x="0" y="210"/>
                    </a:lnTo>
                    <a:lnTo>
                      <a:pt x="210" y="270"/>
                    </a:lnTo>
                    <a:lnTo>
                      <a:pt x="330" y="330"/>
                    </a:lnTo>
                    <a:lnTo>
                      <a:pt x="420" y="420"/>
                    </a:lnTo>
                    <a:lnTo>
                      <a:pt x="450" y="240"/>
                    </a:lnTo>
                    <a:lnTo>
                      <a:pt x="570" y="420"/>
                    </a:lnTo>
                    <a:lnTo>
                      <a:pt x="690" y="3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3" name="Freeform 2432">
                <a:extLst>
                  <a:ext uri="{FF2B5EF4-FFF2-40B4-BE49-F238E27FC236}">
                    <a16:creationId xmlns:a16="http://schemas.microsoft.com/office/drawing/2014/main" xmlns="" id="{F106D933-6D5B-4BC9-9A44-8076B60F6D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" y="2490"/>
                <a:ext cx="389" cy="300"/>
              </a:xfrm>
              <a:custGeom>
                <a:avLst/>
                <a:gdLst>
                  <a:gd name="T0" fmla="*/ 180 w 389"/>
                  <a:gd name="T1" fmla="*/ 300 h 300"/>
                  <a:gd name="T2" fmla="*/ 389 w 389"/>
                  <a:gd name="T3" fmla="*/ 270 h 300"/>
                  <a:gd name="T4" fmla="*/ 240 w 389"/>
                  <a:gd name="T5" fmla="*/ 150 h 300"/>
                  <a:gd name="T6" fmla="*/ 0 w 389"/>
                  <a:gd name="T7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9" h="300">
                    <a:moveTo>
                      <a:pt x="180" y="300"/>
                    </a:moveTo>
                    <a:lnTo>
                      <a:pt x="389" y="27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4" name="Freeform 2433">
                <a:extLst>
                  <a:ext uri="{FF2B5EF4-FFF2-40B4-BE49-F238E27FC236}">
                    <a16:creationId xmlns:a16="http://schemas.microsoft.com/office/drawing/2014/main" xmlns="" id="{44884E62-54B7-4F19-B6A0-D82BDC70E4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5" y="2310"/>
                <a:ext cx="389" cy="360"/>
              </a:xfrm>
              <a:custGeom>
                <a:avLst/>
                <a:gdLst>
                  <a:gd name="T0" fmla="*/ 90 w 389"/>
                  <a:gd name="T1" fmla="*/ 330 h 360"/>
                  <a:gd name="T2" fmla="*/ 389 w 389"/>
                  <a:gd name="T3" fmla="*/ 360 h 360"/>
                  <a:gd name="T4" fmla="*/ 359 w 389"/>
                  <a:gd name="T5" fmla="*/ 240 h 360"/>
                  <a:gd name="T6" fmla="*/ 209 w 389"/>
                  <a:gd name="T7" fmla="*/ 270 h 360"/>
                  <a:gd name="T8" fmla="*/ 0 w 389"/>
                  <a:gd name="T9" fmla="*/ 210 h 360"/>
                  <a:gd name="T10" fmla="*/ 269 w 389"/>
                  <a:gd name="T11" fmla="*/ 180 h 360"/>
                  <a:gd name="T12" fmla="*/ 179 w 389"/>
                  <a:gd name="T13" fmla="*/ 30 h 360"/>
                  <a:gd name="T14" fmla="*/ 329 w 389"/>
                  <a:gd name="T15" fmla="*/ 0 h 360"/>
                  <a:gd name="T16" fmla="*/ 120 w 389"/>
                  <a:gd name="T17" fmla="*/ 15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9" h="360">
                    <a:moveTo>
                      <a:pt x="90" y="330"/>
                    </a:moveTo>
                    <a:lnTo>
                      <a:pt x="389" y="360"/>
                    </a:lnTo>
                    <a:lnTo>
                      <a:pt x="359" y="240"/>
                    </a:lnTo>
                    <a:lnTo>
                      <a:pt x="209" y="270"/>
                    </a:lnTo>
                    <a:lnTo>
                      <a:pt x="0" y="210"/>
                    </a:lnTo>
                    <a:lnTo>
                      <a:pt x="269" y="180"/>
                    </a:lnTo>
                    <a:lnTo>
                      <a:pt x="179" y="30"/>
                    </a:lnTo>
                    <a:lnTo>
                      <a:pt x="329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5" name="Line 2434">
                <a:extLst>
                  <a:ext uri="{FF2B5EF4-FFF2-40B4-BE49-F238E27FC236}">
                    <a16:creationId xmlns:a16="http://schemas.microsoft.com/office/drawing/2014/main" xmlns="" id="{D9606FCA-BC61-413D-9665-B66D3BA837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44" y="2310"/>
                <a:ext cx="30" cy="24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6" name="Freeform 2435">
                <a:extLst>
                  <a:ext uri="{FF2B5EF4-FFF2-40B4-BE49-F238E27FC236}">
                    <a16:creationId xmlns:a16="http://schemas.microsoft.com/office/drawing/2014/main" xmlns="" id="{0B02F323-3A65-434C-8981-11C1CAB4C7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5" y="2160"/>
                <a:ext cx="239" cy="30"/>
              </a:xfrm>
              <a:custGeom>
                <a:avLst/>
                <a:gdLst>
                  <a:gd name="T0" fmla="*/ 0 w 239"/>
                  <a:gd name="T1" fmla="*/ 0 h 30"/>
                  <a:gd name="T2" fmla="*/ 119 w 239"/>
                  <a:gd name="T3" fmla="*/ 30 h 30"/>
                  <a:gd name="T4" fmla="*/ 239 w 239"/>
                  <a:gd name="T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30">
                    <a:moveTo>
                      <a:pt x="0" y="0"/>
                    </a:moveTo>
                    <a:lnTo>
                      <a:pt x="119" y="30"/>
                    </a:lnTo>
                    <a:lnTo>
                      <a:pt x="23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7" name="Freeform 2436">
                <a:extLst>
                  <a:ext uri="{FF2B5EF4-FFF2-40B4-BE49-F238E27FC236}">
                    <a16:creationId xmlns:a16="http://schemas.microsoft.com/office/drawing/2014/main" xmlns="" id="{B5CDCA35-4247-47AD-9321-E5575BF93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2160"/>
                <a:ext cx="210" cy="510"/>
              </a:xfrm>
              <a:custGeom>
                <a:avLst/>
                <a:gdLst>
                  <a:gd name="T0" fmla="*/ 210 w 210"/>
                  <a:gd name="T1" fmla="*/ 180 h 510"/>
                  <a:gd name="T2" fmla="*/ 0 w 210"/>
                  <a:gd name="T3" fmla="*/ 510 h 510"/>
                  <a:gd name="T4" fmla="*/ 120 w 210"/>
                  <a:gd name="T5" fmla="*/ 480 h 510"/>
                  <a:gd name="T6" fmla="*/ 30 w 210"/>
                  <a:gd name="T7" fmla="*/ 330 h 510"/>
                  <a:gd name="T8" fmla="*/ 120 w 210"/>
                  <a:gd name="T9" fmla="*/ 240 h 510"/>
                  <a:gd name="T10" fmla="*/ 0 w 210"/>
                  <a:gd name="T11" fmla="*/ 180 h 510"/>
                  <a:gd name="T12" fmla="*/ 90 w 210"/>
                  <a:gd name="T13" fmla="*/ 0 h 510"/>
                  <a:gd name="T14" fmla="*/ 210 w 210"/>
                  <a:gd name="T15" fmla="*/ 18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0" h="510">
                    <a:moveTo>
                      <a:pt x="210" y="180"/>
                    </a:moveTo>
                    <a:lnTo>
                      <a:pt x="0" y="510"/>
                    </a:lnTo>
                    <a:lnTo>
                      <a:pt x="120" y="480"/>
                    </a:lnTo>
                    <a:lnTo>
                      <a:pt x="30" y="330"/>
                    </a:lnTo>
                    <a:lnTo>
                      <a:pt x="120" y="240"/>
                    </a:lnTo>
                    <a:lnTo>
                      <a:pt x="0" y="180"/>
                    </a:lnTo>
                    <a:lnTo>
                      <a:pt x="90" y="0"/>
                    </a:lnTo>
                    <a:lnTo>
                      <a:pt x="210" y="18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8" name="Freeform 2437">
                <a:extLst>
                  <a:ext uri="{FF2B5EF4-FFF2-40B4-BE49-F238E27FC236}">
                    <a16:creationId xmlns:a16="http://schemas.microsoft.com/office/drawing/2014/main" xmlns="" id="{EA6A00EF-E27E-4FB9-9FB8-26C402021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2100"/>
                <a:ext cx="719" cy="690"/>
              </a:xfrm>
              <a:custGeom>
                <a:avLst/>
                <a:gdLst>
                  <a:gd name="T0" fmla="*/ 119 w 719"/>
                  <a:gd name="T1" fmla="*/ 120 h 690"/>
                  <a:gd name="T2" fmla="*/ 0 w 719"/>
                  <a:gd name="T3" fmla="*/ 30 h 690"/>
                  <a:gd name="T4" fmla="*/ 209 w 719"/>
                  <a:gd name="T5" fmla="*/ 0 h 690"/>
                  <a:gd name="T6" fmla="*/ 299 w 719"/>
                  <a:gd name="T7" fmla="*/ 120 h 690"/>
                  <a:gd name="T8" fmla="*/ 389 w 719"/>
                  <a:gd name="T9" fmla="*/ 0 h 690"/>
                  <a:gd name="T10" fmla="*/ 209 w 719"/>
                  <a:gd name="T11" fmla="*/ 0 h 690"/>
                  <a:gd name="T12" fmla="*/ 209 w 719"/>
                  <a:gd name="T13" fmla="*/ 151 h 690"/>
                  <a:gd name="T14" fmla="*/ 119 w 719"/>
                  <a:gd name="T15" fmla="*/ 120 h 690"/>
                  <a:gd name="T16" fmla="*/ 89 w 719"/>
                  <a:gd name="T17" fmla="*/ 210 h 690"/>
                  <a:gd name="T18" fmla="*/ 89 w 719"/>
                  <a:gd name="T19" fmla="*/ 450 h 690"/>
                  <a:gd name="T20" fmla="*/ 209 w 719"/>
                  <a:gd name="T21" fmla="*/ 360 h 690"/>
                  <a:gd name="T22" fmla="*/ 298 w 719"/>
                  <a:gd name="T23" fmla="*/ 452 h 690"/>
                  <a:gd name="T24" fmla="*/ 269 w 719"/>
                  <a:gd name="T25" fmla="*/ 270 h 690"/>
                  <a:gd name="T26" fmla="*/ 359 w 719"/>
                  <a:gd name="T27" fmla="*/ 210 h 690"/>
                  <a:gd name="T28" fmla="*/ 479 w 719"/>
                  <a:gd name="T29" fmla="*/ 270 h 690"/>
                  <a:gd name="T30" fmla="*/ 359 w 719"/>
                  <a:gd name="T31" fmla="*/ 330 h 690"/>
                  <a:gd name="T32" fmla="*/ 449 w 719"/>
                  <a:gd name="T33" fmla="*/ 390 h 690"/>
                  <a:gd name="T34" fmla="*/ 719 w 719"/>
                  <a:gd name="T35" fmla="*/ 360 h 690"/>
                  <a:gd name="T36" fmla="*/ 599 w 719"/>
                  <a:gd name="T37" fmla="*/ 420 h 690"/>
                  <a:gd name="T38" fmla="*/ 629 w 719"/>
                  <a:gd name="T39" fmla="*/ 690 h 690"/>
                  <a:gd name="T40" fmla="*/ 419 w 719"/>
                  <a:gd name="T41" fmla="*/ 510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9" h="690">
                    <a:moveTo>
                      <a:pt x="119" y="120"/>
                    </a:moveTo>
                    <a:lnTo>
                      <a:pt x="0" y="30"/>
                    </a:lnTo>
                    <a:lnTo>
                      <a:pt x="209" y="0"/>
                    </a:lnTo>
                    <a:lnTo>
                      <a:pt x="299" y="120"/>
                    </a:lnTo>
                    <a:lnTo>
                      <a:pt x="389" y="0"/>
                    </a:lnTo>
                    <a:lnTo>
                      <a:pt x="209" y="0"/>
                    </a:lnTo>
                    <a:lnTo>
                      <a:pt x="209" y="151"/>
                    </a:lnTo>
                    <a:lnTo>
                      <a:pt x="119" y="120"/>
                    </a:lnTo>
                    <a:lnTo>
                      <a:pt x="89" y="210"/>
                    </a:lnTo>
                    <a:lnTo>
                      <a:pt x="89" y="450"/>
                    </a:lnTo>
                    <a:lnTo>
                      <a:pt x="209" y="360"/>
                    </a:lnTo>
                    <a:lnTo>
                      <a:pt x="298" y="452"/>
                    </a:lnTo>
                    <a:lnTo>
                      <a:pt x="269" y="270"/>
                    </a:lnTo>
                    <a:lnTo>
                      <a:pt x="359" y="210"/>
                    </a:lnTo>
                    <a:lnTo>
                      <a:pt x="479" y="270"/>
                    </a:lnTo>
                    <a:lnTo>
                      <a:pt x="359" y="330"/>
                    </a:lnTo>
                    <a:lnTo>
                      <a:pt x="449" y="390"/>
                    </a:lnTo>
                    <a:lnTo>
                      <a:pt x="719" y="360"/>
                    </a:lnTo>
                    <a:lnTo>
                      <a:pt x="599" y="420"/>
                    </a:lnTo>
                    <a:lnTo>
                      <a:pt x="629" y="690"/>
                    </a:lnTo>
                    <a:lnTo>
                      <a:pt x="419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9" name="Freeform 2438">
                <a:extLst>
                  <a:ext uri="{FF2B5EF4-FFF2-40B4-BE49-F238E27FC236}">
                    <a16:creationId xmlns:a16="http://schemas.microsoft.com/office/drawing/2014/main" xmlns="" id="{D0DFAE96-F160-43D0-9D72-9FD883AAFD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2190"/>
                <a:ext cx="359" cy="330"/>
              </a:xfrm>
              <a:custGeom>
                <a:avLst/>
                <a:gdLst>
                  <a:gd name="T0" fmla="*/ 300 w 359"/>
                  <a:gd name="T1" fmla="*/ 240 h 330"/>
                  <a:gd name="T2" fmla="*/ 210 w 359"/>
                  <a:gd name="T3" fmla="*/ 330 h 330"/>
                  <a:gd name="T4" fmla="*/ 30 w 359"/>
                  <a:gd name="T5" fmla="*/ 300 h 330"/>
                  <a:gd name="T6" fmla="*/ 0 w 359"/>
                  <a:gd name="T7" fmla="*/ 150 h 330"/>
                  <a:gd name="T8" fmla="*/ 210 w 359"/>
                  <a:gd name="T9" fmla="*/ 0 h 330"/>
                  <a:gd name="T10" fmla="*/ 359 w 359"/>
                  <a:gd name="T11" fmla="*/ 12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9" h="330">
                    <a:moveTo>
                      <a:pt x="300" y="240"/>
                    </a:moveTo>
                    <a:lnTo>
                      <a:pt x="210" y="330"/>
                    </a:lnTo>
                    <a:lnTo>
                      <a:pt x="30" y="300"/>
                    </a:lnTo>
                    <a:lnTo>
                      <a:pt x="0" y="150"/>
                    </a:lnTo>
                    <a:lnTo>
                      <a:pt x="210" y="0"/>
                    </a:lnTo>
                    <a:lnTo>
                      <a:pt x="359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0" name="Freeform 2439">
                <a:extLst>
                  <a:ext uri="{FF2B5EF4-FFF2-40B4-BE49-F238E27FC236}">
                    <a16:creationId xmlns:a16="http://schemas.microsoft.com/office/drawing/2014/main" xmlns="" id="{65B028FD-571D-4DF0-8134-6B6AD565FE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6" y="2520"/>
                <a:ext cx="239" cy="120"/>
              </a:xfrm>
              <a:custGeom>
                <a:avLst/>
                <a:gdLst>
                  <a:gd name="T0" fmla="*/ 90 w 239"/>
                  <a:gd name="T1" fmla="*/ 0 h 120"/>
                  <a:gd name="T2" fmla="*/ 0 w 239"/>
                  <a:gd name="T3" fmla="*/ 120 h 120"/>
                  <a:gd name="T4" fmla="*/ 239 w 239"/>
                  <a:gd name="T5" fmla="*/ 3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120">
                    <a:moveTo>
                      <a:pt x="90" y="0"/>
                    </a:moveTo>
                    <a:lnTo>
                      <a:pt x="0" y="120"/>
                    </a:lnTo>
                    <a:lnTo>
                      <a:pt x="23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1" name="Freeform 2440">
                <a:extLst>
                  <a:ext uri="{FF2B5EF4-FFF2-40B4-BE49-F238E27FC236}">
                    <a16:creationId xmlns:a16="http://schemas.microsoft.com/office/drawing/2014/main" xmlns="" id="{BD49CB6C-8549-40C8-B788-AC7EBB9165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540"/>
                <a:ext cx="899" cy="750"/>
              </a:xfrm>
              <a:custGeom>
                <a:avLst/>
                <a:gdLst>
                  <a:gd name="T0" fmla="*/ 299 w 899"/>
                  <a:gd name="T1" fmla="*/ 630 h 750"/>
                  <a:gd name="T2" fmla="*/ 268 w 899"/>
                  <a:gd name="T3" fmla="*/ 482 h 750"/>
                  <a:gd name="T4" fmla="*/ 179 w 899"/>
                  <a:gd name="T5" fmla="*/ 570 h 750"/>
                  <a:gd name="T6" fmla="*/ 59 w 899"/>
                  <a:gd name="T7" fmla="*/ 480 h 750"/>
                  <a:gd name="T8" fmla="*/ 0 w 899"/>
                  <a:gd name="T9" fmla="*/ 360 h 750"/>
                  <a:gd name="T10" fmla="*/ 59 w 899"/>
                  <a:gd name="T11" fmla="*/ 240 h 750"/>
                  <a:gd name="T12" fmla="*/ 179 w 899"/>
                  <a:gd name="T13" fmla="*/ 390 h 750"/>
                  <a:gd name="T14" fmla="*/ 239 w 899"/>
                  <a:gd name="T15" fmla="*/ 300 h 750"/>
                  <a:gd name="T16" fmla="*/ 329 w 899"/>
                  <a:gd name="T17" fmla="*/ 360 h 750"/>
                  <a:gd name="T18" fmla="*/ 329 w 899"/>
                  <a:gd name="T19" fmla="*/ 240 h 750"/>
                  <a:gd name="T20" fmla="*/ 179 w 899"/>
                  <a:gd name="T21" fmla="*/ 181 h 750"/>
                  <a:gd name="T22" fmla="*/ 269 w 899"/>
                  <a:gd name="T23" fmla="*/ 150 h 750"/>
                  <a:gd name="T24" fmla="*/ 389 w 899"/>
                  <a:gd name="T25" fmla="*/ 120 h 750"/>
                  <a:gd name="T26" fmla="*/ 449 w 899"/>
                  <a:gd name="T27" fmla="*/ 300 h 750"/>
                  <a:gd name="T28" fmla="*/ 539 w 899"/>
                  <a:gd name="T29" fmla="*/ 180 h 750"/>
                  <a:gd name="T30" fmla="*/ 509 w 899"/>
                  <a:gd name="T31" fmla="*/ 60 h 750"/>
                  <a:gd name="T32" fmla="*/ 359 w 899"/>
                  <a:gd name="T33" fmla="*/ 30 h 750"/>
                  <a:gd name="T34" fmla="*/ 569 w 899"/>
                  <a:gd name="T35" fmla="*/ 0 h 750"/>
                  <a:gd name="T36" fmla="*/ 689 w 899"/>
                  <a:gd name="T37" fmla="*/ 90 h 750"/>
                  <a:gd name="T38" fmla="*/ 659 w 899"/>
                  <a:gd name="T39" fmla="*/ 240 h 750"/>
                  <a:gd name="T40" fmla="*/ 749 w 899"/>
                  <a:gd name="T41" fmla="*/ 270 h 750"/>
                  <a:gd name="T42" fmla="*/ 809 w 899"/>
                  <a:gd name="T43" fmla="*/ 120 h 750"/>
                  <a:gd name="T44" fmla="*/ 899 w 899"/>
                  <a:gd name="T45" fmla="*/ 240 h 750"/>
                  <a:gd name="T46" fmla="*/ 839 w 899"/>
                  <a:gd name="T47" fmla="*/ 420 h 750"/>
                  <a:gd name="T48" fmla="*/ 779 w 899"/>
                  <a:gd name="T49" fmla="*/ 510 h 750"/>
                  <a:gd name="T50" fmla="*/ 689 w 899"/>
                  <a:gd name="T51" fmla="*/ 390 h 750"/>
                  <a:gd name="T52" fmla="*/ 539 w 899"/>
                  <a:gd name="T53" fmla="*/ 330 h 750"/>
                  <a:gd name="T54" fmla="*/ 569 w 899"/>
                  <a:gd name="T55" fmla="*/ 450 h 750"/>
                  <a:gd name="T56" fmla="*/ 419 w 899"/>
                  <a:gd name="T57" fmla="*/ 420 h 750"/>
                  <a:gd name="T58" fmla="*/ 389 w 899"/>
                  <a:gd name="T59" fmla="*/ 540 h 750"/>
                  <a:gd name="T60" fmla="*/ 509 w 899"/>
                  <a:gd name="T61" fmla="*/ 570 h 750"/>
                  <a:gd name="T62" fmla="*/ 659 w 899"/>
                  <a:gd name="T63" fmla="*/ 570 h 750"/>
                  <a:gd name="T64" fmla="*/ 659 w 899"/>
                  <a:gd name="T65" fmla="*/ 75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99" h="750">
                    <a:moveTo>
                      <a:pt x="299" y="630"/>
                    </a:moveTo>
                    <a:lnTo>
                      <a:pt x="268" y="482"/>
                    </a:lnTo>
                    <a:lnTo>
                      <a:pt x="179" y="570"/>
                    </a:lnTo>
                    <a:lnTo>
                      <a:pt x="59" y="480"/>
                    </a:lnTo>
                    <a:lnTo>
                      <a:pt x="0" y="360"/>
                    </a:lnTo>
                    <a:lnTo>
                      <a:pt x="59" y="240"/>
                    </a:lnTo>
                    <a:lnTo>
                      <a:pt x="179" y="390"/>
                    </a:lnTo>
                    <a:lnTo>
                      <a:pt x="239" y="300"/>
                    </a:lnTo>
                    <a:lnTo>
                      <a:pt x="329" y="360"/>
                    </a:lnTo>
                    <a:lnTo>
                      <a:pt x="329" y="240"/>
                    </a:lnTo>
                    <a:lnTo>
                      <a:pt x="179" y="181"/>
                    </a:lnTo>
                    <a:lnTo>
                      <a:pt x="269" y="150"/>
                    </a:lnTo>
                    <a:lnTo>
                      <a:pt x="389" y="120"/>
                    </a:lnTo>
                    <a:lnTo>
                      <a:pt x="449" y="300"/>
                    </a:lnTo>
                    <a:lnTo>
                      <a:pt x="539" y="180"/>
                    </a:lnTo>
                    <a:lnTo>
                      <a:pt x="509" y="60"/>
                    </a:lnTo>
                    <a:lnTo>
                      <a:pt x="359" y="30"/>
                    </a:lnTo>
                    <a:lnTo>
                      <a:pt x="569" y="0"/>
                    </a:lnTo>
                    <a:lnTo>
                      <a:pt x="689" y="90"/>
                    </a:lnTo>
                    <a:lnTo>
                      <a:pt x="659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89" y="390"/>
                    </a:lnTo>
                    <a:lnTo>
                      <a:pt x="539" y="330"/>
                    </a:lnTo>
                    <a:lnTo>
                      <a:pt x="569" y="450"/>
                    </a:lnTo>
                    <a:lnTo>
                      <a:pt x="419" y="420"/>
                    </a:lnTo>
                    <a:lnTo>
                      <a:pt x="389" y="540"/>
                    </a:lnTo>
                    <a:lnTo>
                      <a:pt x="509" y="570"/>
                    </a:lnTo>
                    <a:lnTo>
                      <a:pt x="659" y="570"/>
                    </a:lnTo>
                    <a:lnTo>
                      <a:pt x="659" y="7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2" name="Line 2441">
                <a:extLst>
                  <a:ext uri="{FF2B5EF4-FFF2-40B4-BE49-F238E27FC236}">
                    <a16:creationId xmlns:a16="http://schemas.microsoft.com/office/drawing/2014/main" xmlns="" id="{183CE9D6-EEB1-4E8B-8141-69B7E29FEC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115" y="721"/>
                <a:ext cx="120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3" name="Freeform 2442">
                <a:extLst>
                  <a:ext uri="{FF2B5EF4-FFF2-40B4-BE49-F238E27FC236}">
                    <a16:creationId xmlns:a16="http://schemas.microsoft.com/office/drawing/2014/main" xmlns="" id="{4A9B83AF-3F9B-41BF-A242-68F66EAC58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" y="900"/>
                <a:ext cx="121" cy="180"/>
              </a:xfrm>
              <a:custGeom>
                <a:avLst/>
                <a:gdLst>
                  <a:gd name="T0" fmla="*/ 61 w 121"/>
                  <a:gd name="T1" fmla="*/ 0 h 180"/>
                  <a:gd name="T2" fmla="*/ 121 w 121"/>
                  <a:gd name="T3" fmla="*/ 180 h 180"/>
                  <a:gd name="T4" fmla="*/ 0 w 121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1" h="180">
                    <a:moveTo>
                      <a:pt x="61" y="0"/>
                    </a:moveTo>
                    <a:lnTo>
                      <a:pt x="121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4" name="Freeform 2443">
                <a:extLst>
                  <a:ext uri="{FF2B5EF4-FFF2-40B4-BE49-F238E27FC236}">
                    <a16:creationId xmlns:a16="http://schemas.microsoft.com/office/drawing/2014/main" xmlns="" id="{04D7D19B-7BC1-4157-BDCF-F9C5E6F0A1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5" y="51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5" name="Line 2444">
                <a:extLst>
                  <a:ext uri="{FF2B5EF4-FFF2-40B4-BE49-F238E27FC236}">
                    <a16:creationId xmlns:a16="http://schemas.microsoft.com/office/drawing/2014/main" xmlns="" id="{9094EBC4-2634-48FA-8434-417FD3EFBC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45" y="6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6" name="Freeform 2445">
                <a:extLst>
                  <a:ext uri="{FF2B5EF4-FFF2-40B4-BE49-F238E27FC236}">
                    <a16:creationId xmlns:a16="http://schemas.microsoft.com/office/drawing/2014/main" xmlns="" id="{1FB9E07E-C9CE-4AA7-927A-F7DC054E96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6" y="600"/>
                <a:ext cx="599" cy="630"/>
              </a:xfrm>
              <a:custGeom>
                <a:avLst/>
                <a:gdLst>
                  <a:gd name="T0" fmla="*/ 599 w 599"/>
                  <a:gd name="T1" fmla="*/ 510 h 630"/>
                  <a:gd name="T2" fmla="*/ 389 w 599"/>
                  <a:gd name="T3" fmla="*/ 570 h 630"/>
                  <a:gd name="T4" fmla="*/ 269 w 599"/>
                  <a:gd name="T5" fmla="*/ 510 h 630"/>
                  <a:gd name="T6" fmla="*/ 90 w 599"/>
                  <a:gd name="T7" fmla="*/ 540 h 630"/>
                  <a:gd name="T8" fmla="*/ 0 w 599"/>
                  <a:gd name="T9" fmla="*/ 390 h 630"/>
                  <a:gd name="T10" fmla="*/ 0 w 599"/>
                  <a:gd name="T11" fmla="*/ 630 h 630"/>
                  <a:gd name="T12" fmla="*/ 90 w 599"/>
                  <a:gd name="T13" fmla="*/ 300 h 630"/>
                  <a:gd name="T14" fmla="*/ 0 w 599"/>
                  <a:gd name="T15" fmla="*/ 210 h 630"/>
                  <a:gd name="T16" fmla="*/ 0 w 599"/>
                  <a:gd name="T17" fmla="*/ 60 h 630"/>
                  <a:gd name="T18" fmla="*/ 60 w 599"/>
                  <a:gd name="T19" fmla="*/ 0 h 630"/>
                  <a:gd name="T20" fmla="*/ 149 w 599"/>
                  <a:gd name="T21" fmla="*/ 180 h 630"/>
                  <a:gd name="T22" fmla="*/ 329 w 599"/>
                  <a:gd name="T23" fmla="*/ 240 h 630"/>
                  <a:gd name="T24" fmla="*/ 359 w 599"/>
                  <a:gd name="T25" fmla="*/ 9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9" h="630">
                    <a:moveTo>
                      <a:pt x="599" y="510"/>
                    </a:moveTo>
                    <a:lnTo>
                      <a:pt x="389" y="570"/>
                    </a:lnTo>
                    <a:lnTo>
                      <a:pt x="269" y="510"/>
                    </a:lnTo>
                    <a:lnTo>
                      <a:pt x="90" y="540"/>
                    </a:lnTo>
                    <a:lnTo>
                      <a:pt x="0" y="390"/>
                    </a:lnTo>
                    <a:lnTo>
                      <a:pt x="0" y="630"/>
                    </a:lnTo>
                    <a:lnTo>
                      <a:pt x="90" y="300"/>
                    </a:lnTo>
                    <a:lnTo>
                      <a:pt x="0" y="210"/>
                    </a:lnTo>
                    <a:lnTo>
                      <a:pt x="0" y="60"/>
                    </a:lnTo>
                    <a:lnTo>
                      <a:pt x="60" y="0"/>
                    </a:lnTo>
                    <a:lnTo>
                      <a:pt x="149" y="180"/>
                    </a:lnTo>
                    <a:lnTo>
                      <a:pt x="329" y="240"/>
                    </a:lnTo>
                    <a:lnTo>
                      <a:pt x="359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7" name="Freeform 2446">
                <a:extLst>
                  <a:ext uri="{FF2B5EF4-FFF2-40B4-BE49-F238E27FC236}">
                    <a16:creationId xmlns:a16="http://schemas.microsoft.com/office/drawing/2014/main" xmlns="" id="{4CC2CCE0-8B45-4306-9D02-24739493D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5" y="540"/>
                <a:ext cx="899" cy="720"/>
              </a:xfrm>
              <a:custGeom>
                <a:avLst/>
                <a:gdLst>
                  <a:gd name="T0" fmla="*/ 60 w 899"/>
                  <a:gd name="T1" fmla="*/ 240 h 720"/>
                  <a:gd name="T2" fmla="*/ 180 w 899"/>
                  <a:gd name="T3" fmla="*/ 390 h 720"/>
                  <a:gd name="T4" fmla="*/ 240 w 899"/>
                  <a:gd name="T5" fmla="*/ 300 h 720"/>
                  <a:gd name="T6" fmla="*/ 330 w 899"/>
                  <a:gd name="T7" fmla="*/ 360 h 720"/>
                  <a:gd name="T8" fmla="*/ 330 w 899"/>
                  <a:gd name="T9" fmla="*/ 240 h 720"/>
                  <a:gd name="T10" fmla="*/ 180 w 899"/>
                  <a:gd name="T11" fmla="*/ 181 h 720"/>
                  <a:gd name="T12" fmla="*/ 270 w 899"/>
                  <a:gd name="T13" fmla="*/ 150 h 720"/>
                  <a:gd name="T14" fmla="*/ 390 w 899"/>
                  <a:gd name="T15" fmla="*/ 120 h 720"/>
                  <a:gd name="T16" fmla="*/ 450 w 899"/>
                  <a:gd name="T17" fmla="*/ 300 h 720"/>
                  <a:gd name="T18" fmla="*/ 540 w 899"/>
                  <a:gd name="T19" fmla="*/ 180 h 720"/>
                  <a:gd name="T20" fmla="*/ 510 w 899"/>
                  <a:gd name="T21" fmla="*/ 60 h 720"/>
                  <a:gd name="T22" fmla="*/ 360 w 899"/>
                  <a:gd name="T23" fmla="*/ 30 h 720"/>
                  <a:gd name="T24" fmla="*/ 570 w 899"/>
                  <a:gd name="T25" fmla="*/ 0 h 720"/>
                  <a:gd name="T26" fmla="*/ 690 w 899"/>
                  <a:gd name="T27" fmla="*/ 90 h 720"/>
                  <a:gd name="T28" fmla="*/ 660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90 w 899"/>
                  <a:gd name="T41" fmla="*/ 390 h 720"/>
                  <a:gd name="T42" fmla="*/ 540 w 899"/>
                  <a:gd name="T43" fmla="*/ 330 h 720"/>
                  <a:gd name="T44" fmla="*/ 570 w 899"/>
                  <a:gd name="T45" fmla="*/ 450 h 720"/>
                  <a:gd name="T46" fmla="*/ 420 w 899"/>
                  <a:gd name="T47" fmla="*/ 420 h 720"/>
                  <a:gd name="T48" fmla="*/ 390 w 899"/>
                  <a:gd name="T49" fmla="*/ 540 h 720"/>
                  <a:gd name="T50" fmla="*/ 510 w 899"/>
                  <a:gd name="T51" fmla="*/ 570 h 720"/>
                  <a:gd name="T52" fmla="*/ 660 w 899"/>
                  <a:gd name="T53" fmla="*/ 570 h 720"/>
                  <a:gd name="T54" fmla="*/ 600 w 899"/>
                  <a:gd name="T55" fmla="*/ 720 h 720"/>
                  <a:gd name="T56" fmla="*/ 300 w 899"/>
                  <a:gd name="T57" fmla="*/ 630 h 720"/>
                  <a:gd name="T58" fmla="*/ 268 w 899"/>
                  <a:gd name="T59" fmla="*/ 482 h 720"/>
                  <a:gd name="T60" fmla="*/ 180 w 899"/>
                  <a:gd name="T61" fmla="*/ 570 h 720"/>
                  <a:gd name="T62" fmla="*/ 60 w 899"/>
                  <a:gd name="T63" fmla="*/ 480 h 720"/>
                  <a:gd name="T64" fmla="*/ 0 w 899"/>
                  <a:gd name="T65" fmla="*/ 360 h 720"/>
                  <a:gd name="T66" fmla="*/ 60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60" y="240"/>
                    </a:moveTo>
                    <a:lnTo>
                      <a:pt x="180" y="390"/>
                    </a:lnTo>
                    <a:lnTo>
                      <a:pt x="240" y="300"/>
                    </a:lnTo>
                    <a:lnTo>
                      <a:pt x="330" y="360"/>
                    </a:lnTo>
                    <a:lnTo>
                      <a:pt x="330" y="240"/>
                    </a:lnTo>
                    <a:lnTo>
                      <a:pt x="180" y="181"/>
                    </a:lnTo>
                    <a:lnTo>
                      <a:pt x="270" y="150"/>
                    </a:lnTo>
                    <a:lnTo>
                      <a:pt x="390" y="120"/>
                    </a:lnTo>
                    <a:lnTo>
                      <a:pt x="450" y="300"/>
                    </a:lnTo>
                    <a:lnTo>
                      <a:pt x="540" y="180"/>
                    </a:lnTo>
                    <a:lnTo>
                      <a:pt x="510" y="60"/>
                    </a:lnTo>
                    <a:lnTo>
                      <a:pt x="360" y="30"/>
                    </a:lnTo>
                    <a:lnTo>
                      <a:pt x="570" y="0"/>
                    </a:lnTo>
                    <a:lnTo>
                      <a:pt x="690" y="90"/>
                    </a:lnTo>
                    <a:lnTo>
                      <a:pt x="660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90" y="390"/>
                    </a:lnTo>
                    <a:lnTo>
                      <a:pt x="540" y="330"/>
                    </a:lnTo>
                    <a:lnTo>
                      <a:pt x="570" y="450"/>
                    </a:lnTo>
                    <a:lnTo>
                      <a:pt x="420" y="420"/>
                    </a:lnTo>
                    <a:lnTo>
                      <a:pt x="390" y="540"/>
                    </a:lnTo>
                    <a:lnTo>
                      <a:pt x="510" y="570"/>
                    </a:lnTo>
                    <a:lnTo>
                      <a:pt x="660" y="570"/>
                    </a:lnTo>
                    <a:lnTo>
                      <a:pt x="600" y="720"/>
                    </a:lnTo>
                    <a:lnTo>
                      <a:pt x="300" y="630"/>
                    </a:lnTo>
                    <a:lnTo>
                      <a:pt x="268" y="482"/>
                    </a:lnTo>
                    <a:lnTo>
                      <a:pt x="180" y="570"/>
                    </a:lnTo>
                    <a:lnTo>
                      <a:pt x="60" y="480"/>
                    </a:lnTo>
                    <a:lnTo>
                      <a:pt x="0" y="360"/>
                    </a:lnTo>
                    <a:lnTo>
                      <a:pt x="6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8" name="Freeform 2447">
                <a:extLst>
                  <a:ext uri="{FF2B5EF4-FFF2-40B4-BE49-F238E27FC236}">
                    <a16:creationId xmlns:a16="http://schemas.microsoft.com/office/drawing/2014/main" xmlns="" id="{54130A2D-79C4-485A-B64E-0A4DA5ED7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690"/>
                <a:ext cx="210" cy="150"/>
              </a:xfrm>
              <a:custGeom>
                <a:avLst/>
                <a:gdLst>
                  <a:gd name="T0" fmla="*/ 0 w 210"/>
                  <a:gd name="T1" fmla="*/ 90 h 150"/>
                  <a:gd name="T2" fmla="*/ 180 w 210"/>
                  <a:gd name="T3" fmla="*/ 150 h 150"/>
                  <a:gd name="T4" fmla="*/ 210 w 210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150">
                    <a:moveTo>
                      <a:pt x="0" y="90"/>
                    </a:moveTo>
                    <a:lnTo>
                      <a:pt x="180" y="150"/>
                    </a:lnTo>
                    <a:lnTo>
                      <a:pt x="21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9" name="Freeform 2448">
                <a:extLst>
                  <a:ext uri="{FF2B5EF4-FFF2-40B4-BE49-F238E27FC236}">
                    <a16:creationId xmlns:a16="http://schemas.microsoft.com/office/drawing/2014/main" xmlns="" id="{FD9594E0-7F0E-4412-B167-5CB9DB84C7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721"/>
                <a:ext cx="240" cy="389"/>
              </a:xfrm>
              <a:custGeom>
                <a:avLst/>
                <a:gdLst>
                  <a:gd name="T0" fmla="*/ 240 w 240"/>
                  <a:gd name="T1" fmla="*/ 0 h 389"/>
                  <a:gd name="T2" fmla="*/ 120 w 240"/>
                  <a:gd name="T3" fmla="*/ 299 h 389"/>
                  <a:gd name="T4" fmla="*/ 0 w 240"/>
                  <a:gd name="T5" fmla="*/ 389 h 389"/>
                  <a:gd name="T6" fmla="*/ 60 w 240"/>
                  <a:gd name="T7" fmla="*/ 179 h 389"/>
                  <a:gd name="T8" fmla="*/ 0 w 240"/>
                  <a:gd name="T9" fmla="*/ 59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89">
                    <a:moveTo>
                      <a:pt x="240" y="0"/>
                    </a:moveTo>
                    <a:lnTo>
                      <a:pt x="120" y="299"/>
                    </a:lnTo>
                    <a:lnTo>
                      <a:pt x="0" y="389"/>
                    </a:lnTo>
                    <a:lnTo>
                      <a:pt x="60" y="179"/>
                    </a:lnTo>
                    <a:lnTo>
                      <a:pt x="0" y="5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0" name="Freeform 2449">
                <a:extLst>
                  <a:ext uri="{FF2B5EF4-FFF2-40B4-BE49-F238E27FC236}">
                    <a16:creationId xmlns:a16="http://schemas.microsoft.com/office/drawing/2014/main" xmlns="" id="{C99822E5-027C-49C7-9956-5F103E28C1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3" y="900"/>
                <a:ext cx="122" cy="180"/>
              </a:xfrm>
              <a:custGeom>
                <a:avLst/>
                <a:gdLst>
                  <a:gd name="T0" fmla="*/ 62 w 122"/>
                  <a:gd name="T1" fmla="*/ 0 h 180"/>
                  <a:gd name="T2" fmla="*/ 122 w 122"/>
                  <a:gd name="T3" fmla="*/ 180 h 180"/>
                  <a:gd name="T4" fmla="*/ 0 w 122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2" h="180">
                    <a:moveTo>
                      <a:pt x="62" y="0"/>
                    </a:moveTo>
                    <a:lnTo>
                      <a:pt x="122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1" name="Freeform 2450">
                <a:extLst>
                  <a:ext uri="{FF2B5EF4-FFF2-40B4-BE49-F238E27FC236}">
                    <a16:creationId xmlns:a16="http://schemas.microsoft.com/office/drawing/2014/main" xmlns="" id="{D7C0589B-DFCB-41F1-82E6-76CA946C9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5" y="51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2" name="Line 2451">
                <a:extLst>
                  <a:ext uri="{FF2B5EF4-FFF2-40B4-BE49-F238E27FC236}">
                    <a16:creationId xmlns:a16="http://schemas.microsoft.com/office/drawing/2014/main" xmlns="" id="{C914DC24-B310-4F88-BFEC-7973009206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05" y="6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3" name="Freeform 2452">
                <a:extLst>
                  <a:ext uri="{FF2B5EF4-FFF2-40B4-BE49-F238E27FC236}">
                    <a16:creationId xmlns:a16="http://schemas.microsoft.com/office/drawing/2014/main" xmlns="" id="{EE6D7AC2-9EC1-4687-B84A-1679CF17C1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780"/>
                <a:ext cx="450" cy="390"/>
              </a:xfrm>
              <a:custGeom>
                <a:avLst/>
                <a:gdLst>
                  <a:gd name="T0" fmla="*/ 450 w 450"/>
                  <a:gd name="T1" fmla="*/ 330 h 390"/>
                  <a:gd name="T2" fmla="*/ 240 w 450"/>
                  <a:gd name="T3" fmla="*/ 390 h 390"/>
                  <a:gd name="T4" fmla="*/ 120 w 450"/>
                  <a:gd name="T5" fmla="*/ 330 h 390"/>
                  <a:gd name="T6" fmla="*/ 0 w 450"/>
                  <a:gd name="T7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0" h="390">
                    <a:moveTo>
                      <a:pt x="450" y="330"/>
                    </a:moveTo>
                    <a:lnTo>
                      <a:pt x="240" y="390"/>
                    </a:lnTo>
                    <a:lnTo>
                      <a:pt x="120" y="3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4" name="Freeform 2453">
                <a:extLst>
                  <a:ext uri="{FF2B5EF4-FFF2-40B4-BE49-F238E27FC236}">
                    <a16:creationId xmlns:a16="http://schemas.microsoft.com/office/drawing/2014/main" xmlns="" id="{453F4DEF-66A3-402A-BE8B-BC695A171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960"/>
                <a:ext cx="570" cy="300"/>
              </a:xfrm>
              <a:custGeom>
                <a:avLst/>
                <a:gdLst>
                  <a:gd name="T0" fmla="*/ 0 w 570"/>
                  <a:gd name="T1" fmla="*/ 0 h 300"/>
                  <a:gd name="T2" fmla="*/ 240 w 570"/>
                  <a:gd name="T3" fmla="*/ 150 h 300"/>
                  <a:gd name="T4" fmla="*/ 360 w 570"/>
                  <a:gd name="T5" fmla="*/ 90 h 300"/>
                  <a:gd name="T6" fmla="*/ 450 w 570"/>
                  <a:gd name="T7" fmla="*/ 300 h 300"/>
                  <a:gd name="T8" fmla="*/ 570 w 570"/>
                  <a:gd name="T9" fmla="*/ 24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0" h="300">
                    <a:moveTo>
                      <a:pt x="0" y="0"/>
                    </a:moveTo>
                    <a:lnTo>
                      <a:pt x="240" y="150"/>
                    </a:lnTo>
                    <a:lnTo>
                      <a:pt x="360" y="90"/>
                    </a:lnTo>
                    <a:lnTo>
                      <a:pt x="450" y="300"/>
                    </a:lnTo>
                    <a:lnTo>
                      <a:pt x="57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5" name="Line 2454">
                <a:extLst>
                  <a:ext uri="{FF2B5EF4-FFF2-40B4-BE49-F238E27FC236}">
                    <a16:creationId xmlns:a16="http://schemas.microsoft.com/office/drawing/2014/main" xmlns="" id="{0BDC0ABA-FB6D-402B-BAAE-498CDFB75C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95" y="90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6" name="Line 2455">
                <a:extLst>
                  <a:ext uri="{FF2B5EF4-FFF2-40B4-BE49-F238E27FC236}">
                    <a16:creationId xmlns:a16="http://schemas.microsoft.com/office/drawing/2014/main" xmlns="" id="{8758586D-C798-4FB9-A631-CBC7419311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05" y="510"/>
                <a:ext cx="90" cy="21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7" name="Freeform 2456">
                <a:extLst>
                  <a:ext uri="{FF2B5EF4-FFF2-40B4-BE49-F238E27FC236}">
                    <a16:creationId xmlns:a16="http://schemas.microsoft.com/office/drawing/2014/main" xmlns="" id="{D3C5BE8C-9E1C-47E0-AB74-2DE1D7A75F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5" y="960"/>
                <a:ext cx="389" cy="300"/>
              </a:xfrm>
              <a:custGeom>
                <a:avLst/>
                <a:gdLst>
                  <a:gd name="T0" fmla="*/ 180 w 389"/>
                  <a:gd name="T1" fmla="*/ 300 h 300"/>
                  <a:gd name="T2" fmla="*/ 389 w 389"/>
                  <a:gd name="T3" fmla="*/ 270 h 300"/>
                  <a:gd name="T4" fmla="*/ 240 w 389"/>
                  <a:gd name="T5" fmla="*/ 150 h 300"/>
                  <a:gd name="T6" fmla="*/ 0 w 389"/>
                  <a:gd name="T7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9" h="300">
                    <a:moveTo>
                      <a:pt x="180" y="300"/>
                    </a:moveTo>
                    <a:lnTo>
                      <a:pt x="389" y="27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8" name="Freeform 2457">
                <a:extLst>
                  <a:ext uri="{FF2B5EF4-FFF2-40B4-BE49-F238E27FC236}">
                    <a16:creationId xmlns:a16="http://schemas.microsoft.com/office/drawing/2014/main" xmlns="" id="{547E6695-D628-4002-8368-E35D0D4B0A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780"/>
                <a:ext cx="389" cy="360"/>
              </a:xfrm>
              <a:custGeom>
                <a:avLst/>
                <a:gdLst>
                  <a:gd name="T0" fmla="*/ 90 w 389"/>
                  <a:gd name="T1" fmla="*/ 330 h 360"/>
                  <a:gd name="T2" fmla="*/ 389 w 389"/>
                  <a:gd name="T3" fmla="*/ 360 h 360"/>
                  <a:gd name="T4" fmla="*/ 359 w 389"/>
                  <a:gd name="T5" fmla="*/ 240 h 360"/>
                  <a:gd name="T6" fmla="*/ 209 w 389"/>
                  <a:gd name="T7" fmla="*/ 270 h 360"/>
                  <a:gd name="T8" fmla="*/ 0 w 389"/>
                  <a:gd name="T9" fmla="*/ 210 h 360"/>
                  <a:gd name="T10" fmla="*/ 269 w 389"/>
                  <a:gd name="T11" fmla="*/ 180 h 360"/>
                  <a:gd name="T12" fmla="*/ 179 w 389"/>
                  <a:gd name="T13" fmla="*/ 30 h 360"/>
                  <a:gd name="T14" fmla="*/ 329 w 389"/>
                  <a:gd name="T15" fmla="*/ 0 h 360"/>
                  <a:gd name="T16" fmla="*/ 120 w 389"/>
                  <a:gd name="T17" fmla="*/ 15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9" h="360">
                    <a:moveTo>
                      <a:pt x="90" y="330"/>
                    </a:moveTo>
                    <a:lnTo>
                      <a:pt x="389" y="360"/>
                    </a:lnTo>
                    <a:lnTo>
                      <a:pt x="359" y="240"/>
                    </a:lnTo>
                    <a:lnTo>
                      <a:pt x="209" y="270"/>
                    </a:lnTo>
                    <a:lnTo>
                      <a:pt x="0" y="210"/>
                    </a:lnTo>
                    <a:lnTo>
                      <a:pt x="269" y="180"/>
                    </a:lnTo>
                    <a:lnTo>
                      <a:pt x="179" y="30"/>
                    </a:lnTo>
                    <a:lnTo>
                      <a:pt x="329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9" name="Line 2458">
                <a:extLst>
                  <a:ext uri="{FF2B5EF4-FFF2-40B4-BE49-F238E27FC236}">
                    <a16:creationId xmlns:a16="http://schemas.microsoft.com/office/drawing/2014/main" xmlns="" id="{43FE14E3-2E67-4ECD-97AE-C4A9E8F6631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14" y="780"/>
                <a:ext cx="30" cy="24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0" name="Freeform 2459">
                <a:extLst>
                  <a:ext uri="{FF2B5EF4-FFF2-40B4-BE49-F238E27FC236}">
                    <a16:creationId xmlns:a16="http://schemas.microsoft.com/office/drawing/2014/main" xmlns="" id="{B90B6BC7-1C66-4DBB-A4C0-E4B67C321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5" y="630"/>
                <a:ext cx="239" cy="30"/>
              </a:xfrm>
              <a:custGeom>
                <a:avLst/>
                <a:gdLst>
                  <a:gd name="T0" fmla="*/ 0 w 239"/>
                  <a:gd name="T1" fmla="*/ 0 h 30"/>
                  <a:gd name="T2" fmla="*/ 119 w 239"/>
                  <a:gd name="T3" fmla="*/ 30 h 30"/>
                  <a:gd name="T4" fmla="*/ 239 w 239"/>
                  <a:gd name="T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30">
                    <a:moveTo>
                      <a:pt x="0" y="0"/>
                    </a:moveTo>
                    <a:lnTo>
                      <a:pt x="119" y="30"/>
                    </a:lnTo>
                    <a:lnTo>
                      <a:pt x="23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1" name="Freeform 2460">
                <a:extLst>
                  <a:ext uri="{FF2B5EF4-FFF2-40B4-BE49-F238E27FC236}">
                    <a16:creationId xmlns:a16="http://schemas.microsoft.com/office/drawing/2014/main" xmlns="" id="{55E51B30-2F75-44DE-B2FD-280F797D22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630"/>
                <a:ext cx="210" cy="510"/>
              </a:xfrm>
              <a:custGeom>
                <a:avLst/>
                <a:gdLst>
                  <a:gd name="T0" fmla="*/ 210 w 210"/>
                  <a:gd name="T1" fmla="*/ 180 h 510"/>
                  <a:gd name="T2" fmla="*/ 0 w 210"/>
                  <a:gd name="T3" fmla="*/ 510 h 510"/>
                  <a:gd name="T4" fmla="*/ 120 w 210"/>
                  <a:gd name="T5" fmla="*/ 480 h 510"/>
                  <a:gd name="T6" fmla="*/ 30 w 210"/>
                  <a:gd name="T7" fmla="*/ 330 h 510"/>
                  <a:gd name="T8" fmla="*/ 120 w 210"/>
                  <a:gd name="T9" fmla="*/ 240 h 510"/>
                  <a:gd name="T10" fmla="*/ 0 w 210"/>
                  <a:gd name="T11" fmla="*/ 180 h 510"/>
                  <a:gd name="T12" fmla="*/ 90 w 210"/>
                  <a:gd name="T13" fmla="*/ 0 h 510"/>
                  <a:gd name="T14" fmla="*/ 210 w 210"/>
                  <a:gd name="T15" fmla="*/ 18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0" h="510">
                    <a:moveTo>
                      <a:pt x="210" y="180"/>
                    </a:moveTo>
                    <a:lnTo>
                      <a:pt x="0" y="510"/>
                    </a:lnTo>
                    <a:lnTo>
                      <a:pt x="120" y="480"/>
                    </a:lnTo>
                    <a:lnTo>
                      <a:pt x="30" y="330"/>
                    </a:lnTo>
                    <a:lnTo>
                      <a:pt x="120" y="240"/>
                    </a:lnTo>
                    <a:lnTo>
                      <a:pt x="0" y="180"/>
                    </a:lnTo>
                    <a:lnTo>
                      <a:pt x="90" y="0"/>
                    </a:lnTo>
                    <a:lnTo>
                      <a:pt x="210" y="18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2" name="Freeform 2461">
                <a:extLst>
                  <a:ext uri="{FF2B5EF4-FFF2-40B4-BE49-F238E27FC236}">
                    <a16:creationId xmlns:a16="http://schemas.microsoft.com/office/drawing/2014/main" xmlns="" id="{6C203705-0D95-4727-9620-DDF5F3972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6" y="570"/>
                <a:ext cx="719" cy="720"/>
              </a:xfrm>
              <a:custGeom>
                <a:avLst/>
                <a:gdLst>
                  <a:gd name="T0" fmla="*/ 119 w 719"/>
                  <a:gd name="T1" fmla="*/ 120 h 720"/>
                  <a:gd name="T2" fmla="*/ 0 w 719"/>
                  <a:gd name="T3" fmla="*/ 30 h 720"/>
                  <a:gd name="T4" fmla="*/ 209 w 719"/>
                  <a:gd name="T5" fmla="*/ 0 h 720"/>
                  <a:gd name="T6" fmla="*/ 299 w 719"/>
                  <a:gd name="T7" fmla="*/ 120 h 720"/>
                  <a:gd name="T8" fmla="*/ 389 w 719"/>
                  <a:gd name="T9" fmla="*/ 0 h 720"/>
                  <a:gd name="T10" fmla="*/ 209 w 719"/>
                  <a:gd name="T11" fmla="*/ 0 h 720"/>
                  <a:gd name="T12" fmla="*/ 209 w 719"/>
                  <a:gd name="T13" fmla="*/ 151 h 720"/>
                  <a:gd name="T14" fmla="*/ 119 w 719"/>
                  <a:gd name="T15" fmla="*/ 120 h 720"/>
                  <a:gd name="T16" fmla="*/ 89 w 719"/>
                  <a:gd name="T17" fmla="*/ 210 h 720"/>
                  <a:gd name="T18" fmla="*/ 89 w 719"/>
                  <a:gd name="T19" fmla="*/ 450 h 720"/>
                  <a:gd name="T20" fmla="*/ 209 w 719"/>
                  <a:gd name="T21" fmla="*/ 360 h 720"/>
                  <a:gd name="T22" fmla="*/ 298 w 719"/>
                  <a:gd name="T23" fmla="*/ 452 h 720"/>
                  <a:gd name="T24" fmla="*/ 269 w 719"/>
                  <a:gd name="T25" fmla="*/ 270 h 720"/>
                  <a:gd name="T26" fmla="*/ 359 w 719"/>
                  <a:gd name="T27" fmla="*/ 210 h 720"/>
                  <a:gd name="T28" fmla="*/ 479 w 719"/>
                  <a:gd name="T29" fmla="*/ 270 h 720"/>
                  <a:gd name="T30" fmla="*/ 359 w 719"/>
                  <a:gd name="T31" fmla="*/ 330 h 720"/>
                  <a:gd name="T32" fmla="*/ 449 w 719"/>
                  <a:gd name="T33" fmla="*/ 390 h 720"/>
                  <a:gd name="T34" fmla="*/ 719 w 719"/>
                  <a:gd name="T35" fmla="*/ 360 h 720"/>
                  <a:gd name="T36" fmla="*/ 599 w 719"/>
                  <a:gd name="T37" fmla="*/ 420 h 720"/>
                  <a:gd name="T38" fmla="*/ 689 w 719"/>
                  <a:gd name="T39" fmla="*/ 720 h 720"/>
                  <a:gd name="T40" fmla="*/ 419 w 719"/>
                  <a:gd name="T41" fmla="*/ 51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9" h="720">
                    <a:moveTo>
                      <a:pt x="119" y="120"/>
                    </a:moveTo>
                    <a:lnTo>
                      <a:pt x="0" y="30"/>
                    </a:lnTo>
                    <a:lnTo>
                      <a:pt x="209" y="0"/>
                    </a:lnTo>
                    <a:lnTo>
                      <a:pt x="299" y="120"/>
                    </a:lnTo>
                    <a:lnTo>
                      <a:pt x="389" y="0"/>
                    </a:lnTo>
                    <a:lnTo>
                      <a:pt x="209" y="0"/>
                    </a:lnTo>
                    <a:lnTo>
                      <a:pt x="209" y="151"/>
                    </a:lnTo>
                    <a:lnTo>
                      <a:pt x="119" y="120"/>
                    </a:lnTo>
                    <a:lnTo>
                      <a:pt x="89" y="210"/>
                    </a:lnTo>
                    <a:lnTo>
                      <a:pt x="89" y="450"/>
                    </a:lnTo>
                    <a:lnTo>
                      <a:pt x="209" y="360"/>
                    </a:lnTo>
                    <a:lnTo>
                      <a:pt x="298" y="452"/>
                    </a:lnTo>
                    <a:lnTo>
                      <a:pt x="269" y="270"/>
                    </a:lnTo>
                    <a:lnTo>
                      <a:pt x="359" y="210"/>
                    </a:lnTo>
                    <a:lnTo>
                      <a:pt x="479" y="270"/>
                    </a:lnTo>
                    <a:lnTo>
                      <a:pt x="359" y="330"/>
                    </a:lnTo>
                    <a:lnTo>
                      <a:pt x="449" y="390"/>
                    </a:lnTo>
                    <a:lnTo>
                      <a:pt x="719" y="360"/>
                    </a:lnTo>
                    <a:lnTo>
                      <a:pt x="599" y="420"/>
                    </a:lnTo>
                    <a:lnTo>
                      <a:pt x="689" y="720"/>
                    </a:lnTo>
                    <a:lnTo>
                      <a:pt x="419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3" name="Freeform 2462">
                <a:extLst>
                  <a:ext uri="{FF2B5EF4-FFF2-40B4-BE49-F238E27FC236}">
                    <a16:creationId xmlns:a16="http://schemas.microsoft.com/office/drawing/2014/main" xmlns="" id="{BD7618C3-9C37-46B1-B4E3-A1E68D632C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660"/>
                <a:ext cx="359" cy="330"/>
              </a:xfrm>
              <a:custGeom>
                <a:avLst/>
                <a:gdLst>
                  <a:gd name="T0" fmla="*/ 300 w 359"/>
                  <a:gd name="T1" fmla="*/ 240 h 330"/>
                  <a:gd name="T2" fmla="*/ 210 w 359"/>
                  <a:gd name="T3" fmla="*/ 330 h 330"/>
                  <a:gd name="T4" fmla="*/ 30 w 359"/>
                  <a:gd name="T5" fmla="*/ 300 h 330"/>
                  <a:gd name="T6" fmla="*/ 0 w 359"/>
                  <a:gd name="T7" fmla="*/ 150 h 330"/>
                  <a:gd name="T8" fmla="*/ 210 w 359"/>
                  <a:gd name="T9" fmla="*/ 0 h 330"/>
                  <a:gd name="T10" fmla="*/ 359 w 359"/>
                  <a:gd name="T11" fmla="*/ 12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9" h="330">
                    <a:moveTo>
                      <a:pt x="300" y="240"/>
                    </a:moveTo>
                    <a:lnTo>
                      <a:pt x="210" y="330"/>
                    </a:lnTo>
                    <a:lnTo>
                      <a:pt x="30" y="300"/>
                    </a:lnTo>
                    <a:lnTo>
                      <a:pt x="0" y="150"/>
                    </a:lnTo>
                    <a:lnTo>
                      <a:pt x="210" y="0"/>
                    </a:lnTo>
                    <a:lnTo>
                      <a:pt x="359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4" name="Freeform 2463">
                <a:extLst>
                  <a:ext uri="{FF2B5EF4-FFF2-40B4-BE49-F238E27FC236}">
                    <a16:creationId xmlns:a16="http://schemas.microsoft.com/office/drawing/2014/main" xmlns="" id="{B16FE604-9235-4727-87F9-759D91ACF5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990"/>
                <a:ext cx="239" cy="120"/>
              </a:xfrm>
              <a:custGeom>
                <a:avLst/>
                <a:gdLst>
                  <a:gd name="T0" fmla="*/ 90 w 239"/>
                  <a:gd name="T1" fmla="*/ 0 h 120"/>
                  <a:gd name="T2" fmla="*/ 0 w 239"/>
                  <a:gd name="T3" fmla="*/ 120 h 120"/>
                  <a:gd name="T4" fmla="*/ 239 w 239"/>
                  <a:gd name="T5" fmla="*/ 3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120">
                    <a:moveTo>
                      <a:pt x="90" y="0"/>
                    </a:moveTo>
                    <a:lnTo>
                      <a:pt x="0" y="120"/>
                    </a:lnTo>
                    <a:lnTo>
                      <a:pt x="23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5" name="Freeform 2464">
                <a:extLst>
                  <a:ext uri="{FF2B5EF4-FFF2-40B4-BE49-F238E27FC236}">
                    <a16:creationId xmlns:a16="http://schemas.microsoft.com/office/drawing/2014/main" xmlns="" id="{612D1B63-B3A0-4658-8F3E-914CBA90DF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170"/>
                <a:ext cx="360" cy="120"/>
              </a:xfrm>
              <a:custGeom>
                <a:avLst/>
                <a:gdLst>
                  <a:gd name="T0" fmla="*/ 360 w 360"/>
                  <a:gd name="T1" fmla="*/ 120 h 120"/>
                  <a:gd name="T2" fmla="*/ 150 w 360"/>
                  <a:gd name="T3" fmla="*/ 30 h 120"/>
                  <a:gd name="T4" fmla="*/ 0 w 360"/>
                  <a:gd name="T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120">
                    <a:moveTo>
                      <a:pt x="360" y="120"/>
                    </a:moveTo>
                    <a:lnTo>
                      <a:pt x="15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6" name="Freeform 2465">
                <a:extLst>
                  <a:ext uri="{FF2B5EF4-FFF2-40B4-BE49-F238E27FC236}">
                    <a16:creationId xmlns:a16="http://schemas.microsoft.com/office/drawing/2014/main" xmlns="" id="{F5644EB5-924F-40F7-894B-2368DAF2D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5" y="930"/>
                <a:ext cx="720" cy="360"/>
              </a:xfrm>
              <a:custGeom>
                <a:avLst/>
                <a:gdLst>
                  <a:gd name="T0" fmla="*/ 510 w 720"/>
                  <a:gd name="T1" fmla="*/ 0 h 360"/>
                  <a:gd name="T2" fmla="*/ 570 w 720"/>
                  <a:gd name="T3" fmla="*/ 300 h 360"/>
                  <a:gd name="T4" fmla="*/ 720 w 720"/>
                  <a:gd name="T5" fmla="*/ 180 h 360"/>
                  <a:gd name="T6" fmla="*/ 480 w 720"/>
                  <a:gd name="T7" fmla="*/ 180 h 360"/>
                  <a:gd name="T8" fmla="*/ 300 w 720"/>
                  <a:gd name="T9" fmla="*/ 360 h 360"/>
                  <a:gd name="T10" fmla="*/ 270 w 720"/>
                  <a:gd name="T11" fmla="*/ 270 h 360"/>
                  <a:gd name="T12" fmla="*/ 120 w 720"/>
                  <a:gd name="T13" fmla="*/ 360 h 360"/>
                  <a:gd name="T14" fmla="*/ 0 w 720"/>
                  <a:gd name="T15" fmla="*/ 301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0" h="360">
                    <a:moveTo>
                      <a:pt x="510" y="0"/>
                    </a:moveTo>
                    <a:lnTo>
                      <a:pt x="570" y="300"/>
                    </a:lnTo>
                    <a:lnTo>
                      <a:pt x="720" y="180"/>
                    </a:lnTo>
                    <a:lnTo>
                      <a:pt x="480" y="180"/>
                    </a:lnTo>
                    <a:lnTo>
                      <a:pt x="300" y="360"/>
                    </a:lnTo>
                    <a:lnTo>
                      <a:pt x="270" y="270"/>
                    </a:lnTo>
                    <a:lnTo>
                      <a:pt x="120" y="360"/>
                    </a:lnTo>
                    <a:lnTo>
                      <a:pt x="0" y="301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7" name="Freeform 2466">
                <a:extLst>
                  <a:ext uri="{FF2B5EF4-FFF2-40B4-BE49-F238E27FC236}">
                    <a16:creationId xmlns:a16="http://schemas.microsoft.com/office/drawing/2014/main" xmlns="" id="{8C92DF9F-924E-42F5-AF42-B258E50E5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1200"/>
                <a:ext cx="150" cy="90"/>
              </a:xfrm>
              <a:custGeom>
                <a:avLst/>
                <a:gdLst>
                  <a:gd name="T0" fmla="*/ 150 w 150"/>
                  <a:gd name="T1" fmla="*/ 0 h 90"/>
                  <a:gd name="T2" fmla="*/ 0 w 150"/>
                  <a:gd name="T3" fmla="*/ 0 h 90"/>
                  <a:gd name="T4" fmla="*/ 120 w 150"/>
                  <a:gd name="T5" fmla="*/ 90 h 90"/>
                  <a:gd name="T6" fmla="*/ 150 w 150"/>
                  <a:gd name="T7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0" h="90">
                    <a:moveTo>
                      <a:pt x="150" y="0"/>
                    </a:moveTo>
                    <a:lnTo>
                      <a:pt x="0" y="0"/>
                    </a:lnTo>
                    <a:lnTo>
                      <a:pt x="120" y="90"/>
                    </a:lnTo>
                    <a:lnTo>
                      <a:pt x="15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8" name="Freeform 2467">
                <a:extLst>
                  <a:ext uri="{FF2B5EF4-FFF2-40B4-BE49-F238E27FC236}">
                    <a16:creationId xmlns:a16="http://schemas.microsoft.com/office/drawing/2014/main" xmlns="" id="{3B105C70-C5B0-462A-AC67-DFAA8804A8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480"/>
                <a:ext cx="390" cy="360"/>
              </a:xfrm>
              <a:custGeom>
                <a:avLst/>
                <a:gdLst>
                  <a:gd name="T0" fmla="*/ 180 w 390"/>
                  <a:gd name="T1" fmla="*/ 360 h 360"/>
                  <a:gd name="T2" fmla="*/ 150 w 390"/>
                  <a:gd name="T3" fmla="*/ 150 h 360"/>
                  <a:gd name="T4" fmla="*/ 30 w 390"/>
                  <a:gd name="T5" fmla="*/ 0 h 360"/>
                  <a:gd name="T6" fmla="*/ 330 w 390"/>
                  <a:gd name="T7" fmla="*/ 120 h 360"/>
                  <a:gd name="T8" fmla="*/ 390 w 390"/>
                  <a:gd name="T9" fmla="*/ 0 h 360"/>
                  <a:gd name="T10" fmla="*/ 210 w 390"/>
                  <a:gd name="T11" fmla="*/ 30 h 360"/>
                  <a:gd name="T12" fmla="*/ 0 w 390"/>
                  <a:gd name="T13" fmla="*/ 180 h 360"/>
                  <a:gd name="T14" fmla="*/ 270 w 390"/>
                  <a:gd name="T15" fmla="*/ 33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0" h="360">
                    <a:moveTo>
                      <a:pt x="180" y="360"/>
                    </a:moveTo>
                    <a:lnTo>
                      <a:pt x="150" y="150"/>
                    </a:lnTo>
                    <a:lnTo>
                      <a:pt x="30" y="0"/>
                    </a:lnTo>
                    <a:lnTo>
                      <a:pt x="330" y="120"/>
                    </a:lnTo>
                    <a:lnTo>
                      <a:pt x="390" y="0"/>
                    </a:lnTo>
                    <a:lnTo>
                      <a:pt x="210" y="30"/>
                    </a:lnTo>
                    <a:lnTo>
                      <a:pt x="0" y="180"/>
                    </a:lnTo>
                    <a:lnTo>
                      <a:pt x="27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9" name="Line 2468">
                <a:extLst>
                  <a:ext uri="{FF2B5EF4-FFF2-40B4-BE49-F238E27FC236}">
                    <a16:creationId xmlns:a16="http://schemas.microsoft.com/office/drawing/2014/main" xmlns="" id="{B7264139-EDBF-4394-B406-77CE40E755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846" y="510"/>
                <a:ext cx="6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0" name="Freeform 2469">
                <a:extLst>
                  <a:ext uri="{FF2B5EF4-FFF2-40B4-BE49-F238E27FC236}">
                    <a16:creationId xmlns:a16="http://schemas.microsoft.com/office/drawing/2014/main" xmlns="" id="{6F30AE07-F97D-4839-A090-FE26085F94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450"/>
                <a:ext cx="239" cy="120"/>
              </a:xfrm>
              <a:custGeom>
                <a:avLst/>
                <a:gdLst>
                  <a:gd name="T0" fmla="*/ 239 w 239"/>
                  <a:gd name="T1" fmla="*/ 0 h 120"/>
                  <a:gd name="T2" fmla="*/ 0 w 239"/>
                  <a:gd name="T3" fmla="*/ 30 h 120"/>
                  <a:gd name="T4" fmla="*/ 149 w 239"/>
                  <a:gd name="T5" fmla="*/ 120 h 120"/>
                  <a:gd name="T6" fmla="*/ 239 w 239"/>
                  <a:gd name="T7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9" h="120">
                    <a:moveTo>
                      <a:pt x="239" y="0"/>
                    </a:moveTo>
                    <a:lnTo>
                      <a:pt x="0" y="30"/>
                    </a:lnTo>
                    <a:lnTo>
                      <a:pt x="149" y="120"/>
                    </a:lnTo>
                    <a:lnTo>
                      <a:pt x="239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1" name="Line 2470">
                <a:extLst>
                  <a:ext uri="{FF2B5EF4-FFF2-40B4-BE49-F238E27FC236}">
                    <a16:creationId xmlns:a16="http://schemas.microsoft.com/office/drawing/2014/main" xmlns="" id="{1E35B2BA-D7F8-4B95-ACE7-9041ACFB5E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25" y="540"/>
                <a:ext cx="18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2" name="Freeform 2471">
                <a:extLst>
                  <a:ext uri="{FF2B5EF4-FFF2-40B4-BE49-F238E27FC236}">
                    <a16:creationId xmlns:a16="http://schemas.microsoft.com/office/drawing/2014/main" xmlns="" id="{937699B8-0284-405C-9E7B-7704F6076B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450"/>
                <a:ext cx="300" cy="330"/>
              </a:xfrm>
              <a:custGeom>
                <a:avLst/>
                <a:gdLst>
                  <a:gd name="T0" fmla="*/ 90 w 300"/>
                  <a:gd name="T1" fmla="*/ 0 h 330"/>
                  <a:gd name="T2" fmla="*/ 180 w 300"/>
                  <a:gd name="T3" fmla="*/ 90 h 330"/>
                  <a:gd name="T4" fmla="*/ 0 w 300"/>
                  <a:gd name="T5" fmla="*/ 90 h 330"/>
                  <a:gd name="T6" fmla="*/ 60 w 300"/>
                  <a:gd name="T7" fmla="*/ 210 h 330"/>
                  <a:gd name="T8" fmla="*/ 180 w 300"/>
                  <a:gd name="T9" fmla="*/ 90 h 330"/>
                  <a:gd name="T10" fmla="*/ 300 w 300"/>
                  <a:gd name="T11" fmla="*/ 240 h 330"/>
                  <a:gd name="T12" fmla="*/ 150 w 300"/>
                  <a:gd name="T13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0" h="330">
                    <a:moveTo>
                      <a:pt x="90" y="0"/>
                    </a:moveTo>
                    <a:lnTo>
                      <a:pt x="180" y="90"/>
                    </a:lnTo>
                    <a:lnTo>
                      <a:pt x="0" y="90"/>
                    </a:lnTo>
                    <a:lnTo>
                      <a:pt x="60" y="210"/>
                    </a:lnTo>
                    <a:lnTo>
                      <a:pt x="180" y="90"/>
                    </a:lnTo>
                    <a:lnTo>
                      <a:pt x="300" y="240"/>
                    </a:lnTo>
                    <a:lnTo>
                      <a:pt x="15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3" name="Freeform 2472">
                <a:extLst>
                  <a:ext uri="{FF2B5EF4-FFF2-40B4-BE49-F238E27FC236}">
                    <a16:creationId xmlns:a16="http://schemas.microsoft.com/office/drawing/2014/main" xmlns="" id="{7B66893D-5ECB-40C0-B698-DBBC02AD78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480"/>
                <a:ext cx="180" cy="90"/>
              </a:xfrm>
              <a:custGeom>
                <a:avLst/>
                <a:gdLst>
                  <a:gd name="T0" fmla="*/ 0 w 180"/>
                  <a:gd name="T1" fmla="*/ 90 h 90"/>
                  <a:gd name="T2" fmla="*/ 90 w 180"/>
                  <a:gd name="T3" fmla="*/ 0 h 90"/>
                  <a:gd name="T4" fmla="*/ 180 w 180"/>
                  <a:gd name="T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90">
                    <a:moveTo>
                      <a:pt x="0" y="90"/>
                    </a:moveTo>
                    <a:lnTo>
                      <a:pt x="90" y="0"/>
                    </a:lnTo>
                    <a:lnTo>
                      <a:pt x="1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4" name="Freeform 2473">
                <a:extLst>
                  <a:ext uri="{FF2B5EF4-FFF2-40B4-BE49-F238E27FC236}">
                    <a16:creationId xmlns:a16="http://schemas.microsoft.com/office/drawing/2014/main" xmlns="" id="{436E07E4-ED01-4251-8726-24822D3A7B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450"/>
                <a:ext cx="269" cy="210"/>
              </a:xfrm>
              <a:custGeom>
                <a:avLst/>
                <a:gdLst>
                  <a:gd name="T0" fmla="*/ 119 w 269"/>
                  <a:gd name="T1" fmla="*/ 60 h 210"/>
                  <a:gd name="T2" fmla="*/ 269 w 269"/>
                  <a:gd name="T3" fmla="*/ 30 h 210"/>
                  <a:gd name="T4" fmla="*/ 149 w 269"/>
                  <a:gd name="T5" fmla="*/ 210 h 210"/>
                  <a:gd name="T6" fmla="*/ 0 w 269"/>
                  <a:gd name="T7" fmla="*/ 0 h 210"/>
                  <a:gd name="T8" fmla="*/ 30 w 269"/>
                  <a:gd name="T9" fmla="*/ 18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9" h="210">
                    <a:moveTo>
                      <a:pt x="119" y="60"/>
                    </a:moveTo>
                    <a:lnTo>
                      <a:pt x="269" y="30"/>
                    </a:lnTo>
                    <a:lnTo>
                      <a:pt x="149" y="210"/>
                    </a:lnTo>
                    <a:lnTo>
                      <a:pt x="0" y="0"/>
                    </a:lnTo>
                    <a:lnTo>
                      <a:pt x="3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5" name="Freeform 2474">
                <a:extLst>
                  <a:ext uri="{FF2B5EF4-FFF2-40B4-BE49-F238E27FC236}">
                    <a16:creationId xmlns:a16="http://schemas.microsoft.com/office/drawing/2014/main" xmlns="" id="{AD16E3E4-9F4F-4448-8609-8B3F57A20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1530"/>
                <a:ext cx="180" cy="390"/>
              </a:xfrm>
              <a:custGeom>
                <a:avLst/>
                <a:gdLst>
                  <a:gd name="T0" fmla="*/ 0 w 216"/>
                  <a:gd name="T1" fmla="*/ 468 h 468"/>
                  <a:gd name="T2" fmla="*/ 216 w 216"/>
                  <a:gd name="T3" fmla="*/ 0 h 468"/>
                  <a:gd name="T4" fmla="*/ 36 w 216"/>
                  <a:gd name="T5" fmla="*/ 7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" h="468">
                    <a:moveTo>
                      <a:pt x="0" y="468"/>
                    </a:moveTo>
                    <a:cubicBezTo>
                      <a:pt x="0" y="432"/>
                      <a:pt x="216" y="0"/>
                      <a:pt x="216" y="0"/>
                    </a:cubicBezTo>
                    <a:cubicBezTo>
                      <a:pt x="36" y="72"/>
                      <a:pt x="36" y="72"/>
                      <a:pt x="36" y="72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6" name="Freeform 2475">
                <a:extLst>
                  <a:ext uri="{FF2B5EF4-FFF2-40B4-BE49-F238E27FC236}">
                    <a16:creationId xmlns:a16="http://schemas.microsoft.com/office/drawing/2014/main" xmlns="" id="{09F4CC8A-09C6-4525-B73B-256F23FBB8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" y="1470"/>
                <a:ext cx="179" cy="210"/>
              </a:xfrm>
              <a:custGeom>
                <a:avLst/>
                <a:gdLst>
                  <a:gd name="T0" fmla="*/ 0 w 179"/>
                  <a:gd name="T1" fmla="*/ 210 h 210"/>
                  <a:gd name="T2" fmla="*/ 120 w 179"/>
                  <a:gd name="T3" fmla="*/ 0 h 210"/>
                  <a:gd name="T4" fmla="*/ 179 w 179"/>
                  <a:gd name="T5" fmla="*/ 150 h 210"/>
                  <a:gd name="T6" fmla="*/ 0 w 179"/>
                  <a:gd name="T7" fmla="*/ 210 h 210"/>
                  <a:gd name="T8" fmla="*/ 0 w 179"/>
                  <a:gd name="T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210">
                    <a:moveTo>
                      <a:pt x="0" y="210"/>
                    </a:moveTo>
                    <a:lnTo>
                      <a:pt x="120" y="0"/>
                    </a:lnTo>
                    <a:lnTo>
                      <a:pt x="179" y="150"/>
                    </a:lnTo>
                    <a:lnTo>
                      <a:pt x="0" y="21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7" name="Freeform 2476">
                <a:extLst>
                  <a:ext uri="{FF2B5EF4-FFF2-40B4-BE49-F238E27FC236}">
                    <a16:creationId xmlns:a16="http://schemas.microsoft.com/office/drawing/2014/main" xmlns="" id="{B5FEF867-BBE3-41BF-82B2-6EA92B493C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1740"/>
                <a:ext cx="479" cy="270"/>
              </a:xfrm>
              <a:custGeom>
                <a:avLst/>
                <a:gdLst>
                  <a:gd name="T0" fmla="*/ 0 w 479"/>
                  <a:gd name="T1" fmla="*/ 90 h 270"/>
                  <a:gd name="T2" fmla="*/ 180 w 479"/>
                  <a:gd name="T3" fmla="*/ 30 h 270"/>
                  <a:gd name="T4" fmla="*/ 299 w 479"/>
                  <a:gd name="T5" fmla="*/ 150 h 270"/>
                  <a:gd name="T6" fmla="*/ 210 w 479"/>
                  <a:gd name="T7" fmla="*/ 270 h 270"/>
                  <a:gd name="T8" fmla="*/ 30 w 479"/>
                  <a:gd name="T9" fmla="*/ 270 h 270"/>
                  <a:gd name="T10" fmla="*/ 0 w 479"/>
                  <a:gd name="T11" fmla="*/ 90 h 270"/>
                  <a:gd name="T12" fmla="*/ 150 w 479"/>
                  <a:gd name="T13" fmla="*/ 150 h 270"/>
                  <a:gd name="T14" fmla="*/ 299 w 479"/>
                  <a:gd name="T15" fmla="*/ 0 h 270"/>
                  <a:gd name="T16" fmla="*/ 479 w 479"/>
                  <a:gd name="T17" fmla="*/ 210 h 270"/>
                  <a:gd name="T18" fmla="*/ 419 w 479"/>
                  <a:gd name="T19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9" h="270">
                    <a:moveTo>
                      <a:pt x="0" y="90"/>
                    </a:moveTo>
                    <a:lnTo>
                      <a:pt x="180" y="30"/>
                    </a:lnTo>
                    <a:lnTo>
                      <a:pt x="299" y="150"/>
                    </a:lnTo>
                    <a:lnTo>
                      <a:pt x="210" y="270"/>
                    </a:lnTo>
                    <a:lnTo>
                      <a:pt x="30" y="270"/>
                    </a:lnTo>
                    <a:lnTo>
                      <a:pt x="0" y="90"/>
                    </a:lnTo>
                    <a:lnTo>
                      <a:pt x="150" y="150"/>
                    </a:lnTo>
                    <a:lnTo>
                      <a:pt x="299" y="0"/>
                    </a:lnTo>
                    <a:lnTo>
                      <a:pt x="479" y="210"/>
                    </a:lnTo>
                    <a:lnTo>
                      <a:pt x="41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8" name="Freeform 2477">
                <a:extLst>
                  <a:ext uri="{FF2B5EF4-FFF2-40B4-BE49-F238E27FC236}">
                    <a16:creationId xmlns:a16="http://schemas.microsoft.com/office/drawing/2014/main" xmlns="" id="{C4D9D6AE-FC18-46E9-8BF5-61AE849F0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6" y="1740"/>
                <a:ext cx="149" cy="150"/>
              </a:xfrm>
              <a:custGeom>
                <a:avLst/>
                <a:gdLst>
                  <a:gd name="T0" fmla="*/ 0 w 149"/>
                  <a:gd name="T1" fmla="*/ 150 h 150"/>
                  <a:gd name="T2" fmla="*/ 30 w 149"/>
                  <a:gd name="T3" fmla="*/ 30 h 150"/>
                  <a:gd name="T4" fmla="*/ 149 w 149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150"/>
                    </a:moveTo>
                    <a:lnTo>
                      <a:pt x="30" y="30"/>
                    </a:lnTo>
                    <a:lnTo>
                      <a:pt x="14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9" name="Freeform 2478">
                <a:extLst>
                  <a:ext uri="{FF2B5EF4-FFF2-40B4-BE49-F238E27FC236}">
                    <a16:creationId xmlns:a16="http://schemas.microsoft.com/office/drawing/2014/main" xmlns="" id="{234DC8D1-F4E2-423B-8A58-EDC6BFD7AD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530"/>
                <a:ext cx="180" cy="390"/>
              </a:xfrm>
              <a:custGeom>
                <a:avLst/>
                <a:gdLst>
                  <a:gd name="T0" fmla="*/ 0 w 216"/>
                  <a:gd name="T1" fmla="*/ 468 h 468"/>
                  <a:gd name="T2" fmla="*/ 216 w 216"/>
                  <a:gd name="T3" fmla="*/ 0 h 468"/>
                  <a:gd name="T4" fmla="*/ 36 w 216"/>
                  <a:gd name="T5" fmla="*/ 7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" h="468">
                    <a:moveTo>
                      <a:pt x="0" y="468"/>
                    </a:moveTo>
                    <a:cubicBezTo>
                      <a:pt x="0" y="432"/>
                      <a:pt x="216" y="0"/>
                      <a:pt x="216" y="0"/>
                    </a:cubicBezTo>
                    <a:cubicBezTo>
                      <a:pt x="36" y="72"/>
                      <a:pt x="36" y="72"/>
                      <a:pt x="36" y="72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0" name="Freeform 2479">
                <a:extLst>
                  <a:ext uri="{FF2B5EF4-FFF2-40B4-BE49-F238E27FC236}">
                    <a16:creationId xmlns:a16="http://schemas.microsoft.com/office/drawing/2014/main" xmlns="" id="{6AB3E43C-CAA1-4681-A538-065FAA506D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290"/>
                <a:ext cx="300" cy="540"/>
              </a:xfrm>
              <a:custGeom>
                <a:avLst/>
                <a:gdLst>
                  <a:gd name="T0" fmla="*/ 0 w 300"/>
                  <a:gd name="T1" fmla="*/ 390 h 540"/>
                  <a:gd name="T2" fmla="*/ 180 w 300"/>
                  <a:gd name="T3" fmla="*/ 240 h 540"/>
                  <a:gd name="T4" fmla="*/ 0 w 300"/>
                  <a:gd name="T5" fmla="*/ 150 h 540"/>
                  <a:gd name="T6" fmla="*/ 120 w 300"/>
                  <a:gd name="T7" fmla="*/ 120 h 540"/>
                  <a:gd name="T8" fmla="*/ 300 w 300"/>
                  <a:gd name="T9" fmla="*/ 180 h 540"/>
                  <a:gd name="T10" fmla="*/ 270 w 300"/>
                  <a:gd name="T11" fmla="*/ 30 h 540"/>
                  <a:gd name="T12" fmla="*/ 120 w 300"/>
                  <a:gd name="T13" fmla="*/ 120 h 540"/>
                  <a:gd name="T14" fmla="*/ 30 w 300"/>
                  <a:gd name="T15" fmla="*/ 0 h 540"/>
                  <a:gd name="T16" fmla="*/ 0 w 300"/>
                  <a:gd name="T17" fmla="*/ 150 h 540"/>
                  <a:gd name="T18" fmla="*/ 30 w 300"/>
                  <a:gd name="T19" fmla="*/ 300 h 540"/>
                  <a:gd name="T20" fmla="*/ 0 w 300"/>
                  <a:gd name="T21" fmla="*/ 390 h 540"/>
                  <a:gd name="T22" fmla="*/ 120 w 300"/>
                  <a:gd name="T23" fmla="*/ 54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00" h="540">
                    <a:moveTo>
                      <a:pt x="0" y="390"/>
                    </a:moveTo>
                    <a:lnTo>
                      <a:pt x="180" y="240"/>
                    </a:lnTo>
                    <a:lnTo>
                      <a:pt x="0" y="150"/>
                    </a:lnTo>
                    <a:lnTo>
                      <a:pt x="120" y="120"/>
                    </a:lnTo>
                    <a:lnTo>
                      <a:pt x="300" y="180"/>
                    </a:lnTo>
                    <a:lnTo>
                      <a:pt x="270" y="30"/>
                    </a:lnTo>
                    <a:lnTo>
                      <a:pt x="120" y="120"/>
                    </a:lnTo>
                    <a:lnTo>
                      <a:pt x="30" y="0"/>
                    </a:lnTo>
                    <a:lnTo>
                      <a:pt x="0" y="150"/>
                    </a:lnTo>
                    <a:lnTo>
                      <a:pt x="30" y="300"/>
                    </a:lnTo>
                    <a:lnTo>
                      <a:pt x="0" y="390"/>
                    </a:lnTo>
                    <a:lnTo>
                      <a:pt x="12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1" name="Freeform 2480">
                <a:extLst>
                  <a:ext uri="{FF2B5EF4-FFF2-40B4-BE49-F238E27FC236}">
                    <a16:creationId xmlns:a16="http://schemas.microsoft.com/office/drawing/2014/main" xmlns="" id="{5C3CD6F2-A262-4CFA-9F87-FD26EA0694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1470"/>
                <a:ext cx="179" cy="210"/>
              </a:xfrm>
              <a:custGeom>
                <a:avLst/>
                <a:gdLst>
                  <a:gd name="T0" fmla="*/ 0 w 179"/>
                  <a:gd name="T1" fmla="*/ 210 h 210"/>
                  <a:gd name="T2" fmla="*/ 120 w 179"/>
                  <a:gd name="T3" fmla="*/ 0 h 210"/>
                  <a:gd name="T4" fmla="*/ 179 w 179"/>
                  <a:gd name="T5" fmla="*/ 150 h 210"/>
                  <a:gd name="T6" fmla="*/ 0 w 179"/>
                  <a:gd name="T7" fmla="*/ 210 h 210"/>
                  <a:gd name="T8" fmla="*/ 0 w 179"/>
                  <a:gd name="T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210">
                    <a:moveTo>
                      <a:pt x="0" y="210"/>
                    </a:moveTo>
                    <a:lnTo>
                      <a:pt x="120" y="0"/>
                    </a:lnTo>
                    <a:lnTo>
                      <a:pt x="179" y="150"/>
                    </a:lnTo>
                    <a:lnTo>
                      <a:pt x="0" y="21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2" name="Freeform 2481">
                <a:extLst>
                  <a:ext uri="{FF2B5EF4-FFF2-40B4-BE49-F238E27FC236}">
                    <a16:creationId xmlns:a16="http://schemas.microsoft.com/office/drawing/2014/main" xmlns="" id="{A1800979-E0E2-4522-ACEF-170FDF76F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320"/>
                <a:ext cx="599" cy="750"/>
              </a:xfrm>
              <a:custGeom>
                <a:avLst/>
                <a:gdLst>
                  <a:gd name="T0" fmla="*/ 300 w 599"/>
                  <a:gd name="T1" fmla="*/ 150 h 750"/>
                  <a:gd name="T2" fmla="*/ 479 w 599"/>
                  <a:gd name="T3" fmla="*/ 210 h 750"/>
                  <a:gd name="T4" fmla="*/ 479 w 599"/>
                  <a:gd name="T5" fmla="*/ 60 h 750"/>
                  <a:gd name="T6" fmla="*/ 359 w 599"/>
                  <a:gd name="T7" fmla="*/ 300 h 750"/>
                  <a:gd name="T8" fmla="*/ 419 w 599"/>
                  <a:gd name="T9" fmla="*/ 420 h 750"/>
                  <a:gd name="T10" fmla="*/ 539 w 599"/>
                  <a:gd name="T11" fmla="*/ 480 h 750"/>
                  <a:gd name="T12" fmla="*/ 479 w 599"/>
                  <a:gd name="T13" fmla="*/ 210 h 750"/>
                  <a:gd name="T14" fmla="*/ 419 w 599"/>
                  <a:gd name="T15" fmla="*/ 420 h 750"/>
                  <a:gd name="T16" fmla="*/ 419 w 599"/>
                  <a:gd name="T17" fmla="*/ 570 h 750"/>
                  <a:gd name="T18" fmla="*/ 599 w 599"/>
                  <a:gd name="T19" fmla="*/ 630 h 750"/>
                  <a:gd name="T20" fmla="*/ 300 w 599"/>
                  <a:gd name="T21" fmla="*/ 660 h 750"/>
                  <a:gd name="T22" fmla="*/ 270 w 599"/>
                  <a:gd name="T23" fmla="*/ 570 h 750"/>
                  <a:gd name="T24" fmla="*/ 210 w 599"/>
                  <a:gd name="T25" fmla="*/ 750 h 750"/>
                  <a:gd name="T26" fmla="*/ 0 w 599"/>
                  <a:gd name="T27" fmla="*/ 600 h 750"/>
                  <a:gd name="T28" fmla="*/ 120 w 599"/>
                  <a:gd name="T29" fmla="*/ 510 h 750"/>
                  <a:gd name="T30" fmla="*/ 180 w 599"/>
                  <a:gd name="T31" fmla="*/ 360 h 750"/>
                  <a:gd name="T32" fmla="*/ 300 w 599"/>
                  <a:gd name="T33" fmla="*/ 450 h 750"/>
                  <a:gd name="T34" fmla="*/ 359 w 599"/>
                  <a:gd name="T35" fmla="*/ 300 h 750"/>
                  <a:gd name="T36" fmla="*/ 180 w 599"/>
                  <a:gd name="T37" fmla="*/ 210 h 750"/>
                  <a:gd name="T38" fmla="*/ 300 w 599"/>
                  <a:gd name="T39" fmla="*/ 150 h 750"/>
                  <a:gd name="T40" fmla="*/ 389 w 599"/>
                  <a:gd name="T41" fmla="*/ 90 h 750"/>
                  <a:gd name="T42" fmla="*/ 270 w 599"/>
                  <a:gd name="T43" fmla="*/ 0 h 750"/>
                  <a:gd name="T44" fmla="*/ 479 w 599"/>
                  <a:gd name="T45" fmla="*/ 6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99" h="750">
                    <a:moveTo>
                      <a:pt x="300" y="150"/>
                    </a:moveTo>
                    <a:lnTo>
                      <a:pt x="479" y="210"/>
                    </a:lnTo>
                    <a:lnTo>
                      <a:pt x="479" y="60"/>
                    </a:lnTo>
                    <a:lnTo>
                      <a:pt x="359" y="300"/>
                    </a:lnTo>
                    <a:lnTo>
                      <a:pt x="419" y="420"/>
                    </a:lnTo>
                    <a:lnTo>
                      <a:pt x="539" y="480"/>
                    </a:lnTo>
                    <a:lnTo>
                      <a:pt x="479" y="210"/>
                    </a:lnTo>
                    <a:lnTo>
                      <a:pt x="419" y="420"/>
                    </a:lnTo>
                    <a:lnTo>
                      <a:pt x="419" y="570"/>
                    </a:lnTo>
                    <a:lnTo>
                      <a:pt x="599" y="630"/>
                    </a:lnTo>
                    <a:lnTo>
                      <a:pt x="300" y="660"/>
                    </a:lnTo>
                    <a:lnTo>
                      <a:pt x="270" y="570"/>
                    </a:lnTo>
                    <a:lnTo>
                      <a:pt x="210" y="750"/>
                    </a:lnTo>
                    <a:lnTo>
                      <a:pt x="0" y="600"/>
                    </a:lnTo>
                    <a:lnTo>
                      <a:pt x="120" y="510"/>
                    </a:lnTo>
                    <a:lnTo>
                      <a:pt x="180" y="360"/>
                    </a:lnTo>
                    <a:lnTo>
                      <a:pt x="300" y="450"/>
                    </a:lnTo>
                    <a:lnTo>
                      <a:pt x="359" y="300"/>
                    </a:lnTo>
                    <a:lnTo>
                      <a:pt x="180" y="210"/>
                    </a:lnTo>
                    <a:lnTo>
                      <a:pt x="300" y="150"/>
                    </a:lnTo>
                    <a:lnTo>
                      <a:pt x="389" y="90"/>
                    </a:lnTo>
                    <a:lnTo>
                      <a:pt x="270" y="0"/>
                    </a:lnTo>
                    <a:lnTo>
                      <a:pt x="47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3" name="Freeform 2482">
                <a:extLst>
                  <a:ext uri="{FF2B5EF4-FFF2-40B4-BE49-F238E27FC236}">
                    <a16:creationId xmlns:a16="http://schemas.microsoft.com/office/drawing/2014/main" xmlns="" id="{FDB5CEE2-CFA7-46C2-B09A-68E9275E91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" y="1770"/>
                <a:ext cx="299" cy="210"/>
              </a:xfrm>
              <a:custGeom>
                <a:avLst/>
                <a:gdLst>
                  <a:gd name="T0" fmla="*/ 0 w 299"/>
                  <a:gd name="T1" fmla="*/ 60 h 210"/>
                  <a:gd name="T2" fmla="*/ 180 w 299"/>
                  <a:gd name="T3" fmla="*/ 0 h 210"/>
                  <a:gd name="T4" fmla="*/ 299 w 299"/>
                  <a:gd name="T5" fmla="*/ 120 h 210"/>
                  <a:gd name="T6" fmla="*/ 180 w 299"/>
                  <a:gd name="T7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9" h="210">
                    <a:moveTo>
                      <a:pt x="0" y="60"/>
                    </a:moveTo>
                    <a:lnTo>
                      <a:pt x="180" y="0"/>
                    </a:lnTo>
                    <a:lnTo>
                      <a:pt x="299" y="120"/>
                    </a:lnTo>
                    <a:lnTo>
                      <a:pt x="18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4" name="Freeform 2483">
                <a:extLst>
                  <a:ext uri="{FF2B5EF4-FFF2-40B4-BE49-F238E27FC236}">
                    <a16:creationId xmlns:a16="http://schemas.microsoft.com/office/drawing/2014/main" xmlns="" id="{BED12907-96DD-4899-A874-84764769C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1740"/>
                <a:ext cx="149" cy="150"/>
              </a:xfrm>
              <a:custGeom>
                <a:avLst/>
                <a:gdLst>
                  <a:gd name="T0" fmla="*/ 0 w 149"/>
                  <a:gd name="T1" fmla="*/ 150 h 150"/>
                  <a:gd name="T2" fmla="*/ 30 w 149"/>
                  <a:gd name="T3" fmla="*/ 30 h 150"/>
                  <a:gd name="T4" fmla="*/ 149 w 149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150"/>
                    </a:moveTo>
                    <a:lnTo>
                      <a:pt x="30" y="30"/>
                    </a:lnTo>
                    <a:lnTo>
                      <a:pt x="14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5" name="Line 2484">
                <a:extLst>
                  <a:ext uri="{FF2B5EF4-FFF2-40B4-BE49-F238E27FC236}">
                    <a16:creationId xmlns:a16="http://schemas.microsoft.com/office/drawing/2014/main" xmlns="" id="{51A0CA5D-B038-481A-9808-152286CEEF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786" y="1233"/>
                <a:ext cx="181" cy="57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6" name="Line 2485">
                <a:extLst>
                  <a:ext uri="{FF2B5EF4-FFF2-40B4-BE49-F238E27FC236}">
                    <a16:creationId xmlns:a16="http://schemas.microsoft.com/office/drawing/2014/main" xmlns="" id="{4896A9F5-6CA1-4864-A3F7-9A61F2441B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936" y="1233"/>
                <a:ext cx="31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7" name="Freeform 2486">
                <a:extLst>
                  <a:ext uri="{FF2B5EF4-FFF2-40B4-BE49-F238E27FC236}">
                    <a16:creationId xmlns:a16="http://schemas.microsoft.com/office/drawing/2014/main" xmlns="" id="{F64ECFFD-D15C-4AB6-9C2F-137E4FC9A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5" y="1231"/>
                <a:ext cx="210" cy="302"/>
              </a:xfrm>
              <a:custGeom>
                <a:avLst/>
                <a:gdLst>
                  <a:gd name="T0" fmla="*/ 0 w 210"/>
                  <a:gd name="T1" fmla="*/ 0 h 302"/>
                  <a:gd name="T2" fmla="*/ 180 w 210"/>
                  <a:gd name="T3" fmla="*/ 269 h 302"/>
                  <a:gd name="T4" fmla="*/ 2 w 210"/>
                  <a:gd name="T5" fmla="*/ 302 h 302"/>
                  <a:gd name="T6" fmla="*/ 210 w 210"/>
                  <a:gd name="T7" fmla="*/ 179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0" h="302">
                    <a:moveTo>
                      <a:pt x="0" y="0"/>
                    </a:moveTo>
                    <a:lnTo>
                      <a:pt x="180" y="269"/>
                    </a:lnTo>
                    <a:lnTo>
                      <a:pt x="2" y="302"/>
                    </a:lnTo>
                    <a:lnTo>
                      <a:pt x="210" y="17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8" name="Line 2487">
                <a:extLst>
                  <a:ext uri="{FF2B5EF4-FFF2-40B4-BE49-F238E27FC236}">
                    <a16:creationId xmlns:a16="http://schemas.microsoft.com/office/drawing/2014/main" xmlns="" id="{1B0F1571-3CCD-4A6B-819A-6D42D7AE2B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35" y="1380"/>
                <a:ext cx="21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9" name="Freeform 2488">
                <a:extLst>
                  <a:ext uri="{FF2B5EF4-FFF2-40B4-BE49-F238E27FC236}">
                    <a16:creationId xmlns:a16="http://schemas.microsoft.com/office/drawing/2014/main" xmlns="" id="{40125F09-49A9-45F0-B31A-1F483C140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1140"/>
                <a:ext cx="599" cy="870"/>
              </a:xfrm>
              <a:custGeom>
                <a:avLst/>
                <a:gdLst>
                  <a:gd name="T0" fmla="*/ 300 w 599"/>
                  <a:gd name="T1" fmla="*/ 0 h 870"/>
                  <a:gd name="T2" fmla="*/ 479 w 599"/>
                  <a:gd name="T3" fmla="*/ 91 h 870"/>
                  <a:gd name="T4" fmla="*/ 300 w 599"/>
                  <a:gd name="T5" fmla="*/ 330 h 870"/>
                  <a:gd name="T6" fmla="*/ 479 w 599"/>
                  <a:gd name="T7" fmla="*/ 390 h 870"/>
                  <a:gd name="T8" fmla="*/ 479 w 599"/>
                  <a:gd name="T9" fmla="*/ 240 h 870"/>
                  <a:gd name="T10" fmla="*/ 359 w 599"/>
                  <a:gd name="T11" fmla="*/ 480 h 870"/>
                  <a:gd name="T12" fmla="*/ 419 w 599"/>
                  <a:gd name="T13" fmla="*/ 600 h 870"/>
                  <a:gd name="T14" fmla="*/ 539 w 599"/>
                  <a:gd name="T15" fmla="*/ 660 h 870"/>
                  <a:gd name="T16" fmla="*/ 479 w 599"/>
                  <a:gd name="T17" fmla="*/ 390 h 870"/>
                  <a:gd name="T18" fmla="*/ 419 w 599"/>
                  <a:gd name="T19" fmla="*/ 600 h 870"/>
                  <a:gd name="T20" fmla="*/ 419 w 599"/>
                  <a:gd name="T21" fmla="*/ 750 h 870"/>
                  <a:gd name="T22" fmla="*/ 599 w 599"/>
                  <a:gd name="T23" fmla="*/ 810 h 870"/>
                  <a:gd name="T24" fmla="*/ 330 w 599"/>
                  <a:gd name="T25" fmla="*/ 870 h 870"/>
                  <a:gd name="T26" fmla="*/ 270 w 599"/>
                  <a:gd name="T27" fmla="*/ 750 h 870"/>
                  <a:gd name="T28" fmla="*/ 150 w 599"/>
                  <a:gd name="T29" fmla="*/ 870 h 870"/>
                  <a:gd name="T30" fmla="*/ 0 w 599"/>
                  <a:gd name="T31" fmla="*/ 780 h 870"/>
                  <a:gd name="T32" fmla="*/ 120 w 599"/>
                  <a:gd name="T33" fmla="*/ 690 h 870"/>
                  <a:gd name="T34" fmla="*/ 180 w 599"/>
                  <a:gd name="T35" fmla="*/ 540 h 870"/>
                  <a:gd name="T36" fmla="*/ 300 w 599"/>
                  <a:gd name="T37" fmla="*/ 630 h 870"/>
                  <a:gd name="T38" fmla="*/ 359 w 599"/>
                  <a:gd name="T39" fmla="*/ 480 h 870"/>
                  <a:gd name="T40" fmla="*/ 180 w 599"/>
                  <a:gd name="T41" fmla="*/ 390 h 870"/>
                  <a:gd name="T42" fmla="*/ 300 w 599"/>
                  <a:gd name="T43" fmla="*/ 330 h 870"/>
                  <a:gd name="T44" fmla="*/ 389 w 599"/>
                  <a:gd name="T45" fmla="*/ 270 h 870"/>
                  <a:gd name="T46" fmla="*/ 270 w 599"/>
                  <a:gd name="T47" fmla="*/ 180 h 870"/>
                  <a:gd name="T48" fmla="*/ 479 w 599"/>
                  <a:gd name="T49" fmla="*/ 240 h 870"/>
                  <a:gd name="T50" fmla="*/ 479 w 599"/>
                  <a:gd name="T51" fmla="*/ 90 h 870"/>
                  <a:gd name="T52" fmla="*/ 210 w 599"/>
                  <a:gd name="T53" fmla="*/ 90 h 8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99" h="870">
                    <a:moveTo>
                      <a:pt x="300" y="0"/>
                    </a:moveTo>
                    <a:lnTo>
                      <a:pt x="479" y="91"/>
                    </a:lnTo>
                    <a:lnTo>
                      <a:pt x="300" y="330"/>
                    </a:lnTo>
                    <a:lnTo>
                      <a:pt x="479" y="390"/>
                    </a:lnTo>
                    <a:lnTo>
                      <a:pt x="479" y="240"/>
                    </a:lnTo>
                    <a:lnTo>
                      <a:pt x="359" y="480"/>
                    </a:lnTo>
                    <a:lnTo>
                      <a:pt x="419" y="600"/>
                    </a:lnTo>
                    <a:lnTo>
                      <a:pt x="539" y="660"/>
                    </a:lnTo>
                    <a:lnTo>
                      <a:pt x="479" y="390"/>
                    </a:lnTo>
                    <a:lnTo>
                      <a:pt x="419" y="600"/>
                    </a:lnTo>
                    <a:lnTo>
                      <a:pt x="419" y="750"/>
                    </a:lnTo>
                    <a:lnTo>
                      <a:pt x="599" y="810"/>
                    </a:lnTo>
                    <a:lnTo>
                      <a:pt x="330" y="870"/>
                    </a:lnTo>
                    <a:lnTo>
                      <a:pt x="270" y="750"/>
                    </a:lnTo>
                    <a:lnTo>
                      <a:pt x="150" y="870"/>
                    </a:lnTo>
                    <a:lnTo>
                      <a:pt x="0" y="780"/>
                    </a:lnTo>
                    <a:lnTo>
                      <a:pt x="120" y="690"/>
                    </a:lnTo>
                    <a:lnTo>
                      <a:pt x="180" y="540"/>
                    </a:lnTo>
                    <a:lnTo>
                      <a:pt x="300" y="630"/>
                    </a:lnTo>
                    <a:lnTo>
                      <a:pt x="359" y="480"/>
                    </a:lnTo>
                    <a:lnTo>
                      <a:pt x="180" y="390"/>
                    </a:lnTo>
                    <a:lnTo>
                      <a:pt x="300" y="330"/>
                    </a:lnTo>
                    <a:lnTo>
                      <a:pt x="389" y="270"/>
                    </a:lnTo>
                    <a:lnTo>
                      <a:pt x="270" y="180"/>
                    </a:lnTo>
                    <a:lnTo>
                      <a:pt x="479" y="240"/>
                    </a:lnTo>
                    <a:lnTo>
                      <a:pt x="479" y="90"/>
                    </a:lnTo>
                    <a:lnTo>
                      <a:pt x="21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0" name="Line 2489">
                <a:extLst>
                  <a:ext uri="{FF2B5EF4-FFF2-40B4-BE49-F238E27FC236}">
                    <a16:creationId xmlns:a16="http://schemas.microsoft.com/office/drawing/2014/main" xmlns="" id="{F988E886-021C-415A-A371-14F2459FD6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026" y="1110"/>
                <a:ext cx="209" cy="21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1" name="Freeform 2490">
                <a:extLst>
                  <a:ext uri="{FF2B5EF4-FFF2-40B4-BE49-F238E27FC236}">
                    <a16:creationId xmlns:a16="http://schemas.microsoft.com/office/drawing/2014/main" xmlns="" id="{892D0493-1FC9-48C7-92AC-5589A98A0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290"/>
                <a:ext cx="780" cy="1080"/>
              </a:xfrm>
              <a:custGeom>
                <a:avLst/>
                <a:gdLst>
                  <a:gd name="T0" fmla="*/ 630 w 780"/>
                  <a:gd name="T1" fmla="*/ 1080 h 1080"/>
                  <a:gd name="T2" fmla="*/ 600 w 780"/>
                  <a:gd name="T3" fmla="*/ 870 h 1080"/>
                  <a:gd name="T4" fmla="*/ 480 w 780"/>
                  <a:gd name="T5" fmla="*/ 630 h 1080"/>
                  <a:gd name="T6" fmla="*/ 390 w 780"/>
                  <a:gd name="T7" fmla="*/ 720 h 1080"/>
                  <a:gd name="T8" fmla="*/ 270 w 780"/>
                  <a:gd name="T9" fmla="*/ 870 h 1080"/>
                  <a:gd name="T10" fmla="*/ 180 w 780"/>
                  <a:gd name="T11" fmla="*/ 750 h 1080"/>
                  <a:gd name="T12" fmla="*/ 210 w 780"/>
                  <a:gd name="T13" fmla="*/ 600 h 1080"/>
                  <a:gd name="T14" fmla="*/ 90 w 780"/>
                  <a:gd name="T15" fmla="*/ 660 h 1080"/>
                  <a:gd name="T16" fmla="*/ 0 w 780"/>
                  <a:gd name="T17" fmla="*/ 870 h 1080"/>
                  <a:gd name="T18" fmla="*/ 60 w 780"/>
                  <a:gd name="T19" fmla="*/ 510 h 1080"/>
                  <a:gd name="T20" fmla="*/ 0 w 780"/>
                  <a:gd name="T21" fmla="*/ 420 h 1080"/>
                  <a:gd name="T22" fmla="*/ 120 w 780"/>
                  <a:gd name="T23" fmla="*/ 330 h 1080"/>
                  <a:gd name="T24" fmla="*/ 300 w 780"/>
                  <a:gd name="T25" fmla="*/ 390 h 1080"/>
                  <a:gd name="T26" fmla="*/ 330 w 780"/>
                  <a:gd name="T27" fmla="*/ 510 h 1080"/>
                  <a:gd name="T28" fmla="*/ 480 w 780"/>
                  <a:gd name="T29" fmla="*/ 390 h 1080"/>
                  <a:gd name="T30" fmla="*/ 660 w 780"/>
                  <a:gd name="T31" fmla="*/ 240 h 1080"/>
                  <a:gd name="T32" fmla="*/ 480 w 780"/>
                  <a:gd name="T33" fmla="*/ 150 h 1080"/>
                  <a:gd name="T34" fmla="*/ 600 w 780"/>
                  <a:gd name="T35" fmla="*/ 120 h 1080"/>
                  <a:gd name="T36" fmla="*/ 780 w 780"/>
                  <a:gd name="T37" fmla="*/ 180 h 1080"/>
                  <a:gd name="T38" fmla="*/ 750 w 780"/>
                  <a:gd name="T39" fmla="*/ 30 h 1080"/>
                  <a:gd name="T40" fmla="*/ 600 w 780"/>
                  <a:gd name="T41" fmla="*/ 120 h 1080"/>
                  <a:gd name="T42" fmla="*/ 510 w 780"/>
                  <a:gd name="T43" fmla="*/ 0 h 1080"/>
                  <a:gd name="T44" fmla="*/ 480 w 780"/>
                  <a:gd name="T45" fmla="*/ 150 h 1080"/>
                  <a:gd name="T46" fmla="*/ 510 w 780"/>
                  <a:gd name="T47" fmla="*/ 300 h 1080"/>
                  <a:gd name="T48" fmla="*/ 480 w 780"/>
                  <a:gd name="T49" fmla="*/ 390 h 1080"/>
                  <a:gd name="T50" fmla="*/ 600 w 780"/>
                  <a:gd name="T51" fmla="*/ 540 h 10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80" h="1080">
                    <a:moveTo>
                      <a:pt x="630" y="1080"/>
                    </a:moveTo>
                    <a:lnTo>
                      <a:pt x="600" y="870"/>
                    </a:lnTo>
                    <a:lnTo>
                      <a:pt x="480" y="630"/>
                    </a:lnTo>
                    <a:lnTo>
                      <a:pt x="390" y="720"/>
                    </a:lnTo>
                    <a:lnTo>
                      <a:pt x="270" y="870"/>
                    </a:lnTo>
                    <a:lnTo>
                      <a:pt x="180" y="750"/>
                    </a:lnTo>
                    <a:lnTo>
                      <a:pt x="210" y="600"/>
                    </a:lnTo>
                    <a:lnTo>
                      <a:pt x="90" y="660"/>
                    </a:lnTo>
                    <a:lnTo>
                      <a:pt x="0" y="870"/>
                    </a:lnTo>
                    <a:lnTo>
                      <a:pt x="60" y="510"/>
                    </a:lnTo>
                    <a:lnTo>
                      <a:pt x="0" y="420"/>
                    </a:lnTo>
                    <a:lnTo>
                      <a:pt x="120" y="330"/>
                    </a:lnTo>
                    <a:lnTo>
                      <a:pt x="300" y="390"/>
                    </a:lnTo>
                    <a:lnTo>
                      <a:pt x="330" y="510"/>
                    </a:lnTo>
                    <a:lnTo>
                      <a:pt x="480" y="390"/>
                    </a:lnTo>
                    <a:lnTo>
                      <a:pt x="660" y="240"/>
                    </a:lnTo>
                    <a:lnTo>
                      <a:pt x="480" y="150"/>
                    </a:lnTo>
                    <a:lnTo>
                      <a:pt x="600" y="120"/>
                    </a:lnTo>
                    <a:lnTo>
                      <a:pt x="780" y="180"/>
                    </a:lnTo>
                    <a:lnTo>
                      <a:pt x="750" y="30"/>
                    </a:lnTo>
                    <a:lnTo>
                      <a:pt x="600" y="120"/>
                    </a:lnTo>
                    <a:lnTo>
                      <a:pt x="510" y="0"/>
                    </a:lnTo>
                    <a:lnTo>
                      <a:pt x="480" y="150"/>
                    </a:lnTo>
                    <a:lnTo>
                      <a:pt x="510" y="300"/>
                    </a:lnTo>
                    <a:lnTo>
                      <a:pt x="480" y="390"/>
                    </a:lnTo>
                    <a:lnTo>
                      <a:pt x="60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2" name="Line 2491">
                <a:extLst>
                  <a:ext uri="{FF2B5EF4-FFF2-40B4-BE49-F238E27FC236}">
                    <a16:creationId xmlns:a16="http://schemas.microsoft.com/office/drawing/2014/main" xmlns="" id="{FFCCED91-9206-463A-AFA7-85C01D8297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09" y="2013"/>
                <a:ext cx="87" cy="177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3" name="Freeform 2492">
                <a:extLst>
                  <a:ext uri="{FF2B5EF4-FFF2-40B4-BE49-F238E27FC236}">
                    <a16:creationId xmlns:a16="http://schemas.microsoft.com/office/drawing/2014/main" xmlns="" id="{88EC9DD2-F85E-4D92-8E39-C949F58969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1890"/>
                <a:ext cx="210" cy="270"/>
              </a:xfrm>
              <a:custGeom>
                <a:avLst/>
                <a:gdLst>
                  <a:gd name="T0" fmla="*/ 210 w 210"/>
                  <a:gd name="T1" fmla="*/ 120 h 270"/>
                  <a:gd name="T2" fmla="*/ 0 w 210"/>
                  <a:gd name="T3" fmla="*/ 270 h 270"/>
                  <a:gd name="T4" fmla="*/ 150 w 210"/>
                  <a:gd name="T5" fmla="*/ 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270">
                    <a:moveTo>
                      <a:pt x="210" y="120"/>
                    </a:moveTo>
                    <a:lnTo>
                      <a:pt x="0" y="27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4" name="Freeform 2493">
                <a:extLst>
                  <a:ext uri="{FF2B5EF4-FFF2-40B4-BE49-F238E27FC236}">
                    <a16:creationId xmlns:a16="http://schemas.microsoft.com/office/drawing/2014/main" xmlns="" id="{C83B85F5-B1C5-4AE9-9DE3-C774B5674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5" y="1620"/>
                <a:ext cx="360" cy="483"/>
              </a:xfrm>
              <a:custGeom>
                <a:avLst/>
                <a:gdLst>
                  <a:gd name="T0" fmla="*/ 0 w 432"/>
                  <a:gd name="T1" fmla="*/ 146 h 579"/>
                  <a:gd name="T2" fmla="*/ 216 w 432"/>
                  <a:gd name="T3" fmla="*/ 0 h 579"/>
                  <a:gd name="T4" fmla="*/ 144 w 432"/>
                  <a:gd name="T5" fmla="*/ 216 h 579"/>
                  <a:gd name="T6" fmla="*/ 360 w 432"/>
                  <a:gd name="T7" fmla="*/ 252 h 579"/>
                  <a:gd name="T8" fmla="*/ 324 w 432"/>
                  <a:gd name="T9" fmla="*/ 578 h 579"/>
                  <a:gd name="T10" fmla="*/ 432 w 432"/>
                  <a:gd name="T11" fmla="*/ 432 h 579"/>
                  <a:gd name="T12" fmla="*/ 220 w 432"/>
                  <a:gd name="T13" fmla="*/ 399 h 579"/>
                  <a:gd name="T14" fmla="*/ 112 w 432"/>
                  <a:gd name="T15" fmla="*/ 579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2" h="579">
                    <a:moveTo>
                      <a:pt x="0" y="146"/>
                    </a:moveTo>
                    <a:cubicBezTo>
                      <a:pt x="216" y="0"/>
                      <a:pt x="216" y="0"/>
                      <a:pt x="216" y="0"/>
                    </a:cubicBezTo>
                    <a:cubicBezTo>
                      <a:pt x="144" y="216"/>
                      <a:pt x="144" y="216"/>
                      <a:pt x="144" y="216"/>
                    </a:cubicBezTo>
                    <a:cubicBezTo>
                      <a:pt x="360" y="252"/>
                      <a:pt x="360" y="252"/>
                      <a:pt x="360" y="252"/>
                    </a:cubicBezTo>
                    <a:cubicBezTo>
                      <a:pt x="324" y="578"/>
                      <a:pt x="324" y="578"/>
                      <a:pt x="324" y="578"/>
                    </a:cubicBezTo>
                    <a:cubicBezTo>
                      <a:pt x="432" y="432"/>
                      <a:pt x="432" y="432"/>
                      <a:pt x="432" y="432"/>
                    </a:cubicBezTo>
                    <a:cubicBezTo>
                      <a:pt x="220" y="399"/>
                      <a:pt x="220" y="399"/>
                      <a:pt x="220" y="399"/>
                    </a:cubicBezTo>
                    <a:cubicBezTo>
                      <a:pt x="220" y="399"/>
                      <a:pt x="108" y="576"/>
                      <a:pt x="112" y="579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5" name="Freeform 2494">
                <a:extLst>
                  <a:ext uri="{FF2B5EF4-FFF2-40B4-BE49-F238E27FC236}">
                    <a16:creationId xmlns:a16="http://schemas.microsoft.com/office/drawing/2014/main" xmlns="" id="{67015895-6415-4558-ABDF-91BEFDF1F8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5" y="1800"/>
                <a:ext cx="120" cy="303"/>
              </a:xfrm>
              <a:custGeom>
                <a:avLst/>
                <a:gdLst>
                  <a:gd name="T0" fmla="*/ 0 w 120"/>
                  <a:gd name="T1" fmla="*/ 90 h 303"/>
                  <a:gd name="T2" fmla="*/ 120 w 120"/>
                  <a:gd name="T3" fmla="*/ 0 h 303"/>
                  <a:gd name="T4" fmla="*/ 94 w 120"/>
                  <a:gd name="T5" fmla="*/ 30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0" h="303">
                    <a:moveTo>
                      <a:pt x="0" y="90"/>
                    </a:moveTo>
                    <a:lnTo>
                      <a:pt x="120" y="0"/>
                    </a:lnTo>
                    <a:lnTo>
                      <a:pt x="94" y="303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6" name="Freeform 2495">
                <a:extLst>
                  <a:ext uri="{FF2B5EF4-FFF2-40B4-BE49-F238E27FC236}">
                    <a16:creationId xmlns:a16="http://schemas.microsoft.com/office/drawing/2014/main" xmlns="" id="{0E443648-D2B6-494A-B7A3-83D436971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1922"/>
                <a:ext cx="1110" cy="868"/>
              </a:xfrm>
              <a:custGeom>
                <a:avLst/>
                <a:gdLst>
                  <a:gd name="T0" fmla="*/ 240 w 1110"/>
                  <a:gd name="T1" fmla="*/ 0 h 868"/>
                  <a:gd name="T2" fmla="*/ 210 w 1110"/>
                  <a:gd name="T3" fmla="*/ 148 h 868"/>
                  <a:gd name="T4" fmla="*/ 150 w 1110"/>
                  <a:gd name="T5" fmla="*/ 238 h 868"/>
                  <a:gd name="T6" fmla="*/ 0 w 1110"/>
                  <a:gd name="T7" fmla="*/ 328 h 868"/>
                  <a:gd name="T8" fmla="*/ 0 w 1110"/>
                  <a:gd name="T9" fmla="*/ 478 h 868"/>
                  <a:gd name="T10" fmla="*/ 120 w 1110"/>
                  <a:gd name="T11" fmla="*/ 388 h 868"/>
                  <a:gd name="T12" fmla="*/ 270 w 1110"/>
                  <a:gd name="T13" fmla="*/ 268 h 868"/>
                  <a:gd name="T14" fmla="*/ 510 w 1110"/>
                  <a:gd name="T15" fmla="*/ 118 h 868"/>
                  <a:gd name="T16" fmla="*/ 600 w 1110"/>
                  <a:gd name="T17" fmla="*/ 178 h 868"/>
                  <a:gd name="T18" fmla="*/ 690 w 1110"/>
                  <a:gd name="T19" fmla="*/ 298 h 868"/>
                  <a:gd name="T20" fmla="*/ 780 w 1110"/>
                  <a:gd name="T21" fmla="*/ 178 h 868"/>
                  <a:gd name="T22" fmla="*/ 600 w 1110"/>
                  <a:gd name="T23" fmla="*/ 178 h 868"/>
                  <a:gd name="T24" fmla="*/ 600 w 1110"/>
                  <a:gd name="T25" fmla="*/ 329 h 868"/>
                  <a:gd name="T26" fmla="*/ 510 w 1110"/>
                  <a:gd name="T27" fmla="*/ 298 h 868"/>
                  <a:gd name="T28" fmla="*/ 480 w 1110"/>
                  <a:gd name="T29" fmla="*/ 388 h 868"/>
                  <a:gd name="T30" fmla="*/ 480 w 1110"/>
                  <a:gd name="T31" fmla="*/ 628 h 868"/>
                  <a:gd name="T32" fmla="*/ 600 w 1110"/>
                  <a:gd name="T33" fmla="*/ 538 h 868"/>
                  <a:gd name="T34" fmla="*/ 688 w 1110"/>
                  <a:gd name="T35" fmla="*/ 630 h 868"/>
                  <a:gd name="T36" fmla="*/ 660 w 1110"/>
                  <a:gd name="T37" fmla="*/ 448 h 868"/>
                  <a:gd name="T38" fmla="*/ 750 w 1110"/>
                  <a:gd name="T39" fmla="*/ 388 h 868"/>
                  <a:gd name="T40" fmla="*/ 870 w 1110"/>
                  <a:gd name="T41" fmla="*/ 448 h 868"/>
                  <a:gd name="T42" fmla="*/ 750 w 1110"/>
                  <a:gd name="T43" fmla="*/ 508 h 868"/>
                  <a:gd name="T44" fmla="*/ 840 w 1110"/>
                  <a:gd name="T45" fmla="*/ 568 h 868"/>
                  <a:gd name="T46" fmla="*/ 1110 w 1110"/>
                  <a:gd name="T47" fmla="*/ 538 h 868"/>
                  <a:gd name="T48" fmla="*/ 990 w 1110"/>
                  <a:gd name="T49" fmla="*/ 598 h 868"/>
                  <a:gd name="T50" fmla="*/ 1020 w 1110"/>
                  <a:gd name="T51" fmla="*/ 868 h 868"/>
                  <a:gd name="T52" fmla="*/ 810 w 1110"/>
                  <a:gd name="T53" fmla="*/ 688 h 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10" h="868">
                    <a:moveTo>
                      <a:pt x="240" y="0"/>
                    </a:moveTo>
                    <a:lnTo>
                      <a:pt x="210" y="148"/>
                    </a:lnTo>
                    <a:lnTo>
                      <a:pt x="150" y="238"/>
                    </a:lnTo>
                    <a:lnTo>
                      <a:pt x="0" y="328"/>
                    </a:lnTo>
                    <a:lnTo>
                      <a:pt x="0" y="478"/>
                    </a:lnTo>
                    <a:lnTo>
                      <a:pt x="120" y="388"/>
                    </a:lnTo>
                    <a:lnTo>
                      <a:pt x="270" y="268"/>
                    </a:lnTo>
                    <a:lnTo>
                      <a:pt x="510" y="118"/>
                    </a:lnTo>
                    <a:lnTo>
                      <a:pt x="600" y="178"/>
                    </a:lnTo>
                    <a:lnTo>
                      <a:pt x="690" y="298"/>
                    </a:lnTo>
                    <a:lnTo>
                      <a:pt x="780" y="178"/>
                    </a:lnTo>
                    <a:lnTo>
                      <a:pt x="600" y="178"/>
                    </a:lnTo>
                    <a:lnTo>
                      <a:pt x="600" y="329"/>
                    </a:lnTo>
                    <a:lnTo>
                      <a:pt x="510" y="298"/>
                    </a:lnTo>
                    <a:lnTo>
                      <a:pt x="480" y="388"/>
                    </a:lnTo>
                    <a:lnTo>
                      <a:pt x="480" y="628"/>
                    </a:lnTo>
                    <a:lnTo>
                      <a:pt x="600" y="538"/>
                    </a:lnTo>
                    <a:lnTo>
                      <a:pt x="688" y="630"/>
                    </a:lnTo>
                    <a:lnTo>
                      <a:pt x="660" y="448"/>
                    </a:lnTo>
                    <a:lnTo>
                      <a:pt x="750" y="388"/>
                    </a:lnTo>
                    <a:lnTo>
                      <a:pt x="870" y="448"/>
                    </a:lnTo>
                    <a:lnTo>
                      <a:pt x="750" y="508"/>
                    </a:lnTo>
                    <a:lnTo>
                      <a:pt x="840" y="568"/>
                    </a:lnTo>
                    <a:lnTo>
                      <a:pt x="1110" y="538"/>
                    </a:lnTo>
                    <a:lnTo>
                      <a:pt x="990" y="598"/>
                    </a:lnTo>
                    <a:lnTo>
                      <a:pt x="1020" y="868"/>
                    </a:lnTo>
                    <a:lnTo>
                      <a:pt x="810" y="68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7" name="Line 2496">
                <a:extLst>
                  <a:ext uri="{FF2B5EF4-FFF2-40B4-BE49-F238E27FC236}">
                    <a16:creationId xmlns:a16="http://schemas.microsoft.com/office/drawing/2014/main" xmlns="" id="{B0C312D1-7451-42D6-8F17-26EE13CDF6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35" y="1950"/>
                <a:ext cx="18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8" name="Line 2497">
                <a:extLst>
                  <a:ext uri="{FF2B5EF4-FFF2-40B4-BE49-F238E27FC236}">
                    <a16:creationId xmlns:a16="http://schemas.microsoft.com/office/drawing/2014/main" xmlns="" id="{1DEC7386-E963-42D4-9D1F-43377D35BA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865" y="1922"/>
                <a:ext cx="152" cy="15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9" name="Freeform 2498">
                <a:extLst>
                  <a:ext uri="{FF2B5EF4-FFF2-40B4-BE49-F238E27FC236}">
                    <a16:creationId xmlns:a16="http://schemas.microsoft.com/office/drawing/2014/main" xmlns="" id="{0D795EC9-1283-426D-BFAA-A3E48746F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7" y="1713"/>
                <a:ext cx="328" cy="390"/>
              </a:xfrm>
              <a:custGeom>
                <a:avLst/>
                <a:gdLst>
                  <a:gd name="T0" fmla="*/ 271 w 328"/>
                  <a:gd name="T1" fmla="*/ 0 h 390"/>
                  <a:gd name="T2" fmla="*/ 238 w 328"/>
                  <a:gd name="T3" fmla="*/ 147 h 390"/>
                  <a:gd name="T4" fmla="*/ 151 w 328"/>
                  <a:gd name="T5" fmla="*/ 390 h 390"/>
                  <a:gd name="T6" fmla="*/ 328 w 328"/>
                  <a:gd name="T7" fmla="*/ 207 h 390"/>
                  <a:gd name="T8" fmla="*/ 328 w 328"/>
                  <a:gd name="T9" fmla="*/ 389 h 390"/>
                  <a:gd name="T10" fmla="*/ 118 w 328"/>
                  <a:gd name="T11" fmla="*/ 177 h 390"/>
                  <a:gd name="T12" fmla="*/ 58 w 328"/>
                  <a:gd name="T13" fmla="*/ 327 h 390"/>
                  <a:gd name="T14" fmla="*/ 0 w 328"/>
                  <a:gd name="T15" fmla="*/ 18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8" h="390">
                    <a:moveTo>
                      <a:pt x="271" y="0"/>
                    </a:moveTo>
                    <a:lnTo>
                      <a:pt x="238" y="147"/>
                    </a:lnTo>
                    <a:lnTo>
                      <a:pt x="151" y="390"/>
                    </a:lnTo>
                    <a:lnTo>
                      <a:pt x="328" y="207"/>
                    </a:lnTo>
                    <a:lnTo>
                      <a:pt x="328" y="389"/>
                    </a:lnTo>
                    <a:lnTo>
                      <a:pt x="118" y="177"/>
                    </a:lnTo>
                    <a:lnTo>
                      <a:pt x="58" y="327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0" name="Line 2499">
                <a:extLst>
                  <a:ext uri="{FF2B5EF4-FFF2-40B4-BE49-F238E27FC236}">
                    <a16:creationId xmlns:a16="http://schemas.microsoft.com/office/drawing/2014/main" xmlns="" id="{2494AD39-37D6-4A18-B37C-27142FDF3E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348" y="1713"/>
                <a:ext cx="177" cy="11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1" name="Line 2500">
                <a:extLst>
                  <a:ext uri="{FF2B5EF4-FFF2-40B4-BE49-F238E27FC236}">
                    <a16:creationId xmlns:a16="http://schemas.microsoft.com/office/drawing/2014/main" xmlns="" id="{9540DE55-71AF-490C-9D44-161DB2BB5E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315" y="1442"/>
                <a:ext cx="88" cy="118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2" name="Freeform 2501">
                <a:extLst>
                  <a:ext uri="{FF2B5EF4-FFF2-40B4-BE49-F238E27FC236}">
                    <a16:creationId xmlns:a16="http://schemas.microsoft.com/office/drawing/2014/main" xmlns="" id="{7CDB3288-BBCE-4A1D-B460-DED4EEF7D3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780"/>
                <a:ext cx="690" cy="630"/>
              </a:xfrm>
              <a:custGeom>
                <a:avLst/>
                <a:gdLst>
                  <a:gd name="T0" fmla="*/ 660 w 690"/>
                  <a:gd name="T1" fmla="*/ 630 h 630"/>
                  <a:gd name="T2" fmla="*/ 690 w 690"/>
                  <a:gd name="T3" fmla="*/ 390 h 630"/>
                  <a:gd name="T4" fmla="*/ 570 w 690"/>
                  <a:gd name="T5" fmla="*/ 420 h 630"/>
                  <a:gd name="T6" fmla="*/ 450 w 690"/>
                  <a:gd name="T7" fmla="*/ 240 h 630"/>
                  <a:gd name="T8" fmla="*/ 420 w 690"/>
                  <a:gd name="T9" fmla="*/ 420 h 630"/>
                  <a:gd name="T10" fmla="*/ 330 w 690"/>
                  <a:gd name="T11" fmla="*/ 330 h 630"/>
                  <a:gd name="T12" fmla="*/ 210 w 690"/>
                  <a:gd name="T13" fmla="*/ 270 h 630"/>
                  <a:gd name="T14" fmla="*/ 0 w 690"/>
                  <a:gd name="T15" fmla="*/ 210 h 630"/>
                  <a:gd name="T16" fmla="*/ 270 w 690"/>
                  <a:gd name="T17" fmla="*/ 180 h 630"/>
                  <a:gd name="T18" fmla="*/ 180 w 690"/>
                  <a:gd name="T19" fmla="*/ 30 h 630"/>
                  <a:gd name="T20" fmla="*/ 330 w 690"/>
                  <a:gd name="T21" fmla="*/ 0 h 630"/>
                  <a:gd name="T22" fmla="*/ 120 w 690"/>
                  <a:gd name="T23" fmla="*/ 15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90" h="630">
                    <a:moveTo>
                      <a:pt x="660" y="630"/>
                    </a:moveTo>
                    <a:lnTo>
                      <a:pt x="690" y="390"/>
                    </a:lnTo>
                    <a:lnTo>
                      <a:pt x="570" y="420"/>
                    </a:lnTo>
                    <a:lnTo>
                      <a:pt x="450" y="240"/>
                    </a:lnTo>
                    <a:lnTo>
                      <a:pt x="420" y="420"/>
                    </a:lnTo>
                    <a:lnTo>
                      <a:pt x="330" y="330"/>
                    </a:lnTo>
                    <a:lnTo>
                      <a:pt x="210" y="270"/>
                    </a:lnTo>
                    <a:lnTo>
                      <a:pt x="0" y="210"/>
                    </a:lnTo>
                    <a:lnTo>
                      <a:pt x="270" y="180"/>
                    </a:lnTo>
                    <a:lnTo>
                      <a:pt x="180" y="30"/>
                    </a:lnTo>
                    <a:lnTo>
                      <a:pt x="330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3" name="Line 2502">
                <a:extLst>
                  <a:ext uri="{FF2B5EF4-FFF2-40B4-BE49-F238E27FC236}">
                    <a16:creationId xmlns:a16="http://schemas.microsoft.com/office/drawing/2014/main" xmlns="" id="{13AB2D93-C3EC-484F-8128-C69070FA73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285" y="1290"/>
                <a:ext cx="15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4" name="Freeform 2503">
                <a:extLst>
                  <a:ext uri="{FF2B5EF4-FFF2-40B4-BE49-F238E27FC236}">
                    <a16:creationId xmlns:a16="http://schemas.microsoft.com/office/drawing/2014/main" xmlns="" id="{E79B62DD-1ED8-4B04-A3D8-A8F487B50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1082"/>
                <a:ext cx="120" cy="208"/>
              </a:xfrm>
              <a:custGeom>
                <a:avLst/>
                <a:gdLst>
                  <a:gd name="T0" fmla="*/ 120 w 120"/>
                  <a:gd name="T1" fmla="*/ 208 h 208"/>
                  <a:gd name="T2" fmla="*/ 90 w 120"/>
                  <a:gd name="T3" fmla="*/ 0 h 208"/>
                  <a:gd name="T4" fmla="*/ 0 w 120"/>
                  <a:gd name="T5" fmla="*/ 88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0" h="208">
                    <a:moveTo>
                      <a:pt x="120" y="208"/>
                    </a:moveTo>
                    <a:lnTo>
                      <a:pt x="90" y="0"/>
                    </a:lnTo>
                    <a:lnTo>
                      <a:pt x="0" y="8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5" name="Freeform 2504">
                <a:extLst>
                  <a:ext uri="{FF2B5EF4-FFF2-40B4-BE49-F238E27FC236}">
                    <a16:creationId xmlns:a16="http://schemas.microsoft.com/office/drawing/2014/main" xmlns="" id="{E054FF8A-49B2-456A-B74E-990897C83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1200"/>
                <a:ext cx="240" cy="242"/>
              </a:xfrm>
              <a:custGeom>
                <a:avLst/>
                <a:gdLst>
                  <a:gd name="T0" fmla="*/ 240 w 240"/>
                  <a:gd name="T1" fmla="*/ 90 h 242"/>
                  <a:gd name="T2" fmla="*/ 0 w 240"/>
                  <a:gd name="T3" fmla="*/ 0 h 242"/>
                  <a:gd name="T4" fmla="*/ 208 w 240"/>
                  <a:gd name="T5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0" h="242">
                    <a:moveTo>
                      <a:pt x="240" y="90"/>
                    </a:moveTo>
                    <a:lnTo>
                      <a:pt x="0" y="0"/>
                    </a:lnTo>
                    <a:lnTo>
                      <a:pt x="208" y="24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6" name="Line 2505">
                <a:extLst>
                  <a:ext uri="{FF2B5EF4-FFF2-40B4-BE49-F238E27FC236}">
                    <a16:creationId xmlns:a16="http://schemas.microsoft.com/office/drawing/2014/main" xmlns="" id="{A945A76C-3251-4098-A845-DFDF1DA60A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85" y="1260"/>
                <a:ext cx="30" cy="272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7" name="Freeform 2506">
                <a:extLst>
                  <a:ext uri="{FF2B5EF4-FFF2-40B4-BE49-F238E27FC236}">
                    <a16:creationId xmlns:a16="http://schemas.microsoft.com/office/drawing/2014/main" xmlns="" id="{F8416B36-BAA8-4609-BA62-999BDE6CB5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5" y="450"/>
                <a:ext cx="449" cy="1140"/>
              </a:xfrm>
              <a:custGeom>
                <a:avLst/>
                <a:gdLst>
                  <a:gd name="T0" fmla="*/ 449 w 449"/>
                  <a:gd name="T1" fmla="*/ 1140 h 1140"/>
                  <a:gd name="T2" fmla="*/ 329 w 449"/>
                  <a:gd name="T3" fmla="*/ 930 h 1140"/>
                  <a:gd name="T4" fmla="*/ 419 w 449"/>
                  <a:gd name="T5" fmla="*/ 690 h 1140"/>
                  <a:gd name="T6" fmla="*/ 239 w 449"/>
                  <a:gd name="T7" fmla="*/ 600 h 1140"/>
                  <a:gd name="T8" fmla="*/ 269 w 449"/>
                  <a:gd name="T9" fmla="*/ 780 h 1140"/>
                  <a:gd name="T10" fmla="*/ 389 w 449"/>
                  <a:gd name="T11" fmla="*/ 570 h 1140"/>
                  <a:gd name="T12" fmla="*/ 419 w 449"/>
                  <a:gd name="T13" fmla="*/ 450 h 1140"/>
                  <a:gd name="T14" fmla="*/ 359 w 449"/>
                  <a:gd name="T15" fmla="*/ 330 h 1140"/>
                  <a:gd name="T16" fmla="*/ 389 w 449"/>
                  <a:gd name="T17" fmla="*/ 180 h 1140"/>
                  <a:gd name="T18" fmla="*/ 239 w 449"/>
                  <a:gd name="T19" fmla="*/ 60 h 1140"/>
                  <a:gd name="T20" fmla="*/ 150 w 449"/>
                  <a:gd name="T21" fmla="*/ 180 h 1140"/>
                  <a:gd name="T22" fmla="*/ 0 w 449"/>
                  <a:gd name="T23" fmla="*/ 270 h 1140"/>
                  <a:gd name="T24" fmla="*/ 0 w 449"/>
                  <a:gd name="T25" fmla="*/ 420 h 1140"/>
                  <a:gd name="T26" fmla="*/ 120 w 449"/>
                  <a:gd name="T27" fmla="*/ 330 h 1140"/>
                  <a:gd name="T28" fmla="*/ 269 w 449"/>
                  <a:gd name="T29" fmla="*/ 210 h 1140"/>
                  <a:gd name="T30" fmla="*/ 239 w 449"/>
                  <a:gd name="T31" fmla="*/ 60 h 1140"/>
                  <a:gd name="T32" fmla="*/ 120 w 449"/>
                  <a:gd name="T33" fmla="*/ 0 h 1140"/>
                  <a:gd name="T34" fmla="*/ 30 w 449"/>
                  <a:gd name="T35" fmla="*/ 90 h 1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9" h="1140">
                    <a:moveTo>
                      <a:pt x="449" y="1140"/>
                    </a:moveTo>
                    <a:lnTo>
                      <a:pt x="329" y="930"/>
                    </a:lnTo>
                    <a:lnTo>
                      <a:pt x="419" y="690"/>
                    </a:lnTo>
                    <a:lnTo>
                      <a:pt x="239" y="600"/>
                    </a:lnTo>
                    <a:lnTo>
                      <a:pt x="269" y="780"/>
                    </a:lnTo>
                    <a:lnTo>
                      <a:pt x="389" y="570"/>
                    </a:lnTo>
                    <a:lnTo>
                      <a:pt x="419" y="450"/>
                    </a:lnTo>
                    <a:lnTo>
                      <a:pt x="359" y="330"/>
                    </a:lnTo>
                    <a:lnTo>
                      <a:pt x="389" y="180"/>
                    </a:lnTo>
                    <a:lnTo>
                      <a:pt x="239" y="60"/>
                    </a:lnTo>
                    <a:lnTo>
                      <a:pt x="150" y="180"/>
                    </a:lnTo>
                    <a:lnTo>
                      <a:pt x="0" y="270"/>
                    </a:lnTo>
                    <a:lnTo>
                      <a:pt x="0" y="420"/>
                    </a:lnTo>
                    <a:lnTo>
                      <a:pt x="120" y="330"/>
                    </a:lnTo>
                    <a:lnTo>
                      <a:pt x="269" y="210"/>
                    </a:lnTo>
                    <a:lnTo>
                      <a:pt x="239" y="60"/>
                    </a:lnTo>
                    <a:lnTo>
                      <a:pt x="120" y="0"/>
                    </a:lnTo>
                    <a:lnTo>
                      <a:pt x="3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8" name="Line 2507">
                <a:extLst>
                  <a:ext uri="{FF2B5EF4-FFF2-40B4-BE49-F238E27FC236}">
                    <a16:creationId xmlns:a16="http://schemas.microsoft.com/office/drawing/2014/main" xmlns="" id="{286A39A2-8C80-4F5F-B812-F740D4C5DA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4" y="159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9" name="Freeform 2508">
                <a:extLst>
                  <a:ext uri="{FF2B5EF4-FFF2-40B4-BE49-F238E27FC236}">
                    <a16:creationId xmlns:a16="http://schemas.microsoft.com/office/drawing/2014/main" xmlns="" id="{89DA4A61-5A79-48B2-B6E1-B422E48145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" y="1740"/>
                <a:ext cx="659" cy="423"/>
              </a:xfrm>
              <a:custGeom>
                <a:avLst/>
                <a:gdLst>
                  <a:gd name="T0" fmla="*/ 300 w 659"/>
                  <a:gd name="T1" fmla="*/ 303 h 423"/>
                  <a:gd name="T2" fmla="*/ 299 w 659"/>
                  <a:gd name="T3" fmla="*/ 150 h 423"/>
                  <a:gd name="T4" fmla="*/ 451 w 659"/>
                  <a:gd name="T5" fmla="*/ 423 h 423"/>
                  <a:gd name="T6" fmla="*/ 483 w 659"/>
                  <a:gd name="T7" fmla="*/ 213 h 423"/>
                  <a:gd name="T8" fmla="*/ 659 w 659"/>
                  <a:gd name="T9" fmla="*/ 300 h 423"/>
                  <a:gd name="T10" fmla="*/ 419 w 659"/>
                  <a:gd name="T11" fmla="*/ 60 h 423"/>
                  <a:gd name="T12" fmla="*/ 479 w 659"/>
                  <a:gd name="T13" fmla="*/ 210 h 423"/>
                  <a:gd name="T14" fmla="*/ 299 w 659"/>
                  <a:gd name="T15" fmla="*/ 0 h 423"/>
                  <a:gd name="T16" fmla="*/ 150 w 659"/>
                  <a:gd name="T17" fmla="*/ 150 h 423"/>
                  <a:gd name="T18" fmla="*/ 0 w 659"/>
                  <a:gd name="T19" fmla="*/ 90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9" h="423">
                    <a:moveTo>
                      <a:pt x="300" y="303"/>
                    </a:moveTo>
                    <a:lnTo>
                      <a:pt x="299" y="150"/>
                    </a:lnTo>
                    <a:lnTo>
                      <a:pt x="451" y="423"/>
                    </a:lnTo>
                    <a:lnTo>
                      <a:pt x="483" y="213"/>
                    </a:lnTo>
                    <a:lnTo>
                      <a:pt x="659" y="300"/>
                    </a:lnTo>
                    <a:lnTo>
                      <a:pt x="419" y="60"/>
                    </a:lnTo>
                    <a:lnTo>
                      <a:pt x="479" y="210"/>
                    </a:lnTo>
                    <a:lnTo>
                      <a:pt x="299" y="0"/>
                    </a:lnTo>
                    <a:lnTo>
                      <a:pt x="150" y="150"/>
                    </a:lnTo>
                    <a:lnTo>
                      <a:pt x="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0" name="Freeform 2509">
                <a:extLst>
                  <a:ext uri="{FF2B5EF4-FFF2-40B4-BE49-F238E27FC236}">
                    <a16:creationId xmlns:a16="http://schemas.microsoft.com/office/drawing/2014/main" xmlns="" id="{389B0C02-E0F1-4BB9-8B6A-A41CA1C9E3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1860"/>
                <a:ext cx="393" cy="123"/>
              </a:xfrm>
              <a:custGeom>
                <a:avLst/>
                <a:gdLst>
                  <a:gd name="T0" fmla="*/ 393 w 393"/>
                  <a:gd name="T1" fmla="*/ 123 h 123"/>
                  <a:gd name="T2" fmla="*/ 90 w 393"/>
                  <a:gd name="T3" fmla="*/ 60 h 123"/>
                  <a:gd name="T4" fmla="*/ 0 w 393"/>
                  <a:gd name="T5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3" h="123">
                    <a:moveTo>
                      <a:pt x="393" y="123"/>
                    </a:moveTo>
                    <a:lnTo>
                      <a:pt x="9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1" name="Freeform 2510">
                <a:extLst>
                  <a:ext uri="{FF2B5EF4-FFF2-40B4-BE49-F238E27FC236}">
                    <a16:creationId xmlns:a16="http://schemas.microsoft.com/office/drawing/2014/main" xmlns="" id="{7F013949-2F1A-43CC-84B7-66C8E611A5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60"/>
                <a:ext cx="690" cy="600"/>
              </a:xfrm>
              <a:custGeom>
                <a:avLst/>
                <a:gdLst>
                  <a:gd name="T0" fmla="*/ 690 w 690"/>
                  <a:gd name="T1" fmla="*/ 600 h 600"/>
                  <a:gd name="T2" fmla="*/ 630 w 690"/>
                  <a:gd name="T3" fmla="*/ 450 h 600"/>
                  <a:gd name="T4" fmla="*/ 480 w 690"/>
                  <a:gd name="T5" fmla="*/ 210 h 600"/>
                  <a:gd name="T6" fmla="*/ 330 w 690"/>
                  <a:gd name="T7" fmla="*/ 0 h 600"/>
                  <a:gd name="T8" fmla="*/ 150 w 690"/>
                  <a:gd name="T9" fmla="*/ 90 h 600"/>
                  <a:gd name="T10" fmla="*/ 60 w 690"/>
                  <a:gd name="T11" fmla="*/ 210 h 600"/>
                  <a:gd name="T12" fmla="*/ 300 w 690"/>
                  <a:gd name="T13" fmla="*/ 210 h 600"/>
                  <a:gd name="T14" fmla="*/ 330 w 690"/>
                  <a:gd name="T15" fmla="*/ 0 h 600"/>
                  <a:gd name="T16" fmla="*/ 0 w 690"/>
                  <a:gd name="T17" fmla="*/ 60 h 600"/>
                  <a:gd name="T18" fmla="*/ 150 w 690"/>
                  <a:gd name="T19" fmla="*/ 90 h 600"/>
                  <a:gd name="T20" fmla="*/ 180 w 690"/>
                  <a:gd name="T21" fmla="*/ 240 h 600"/>
                  <a:gd name="T22" fmla="*/ 60 w 690"/>
                  <a:gd name="T23" fmla="*/ 210 h 600"/>
                  <a:gd name="T24" fmla="*/ 30 w 690"/>
                  <a:gd name="T25" fmla="*/ 360 h 600"/>
                  <a:gd name="T26" fmla="*/ 60 w 690"/>
                  <a:gd name="T27" fmla="*/ 51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90" h="600">
                    <a:moveTo>
                      <a:pt x="690" y="600"/>
                    </a:moveTo>
                    <a:lnTo>
                      <a:pt x="630" y="450"/>
                    </a:lnTo>
                    <a:lnTo>
                      <a:pt x="480" y="210"/>
                    </a:lnTo>
                    <a:lnTo>
                      <a:pt x="330" y="0"/>
                    </a:lnTo>
                    <a:lnTo>
                      <a:pt x="150" y="90"/>
                    </a:lnTo>
                    <a:lnTo>
                      <a:pt x="60" y="210"/>
                    </a:lnTo>
                    <a:lnTo>
                      <a:pt x="300" y="210"/>
                    </a:lnTo>
                    <a:lnTo>
                      <a:pt x="330" y="0"/>
                    </a:lnTo>
                    <a:lnTo>
                      <a:pt x="0" y="60"/>
                    </a:lnTo>
                    <a:lnTo>
                      <a:pt x="150" y="90"/>
                    </a:lnTo>
                    <a:lnTo>
                      <a:pt x="180" y="240"/>
                    </a:lnTo>
                    <a:lnTo>
                      <a:pt x="60" y="210"/>
                    </a:lnTo>
                    <a:lnTo>
                      <a:pt x="30" y="360"/>
                    </a:lnTo>
                    <a:lnTo>
                      <a:pt x="60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2" name="Freeform 2511">
                <a:extLst>
                  <a:ext uri="{FF2B5EF4-FFF2-40B4-BE49-F238E27FC236}">
                    <a16:creationId xmlns:a16="http://schemas.microsoft.com/office/drawing/2014/main" xmlns="" id="{55AC3E09-B6A8-4771-9E4C-520D4D70C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2700"/>
                <a:ext cx="600" cy="510"/>
              </a:xfrm>
              <a:custGeom>
                <a:avLst/>
                <a:gdLst>
                  <a:gd name="T0" fmla="*/ 540 w 600"/>
                  <a:gd name="T1" fmla="*/ 90 h 510"/>
                  <a:gd name="T2" fmla="*/ 600 w 600"/>
                  <a:gd name="T3" fmla="*/ 270 h 510"/>
                  <a:gd name="T4" fmla="*/ 480 w 600"/>
                  <a:gd name="T5" fmla="*/ 270 h 510"/>
                  <a:gd name="T6" fmla="*/ 570 w 600"/>
                  <a:gd name="T7" fmla="*/ 420 h 510"/>
                  <a:gd name="T8" fmla="*/ 510 w 600"/>
                  <a:gd name="T9" fmla="*/ 510 h 510"/>
                  <a:gd name="T10" fmla="*/ 420 w 600"/>
                  <a:gd name="T11" fmla="*/ 360 h 510"/>
                  <a:gd name="T12" fmla="*/ 240 w 600"/>
                  <a:gd name="T13" fmla="*/ 450 h 510"/>
                  <a:gd name="T14" fmla="*/ 300 w 600"/>
                  <a:gd name="T15" fmla="*/ 270 h 510"/>
                  <a:gd name="T16" fmla="*/ 150 w 600"/>
                  <a:gd name="T17" fmla="*/ 420 h 510"/>
                  <a:gd name="T18" fmla="*/ 180 w 600"/>
                  <a:gd name="T19" fmla="*/ 300 h 510"/>
                  <a:gd name="T20" fmla="*/ 30 w 600"/>
                  <a:gd name="T21" fmla="*/ 360 h 510"/>
                  <a:gd name="T22" fmla="*/ 0 w 600"/>
                  <a:gd name="T23" fmla="*/ 510 h 510"/>
                  <a:gd name="T24" fmla="*/ 180 w 600"/>
                  <a:gd name="T25" fmla="*/ 210 h 510"/>
                  <a:gd name="T26" fmla="*/ 60 w 600"/>
                  <a:gd name="T27" fmla="*/ 120 h 510"/>
                  <a:gd name="T28" fmla="*/ 0 w 600"/>
                  <a:gd name="T29" fmla="*/ 210 h 510"/>
                  <a:gd name="T30" fmla="*/ 0 w 600"/>
                  <a:gd name="T31" fmla="*/ 0 h 510"/>
                  <a:gd name="T32" fmla="*/ 180 w 600"/>
                  <a:gd name="T33" fmla="*/ 30 h 510"/>
                  <a:gd name="T34" fmla="*/ 270 w 600"/>
                  <a:gd name="T35" fmla="*/ 120 h 510"/>
                  <a:gd name="T36" fmla="*/ 390 w 600"/>
                  <a:gd name="T37" fmla="*/ 150 h 510"/>
                  <a:gd name="T38" fmla="*/ 540 w 600"/>
                  <a:gd name="T39" fmla="*/ 9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00" h="510">
                    <a:moveTo>
                      <a:pt x="540" y="90"/>
                    </a:moveTo>
                    <a:lnTo>
                      <a:pt x="600" y="270"/>
                    </a:lnTo>
                    <a:lnTo>
                      <a:pt x="480" y="270"/>
                    </a:lnTo>
                    <a:lnTo>
                      <a:pt x="570" y="420"/>
                    </a:lnTo>
                    <a:lnTo>
                      <a:pt x="510" y="510"/>
                    </a:lnTo>
                    <a:lnTo>
                      <a:pt x="420" y="360"/>
                    </a:lnTo>
                    <a:lnTo>
                      <a:pt x="240" y="450"/>
                    </a:lnTo>
                    <a:lnTo>
                      <a:pt x="300" y="270"/>
                    </a:lnTo>
                    <a:lnTo>
                      <a:pt x="150" y="420"/>
                    </a:lnTo>
                    <a:lnTo>
                      <a:pt x="180" y="300"/>
                    </a:lnTo>
                    <a:lnTo>
                      <a:pt x="30" y="360"/>
                    </a:lnTo>
                    <a:lnTo>
                      <a:pt x="0" y="510"/>
                    </a:lnTo>
                    <a:lnTo>
                      <a:pt x="180" y="210"/>
                    </a:lnTo>
                    <a:lnTo>
                      <a:pt x="60" y="120"/>
                    </a:lnTo>
                    <a:lnTo>
                      <a:pt x="0" y="210"/>
                    </a:lnTo>
                    <a:lnTo>
                      <a:pt x="0" y="0"/>
                    </a:lnTo>
                    <a:lnTo>
                      <a:pt x="180" y="30"/>
                    </a:lnTo>
                    <a:lnTo>
                      <a:pt x="270" y="120"/>
                    </a:lnTo>
                    <a:lnTo>
                      <a:pt x="390" y="150"/>
                    </a:lnTo>
                    <a:lnTo>
                      <a:pt x="540" y="9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3" name="Freeform 2512">
                <a:extLst>
                  <a:ext uri="{FF2B5EF4-FFF2-40B4-BE49-F238E27FC236}">
                    <a16:creationId xmlns:a16="http://schemas.microsoft.com/office/drawing/2014/main" xmlns="" id="{BFE34CC8-D34E-4EA3-BC20-57CB1B7559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6" y="2700"/>
                <a:ext cx="539" cy="360"/>
              </a:xfrm>
              <a:custGeom>
                <a:avLst/>
                <a:gdLst>
                  <a:gd name="T0" fmla="*/ 90 w 539"/>
                  <a:gd name="T1" fmla="*/ 360 h 360"/>
                  <a:gd name="T2" fmla="*/ 60 w 539"/>
                  <a:gd name="T3" fmla="*/ 150 h 360"/>
                  <a:gd name="T4" fmla="*/ 0 w 539"/>
                  <a:gd name="T5" fmla="*/ 0 h 360"/>
                  <a:gd name="T6" fmla="*/ 210 w 539"/>
                  <a:gd name="T7" fmla="*/ 90 h 360"/>
                  <a:gd name="T8" fmla="*/ 360 w 539"/>
                  <a:gd name="T9" fmla="*/ 180 h 360"/>
                  <a:gd name="T10" fmla="*/ 270 w 539"/>
                  <a:gd name="T11" fmla="*/ 270 h 360"/>
                  <a:gd name="T12" fmla="*/ 450 w 539"/>
                  <a:gd name="T13" fmla="*/ 330 h 360"/>
                  <a:gd name="T14" fmla="*/ 509 w 539"/>
                  <a:gd name="T15" fmla="*/ 210 h 360"/>
                  <a:gd name="T16" fmla="*/ 360 w 539"/>
                  <a:gd name="T17" fmla="*/ 60 h 360"/>
                  <a:gd name="T18" fmla="*/ 539 w 539"/>
                  <a:gd name="T19" fmla="*/ 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9" h="360">
                    <a:moveTo>
                      <a:pt x="90" y="360"/>
                    </a:moveTo>
                    <a:lnTo>
                      <a:pt x="60" y="150"/>
                    </a:lnTo>
                    <a:lnTo>
                      <a:pt x="0" y="0"/>
                    </a:lnTo>
                    <a:lnTo>
                      <a:pt x="210" y="90"/>
                    </a:lnTo>
                    <a:lnTo>
                      <a:pt x="360" y="180"/>
                    </a:lnTo>
                    <a:lnTo>
                      <a:pt x="270" y="270"/>
                    </a:lnTo>
                    <a:lnTo>
                      <a:pt x="450" y="330"/>
                    </a:lnTo>
                    <a:lnTo>
                      <a:pt x="509" y="210"/>
                    </a:lnTo>
                    <a:lnTo>
                      <a:pt x="360" y="60"/>
                    </a:lnTo>
                    <a:lnTo>
                      <a:pt x="53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4" name="Freeform 2513">
                <a:extLst>
                  <a:ext uri="{FF2B5EF4-FFF2-40B4-BE49-F238E27FC236}">
                    <a16:creationId xmlns:a16="http://schemas.microsoft.com/office/drawing/2014/main" xmlns="" id="{B7FE7D6A-C07A-4C29-8501-7526109E26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6" y="3120"/>
                <a:ext cx="360" cy="90"/>
              </a:xfrm>
              <a:custGeom>
                <a:avLst/>
                <a:gdLst>
                  <a:gd name="T0" fmla="*/ 360 w 360"/>
                  <a:gd name="T1" fmla="*/ 90 h 90"/>
                  <a:gd name="T2" fmla="*/ 90 w 360"/>
                  <a:gd name="T3" fmla="*/ 30 h 90"/>
                  <a:gd name="T4" fmla="*/ 0 w 360"/>
                  <a:gd name="T5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90">
                    <a:moveTo>
                      <a:pt x="360" y="90"/>
                    </a:moveTo>
                    <a:lnTo>
                      <a:pt x="9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5" name="Freeform 2514">
                <a:extLst>
                  <a:ext uri="{FF2B5EF4-FFF2-40B4-BE49-F238E27FC236}">
                    <a16:creationId xmlns:a16="http://schemas.microsoft.com/office/drawing/2014/main" xmlns="" id="{AD7F05CC-6F18-499D-8B88-DAA8A4AE69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2820"/>
                <a:ext cx="270" cy="240"/>
              </a:xfrm>
              <a:custGeom>
                <a:avLst/>
                <a:gdLst>
                  <a:gd name="T0" fmla="*/ 30 w 270"/>
                  <a:gd name="T1" fmla="*/ 240 h 240"/>
                  <a:gd name="T2" fmla="*/ 0 w 270"/>
                  <a:gd name="T3" fmla="*/ 90 h 240"/>
                  <a:gd name="T4" fmla="*/ 270 w 270"/>
                  <a:gd name="T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240">
                    <a:moveTo>
                      <a:pt x="30" y="240"/>
                    </a:moveTo>
                    <a:lnTo>
                      <a:pt x="0" y="90"/>
                    </a:lnTo>
                    <a:lnTo>
                      <a:pt x="27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6" name="Freeform 2515">
                <a:extLst>
                  <a:ext uri="{FF2B5EF4-FFF2-40B4-BE49-F238E27FC236}">
                    <a16:creationId xmlns:a16="http://schemas.microsoft.com/office/drawing/2014/main" xmlns="" id="{D56011FC-231A-4F65-893E-058D81B552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90"/>
                <a:ext cx="210" cy="240"/>
              </a:xfrm>
              <a:custGeom>
                <a:avLst/>
                <a:gdLst>
                  <a:gd name="T0" fmla="*/ 0 w 210"/>
                  <a:gd name="T1" fmla="*/ 240 h 240"/>
                  <a:gd name="T2" fmla="*/ 150 w 210"/>
                  <a:gd name="T3" fmla="*/ 210 h 240"/>
                  <a:gd name="T4" fmla="*/ 120 w 210"/>
                  <a:gd name="T5" fmla="*/ 0 h 240"/>
                  <a:gd name="T6" fmla="*/ 210 w 210"/>
                  <a:gd name="T7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0" h="240">
                    <a:moveTo>
                      <a:pt x="0" y="240"/>
                    </a:moveTo>
                    <a:lnTo>
                      <a:pt x="150" y="210"/>
                    </a:lnTo>
                    <a:lnTo>
                      <a:pt x="120" y="0"/>
                    </a:lnTo>
                    <a:lnTo>
                      <a:pt x="21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7" name="Freeform 2516">
                <a:extLst>
                  <a:ext uri="{FF2B5EF4-FFF2-40B4-BE49-F238E27FC236}">
                    <a16:creationId xmlns:a16="http://schemas.microsoft.com/office/drawing/2014/main" xmlns="" id="{F408D078-7200-44BE-B12B-F70593C6D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2190"/>
                <a:ext cx="510" cy="630"/>
              </a:xfrm>
              <a:custGeom>
                <a:avLst/>
                <a:gdLst>
                  <a:gd name="T0" fmla="*/ 270 w 510"/>
                  <a:gd name="T1" fmla="*/ 450 h 630"/>
                  <a:gd name="T2" fmla="*/ 0 w 510"/>
                  <a:gd name="T3" fmla="*/ 390 h 630"/>
                  <a:gd name="T4" fmla="*/ 30 w 510"/>
                  <a:gd name="T5" fmla="*/ 300 h 630"/>
                  <a:gd name="T6" fmla="*/ 210 w 510"/>
                  <a:gd name="T7" fmla="*/ 330 h 630"/>
                  <a:gd name="T8" fmla="*/ 150 w 510"/>
                  <a:gd name="T9" fmla="*/ 120 h 630"/>
                  <a:gd name="T10" fmla="*/ 90 w 510"/>
                  <a:gd name="T11" fmla="*/ 210 h 630"/>
                  <a:gd name="T12" fmla="*/ 60 w 510"/>
                  <a:gd name="T13" fmla="*/ 120 h 630"/>
                  <a:gd name="T14" fmla="*/ 180 w 510"/>
                  <a:gd name="T15" fmla="*/ 0 h 630"/>
                  <a:gd name="T16" fmla="*/ 300 w 510"/>
                  <a:gd name="T17" fmla="*/ 120 h 630"/>
                  <a:gd name="T18" fmla="*/ 510 w 510"/>
                  <a:gd name="T19" fmla="*/ 150 h 630"/>
                  <a:gd name="T20" fmla="*/ 330 w 510"/>
                  <a:gd name="T21" fmla="*/ 300 h 630"/>
                  <a:gd name="T22" fmla="*/ 270 w 510"/>
                  <a:gd name="T23" fmla="*/ 450 h 630"/>
                  <a:gd name="T24" fmla="*/ 30 w 510"/>
                  <a:gd name="T25" fmla="*/ 510 h 630"/>
                  <a:gd name="T26" fmla="*/ 300 w 510"/>
                  <a:gd name="T27" fmla="*/ 120 h 630"/>
                  <a:gd name="T28" fmla="*/ 30 w 510"/>
                  <a:gd name="T29" fmla="*/ 300 h 630"/>
                  <a:gd name="T30" fmla="*/ 90 w 510"/>
                  <a:gd name="T31" fmla="*/ 210 h 630"/>
                  <a:gd name="T32" fmla="*/ 330 w 510"/>
                  <a:gd name="T33" fmla="*/ 300 h 630"/>
                  <a:gd name="T34" fmla="*/ 210 w 510"/>
                  <a:gd name="T35" fmla="*/ 330 h 630"/>
                  <a:gd name="T36" fmla="*/ 270 w 510"/>
                  <a:gd name="T37" fmla="*/ 450 h 630"/>
                  <a:gd name="T38" fmla="*/ 210 w 510"/>
                  <a:gd name="T39" fmla="*/ 540 h 630"/>
                  <a:gd name="T40" fmla="*/ 90 w 510"/>
                  <a:gd name="T41" fmla="*/ 63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0" h="630">
                    <a:moveTo>
                      <a:pt x="270" y="450"/>
                    </a:moveTo>
                    <a:lnTo>
                      <a:pt x="0" y="390"/>
                    </a:lnTo>
                    <a:lnTo>
                      <a:pt x="30" y="300"/>
                    </a:lnTo>
                    <a:lnTo>
                      <a:pt x="210" y="330"/>
                    </a:lnTo>
                    <a:lnTo>
                      <a:pt x="150" y="120"/>
                    </a:lnTo>
                    <a:lnTo>
                      <a:pt x="90" y="210"/>
                    </a:lnTo>
                    <a:lnTo>
                      <a:pt x="60" y="120"/>
                    </a:lnTo>
                    <a:lnTo>
                      <a:pt x="180" y="0"/>
                    </a:lnTo>
                    <a:lnTo>
                      <a:pt x="300" y="120"/>
                    </a:lnTo>
                    <a:lnTo>
                      <a:pt x="510" y="150"/>
                    </a:lnTo>
                    <a:lnTo>
                      <a:pt x="330" y="300"/>
                    </a:lnTo>
                    <a:lnTo>
                      <a:pt x="270" y="450"/>
                    </a:lnTo>
                    <a:lnTo>
                      <a:pt x="30" y="510"/>
                    </a:lnTo>
                    <a:lnTo>
                      <a:pt x="300" y="120"/>
                    </a:lnTo>
                    <a:lnTo>
                      <a:pt x="30" y="300"/>
                    </a:lnTo>
                    <a:lnTo>
                      <a:pt x="90" y="210"/>
                    </a:lnTo>
                    <a:lnTo>
                      <a:pt x="330" y="300"/>
                    </a:lnTo>
                    <a:lnTo>
                      <a:pt x="210" y="330"/>
                    </a:lnTo>
                    <a:lnTo>
                      <a:pt x="270" y="450"/>
                    </a:lnTo>
                    <a:lnTo>
                      <a:pt x="210" y="540"/>
                    </a:lnTo>
                    <a:lnTo>
                      <a:pt x="90" y="6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8" name="Freeform 2517">
                <a:extLst>
                  <a:ext uri="{FF2B5EF4-FFF2-40B4-BE49-F238E27FC236}">
                    <a16:creationId xmlns:a16="http://schemas.microsoft.com/office/drawing/2014/main" xmlns="" id="{5709CBE7-662C-4D12-AE0B-F37BE4E15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2190"/>
                <a:ext cx="420" cy="480"/>
              </a:xfrm>
              <a:custGeom>
                <a:avLst/>
                <a:gdLst>
                  <a:gd name="T0" fmla="*/ 420 w 420"/>
                  <a:gd name="T1" fmla="*/ 150 h 480"/>
                  <a:gd name="T2" fmla="*/ 120 w 420"/>
                  <a:gd name="T3" fmla="*/ 0 h 480"/>
                  <a:gd name="T4" fmla="*/ 0 w 420"/>
                  <a:gd name="T5" fmla="*/ 120 h 480"/>
                  <a:gd name="T6" fmla="*/ 240 w 420"/>
                  <a:gd name="T7" fmla="*/ 300 h 480"/>
                  <a:gd name="T8" fmla="*/ 120 w 420"/>
                  <a:gd name="T9" fmla="*/ 360 h 480"/>
                  <a:gd name="T10" fmla="*/ 210 w 420"/>
                  <a:gd name="T11" fmla="*/ 48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0" h="480">
                    <a:moveTo>
                      <a:pt x="420" y="150"/>
                    </a:moveTo>
                    <a:lnTo>
                      <a:pt x="120" y="0"/>
                    </a:lnTo>
                    <a:lnTo>
                      <a:pt x="0" y="120"/>
                    </a:lnTo>
                    <a:lnTo>
                      <a:pt x="240" y="300"/>
                    </a:lnTo>
                    <a:lnTo>
                      <a:pt x="120" y="360"/>
                    </a:lnTo>
                    <a:lnTo>
                      <a:pt x="210" y="4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9" name="Freeform 2518">
                <a:extLst>
                  <a:ext uri="{FF2B5EF4-FFF2-40B4-BE49-F238E27FC236}">
                    <a16:creationId xmlns:a16="http://schemas.microsoft.com/office/drawing/2014/main" xmlns="" id="{354420E3-99C4-4AFE-80BA-483FA3699A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1620"/>
                <a:ext cx="420" cy="690"/>
              </a:xfrm>
              <a:custGeom>
                <a:avLst/>
                <a:gdLst>
                  <a:gd name="T0" fmla="*/ 240 w 420"/>
                  <a:gd name="T1" fmla="*/ 690 h 690"/>
                  <a:gd name="T2" fmla="*/ 210 w 420"/>
                  <a:gd name="T3" fmla="*/ 540 h 690"/>
                  <a:gd name="T4" fmla="*/ 150 w 420"/>
                  <a:gd name="T5" fmla="*/ 270 h 690"/>
                  <a:gd name="T6" fmla="*/ 60 w 420"/>
                  <a:gd name="T7" fmla="*/ 0 h 690"/>
                  <a:gd name="T8" fmla="*/ 0 w 420"/>
                  <a:gd name="T9" fmla="*/ 180 h 690"/>
                  <a:gd name="T10" fmla="*/ 150 w 420"/>
                  <a:gd name="T11" fmla="*/ 270 h 690"/>
                  <a:gd name="T12" fmla="*/ 330 w 420"/>
                  <a:gd name="T13" fmla="*/ 390 h 690"/>
                  <a:gd name="T14" fmla="*/ 270 w 420"/>
                  <a:gd name="T15" fmla="*/ 180 h 690"/>
                  <a:gd name="T16" fmla="*/ 420 w 420"/>
                  <a:gd name="T17" fmla="*/ 300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690">
                    <a:moveTo>
                      <a:pt x="240" y="690"/>
                    </a:moveTo>
                    <a:lnTo>
                      <a:pt x="210" y="540"/>
                    </a:lnTo>
                    <a:lnTo>
                      <a:pt x="150" y="270"/>
                    </a:lnTo>
                    <a:lnTo>
                      <a:pt x="60" y="0"/>
                    </a:lnTo>
                    <a:lnTo>
                      <a:pt x="0" y="180"/>
                    </a:lnTo>
                    <a:lnTo>
                      <a:pt x="150" y="270"/>
                    </a:lnTo>
                    <a:lnTo>
                      <a:pt x="330" y="390"/>
                    </a:lnTo>
                    <a:lnTo>
                      <a:pt x="270" y="180"/>
                    </a:lnTo>
                    <a:lnTo>
                      <a:pt x="42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0" name="Freeform 2519">
                <a:extLst>
                  <a:ext uri="{FF2B5EF4-FFF2-40B4-BE49-F238E27FC236}">
                    <a16:creationId xmlns:a16="http://schemas.microsoft.com/office/drawing/2014/main" xmlns="" id="{37A4CDDC-561B-4CD3-8A04-09AA347C13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6" y="2010"/>
                <a:ext cx="420" cy="180"/>
              </a:xfrm>
              <a:custGeom>
                <a:avLst/>
                <a:gdLst>
                  <a:gd name="T0" fmla="*/ 210 w 420"/>
                  <a:gd name="T1" fmla="*/ 150 h 180"/>
                  <a:gd name="T2" fmla="*/ 0 w 420"/>
                  <a:gd name="T3" fmla="*/ 0 h 180"/>
                  <a:gd name="T4" fmla="*/ 30 w 420"/>
                  <a:gd name="T5" fmla="*/ 180 h 180"/>
                  <a:gd name="T6" fmla="*/ 243 w 420"/>
                  <a:gd name="T7" fmla="*/ 3 h 180"/>
                  <a:gd name="T8" fmla="*/ 390 w 420"/>
                  <a:gd name="T9" fmla="*/ 120 h 180"/>
                  <a:gd name="T10" fmla="*/ 420 w 420"/>
                  <a:gd name="T11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0" h="180">
                    <a:moveTo>
                      <a:pt x="210" y="150"/>
                    </a:moveTo>
                    <a:lnTo>
                      <a:pt x="0" y="0"/>
                    </a:lnTo>
                    <a:lnTo>
                      <a:pt x="30" y="180"/>
                    </a:lnTo>
                    <a:lnTo>
                      <a:pt x="243" y="3"/>
                    </a:lnTo>
                    <a:lnTo>
                      <a:pt x="390" y="120"/>
                    </a:lnTo>
                    <a:lnTo>
                      <a:pt x="42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1" name="Line 2520">
                <a:extLst>
                  <a:ext uri="{FF2B5EF4-FFF2-40B4-BE49-F238E27FC236}">
                    <a16:creationId xmlns:a16="http://schemas.microsoft.com/office/drawing/2014/main" xmlns="" id="{55D3A273-7976-4321-ADC2-6CC1D1432F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96" y="2190"/>
                <a:ext cx="0" cy="3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2" name="Line 2521">
                <a:extLst>
                  <a:ext uri="{FF2B5EF4-FFF2-40B4-BE49-F238E27FC236}">
                    <a16:creationId xmlns:a16="http://schemas.microsoft.com/office/drawing/2014/main" xmlns="" id="{9D4F8BA0-7ABB-4CBD-9424-051A138A15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426" y="2310"/>
                <a:ext cx="39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3" name="Freeform 2522">
                <a:extLst>
                  <a:ext uri="{FF2B5EF4-FFF2-40B4-BE49-F238E27FC236}">
                    <a16:creationId xmlns:a16="http://schemas.microsoft.com/office/drawing/2014/main" xmlns="" id="{633F8ACE-7940-42AB-B798-5DC9B87987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950"/>
                <a:ext cx="180" cy="360"/>
              </a:xfrm>
              <a:custGeom>
                <a:avLst/>
                <a:gdLst>
                  <a:gd name="T0" fmla="*/ 180 w 180"/>
                  <a:gd name="T1" fmla="*/ 240 h 360"/>
                  <a:gd name="T2" fmla="*/ 0 w 180"/>
                  <a:gd name="T3" fmla="*/ 210 h 360"/>
                  <a:gd name="T4" fmla="*/ 60 w 180"/>
                  <a:gd name="T5" fmla="*/ 360 h 360"/>
                  <a:gd name="T6" fmla="*/ 180 w 180"/>
                  <a:gd name="T7" fmla="*/ 90 h 360"/>
                  <a:gd name="T8" fmla="*/ 90 w 180"/>
                  <a:gd name="T9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360">
                    <a:moveTo>
                      <a:pt x="180" y="240"/>
                    </a:moveTo>
                    <a:lnTo>
                      <a:pt x="0" y="210"/>
                    </a:lnTo>
                    <a:lnTo>
                      <a:pt x="60" y="360"/>
                    </a:lnTo>
                    <a:lnTo>
                      <a:pt x="180" y="90"/>
                    </a:lnTo>
                    <a:lnTo>
                      <a:pt x="9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4" name="Line 2523">
                <a:extLst>
                  <a:ext uri="{FF2B5EF4-FFF2-40B4-BE49-F238E27FC236}">
                    <a16:creationId xmlns:a16="http://schemas.microsoft.com/office/drawing/2014/main" xmlns="" id="{FAE5ED8C-2B67-4AA2-8187-9F9EFE2125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276" y="2040"/>
                <a:ext cx="18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5" name="Freeform 2524">
                <a:extLst>
                  <a:ext uri="{FF2B5EF4-FFF2-40B4-BE49-F238E27FC236}">
                    <a16:creationId xmlns:a16="http://schemas.microsoft.com/office/drawing/2014/main" xmlns="" id="{7C4482DA-292E-4F59-81E8-299CCFFCD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6" y="1260"/>
                <a:ext cx="180" cy="330"/>
              </a:xfrm>
              <a:custGeom>
                <a:avLst/>
                <a:gdLst>
                  <a:gd name="T0" fmla="*/ 60 w 180"/>
                  <a:gd name="T1" fmla="*/ 0 h 330"/>
                  <a:gd name="T2" fmla="*/ 180 w 180"/>
                  <a:gd name="T3" fmla="*/ 30 h 330"/>
                  <a:gd name="T4" fmla="*/ 0 w 180"/>
                  <a:gd name="T5" fmla="*/ 120 h 330"/>
                  <a:gd name="T6" fmla="*/ 180 w 180"/>
                  <a:gd name="T7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60" y="0"/>
                    </a:moveTo>
                    <a:lnTo>
                      <a:pt x="180" y="30"/>
                    </a:lnTo>
                    <a:lnTo>
                      <a:pt x="0" y="120"/>
                    </a:lnTo>
                    <a:lnTo>
                      <a:pt x="18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6" name="Freeform 2525">
                <a:extLst>
                  <a:ext uri="{FF2B5EF4-FFF2-40B4-BE49-F238E27FC236}">
                    <a16:creationId xmlns:a16="http://schemas.microsoft.com/office/drawing/2014/main" xmlns="" id="{941F5C55-B82E-4F18-87A6-0F7B0F830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1530"/>
                <a:ext cx="180" cy="150"/>
              </a:xfrm>
              <a:custGeom>
                <a:avLst/>
                <a:gdLst>
                  <a:gd name="T0" fmla="*/ 60 w 180"/>
                  <a:gd name="T1" fmla="*/ 0 h 150"/>
                  <a:gd name="T2" fmla="*/ 180 w 180"/>
                  <a:gd name="T3" fmla="*/ 150 h 150"/>
                  <a:gd name="T4" fmla="*/ 0 w 180"/>
                  <a:gd name="T5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60" y="0"/>
                    </a:moveTo>
                    <a:lnTo>
                      <a:pt x="180" y="150"/>
                    </a:lnTo>
                    <a:lnTo>
                      <a:pt x="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7" name="Freeform 2526">
                <a:extLst>
                  <a:ext uri="{FF2B5EF4-FFF2-40B4-BE49-F238E27FC236}">
                    <a16:creationId xmlns:a16="http://schemas.microsoft.com/office/drawing/2014/main" xmlns="" id="{4568AD27-4896-4288-9782-2E93684E6A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110"/>
                <a:ext cx="690" cy="300"/>
              </a:xfrm>
              <a:custGeom>
                <a:avLst/>
                <a:gdLst>
                  <a:gd name="T0" fmla="*/ 330 w 690"/>
                  <a:gd name="T1" fmla="*/ 270 h 300"/>
                  <a:gd name="T2" fmla="*/ 240 w 690"/>
                  <a:gd name="T3" fmla="*/ 150 h 300"/>
                  <a:gd name="T4" fmla="*/ 180 w 690"/>
                  <a:gd name="T5" fmla="*/ 300 h 300"/>
                  <a:gd name="T6" fmla="*/ 0 w 690"/>
                  <a:gd name="T7" fmla="*/ 210 h 300"/>
                  <a:gd name="T8" fmla="*/ 60 w 690"/>
                  <a:gd name="T9" fmla="*/ 90 h 300"/>
                  <a:gd name="T10" fmla="*/ 240 w 690"/>
                  <a:gd name="T11" fmla="*/ 150 h 300"/>
                  <a:gd name="T12" fmla="*/ 360 w 690"/>
                  <a:gd name="T13" fmla="*/ 30 h 300"/>
                  <a:gd name="T14" fmla="*/ 390 w 690"/>
                  <a:gd name="T15" fmla="*/ 150 h 300"/>
                  <a:gd name="T16" fmla="*/ 480 w 690"/>
                  <a:gd name="T17" fmla="*/ 30 h 300"/>
                  <a:gd name="T18" fmla="*/ 690 w 690"/>
                  <a:gd name="T19" fmla="*/ 120 h 300"/>
                  <a:gd name="T20" fmla="*/ 600 w 690"/>
                  <a:gd name="T21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0" h="300">
                    <a:moveTo>
                      <a:pt x="330" y="270"/>
                    </a:moveTo>
                    <a:lnTo>
                      <a:pt x="240" y="150"/>
                    </a:lnTo>
                    <a:lnTo>
                      <a:pt x="180" y="300"/>
                    </a:lnTo>
                    <a:lnTo>
                      <a:pt x="0" y="210"/>
                    </a:lnTo>
                    <a:lnTo>
                      <a:pt x="60" y="90"/>
                    </a:lnTo>
                    <a:lnTo>
                      <a:pt x="240" y="150"/>
                    </a:lnTo>
                    <a:lnTo>
                      <a:pt x="360" y="30"/>
                    </a:lnTo>
                    <a:lnTo>
                      <a:pt x="390" y="150"/>
                    </a:lnTo>
                    <a:lnTo>
                      <a:pt x="480" y="30"/>
                    </a:lnTo>
                    <a:lnTo>
                      <a:pt x="690" y="120"/>
                    </a:lnTo>
                    <a:lnTo>
                      <a:pt x="60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8" name="Freeform 2527">
                <a:extLst>
                  <a:ext uri="{FF2B5EF4-FFF2-40B4-BE49-F238E27FC236}">
                    <a16:creationId xmlns:a16="http://schemas.microsoft.com/office/drawing/2014/main" xmlns="" id="{25847310-7E94-4C50-9437-764091E5C7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600"/>
                <a:ext cx="480" cy="600"/>
              </a:xfrm>
              <a:custGeom>
                <a:avLst/>
                <a:gdLst>
                  <a:gd name="T0" fmla="*/ 60 w 480"/>
                  <a:gd name="T1" fmla="*/ 480 h 600"/>
                  <a:gd name="T2" fmla="*/ 180 w 480"/>
                  <a:gd name="T3" fmla="*/ 540 h 600"/>
                  <a:gd name="T4" fmla="*/ 300 w 480"/>
                  <a:gd name="T5" fmla="*/ 420 h 600"/>
                  <a:gd name="T6" fmla="*/ 330 w 480"/>
                  <a:gd name="T7" fmla="*/ 180 h 600"/>
                  <a:gd name="T8" fmla="*/ 390 w 480"/>
                  <a:gd name="T9" fmla="*/ 300 h 600"/>
                  <a:gd name="T10" fmla="*/ 480 w 480"/>
                  <a:gd name="T11" fmla="*/ 210 h 600"/>
                  <a:gd name="T12" fmla="*/ 420 w 480"/>
                  <a:gd name="T13" fmla="*/ 60 h 600"/>
                  <a:gd name="T14" fmla="*/ 300 w 480"/>
                  <a:gd name="T15" fmla="*/ 60 h 600"/>
                  <a:gd name="T16" fmla="*/ 210 w 480"/>
                  <a:gd name="T17" fmla="*/ 0 h 600"/>
                  <a:gd name="T18" fmla="*/ 150 w 480"/>
                  <a:gd name="T19" fmla="*/ 90 h 600"/>
                  <a:gd name="T20" fmla="*/ 180 w 480"/>
                  <a:gd name="T21" fmla="*/ 270 h 600"/>
                  <a:gd name="T22" fmla="*/ 30 w 480"/>
                  <a:gd name="T23" fmla="*/ 150 h 600"/>
                  <a:gd name="T24" fmla="*/ 0 w 480"/>
                  <a:gd name="T25" fmla="*/ 300 h 600"/>
                  <a:gd name="T26" fmla="*/ 120 w 480"/>
                  <a:gd name="T27" fmla="*/ 390 h 600"/>
                  <a:gd name="T28" fmla="*/ 60 w 480"/>
                  <a:gd name="T29" fmla="*/ 480 h 600"/>
                  <a:gd name="T30" fmla="*/ 60 w 480"/>
                  <a:gd name="T31" fmla="*/ 60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0" h="600">
                    <a:moveTo>
                      <a:pt x="60" y="480"/>
                    </a:moveTo>
                    <a:lnTo>
                      <a:pt x="180" y="540"/>
                    </a:lnTo>
                    <a:lnTo>
                      <a:pt x="300" y="420"/>
                    </a:lnTo>
                    <a:lnTo>
                      <a:pt x="330" y="180"/>
                    </a:lnTo>
                    <a:lnTo>
                      <a:pt x="390" y="300"/>
                    </a:lnTo>
                    <a:lnTo>
                      <a:pt x="480" y="210"/>
                    </a:lnTo>
                    <a:lnTo>
                      <a:pt x="420" y="60"/>
                    </a:lnTo>
                    <a:lnTo>
                      <a:pt x="300" y="60"/>
                    </a:lnTo>
                    <a:lnTo>
                      <a:pt x="210" y="0"/>
                    </a:lnTo>
                    <a:lnTo>
                      <a:pt x="150" y="90"/>
                    </a:lnTo>
                    <a:lnTo>
                      <a:pt x="180" y="270"/>
                    </a:lnTo>
                    <a:lnTo>
                      <a:pt x="30" y="150"/>
                    </a:lnTo>
                    <a:lnTo>
                      <a:pt x="0" y="300"/>
                    </a:lnTo>
                    <a:lnTo>
                      <a:pt x="120" y="390"/>
                    </a:lnTo>
                    <a:lnTo>
                      <a:pt x="60" y="480"/>
                    </a:lnTo>
                    <a:lnTo>
                      <a:pt x="60" y="6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9" name="Freeform 2528">
                <a:extLst>
                  <a:ext uri="{FF2B5EF4-FFF2-40B4-BE49-F238E27FC236}">
                    <a16:creationId xmlns:a16="http://schemas.microsoft.com/office/drawing/2014/main" xmlns="" id="{A7545D2F-E4DF-4F0C-AD9B-28321A7E07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450"/>
                <a:ext cx="90" cy="240"/>
              </a:xfrm>
              <a:custGeom>
                <a:avLst/>
                <a:gdLst>
                  <a:gd name="T0" fmla="*/ 0 w 90"/>
                  <a:gd name="T1" fmla="*/ 120 h 240"/>
                  <a:gd name="T2" fmla="*/ 90 w 90"/>
                  <a:gd name="T3" fmla="*/ 240 h 240"/>
                  <a:gd name="T4" fmla="*/ 60 w 90"/>
                  <a:gd name="T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240">
                    <a:moveTo>
                      <a:pt x="0" y="120"/>
                    </a:moveTo>
                    <a:lnTo>
                      <a:pt x="90" y="240"/>
                    </a:lnTo>
                    <a:lnTo>
                      <a:pt x="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0" name="Freeform 2529">
                <a:extLst>
                  <a:ext uri="{FF2B5EF4-FFF2-40B4-BE49-F238E27FC236}">
                    <a16:creationId xmlns:a16="http://schemas.microsoft.com/office/drawing/2014/main" xmlns="" id="{099591AD-98FA-4887-B4E4-2B9758E6B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6" y="690"/>
                <a:ext cx="180" cy="330"/>
              </a:xfrm>
              <a:custGeom>
                <a:avLst/>
                <a:gdLst>
                  <a:gd name="T0" fmla="*/ 180 w 180"/>
                  <a:gd name="T1" fmla="*/ 90 h 330"/>
                  <a:gd name="T2" fmla="*/ 30 w 180"/>
                  <a:gd name="T3" fmla="*/ 180 h 330"/>
                  <a:gd name="T4" fmla="*/ 150 w 180"/>
                  <a:gd name="T5" fmla="*/ 330 h 330"/>
                  <a:gd name="T6" fmla="*/ 0 w 180"/>
                  <a:gd name="T7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180" y="90"/>
                    </a:moveTo>
                    <a:lnTo>
                      <a:pt x="30" y="180"/>
                    </a:lnTo>
                    <a:lnTo>
                      <a:pt x="150" y="3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1" name="Freeform 2530">
                <a:extLst>
                  <a:ext uri="{FF2B5EF4-FFF2-40B4-BE49-F238E27FC236}">
                    <a16:creationId xmlns:a16="http://schemas.microsoft.com/office/drawing/2014/main" xmlns="" id="{73D51C8C-7161-4667-B936-D9E287074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900"/>
                <a:ext cx="210" cy="240"/>
              </a:xfrm>
              <a:custGeom>
                <a:avLst/>
                <a:gdLst>
                  <a:gd name="T0" fmla="*/ 90 w 210"/>
                  <a:gd name="T1" fmla="*/ 0 h 240"/>
                  <a:gd name="T2" fmla="*/ 60 w 210"/>
                  <a:gd name="T3" fmla="*/ 240 h 240"/>
                  <a:gd name="T4" fmla="*/ 0 w 210"/>
                  <a:gd name="T5" fmla="*/ 120 h 240"/>
                  <a:gd name="T6" fmla="*/ 180 w 210"/>
                  <a:gd name="T7" fmla="*/ 240 h 240"/>
                  <a:gd name="T8" fmla="*/ 210 w 210"/>
                  <a:gd name="T9" fmla="*/ 60 h 240"/>
                  <a:gd name="T10" fmla="*/ 90 w 210"/>
                  <a:gd name="T11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0" h="240">
                    <a:moveTo>
                      <a:pt x="90" y="0"/>
                    </a:moveTo>
                    <a:lnTo>
                      <a:pt x="60" y="240"/>
                    </a:lnTo>
                    <a:lnTo>
                      <a:pt x="0" y="120"/>
                    </a:lnTo>
                    <a:lnTo>
                      <a:pt x="180" y="240"/>
                    </a:lnTo>
                    <a:lnTo>
                      <a:pt x="210" y="60"/>
                    </a:lnTo>
                    <a:lnTo>
                      <a:pt x="9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2" name="Line 2531">
                <a:extLst>
                  <a:ext uri="{FF2B5EF4-FFF2-40B4-BE49-F238E27FC236}">
                    <a16:creationId xmlns:a16="http://schemas.microsoft.com/office/drawing/2014/main" xmlns="" id="{9E32CCDD-2F31-4FB0-B95B-44FC3119C8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576" y="960"/>
                <a:ext cx="21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3" name="Freeform 2532">
                <a:extLst>
                  <a:ext uri="{FF2B5EF4-FFF2-40B4-BE49-F238E27FC236}">
                    <a16:creationId xmlns:a16="http://schemas.microsoft.com/office/drawing/2014/main" xmlns="" id="{0CC01CF7-743A-4172-AC29-D247F576C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990"/>
                <a:ext cx="360" cy="330"/>
              </a:xfrm>
              <a:custGeom>
                <a:avLst/>
                <a:gdLst>
                  <a:gd name="T0" fmla="*/ 120 w 360"/>
                  <a:gd name="T1" fmla="*/ 0 h 330"/>
                  <a:gd name="T2" fmla="*/ 360 w 360"/>
                  <a:gd name="T3" fmla="*/ 150 h 330"/>
                  <a:gd name="T4" fmla="*/ 180 w 360"/>
                  <a:gd name="T5" fmla="*/ 150 h 330"/>
                  <a:gd name="T6" fmla="*/ 240 w 360"/>
                  <a:gd name="T7" fmla="*/ 270 h 330"/>
                  <a:gd name="T8" fmla="*/ 0 w 360"/>
                  <a:gd name="T9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0" h="330">
                    <a:moveTo>
                      <a:pt x="120" y="0"/>
                    </a:moveTo>
                    <a:lnTo>
                      <a:pt x="360" y="150"/>
                    </a:lnTo>
                    <a:lnTo>
                      <a:pt x="180" y="150"/>
                    </a:lnTo>
                    <a:lnTo>
                      <a:pt x="240" y="270"/>
                    </a:lnTo>
                    <a:lnTo>
                      <a:pt x="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4" name="Line 2533">
                <a:extLst>
                  <a:ext uri="{FF2B5EF4-FFF2-40B4-BE49-F238E27FC236}">
                    <a16:creationId xmlns:a16="http://schemas.microsoft.com/office/drawing/2014/main" xmlns="" id="{2831E7E2-6F39-47E2-AAC0-5284361BA2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336" y="1140"/>
                <a:ext cx="120" cy="3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5" name="Freeform 2534">
                <a:extLst>
                  <a:ext uri="{FF2B5EF4-FFF2-40B4-BE49-F238E27FC236}">
                    <a16:creationId xmlns:a16="http://schemas.microsoft.com/office/drawing/2014/main" xmlns="" id="{4501E274-7DE6-4D23-B3BB-9C5AEF520A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1290"/>
                <a:ext cx="450" cy="600"/>
              </a:xfrm>
              <a:custGeom>
                <a:avLst/>
                <a:gdLst>
                  <a:gd name="T0" fmla="*/ 270 w 450"/>
                  <a:gd name="T1" fmla="*/ 510 h 600"/>
                  <a:gd name="T2" fmla="*/ 150 w 450"/>
                  <a:gd name="T3" fmla="*/ 600 h 600"/>
                  <a:gd name="T4" fmla="*/ 270 w 450"/>
                  <a:gd name="T5" fmla="*/ 90 h 600"/>
                  <a:gd name="T6" fmla="*/ 60 w 450"/>
                  <a:gd name="T7" fmla="*/ 330 h 600"/>
                  <a:gd name="T8" fmla="*/ 0 w 450"/>
                  <a:gd name="T9" fmla="*/ 210 h 600"/>
                  <a:gd name="T10" fmla="*/ 120 w 450"/>
                  <a:gd name="T11" fmla="*/ 120 h 600"/>
                  <a:gd name="T12" fmla="*/ 240 w 450"/>
                  <a:gd name="T13" fmla="*/ 390 h 600"/>
                  <a:gd name="T14" fmla="*/ 300 w 450"/>
                  <a:gd name="T15" fmla="*/ 240 h 600"/>
                  <a:gd name="T16" fmla="*/ 450 w 450"/>
                  <a:gd name="T17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0" h="600">
                    <a:moveTo>
                      <a:pt x="270" y="510"/>
                    </a:moveTo>
                    <a:lnTo>
                      <a:pt x="150" y="600"/>
                    </a:lnTo>
                    <a:lnTo>
                      <a:pt x="270" y="90"/>
                    </a:lnTo>
                    <a:lnTo>
                      <a:pt x="60" y="330"/>
                    </a:lnTo>
                    <a:lnTo>
                      <a:pt x="0" y="210"/>
                    </a:lnTo>
                    <a:lnTo>
                      <a:pt x="120" y="120"/>
                    </a:lnTo>
                    <a:lnTo>
                      <a:pt x="240" y="390"/>
                    </a:lnTo>
                    <a:lnTo>
                      <a:pt x="300" y="240"/>
                    </a:lnTo>
                    <a:lnTo>
                      <a:pt x="4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6" name="Freeform 2535">
                <a:extLst>
                  <a:ext uri="{FF2B5EF4-FFF2-40B4-BE49-F238E27FC236}">
                    <a16:creationId xmlns:a16="http://schemas.microsoft.com/office/drawing/2014/main" xmlns="" id="{65855E69-BFAC-4CA9-9B86-ABE93CAA15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60"/>
                <a:ext cx="390" cy="540"/>
              </a:xfrm>
              <a:custGeom>
                <a:avLst/>
                <a:gdLst>
                  <a:gd name="T0" fmla="*/ 90 w 390"/>
                  <a:gd name="T1" fmla="*/ 210 h 540"/>
                  <a:gd name="T2" fmla="*/ 270 w 390"/>
                  <a:gd name="T3" fmla="*/ 0 h 540"/>
                  <a:gd name="T4" fmla="*/ 390 w 390"/>
                  <a:gd name="T5" fmla="*/ 90 h 540"/>
                  <a:gd name="T6" fmla="*/ 360 w 390"/>
                  <a:gd name="T7" fmla="*/ 240 h 540"/>
                  <a:gd name="T8" fmla="*/ 270 w 390"/>
                  <a:gd name="T9" fmla="*/ 210 h 540"/>
                  <a:gd name="T10" fmla="*/ 60 w 390"/>
                  <a:gd name="T11" fmla="*/ 360 h 540"/>
                  <a:gd name="T12" fmla="*/ 90 w 390"/>
                  <a:gd name="T13" fmla="*/ 210 h 540"/>
                  <a:gd name="T14" fmla="*/ 240 w 390"/>
                  <a:gd name="T15" fmla="*/ 300 h 540"/>
                  <a:gd name="T16" fmla="*/ 0 w 390"/>
                  <a:gd name="T17" fmla="*/ 54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0" h="540">
                    <a:moveTo>
                      <a:pt x="90" y="210"/>
                    </a:moveTo>
                    <a:lnTo>
                      <a:pt x="270" y="0"/>
                    </a:lnTo>
                    <a:lnTo>
                      <a:pt x="390" y="90"/>
                    </a:lnTo>
                    <a:lnTo>
                      <a:pt x="360" y="240"/>
                    </a:lnTo>
                    <a:lnTo>
                      <a:pt x="270" y="210"/>
                    </a:lnTo>
                    <a:lnTo>
                      <a:pt x="60" y="360"/>
                    </a:lnTo>
                    <a:lnTo>
                      <a:pt x="90" y="210"/>
                    </a:lnTo>
                    <a:lnTo>
                      <a:pt x="240" y="300"/>
                    </a:lnTo>
                    <a:lnTo>
                      <a:pt x="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7" name="Line 2536">
                <a:extLst>
                  <a:ext uri="{FF2B5EF4-FFF2-40B4-BE49-F238E27FC236}">
                    <a16:creationId xmlns:a16="http://schemas.microsoft.com/office/drawing/2014/main" xmlns="" id="{9070869B-C1E4-4AC6-B5EF-F6CC723729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76" y="120"/>
                <a:ext cx="6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8" name="Freeform 2537">
                <a:extLst>
                  <a:ext uri="{FF2B5EF4-FFF2-40B4-BE49-F238E27FC236}">
                    <a16:creationId xmlns:a16="http://schemas.microsoft.com/office/drawing/2014/main" xmlns="" id="{61CFEBAB-E174-48BF-ABBF-F21C43910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420"/>
                <a:ext cx="300" cy="570"/>
              </a:xfrm>
              <a:custGeom>
                <a:avLst/>
                <a:gdLst>
                  <a:gd name="T0" fmla="*/ 90 w 300"/>
                  <a:gd name="T1" fmla="*/ 30 h 570"/>
                  <a:gd name="T2" fmla="*/ 240 w 300"/>
                  <a:gd name="T3" fmla="*/ 0 h 570"/>
                  <a:gd name="T4" fmla="*/ 180 w 300"/>
                  <a:gd name="T5" fmla="*/ 180 h 570"/>
                  <a:gd name="T6" fmla="*/ 90 w 300"/>
                  <a:gd name="T7" fmla="*/ 30 h 570"/>
                  <a:gd name="T8" fmla="*/ 30 w 300"/>
                  <a:gd name="T9" fmla="*/ 150 h 570"/>
                  <a:gd name="T10" fmla="*/ 0 w 300"/>
                  <a:gd name="T11" fmla="*/ 330 h 570"/>
                  <a:gd name="T12" fmla="*/ 90 w 300"/>
                  <a:gd name="T13" fmla="*/ 570 h 570"/>
                  <a:gd name="T14" fmla="*/ 150 w 300"/>
                  <a:gd name="T15" fmla="*/ 450 h 570"/>
                  <a:gd name="T16" fmla="*/ 270 w 300"/>
                  <a:gd name="T17" fmla="*/ 240 h 570"/>
                  <a:gd name="T18" fmla="*/ 300 w 300"/>
                  <a:gd name="T19" fmla="*/ 120 h 570"/>
                  <a:gd name="T20" fmla="*/ 240 w 300"/>
                  <a:gd name="T21" fmla="*/ 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0" h="570">
                    <a:moveTo>
                      <a:pt x="90" y="30"/>
                    </a:moveTo>
                    <a:lnTo>
                      <a:pt x="240" y="0"/>
                    </a:lnTo>
                    <a:lnTo>
                      <a:pt x="180" y="180"/>
                    </a:lnTo>
                    <a:lnTo>
                      <a:pt x="90" y="30"/>
                    </a:lnTo>
                    <a:lnTo>
                      <a:pt x="30" y="150"/>
                    </a:lnTo>
                    <a:lnTo>
                      <a:pt x="0" y="330"/>
                    </a:lnTo>
                    <a:lnTo>
                      <a:pt x="90" y="570"/>
                    </a:lnTo>
                    <a:lnTo>
                      <a:pt x="150" y="450"/>
                    </a:lnTo>
                    <a:lnTo>
                      <a:pt x="270" y="240"/>
                    </a:lnTo>
                    <a:lnTo>
                      <a:pt x="300" y="120"/>
                    </a:lnTo>
                    <a:lnTo>
                      <a:pt x="24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9" name="Freeform 2538">
                <a:extLst>
                  <a:ext uri="{FF2B5EF4-FFF2-40B4-BE49-F238E27FC236}">
                    <a16:creationId xmlns:a16="http://schemas.microsoft.com/office/drawing/2014/main" xmlns="" id="{B301EB76-9BA0-4DB0-ACEC-8A77286E0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300"/>
                <a:ext cx="150" cy="360"/>
              </a:xfrm>
              <a:custGeom>
                <a:avLst/>
                <a:gdLst>
                  <a:gd name="T0" fmla="*/ 0 w 150"/>
                  <a:gd name="T1" fmla="*/ 360 h 360"/>
                  <a:gd name="T2" fmla="*/ 30 w 150"/>
                  <a:gd name="T3" fmla="*/ 180 h 360"/>
                  <a:gd name="T4" fmla="*/ 150 w 150"/>
                  <a:gd name="T5" fmla="*/ 0 h 360"/>
                  <a:gd name="T6" fmla="*/ 30 w 150"/>
                  <a:gd name="T7" fmla="*/ 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0" h="360">
                    <a:moveTo>
                      <a:pt x="0" y="360"/>
                    </a:moveTo>
                    <a:lnTo>
                      <a:pt x="30" y="180"/>
                    </a:lnTo>
                    <a:lnTo>
                      <a:pt x="150" y="0"/>
                    </a:lnTo>
                    <a:lnTo>
                      <a:pt x="3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0" name="Freeform 2539">
                <a:extLst>
                  <a:ext uri="{FF2B5EF4-FFF2-40B4-BE49-F238E27FC236}">
                    <a16:creationId xmlns:a16="http://schemas.microsoft.com/office/drawing/2014/main" xmlns="" id="{9040ABAE-77D7-43E4-914D-22CB4376F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6" y="60"/>
                <a:ext cx="390" cy="240"/>
              </a:xfrm>
              <a:custGeom>
                <a:avLst/>
                <a:gdLst>
                  <a:gd name="T0" fmla="*/ 390 w 390"/>
                  <a:gd name="T1" fmla="*/ 210 h 240"/>
                  <a:gd name="T2" fmla="*/ 300 w 390"/>
                  <a:gd name="T3" fmla="*/ 0 h 240"/>
                  <a:gd name="T4" fmla="*/ 0 w 390"/>
                  <a:gd name="T5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0" h="240">
                    <a:moveTo>
                      <a:pt x="390" y="210"/>
                    </a:moveTo>
                    <a:lnTo>
                      <a:pt x="300" y="0"/>
                    </a:lnTo>
                    <a:lnTo>
                      <a:pt x="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1" name="Freeform 2540">
                <a:extLst>
                  <a:ext uri="{FF2B5EF4-FFF2-40B4-BE49-F238E27FC236}">
                    <a16:creationId xmlns:a16="http://schemas.microsoft.com/office/drawing/2014/main" xmlns="" id="{E327E3B3-81E0-4A20-918C-55CA9D4A3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2700"/>
                <a:ext cx="480" cy="360"/>
              </a:xfrm>
              <a:custGeom>
                <a:avLst/>
                <a:gdLst>
                  <a:gd name="T0" fmla="*/ 0 w 480"/>
                  <a:gd name="T1" fmla="*/ 300 h 360"/>
                  <a:gd name="T2" fmla="*/ 30 w 480"/>
                  <a:gd name="T3" fmla="*/ 150 h 360"/>
                  <a:gd name="T4" fmla="*/ 180 w 480"/>
                  <a:gd name="T5" fmla="*/ 360 h 360"/>
                  <a:gd name="T6" fmla="*/ 330 w 480"/>
                  <a:gd name="T7" fmla="*/ 300 h 360"/>
                  <a:gd name="T8" fmla="*/ 330 w 480"/>
                  <a:gd name="T9" fmla="*/ 210 h 360"/>
                  <a:gd name="T10" fmla="*/ 150 w 480"/>
                  <a:gd name="T11" fmla="*/ 210 h 360"/>
                  <a:gd name="T12" fmla="*/ 420 w 480"/>
                  <a:gd name="T13" fmla="*/ 120 h 360"/>
                  <a:gd name="T14" fmla="*/ 450 w 480"/>
                  <a:gd name="T15" fmla="*/ 270 h 360"/>
                  <a:gd name="T16" fmla="*/ 480 w 480"/>
                  <a:gd name="T1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0" h="360">
                    <a:moveTo>
                      <a:pt x="0" y="300"/>
                    </a:moveTo>
                    <a:lnTo>
                      <a:pt x="30" y="150"/>
                    </a:lnTo>
                    <a:lnTo>
                      <a:pt x="180" y="360"/>
                    </a:lnTo>
                    <a:lnTo>
                      <a:pt x="330" y="300"/>
                    </a:lnTo>
                    <a:lnTo>
                      <a:pt x="330" y="210"/>
                    </a:lnTo>
                    <a:lnTo>
                      <a:pt x="150" y="210"/>
                    </a:lnTo>
                    <a:lnTo>
                      <a:pt x="420" y="120"/>
                    </a:lnTo>
                    <a:lnTo>
                      <a:pt x="450" y="270"/>
                    </a:lnTo>
                    <a:lnTo>
                      <a:pt x="4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2" name="Freeform 2541">
                <a:extLst>
                  <a:ext uri="{FF2B5EF4-FFF2-40B4-BE49-F238E27FC236}">
                    <a16:creationId xmlns:a16="http://schemas.microsoft.com/office/drawing/2014/main" xmlns="" id="{E7902DDA-BD61-43E0-B090-59FE11167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1950"/>
                <a:ext cx="570" cy="1260"/>
              </a:xfrm>
              <a:custGeom>
                <a:avLst/>
                <a:gdLst>
                  <a:gd name="T0" fmla="*/ 540 w 570"/>
                  <a:gd name="T1" fmla="*/ 1200 h 1260"/>
                  <a:gd name="T2" fmla="*/ 300 w 570"/>
                  <a:gd name="T3" fmla="*/ 1260 h 1260"/>
                  <a:gd name="T4" fmla="*/ 210 w 570"/>
                  <a:gd name="T5" fmla="*/ 1170 h 1260"/>
                  <a:gd name="T6" fmla="*/ 90 w 570"/>
                  <a:gd name="T7" fmla="*/ 1140 h 1260"/>
                  <a:gd name="T8" fmla="*/ 0 w 570"/>
                  <a:gd name="T9" fmla="*/ 990 h 1260"/>
                  <a:gd name="T10" fmla="*/ 180 w 570"/>
                  <a:gd name="T11" fmla="*/ 900 h 1260"/>
                  <a:gd name="T12" fmla="*/ 180 w 570"/>
                  <a:gd name="T13" fmla="*/ 720 h 1260"/>
                  <a:gd name="T14" fmla="*/ 300 w 570"/>
                  <a:gd name="T15" fmla="*/ 960 h 1260"/>
                  <a:gd name="T16" fmla="*/ 300 w 570"/>
                  <a:gd name="T17" fmla="*/ 750 h 1260"/>
                  <a:gd name="T18" fmla="*/ 480 w 570"/>
                  <a:gd name="T19" fmla="*/ 570 h 1260"/>
                  <a:gd name="T20" fmla="*/ 270 w 570"/>
                  <a:gd name="T21" fmla="*/ 630 h 1260"/>
                  <a:gd name="T22" fmla="*/ 150 w 570"/>
                  <a:gd name="T23" fmla="*/ 600 h 1260"/>
                  <a:gd name="T24" fmla="*/ 360 w 570"/>
                  <a:gd name="T25" fmla="*/ 450 h 1260"/>
                  <a:gd name="T26" fmla="*/ 240 w 570"/>
                  <a:gd name="T27" fmla="*/ 300 h 1260"/>
                  <a:gd name="T28" fmla="*/ 120 w 570"/>
                  <a:gd name="T29" fmla="*/ 360 h 1260"/>
                  <a:gd name="T30" fmla="*/ 360 w 570"/>
                  <a:gd name="T31" fmla="*/ 0 h 1260"/>
                  <a:gd name="T32" fmla="*/ 450 w 570"/>
                  <a:gd name="T33" fmla="*/ 210 h 1260"/>
                  <a:gd name="T34" fmla="*/ 570 w 570"/>
                  <a:gd name="T35" fmla="*/ 60 h 1260"/>
                  <a:gd name="T36" fmla="*/ 540 w 570"/>
                  <a:gd name="T37" fmla="*/ 420 h 1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0" h="1260">
                    <a:moveTo>
                      <a:pt x="540" y="1200"/>
                    </a:moveTo>
                    <a:lnTo>
                      <a:pt x="300" y="1260"/>
                    </a:lnTo>
                    <a:lnTo>
                      <a:pt x="210" y="1170"/>
                    </a:lnTo>
                    <a:lnTo>
                      <a:pt x="90" y="1140"/>
                    </a:lnTo>
                    <a:lnTo>
                      <a:pt x="0" y="990"/>
                    </a:lnTo>
                    <a:lnTo>
                      <a:pt x="180" y="900"/>
                    </a:lnTo>
                    <a:lnTo>
                      <a:pt x="180" y="720"/>
                    </a:lnTo>
                    <a:lnTo>
                      <a:pt x="300" y="960"/>
                    </a:lnTo>
                    <a:lnTo>
                      <a:pt x="300" y="750"/>
                    </a:lnTo>
                    <a:lnTo>
                      <a:pt x="480" y="570"/>
                    </a:lnTo>
                    <a:lnTo>
                      <a:pt x="270" y="630"/>
                    </a:lnTo>
                    <a:lnTo>
                      <a:pt x="150" y="600"/>
                    </a:lnTo>
                    <a:lnTo>
                      <a:pt x="360" y="450"/>
                    </a:lnTo>
                    <a:lnTo>
                      <a:pt x="240" y="300"/>
                    </a:lnTo>
                    <a:lnTo>
                      <a:pt x="120" y="360"/>
                    </a:lnTo>
                    <a:lnTo>
                      <a:pt x="360" y="0"/>
                    </a:lnTo>
                    <a:lnTo>
                      <a:pt x="450" y="210"/>
                    </a:lnTo>
                    <a:lnTo>
                      <a:pt x="570" y="60"/>
                    </a:lnTo>
                    <a:lnTo>
                      <a:pt x="540" y="4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3" name="Freeform 2542">
                <a:extLst>
                  <a:ext uri="{FF2B5EF4-FFF2-40B4-BE49-F238E27FC236}">
                    <a16:creationId xmlns:a16="http://schemas.microsoft.com/office/drawing/2014/main" xmlns="" id="{07C9424A-BA75-4A52-AE7C-5C3A0C714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1890"/>
                <a:ext cx="869" cy="1320"/>
              </a:xfrm>
              <a:custGeom>
                <a:avLst/>
                <a:gdLst>
                  <a:gd name="T0" fmla="*/ 869 w 869"/>
                  <a:gd name="T1" fmla="*/ 660 h 1320"/>
                  <a:gd name="T2" fmla="*/ 839 w 869"/>
                  <a:gd name="T3" fmla="*/ 300 h 1320"/>
                  <a:gd name="T4" fmla="*/ 809 w 869"/>
                  <a:gd name="T5" fmla="*/ 120 h 1320"/>
                  <a:gd name="T6" fmla="*/ 719 w 869"/>
                  <a:gd name="T7" fmla="*/ 0 h 1320"/>
                  <a:gd name="T8" fmla="*/ 599 w 869"/>
                  <a:gd name="T9" fmla="*/ 60 h 1320"/>
                  <a:gd name="T10" fmla="*/ 599 w 869"/>
                  <a:gd name="T11" fmla="*/ 150 h 1320"/>
                  <a:gd name="T12" fmla="*/ 509 w 869"/>
                  <a:gd name="T13" fmla="*/ 270 h 1320"/>
                  <a:gd name="T14" fmla="*/ 479 w 869"/>
                  <a:gd name="T15" fmla="*/ 360 h 1320"/>
                  <a:gd name="T16" fmla="*/ 599 w 869"/>
                  <a:gd name="T17" fmla="*/ 300 h 1320"/>
                  <a:gd name="T18" fmla="*/ 689 w 869"/>
                  <a:gd name="T19" fmla="*/ 270 h 1320"/>
                  <a:gd name="T20" fmla="*/ 659 w 869"/>
                  <a:gd name="T21" fmla="*/ 420 h 1320"/>
                  <a:gd name="T22" fmla="*/ 779 w 869"/>
                  <a:gd name="T23" fmla="*/ 480 h 1320"/>
                  <a:gd name="T24" fmla="*/ 869 w 869"/>
                  <a:gd name="T25" fmla="*/ 660 h 1320"/>
                  <a:gd name="T26" fmla="*/ 719 w 869"/>
                  <a:gd name="T27" fmla="*/ 630 h 1320"/>
                  <a:gd name="T28" fmla="*/ 599 w 869"/>
                  <a:gd name="T29" fmla="*/ 510 h 1320"/>
                  <a:gd name="T30" fmla="*/ 539 w 869"/>
                  <a:gd name="T31" fmla="*/ 600 h 1320"/>
                  <a:gd name="T32" fmla="*/ 509 w 869"/>
                  <a:gd name="T33" fmla="*/ 690 h 1320"/>
                  <a:gd name="T34" fmla="*/ 539 w 869"/>
                  <a:gd name="T35" fmla="*/ 810 h 1320"/>
                  <a:gd name="T36" fmla="*/ 269 w 869"/>
                  <a:gd name="T37" fmla="*/ 870 h 1320"/>
                  <a:gd name="T38" fmla="*/ 419 w 869"/>
                  <a:gd name="T39" fmla="*/ 960 h 1320"/>
                  <a:gd name="T40" fmla="*/ 539 w 869"/>
                  <a:gd name="T41" fmla="*/ 1020 h 1320"/>
                  <a:gd name="T42" fmla="*/ 599 w 869"/>
                  <a:gd name="T43" fmla="*/ 930 h 1320"/>
                  <a:gd name="T44" fmla="*/ 719 w 869"/>
                  <a:gd name="T45" fmla="*/ 840 h 1320"/>
                  <a:gd name="T46" fmla="*/ 779 w 869"/>
                  <a:gd name="T47" fmla="*/ 750 h 1320"/>
                  <a:gd name="T48" fmla="*/ 869 w 869"/>
                  <a:gd name="T49" fmla="*/ 810 h 1320"/>
                  <a:gd name="T50" fmla="*/ 809 w 869"/>
                  <a:gd name="T51" fmla="*/ 930 h 1320"/>
                  <a:gd name="T52" fmla="*/ 719 w 869"/>
                  <a:gd name="T53" fmla="*/ 1020 h 1320"/>
                  <a:gd name="T54" fmla="*/ 839 w 869"/>
                  <a:gd name="T55" fmla="*/ 1080 h 1320"/>
                  <a:gd name="T56" fmla="*/ 719 w 869"/>
                  <a:gd name="T57" fmla="*/ 1110 h 1320"/>
                  <a:gd name="T58" fmla="*/ 779 w 869"/>
                  <a:gd name="T59" fmla="*/ 1260 h 1320"/>
                  <a:gd name="T60" fmla="*/ 689 w 869"/>
                  <a:gd name="T61" fmla="*/ 1230 h 1320"/>
                  <a:gd name="T62" fmla="*/ 539 w 869"/>
                  <a:gd name="T63" fmla="*/ 1320 h 1320"/>
                  <a:gd name="T64" fmla="*/ 569 w 869"/>
                  <a:gd name="T65" fmla="*/ 1170 h 1320"/>
                  <a:gd name="T66" fmla="*/ 449 w 869"/>
                  <a:gd name="T67" fmla="*/ 1230 h 1320"/>
                  <a:gd name="T68" fmla="*/ 389 w 869"/>
                  <a:gd name="T69" fmla="*/ 1110 h 1320"/>
                  <a:gd name="T70" fmla="*/ 329 w 869"/>
                  <a:gd name="T71" fmla="*/ 1200 h 1320"/>
                  <a:gd name="T72" fmla="*/ 299 w 869"/>
                  <a:gd name="T73" fmla="*/ 960 h 1320"/>
                  <a:gd name="T74" fmla="*/ 239 w 869"/>
                  <a:gd name="T75" fmla="*/ 1050 h 1320"/>
                  <a:gd name="T76" fmla="*/ 269 w 869"/>
                  <a:gd name="T77" fmla="*/ 870 h 1320"/>
                  <a:gd name="T78" fmla="*/ 419 w 869"/>
                  <a:gd name="T79" fmla="*/ 780 h 1320"/>
                  <a:gd name="T80" fmla="*/ 239 w 869"/>
                  <a:gd name="T81" fmla="*/ 690 h 1320"/>
                  <a:gd name="T82" fmla="*/ 269 w 869"/>
                  <a:gd name="T83" fmla="*/ 870 h 1320"/>
                  <a:gd name="T84" fmla="*/ 389 w 869"/>
                  <a:gd name="T85" fmla="*/ 660 h 1320"/>
                  <a:gd name="T86" fmla="*/ 419 w 869"/>
                  <a:gd name="T87" fmla="*/ 540 h 1320"/>
                  <a:gd name="T88" fmla="*/ 359 w 869"/>
                  <a:gd name="T89" fmla="*/ 420 h 1320"/>
                  <a:gd name="T90" fmla="*/ 389 w 869"/>
                  <a:gd name="T91" fmla="*/ 270 h 1320"/>
                  <a:gd name="T92" fmla="*/ 239 w 869"/>
                  <a:gd name="T93" fmla="*/ 150 h 1320"/>
                  <a:gd name="T94" fmla="*/ 150 w 869"/>
                  <a:gd name="T95" fmla="*/ 270 h 1320"/>
                  <a:gd name="T96" fmla="*/ 0 w 869"/>
                  <a:gd name="T97" fmla="*/ 360 h 1320"/>
                  <a:gd name="T98" fmla="*/ 0 w 869"/>
                  <a:gd name="T99" fmla="*/ 510 h 1320"/>
                  <a:gd name="T100" fmla="*/ 120 w 869"/>
                  <a:gd name="T101" fmla="*/ 420 h 1320"/>
                  <a:gd name="T102" fmla="*/ 269 w 869"/>
                  <a:gd name="T103" fmla="*/ 300 h 1320"/>
                  <a:gd name="T104" fmla="*/ 239 w 869"/>
                  <a:gd name="T105" fmla="*/ 150 h 1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69" h="1320">
                    <a:moveTo>
                      <a:pt x="869" y="660"/>
                    </a:moveTo>
                    <a:lnTo>
                      <a:pt x="839" y="300"/>
                    </a:lnTo>
                    <a:lnTo>
                      <a:pt x="809" y="120"/>
                    </a:lnTo>
                    <a:lnTo>
                      <a:pt x="719" y="0"/>
                    </a:lnTo>
                    <a:lnTo>
                      <a:pt x="599" y="60"/>
                    </a:lnTo>
                    <a:lnTo>
                      <a:pt x="599" y="150"/>
                    </a:lnTo>
                    <a:lnTo>
                      <a:pt x="509" y="270"/>
                    </a:lnTo>
                    <a:lnTo>
                      <a:pt x="479" y="360"/>
                    </a:lnTo>
                    <a:lnTo>
                      <a:pt x="599" y="300"/>
                    </a:lnTo>
                    <a:lnTo>
                      <a:pt x="689" y="270"/>
                    </a:lnTo>
                    <a:lnTo>
                      <a:pt x="659" y="420"/>
                    </a:lnTo>
                    <a:lnTo>
                      <a:pt x="779" y="480"/>
                    </a:lnTo>
                    <a:lnTo>
                      <a:pt x="869" y="660"/>
                    </a:lnTo>
                    <a:lnTo>
                      <a:pt x="719" y="630"/>
                    </a:lnTo>
                    <a:lnTo>
                      <a:pt x="599" y="510"/>
                    </a:lnTo>
                    <a:lnTo>
                      <a:pt x="539" y="600"/>
                    </a:lnTo>
                    <a:lnTo>
                      <a:pt x="509" y="690"/>
                    </a:lnTo>
                    <a:lnTo>
                      <a:pt x="539" y="810"/>
                    </a:lnTo>
                    <a:lnTo>
                      <a:pt x="269" y="870"/>
                    </a:lnTo>
                    <a:lnTo>
                      <a:pt x="419" y="960"/>
                    </a:lnTo>
                    <a:lnTo>
                      <a:pt x="539" y="1020"/>
                    </a:lnTo>
                    <a:lnTo>
                      <a:pt x="599" y="930"/>
                    </a:lnTo>
                    <a:lnTo>
                      <a:pt x="719" y="840"/>
                    </a:lnTo>
                    <a:lnTo>
                      <a:pt x="779" y="750"/>
                    </a:lnTo>
                    <a:lnTo>
                      <a:pt x="869" y="810"/>
                    </a:lnTo>
                    <a:lnTo>
                      <a:pt x="809" y="930"/>
                    </a:lnTo>
                    <a:lnTo>
                      <a:pt x="719" y="1020"/>
                    </a:lnTo>
                    <a:lnTo>
                      <a:pt x="839" y="1080"/>
                    </a:lnTo>
                    <a:lnTo>
                      <a:pt x="719" y="1110"/>
                    </a:lnTo>
                    <a:lnTo>
                      <a:pt x="779" y="1260"/>
                    </a:lnTo>
                    <a:lnTo>
                      <a:pt x="689" y="1230"/>
                    </a:lnTo>
                    <a:lnTo>
                      <a:pt x="539" y="1320"/>
                    </a:lnTo>
                    <a:lnTo>
                      <a:pt x="569" y="1170"/>
                    </a:lnTo>
                    <a:lnTo>
                      <a:pt x="449" y="1230"/>
                    </a:lnTo>
                    <a:lnTo>
                      <a:pt x="389" y="1110"/>
                    </a:lnTo>
                    <a:lnTo>
                      <a:pt x="329" y="1200"/>
                    </a:lnTo>
                    <a:lnTo>
                      <a:pt x="299" y="960"/>
                    </a:lnTo>
                    <a:lnTo>
                      <a:pt x="239" y="1050"/>
                    </a:lnTo>
                    <a:lnTo>
                      <a:pt x="269" y="870"/>
                    </a:lnTo>
                    <a:lnTo>
                      <a:pt x="419" y="780"/>
                    </a:lnTo>
                    <a:lnTo>
                      <a:pt x="239" y="690"/>
                    </a:lnTo>
                    <a:lnTo>
                      <a:pt x="269" y="870"/>
                    </a:lnTo>
                    <a:lnTo>
                      <a:pt x="389" y="660"/>
                    </a:lnTo>
                    <a:lnTo>
                      <a:pt x="419" y="540"/>
                    </a:lnTo>
                    <a:lnTo>
                      <a:pt x="359" y="420"/>
                    </a:lnTo>
                    <a:lnTo>
                      <a:pt x="389" y="270"/>
                    </a:lnTo>
                    <a:lnTo>
                      <a:pt x="239" y="150"/>
                    </a:lnTo>
                    <a:lnTo>
                      <a:pt x="150" y="270"/>
                    </a:lnTo>
                    <a:lnTo>
                      <a:pt x="0" y="360"/>
                    </a:lnTo>
                    <a:lnTo>
                      <a:pt x="0" y="510"/>
                    </a:lnTo>
                    <a:lnTo>
                      <a:pt x="120" y="420"/>
                    </a:lnTo>
                    <a:lnTo>
                      <a:pt x="269" y="300"/>
                    </a:lnTo>
                    <a:lnTo>
                      <a:pt x="239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4" name="Freeform 2543">
                <a:extLst>
                  <a:ext uri="{FF2B5EF4-FFF2-40B4-BE49-F238E27FC236}">
                    <a16:creationId xmlns:a16="http://schemas.microsoft.com/office/drawing/2014/main" xmlns="" id="{9F714CCA-0BAA-4F3E-BC3D-22DAB60A90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2250"/>
                <a:ext cx="390" cy="570"/>
              </a:xfrm>
              <a:custGeom>
                <a:avLst/>
                <a:gdLst>
                  <a:gd name="T0" fmla="*/ 120 w 390"/>
                  <a:gd name="T1" fmla="*/ 450 h 570"/>
                  <a:gd name="T2" fmla="*/ 300 w 390"/>
                  <a:gd name="T3" fmla="*/ 480 h 570"/>
                  <a:gd name="T4" fmla="*/ 390 w 390"/>
                  <a:gd name="T5" fmla="*/ 570 h 570"/>
                  <a:gd name="T6" fmla="*/ 180 w 390"/>
                  <a:gd name="T7" fmla="*/ 570 h 570"/>
                  <a:gd name="T8" fmla="*/ 300 w 390"/>
                  <a:gd name="T9" fmla="*/ 270 h 570"/>
                  <a:gd name="T10" fmla="*/ 300 w 390"/>
                  <a:gd name="T11" fmla="*/ 480 h 570"/>
                  <a:gd name="T12" fmla="*/ 120 w 390"/>
                  <a:gd name="T13" fmla="*/ 240 h 570"/>
                  <a:gd name="T14" fmla="*/ 60 w 390"/>
                  <a:gd name="T15" fmla="*/ 0 h 570"/>
                  <a:gd name="T16" fmla="*/ 0 w 390"/>
                  <a:gd name="T17" fmla="*/ 18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0" h="570">
                    <a:moveTo>
                      <a:pt x="120" y="450"/>
                    </a:moveTo>
                    <a:lnTo>
                      <a:pt x="300" y="480"/>
                    </a:lnTo>
                    <a:lnTo>
                      <a:pt x="390" y="570"/>
                    </a:lnTo>
                    <a:lnTo>
                      <a:pt x="180" y="570"/>
                    </a:lnTo>
                    <a:lnTo>
                      <a:pt x="300" y="270"/>
                    </a:lnTo>
                    <a:lnTo>
                      <a:pt x="300" y="480"/>
                    </a:lnTo>
                    <a:lnTo>
                      <a:pt x="120" y="240"/>
                    </a:lnTo>
                    <a:lnTo>
                      <a:pt x="60" y="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5" name="Freeform 2544">
                <a:extLst>
                  <a:ext uri="{FF2B5EF4-FFF2-40B4-BE49-F238E27FC236}">
                    <a16:creationId xmlns:a16="http://schemas.microsoft.com/office/drawing/2014/main" xmlns="" id="{CF3D1A4B-6A7C-48CA-8070-CD0E5056A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2850"/>
                <a:ext cx="420" cy="210"/>
              </a:xfrm>
              <a:custGeom>
                <a:avLst/>
                <a:gdLst>
                  <a:gd name="T0" fmla="*/ 0 w 420"/>
                  <a:gd name="T1" fmla="*/ 0 h 210"/>
                  <a:gd name="T2" fmla="*/ 90 w 420"/>
                  <a:gd name="T3" fmla="*/ 150 h 210"/>
                  <a:gd name="T4" fmla="*/ 270 w 420"/>
                  <a:gd name="T5" fmla="*/ 210 h 210"/>
                  <a:gd name="T6" fmla="*/ 420 w 420"/>
                  <a:gd name="T7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0" h="210">
                    <a:moveTo>
                      <a:pt x="0" y="0"/>
                    </a:moveTo>
                    <a:lnTo>
                      <a:pt x="90" y="150"/>
                    </a:lnTo>
                    <a:lnTo>
                      <a:pt x="270" y="210"/>
                    </a:lnTo>
                    <a:lnTo>
                      <a:pt x="42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6" name="Freeform 2545">
                <a:extLst>
                  <a:ext uri="{FF2B5EF4-FFF2-40B4-BE49-F238E27FC236}">
                    <a16:creationId xmlns:a16="http://schemas.microsoft.com/office/drawing/2014/main" xmlns="" id="{2AE60525-0B02-44B1-8504-4B75C72BC5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" y="2910"/>
                <a:ext cx="180" cy="210"/>
              </a:xfrm>
              <a:custGeom>
                <a:avLst/>
                <a:gdLst>
                  <a:gd name="T0" fmla="*/ 150 w 180"/>
                  <a:gd name="T1" fmla="*/ 210 h 210"/>
                  <a:gd name="T2" fmla="*/ 30 w 180"/>
                  <a:gd name="T3" fmla="*/ 150 h 210"/>
                  <a:gd name="T4" fmla="*/ 0 w 180"/>
                  <a:gd name="T5" fmla="*/ 0 h 210"/>
                  <a:gd name="T6" fmla="*/ 180 w 180"/>
                  <a:gd name="T7" fmla="*/ 9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210">
                    <a:moveTo>
                      <a:pt x="150" y="210"/>
                    </a:moveTo>
                    <a:lnTo>
                      <a:pt x="30" y="150"/>
                    </a:lnTo>
                    <a:lnTo>
                      <a:pt x="0" y="0"/>
                    </a:lnTo>
                    <a:lnTo>
                      <a:pt x="1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7" name="Line 2546">
                <a:extLst>
                  <a:ext uri="{FF2B5EF4-FFF2-40B4-BE49-F238E27FC236}">
                    <a16:creationId xmlns:a16="http://schemas.microsoft.com/office/drawing/2014/main" xmlns="" id="{AE0763DA-79B2-4B34-B118-81E6169BB6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364" y="297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8" name="Freeform 2547">
                <a:extLst>
                  <a:ext uri="{FF2B5EF4-FFF2-40B4-BE49-F238E27FC236}">
                    <a16:creationId xmlns:a16="http://schemas.microsoft.com/office/drawing/2014/main" xmlns="" id="{E2360472-4FE6-4A39-B433-A4C188A50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4" y="2160"/>
                <a:ext cx="300" cy="150"/>
              </a:xfrm>
              <a:custGeom>
                <a:avLst/>
                <a:gdLst>
                  <a:gd name="T0" fmla="*/ 0 w 300"/>
                  <a:gd name="T1" fmla="*/ 150 h 150"/>
                  <a:gd name="T2" fmla="*/ 300 w 300"/>
                  <a:gd name="T3" fmla="*/ 150 h 150"/>
                  <a:gd name="T4" fmla="*/ 240 w 300"/>
                  <a:gd name="T5" fmla="*/ 30 h 150"/>
                  <a:gd name="T6" fmla="*/ 150 w 300"/>
                  <a:gd name="T7" fmla="*/ 0 h 150"/>
                  <a:gd name="T8" fmla="*/ 30 w 300"/>
                  <a:gd name="T9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0" h="150">
                    <a:moveTo>
                      <a:pt x="0" y="150"/>
                    </a:moveTo>
                    <a:lnTo>
                      <a:pt x="300" y="150"/>
                    </a:lnTo>
                    <a:lnTo>
                      <a:pt x="240" y="30"/>
                    </a:lnTo>
                    <a:lnTo>
                      <a:pt x="150" y="0"/>
                    </a:lnTo>
                    <a:lnTo>
                      <a:pt x="3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9" name="Freeform 2548">
                <a:extLst>
                  <a:ext uri="{FF2B5EF4-FFF2-40B4-BE49-F238E27FC236}">
                    <a16:creationId xmlns:a16="http://schemas.microsoft.com/office/drawing/2014/main" xmlns="" id="{6C228944-98FE-4B07-84A0-DB0AFDC852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4" y="510"/>
                <a:ext cx="180" cy="390"/>
              </a:xfrm>
              <a:custGeom>
                <a:avLst/>
                <a:gdLst>
                  <a:gd name="T0" fmla="*/ 0 w 180"/>
                  <a:gd name="T1" fmla="*/ 270 h 390"/>
                  <a:gd name="T2" fmla="*/ 180 w 180"/>
                  <a:gd name="T3" fmla="*/ 390 h 390"/>
                  <a:gd name="T4" fmla="*/ 30 w 180"/>
                  <a:gd name="T5" fmla="*/ 120 h 390"/>
                  <a:gd name="T6" fmla="*/ 150 w 180"/>
                  <a:gd name="T7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90">
                    <a:moveTo>
                      <a:pt x="0" y="270"/>
                    </a:moveTo>
                    <a:lnTo>
                      <a:pt x="180" y="390"/>
                    </a:lnTo>
                    <a:lnTo>
                      <a:pt x="30" y="12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0" name="Freeform 2549">
                <a:extLst>
                  <a:ext uri="{FF2B5EF4-FFF2-40B4-BE49-F238E27FC236}">
                    <a16:creationId xmlns:a16="http://schemas.microsoft.com/office/drawing/2014/main" xmlns="" id="{C201AA5C-8BE3-455A-BCC1-0AC4154D6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870"/>
                <a:ext cx="300" cy="330"/>
              </a:xfrm>
              <a:custGeom>
                <a:avLst/>
                <a:gdLst>
                  <a:gd name="T0" fmla="*/ 300 w 300"/>
                  <a:gd name="T1" fmla="*/ 0 h 330"/>
                  <a:gd name="T2" fmla="*/ 240 w 300"/>
                  <a:gd name="T3" fmla="*/ 120 h 330"/>
                  <a:gd name="T4" fmla="*/ 180 w 300"/>
                  <a:gd name="T5" fmla="*/ 330 h 330"/>
                  <a:gd name="T6" fmla="*/ 0 w 300"/>
                  <a:gd name="T7" fmla="*/ 27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0" h="330">
                    <a:moveTo>
                      <a:pt x="300" y="0"/>
                    </a:moveTo>
                    <a:lnTo>
                      <a:pt x="240" y="120"/>
                    </a:lnTo>
                    <a:lnTo>
                      <a:pt x="180" y="33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1" name="Freeform 2550">
                <a:extLst>
                  <a:ext uri="{FF2B5EF4-FFF2-40B4-BE49-F238E27FC236}">
                    <a16:creationId xmlns:a16="http://schemas.microsoft.com/office/drawing/2014/main" xmlns="" id="{64B2EC25-3FDE-49CC-A99B-C9F9729E2D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1050"/>
                <a:ext cx="600" cy="750"/>
              </a:xfrm>
              <a:custGeom>
                <a:avLst/>
                <a:gdLst>
                  <a:gd name="T0" fmla="*/ 600 w 600"/>
                  <a:gd name="T1" fmla="*/ 750 h 750"/>
                  <a:gd name="T2" fmla="*/ 570 w 600"/>
                  <a:gd name="T3" fmla="*/ 630 h 750"/>
                  <a:gd name="T4" fmla="*/ 330 w 600"/>
                  <a:gd name="T5" fmla="*/ 750 h 750"/>
                  <a:gd name="T6" fmla="*/ 270 w 600"/>
                  <a:gd name="T7" fmla="*/ 660 h 750"/>
                  <a:gd name="T8" fmla="*/ 180 w 600"/>
                  <a:gd name="T9" fmla="*/ 540 h 750"/>
                  <a:gd name="T10" fmla="*/ 150 w 600"/>
                  <a:gd name="T11" fmla="*/ 90 h 750"/>
                  <a:gd name="T12" fmla="*/ 0 w 600"/>
                  <a:gd name="T13" fmla="*/ 180 h 750"/>
                  <a:gd name="T14" fmla="*/ 210 w 600"/>
                  <a:gd name="T15" fmla="*/ 300 h 750"/>
                  <a:gd name="T16" fmla="*/ 240 w 600"/>
                  <a:gd name="T17" fmla="*/ 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0" h="750">
                    <a:moveTo>
                      <a:pt x="600" y="750"/>
                    </a:moveTo>
                    <a:lnTo>
                      <a:pt x="570" y="630"/>
                    </a:lnTo>
                    <a:lnTo>
                      <a:pt x="330" y="750"/>
                    </a:lnTo>
                    <a:lnTo>
                      <a:pt x="270" y="660"/>
                    </a:lnTo>
                    <a:lnTo>
                      <a:pt x="180" y="540"/>
                    </a:lnTo>
                    <a:lnTo>
                      <a:pt x="150" y="90"/>
                    </a:lnTo>
                    <a:lnTo>
                      <a:pt x="0" y="180"/>
                    </a:lnTo>
                    <a:lnTo>
                      <a:pt x="210" y="300"/>
                    </a:lnTo>
                    <a:lnTo>
                      <a:pt x="24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2" name="Freeform 2551">
                <a:extLst>
                  <a:ext uri="{FF2B5EF4-FFF2-40B4-BE49-F238E27FC236}">
                    <a16:creationId xmlns:a16="http://schemas.microsoft.com/office/drawing/2014/main" xmlns="" id="{91902815-383A-491D-AF05-7C9C7F679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1530"/>
                <a:ext cx="450" cy="420"/>
              </a:xfrm>
              <a:custGeom>
                <a:avLst/>
                <a:gdLst>
                  <a:gd name="T0" fmla="*/ 270 w 450"/>
                  <a:gd name="T1" fmla="*/ 270 h 420"/>
                  <a:gd name="T2" fmla="*/ 60 w 450"/>
                  <a:gd name="T3" fmla="*/ 270 h 420"/>
                  <a:gd name="T4" fmla="*/ 120 w 450"/>
                  <a:gd name="T5" fmla="*/ 60 h 420"/>
                  <a:gd name="T6" fmla="*/ 0 w 450"/>
                  <a:gd name="T7" fmla="*/ 0 h 420"/>
                  <a:gd name="T8" fmla="*/ 300 w 450"/>
                  <a:gd name="T9" fmla="*/ 420 h 420"/>
                  <a:gd name="T10" fmla="*/ 450 w 450"/>
                  <a:gd name="T11" fmla="*/ 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0" h="420">
                    <a:moveTo>
                      <a:pt x="270" y="270"/>
                    </a:moveTo>
                    <a:lnTo>
                      <a:pt x="60" y="270"/>
                    </a:lnTo>
                    <a:lnTo>
                      <a:pt x="120" y="60"/>
                    </a:lnTo>
                    <a:lnTo>
                      <a:pt x="0" y="0"/>
                    </a:lnTo>
                    <a:lnTo>
                      <a:pt x="300" y="420"/>
                    </a:lnTo>
                    <a:lnTo>
                      <a:pt x="4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3" name="Freeform 2552">
                <a:extLst>
                  <a:ext uri="{FF2B5EF4-FFF2-40B4-BE49-F238E27FC236}">
                    <a16:creationId xmlns:a16="http://schemas.microsoft.com/office/drawing/2014/main" xmlns="" id="{339F0E6C-98B3-4BC6-8E1B-116367BB7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1410"/>
                <a:ext cx="210" cy="210"/>
              </a:xfrm>
              <a:custGeom>
                <a:avLst/>
                <a:gdLst>
                  <a:gd name="T0" fmla="*/ 0 w 210"/>
                  <a:gd name="T1" fmla="*/ 180 h 210"/>
                  <a:gd name="T2" fmla="*/ 150 w 210"/>
                  <a:gd name="T3" fmla="*/ 0 h 210"/>
                  <a:gd name="T4" fmla="*/ 210 w 210"/>
                  <a:gd name="T5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210">
                    <a:moveTo>
                      <a:pt x="0" y="180"/>
                    </a:moveTo>
                    <a:lnTo>
                      <a:pt x="150" y="0"/>
                    </a:lnTo>
                    <a:lnTo>
                      <a:pt x="21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4" name="Freeform 2553">
                <a:extLst>
                  <a:ext uri="{FF2B5EF4-FFF2-40B4-BE49-F238E27FC236}">
                    <a16:creationId xmlns:a16="http://schemas.microsoft.com/office/drawing/2014/main" xmlns="" id="{C976AEB4-B06E-45BE-AF57-18F0F03475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1710"/>
                <a:ext cx="90" cy="450"/>
              </a:xfrm>
              <a:custGeom>
                <a:avLst/>
                <a:gdLst>
                  <a:gd name="T0" fmla="*/ 90 w 90"/>
                  <a:gd name="T1" fmla="*/ 0 h 450"/>
                  <a:gd name="T2" fmla="*/ 0 w 90"/>
                  <a:gd name="T3" fmla="*/ 240 h 450"/>
                  <a:gd name="T4" fmla="*/ 90 w 90"/>
                  <a:gd name="T5" fmla="*/ 450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450">
                    <a:moveTo>
                      <a:pt x="90" y="0"/>
                    </a:moveTo>
                    <a:lnTo>
                      <a:pt x="0" y="240"/>
                    </a:lnTo>
                    <a:lnTo>
                      <a:pt x="90" y="4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5" name="Freeform 2554">
                <a:extLst>
                  <a:ext uri="{FF2B5EF4-FFF2-40B4-BE49-F238E27FC236}">
                    <a16:creationId xmlns:a16="http://schemas.microsoft.com/office/drawing/2014/main" xmlns="" id="{E4A5CEBC-8DD2-4552-8714-D73A0145AF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4" y="2190"/>
                <a:ext cx="180" cy="330"/>
              </a:xfrm>
              <a:custGeom>
                <a:avLst/>
                <a:gdLst>
                  <a:gd name="T0" fmla="*/ 120 w 180"/>
                  <a:gd name="T1" fmla="*/ 330 h 330"/>
                  <a:gd name="T2" fmla="*/ 180 w 180"/>
                  <a:gd name="T3" fmla="*/ 180 h 330"/>
                  <a:gd name="T4" fmla="*/ 0 w 180"/>
                  <a:gd name="T5" fmla="*/ 210 h 330"/>
                  <a:gd name="T6" fmla="*/ 0 w 180"/>
                  <a:gd name="T7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120" y="330"/>
                    </a:moveTo>
                    <a:lnTo>
                      <a:pt x="180" y="180"/>
                    </a:lnTo>
                    <a:lnTo>
                      <a:pt x="0" y="21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6" name="Line 2555">
                <a:extLst>
                  <a:ext uri="{FF2B5EF4-FFF2-40B4-BE49-F238E27FC236}">
                    <a16:creationId xmlns:a16="http://schemas.microsoft.com/office/drawing/2014/main" xmlns="" id="{93B0AE6E-F2A4-4FFF-8090-0C9101FDC5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4" y="2670"/>
                <a:ext cx="18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7" name="Freeform 2556">
                <a:extLst>
                  <a:ext uri="{FF2B5EF4-FFF2-40B4-BE49-F238E27FC236}">
                    <a16:creationId xmlns:a16="http://schemas.microsoft.com/office/drawing/2014/main" xmlns="" id="{9E5C24BE-6636-4B2E-AA12-CBE1940FD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2010"/>
                <a:ext cx="180" cy="300"/>
              </a:xfrm>
              <a:custGeom>
                <a:avLst/>
                <a:gdLst>
                  <a:gd name="T0" fmla="*/ 180 w 180"/>
                  <a:gd name="T1" fmla="*/ 180 h 300"/>
                  <a:gd name="T2" fmla="*/ 0 w 180"/>
                  <a:gd name="T3" fmla="*/ 300 h 300"/>
                  <a:gd name="T4" fmla="*/ 150 w 180"/>
                  <a:gd name="T5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300">
                    <a:moveTo>
                      <a:pt x="180" y="180"/>
                    </a:moveTo>
                    <a:lnTo>
                      <a:pt x="0" y="30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8" name="Freeform 2557">
                <a:extLst>
                  <a:ext uri="{FF2B5EF4-FFF2-40B4-BE49-F238E27FC236}">
                    <a16:creationId xmlns:a16="http://schemas.microsoft.com/office/drawing/2014/main" xmlns="" id="{A35673CD-33EF-4139-9F7F-4DDBCD7120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1140"/>
                <a:ext cx="180" cy="270"/>
              </a:xfrm>
              <a:custGeom>
                <a:avLst/>
                <a:gdLst>
                  <a:gd name="T0" fmla="*/ 0 w 180"/>
                  <a:gd name="T1" fmla="*/ 0 h 270"/>
                  <a:gd name="T2" fmla="*/ 180 w 180"/>
                  <a:gd name="T3" fmla="*/ 270 h 270"/>
                  <a:gd name="T4" fmla="*/ 180 w 180"/>
                  <a:gd name="T5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70">
                    <a:moveTo>
                      <a:pt x="0" y="0"/>
                    </a:moveTo>
                    <a:lnTo>
                      <a:pt x="180" y="270"/>
                    </a:lnTo>
                    <a:lnTo>
                      <a:pt x="18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9" name="Freeform 2558">
                <a:extLst>
                  <a:ext uri="{FF2B5EF4-FFF2-40B4-BE49-F238E27FC236}">
                    <a16:creationId xmlns:a16="http://schemas.microsoft.com/office/drawing/2014/main" xmlns="" id="{B6913935-7187-42B0-AE79-3886536E94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60"/>
                <a:ext cx="540" cy="1830"/>
              </a:xfrm>
              <a:custGeom>
                <a:avLst/>
                <a:gdLst>
                  <a:gd name="T0" fmla="*/ 180 w 540"/>
                  <a:gd name="T1" fmla="*/ 990 h 1830"/>
                  <a:gd name="T2" fmla="*/ 330 w 540"/>
                  <a:gd name="T3" fmla="*/ 930 h 1830"/>
                  <a:gd name="T4" fmla="*/ 330 w 540"/>
                  <a:gd name="T5" fmla="*/ 1560 h 1830"/>
                  <a:gd name="T6" fmla="*/ 270 w 540"/>
                  <a:gd name="T7" fmla="*/ 1350 h 1830"/>
                  <a:gd name="T8" fmla="*/ 540 w 540"/>
                  <a:gd name="T9" fmla="*/ 1740 h 1830"/>
                  <a:gd name="T10" fmla="*/ 330 w 540"/>
                  <a:gd name="T11" fmla="*/ 1560 h 1830"/>
                  <a:gd name="T12" fmla="*/ 450 w 540"/>
                  <a:gd name="T13" fmla="*/ 1470 h 1830"/>
                  <a:gd name="T14" fmla="*/ 480 w 540"/>
                  <a:gd name="T15" fmla="*/ 1200 h 1830"/>
                  <a:gd name="T16" fmla="*/ 150 w 540"/>
                  <a:gd name="T17" fmla="*/ 1290 h 1830"/>
                  <a:gd name="T18" fmla="*/ 270 w 540"/>
                  <a:gd name="T19" fmla="*/ 1140 h 1830"/>
                  <a:gd name="T20" fmla="*/ 510 w 540"/>
                  <a:gd name="T21" fmla="*/ 960 h 1830"/>
                  <a:gd name="T22" fmla="*/ 180 w 540"/>
                  <a:gd name="T23" fmla="*/ 990 h 1830"/>
                  <a:gd name="T24" fmla="*/ 390 w 540"/>
                  <a:gd name="T25" fmla="*/ 810 h 1830"/>
                  <a:gd name="T26" fmla="*/ 360 w 540"/>
                  <a:gd name="T27" fmla="*/ 630 h 1830"/>
                  <a:gd name="T28" fmla="*/ 150 w 540"/>
                  <a:gd name="T29" fmla="*/ 630 h 1830"/>
                  <a:gd name="T30" fmla="*/ 270 w 540"/>
                  <a:gd name="T31" fmla="*/ 510 h 1830"/>
                  <a:gd name="T32" fmla="*/ 510 w 540"/>
                  <a:gd name="T33" fmla="*/ 600 h 1830"/>
                  <a:gd name="T34" fmla="*/ 480 w 540"/>
                  <a:gd name="T35" fmla="*/ 360 h 1830"/>
                  <a:gd name="T36" fmla="*/ 240 w 540"/>
                  <a:gd name="T37" fmla="*/ 360 h 1830"/>
                  <a:gd name="T38" fmla="*/ 60 w 540"/>
                  <a:gd name="T39" fmla="*/ 300 h 1830"/>
                  <a:gd name="T40" fmla="*/ 270 w 540"/>
                  <a:gd name="T41" fmla="*/ 210 h 1830"/>
                  <a:gd name="T42" fmla="*/ 90 w 540"/>
                  <a:gd name="T43" fmla="*/ 0 h 1830"/>
                  <a:gd name="T44" fmla="*/ 210 w 540"/>
                  <a:gd name="T45" fmla="*/ 60 h 1830"/>
                  <a:gd name="T46" fmla="*/ 510 w 540"/>
                  <a:gd name="T47" fmla="*/ 210 h 1830"/>
                  <a:gd name="T48" fmla="*/ 390 w 540"/>
                  <a:gd name="T49" fmla="*/ 240 h 1830"/>
                  <a:gd name="T50" fmla="*/ 270 w 540"/>
                  <a:gd name="T51" fmla="*/ 210 h 1830"/>
                  <a:gd name="T52" fmla="*/ 180 w 540"/>
                  <a:gd name="T53" fmla="*/ 240 h 1830"/>
                  <a:gd name="T54" fmla="*/ 60 w 540"/>
                  <a:gd name="T55" fmla="*/ 300 h 1830"/>
                  <a:gd name="T56" fmla="*/ 330 w 540"/>
                  <a:gd name="T57" fmla="*/ 390 h 1830"/>
                  <a:gd name="T58" fmla="*/ 480 w 540"/>
                  <a:gd name="T59" fmla="*/ 360 h 1830"/>
                  <a:gd name="T60" fmla="*/ 360 w 540"/>
                  <a:gd name="T61" fmla="*/ 630 h 1830"/>
                  <a:gd name="T62" fmla="*/ 90 w 540"/>
                  <a:gd name="T63" fmla="*/ 840 h 18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40" h="1830">
                    <a:moveTo>
                      <a:pt x="60" y="960"/>
                    </a:moveTo>
                    <a:lnTo>
                      <a:pt x="180" y="990"/>
                    </a:lnTo>
                    <a:lnTo>
                      <a:pt x="390" y="1080"/>
                    </a:lnTo>
                    <a:lnTo>
                      <a:pt x="330" y="930"/>
                    </a:lnTo>
                    <a:lnTo>
                      <a:pt x="0" y="1320"/>
                    </a:lnTo>
                    <a:lnTo>
                      <a:pt x="330" y="1560"/>
                    </a:lnTo>
                    <a:lnTo>
                      <a:pt x="450" y="1470"/>
                    </a:lnTo>
                    <a:lnTo>
                      <a:pt x="270" y="1350"/>
                    </a:lnTo>
                    <a:lnTo>
                      <a:pt x="210" y="1650"/>
                    </a:lnTo>
                    <a:lnTo>
                      <a:pt x="540" y="1740"/>
                    </a:lnTo>
                    <a:lnTo>
                      <a:pt x="420" y="1830"/>
                    </a:lnTo>
                    <a:lnTo>
                      <a:pt x="330" y="1560"/>
                    </a:lnTo>
                    <a:lnTo>
                      <a:pt x="510" y="1620"/>
                    </a:lnTo>
                    <a:lnTo>
                      <a:pt x="450" y="1470"/>
                    </a:lnTo>
                    <a:lnTo>
                      <a:pt x="420" y="1320"/>
                    </a:lnTo>
                    <a:lnTo>
                      <a:pt x="480" y="1200"/>
                    </a:lnTo>
                    <a:lnTo>
                      <a:pt x="270" y="1350"/>
                    </a:lnTo>
                    <a:lnTo>
                      <a:pt x="150" y="1290"/>
                    </a:lnTo>
                    <a:lnTo>
                      <a:pt x="330" y="1200"/>
                    </a:lnTo>
                    <a:lnTo>
                      <a:pt x="270" y="1140"/>
                    </a:lnTo>
                    <a:lnTo>
                      <a:pt x="390" y="1080"/>
                    </a:lnTo>
                    <a:lnTo>
                      <a:pt x="510" y="960"/>
                    </a:lnTo>
                    <a:lnTo>
                      <a:pt x="330" y="930"/>
                    </a:lnTo>
                    <a:lnTo>
                      <a:pt x="180" y="990"/>
                    </a:lnTo>
                    <a:lnTo>
                      <a:pt x="210" y="840"/>
                    </a:lnTo>
                    <a:lnTo>
                      <a:pt x="390" y="810"/>
                    </a:lnTo>
                    <a:lnTo>
                      <a:pt x="540" y="720"/>
                    </a:lnTo>
                    <a:lnTo>
                      <a:pt x="360" y="630"/>
                    </a:lnTo>
                    <a:lnTo>
                      <a:pt x="240" y="690"/>
                    </a:lnTo>
                    <a:lnTo>
                      <a:pt x="150" y="630"/>
                    </a:lnTo>
                    <a:lnTo>
                      <a:pt x="180" y="450"/>
                    </a:lnTo>
                    <a:lnTo>
                      <a:pt x="270" y="510"/>
                    </a:lnTo>
                    <a:lnTo>
                      <a:pt x="420" y="540"/>
                    </a:lnTo>
                    <a:lnTo>
                      <a:pt x="510" y="600"/>
                    </a:lnTo>
                    <a:lnTo>
                      <a:pt x="540" y="480"/>
                    </a:lnTo>
                    <a:lnTo>
                      <a:pt x="480" y="360"/>
                    </a:lnTo>
                    <a:lnTo>
                      <a:pt x="330" y="390"/>
                    </a:lnTo>
                    <a:lnTo>
                      <a:pt x="240" y="360"/>
                    </a:lnTo>
                    <a:lnTo>
                      <a:pt x="60" y="420"/>
                    </a:lnTo>
                    <a:lnTo>
                      <a:pt x="60" y="300"/>
                    </a:lnTo>
                    <a:lnTo>
                      <a:pt x="180" y="240"/>
                    </a:lnTo>
                    <a:lnTo>
                      <a:pt x="270" y="210"/>
                    </a:lnTo>
                    <a:lnTo>
                      <a:pt x="210" y="60"/>
                    </a:lnTo>
                    <a:lnTo>
                      <a:pt x="90" y="0"/>
                    </a:lnTo>
                    <a:lnTo>
                      <a:pt x="540" y="0"/>
                    </a:lnTo>
                    <a:lnTo>
                      <a:pt x="210" y="60"/>
                    </a:lnTo>
                    <a:lnTo>
                      <a:pt x="360" y="90"/>
                    </a:lnTo>
                    <a:lnTo>
                      <a:pt x="510" y="210"/>
                    </a:lnTo>
                    <a:lnTo>
                      <a:pt x="480" y="360"/>
                    </a:lnTo>
                    <a:lnTo>
                      <a:pt x="390" y="240"/>
                    </a:lnTo>
                    <a:lnTo>
                      <a:pt x="330" y="390"/>
                    </a:lnTo>
                    <a:lnTo>
                      <a:pt x="270" y="210"/>
                    </a:lnTo>
                    <a:lnTo>
                      <a:pt x="240" y="360"/>
                    </a:lnTo>
                    <a:lnTo>
                      <a:pt x="180" y="240"/>
                    </a:lnTo>
                    <a:lnTo>
                      <a:pt x="90" y="210"/>
                    </a:lnTo>
                    <a:lnTo>
                      <a:pt x="60" y="300"/>
                    </a:lnTo>
                    <a:lnTo>
                      <a:pt x="180" y="450"/>
                    </a:lnTo>
                    <a:lnTo>
                      <a:pt x="330" y="390"/>
                    </a:lnTo>
                    <a:lnTo>
                      <a:pt x="420" y="540"/>
                    </a:lnTo>
                    <a:lnTo>
                      <a:pt x="480" y="360"/>
                    </a:lnTo>
                    <a:lnTo>
                      <a:pt x="270" y="510"/>
                    </a:lnTo>
                    <a:lnTo>
                      <a:pt x="360" y="630"/>
                    </a:lnTo>
                    <a:lnTo>
                      <a:pt x="150" y="630"/>
                    </a:lnTo>
                    <a:lnTo>
                      <a:pt x="90" y="840"/>
                    </a:lnTo>
                    <a:lnTo>
                      <a:pt x="330" y="9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0" name="Freeform 2559">
                <a:extLst>
                  <a:ext uri="{FF2B5EF4-FFF2-40B4-BE49-F238E27FC236}">
                    <a16:creationId xmlns:a16="http://schemas.microsoft.com/office/drawing/2014/main" xmlns="" id="{5E52BFFC-5467-43BA-95A9-C2CA6B82EF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600"/>
                <a:ext cx="150" cy="420"/>
              </a:xfrm>
              <a:custGeom>
                <a:avLst/>
                <a:gdLst>
                  <a:gd name="T0" fmla="*/ 30 w 150"/>
                  <a:gd name="T1" fmla="*/ 270 h 420"/>
                  <a:gd name="T2" fmla="*/ 150 w 150"/>
                  <a:gd name="T3" fmla="*/ 420 h 420"/>
                  <a:gd name="T4" fmla="*/ 60 w 150"/>
                  <a:gd name="T5" fmla="*/ 0 h 420"/>
                  <a:gd name="T6" fmla="*/ 0 w 150"/>
                  <a:gd name="T7" fmla="*/ 90 h 420"/>
                  <a:gd name="T8" fmla="*/ 30 w 150"/>
                  <a:gd name="T9" fmla="*/ 27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420">
                    <a:moveTo>
                      <a:pt x="30" y="270"/>
                    </a:moveTo>
                    <a:lnTo>
                      <a:pt x="150" y="420"/>
                    </a:lnTo>
                    <a:lnTo>
                      <a:pt x="60" y="0"/>
                    </a:lnTo>
                    <a:lnTo>
                      <a:pt x="0" y="90"/>
                    </a:lnTo>
                    <a:lnTo>
                      <a:pt x="30" y="27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1" name="Freeform 2560">
                <a:extLst>
                  <a:ext uri="{FF2B5EF4-FFF2-40B4-BE49-F238E27FC236}">
                    <a16:creationId xmlns:a16="http://schemas.microsoft.com/office/drawing/2014/main" xmlns="" id="{6A5145CE-C936-467B-8592-377281CA5B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4" y="570"/>
                <a:ext cx="180" cy="420"/>
              </a:xfrm>
              <a:custGeom>
                <a:avLst/>
                <a:gdLst>
                  <a:gd name="T0" fmla="*/ 180 w 180"/>
                  <a:gd name="T1" fmla="*/ 300 h 420"/>
                  <a:gd name="T2" fmla="*/ 30 w 180"/>
                  <a:gd name="T3" fmla="*/ 180 h 420"/>
                  <a:gd name="T4" fmla="*/ 0 w 180"/>
                  <a:gd name="T5" fmla="*/ 330 h 420"/>
                  <a:gd name="T6" fmla="*/ 120 w 180"/>
                  <a:gd name="T7" fmla="*/ 420 h 420"/>
                  <a:gd name="T8" fmla="*/ 60 w 180"/>
                  <a:gd name="T9" fmla="*/ 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420">
                    <a:moveTo>
                      <a:pt x="180" y="300"/>
                    </a:moveTo>
                    <a:lnTo>
                      <a:pt x="30" y="180"/>
                    </a:lnTo>
                    <a:lnTo>
                      <a:pt x="0" y="330"/>
                    </a:lnTo>
                    <a:lnTo>
                      <a:pt x="120" y="420"/>
                    </a:lnTo>
                    <a:lnTo>
                      <a:pt x="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2" name="Freeform 2561">
                <a:extLst>
                  <a:ext uri="{FF2B5EF4-FFF2-40B4-BE49-F238E27FC236}">
                    <a16:creationId xmlns:a16="http://schemas.microsoft.com/office/drawing/2014/main" xmlns="" id="{EB3D75FA-1D70-4E4F-947F-C210370B2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60"/>
                <a:ext cx="180" cy="240"/>
              </a:xfrm>
              <a:custGeom>
                <a:avLst/>
                <a:gdLst>
                  <a:gd name="T0" fmla="*/ 30 w 180"/>
                  <a:gd name="T1" fmla="*/ 240 h 240"/>
                  <a:gd name="T2" fmla="*/ 0 w 180"/>
                  <a:gd name="T3" fmla="*/ 90 h 240"/>
                  <a:gd name="T4" fmla="*/ 180 w 180"/>
                  <a:gd name="T5" fmla="*/ 0 h 240"/>
                  <a:gd name="T6" fmla="*/ 150 w 180"/>
                  <a:gd name="T7" fmla="*/ 210 h 240"/>
                  <a:gd name="T8" fmla="*/ 30 w 180"/>
                  <a:gd name="T9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240">
                    <a:moveTo>
                      <a:pt x="30" y="240"/>
                    </a:moveTo>
                    <a:lnTo>
                      <a:pt x="0" y="90"/>
                    </a:lnTo>
                    <a:lnTo>
                      <a:pt x="180" y="0"/>
                    </a:lnTo>
                    <a:lnTo>
                      <a:pt x="150" y="210"/>
                    </a:lnTo>
                    <a:lnTo>
                      <a:pt x="3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3" name="Line 2562">
                <a:extLst>
                  <a:ext uri="{FF2B5EF4-FFF2-40B4-BE49-F238E27FC236}">
                    <a16:creationId xmlns:a16="http://schemas.microsoft.com/office/drawing/2014/main" xmlns="" id="{DD6018AD-168D-4C85-BC07-8FB628C1DD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04" y="54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4" name="Freeform 2563">
                <a:extLst>
                  <a:ext uri="{FF2B5EF4-FFF2-40B4-BE49-F238E27FC236}">
                    <a16:creationId xmlns:a16="http://schemas.microsoft.com/office/drawing/2014/main" xmlns="" id="{5B7BE2A3-83D4-4830-824B-960D39008E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5" y="330"/>
                <a:ext cx="120" cy="210"/>
              </a:xfrm>
              <a:custGeom>
                <a:avLst/>
                <a:gdLst>
                  <a:gd name="T0" fmla="*/ 90 w 120"/>
                  <a:gd name="T1" fmla="*/ 0 h 210"/>
                  <a:gd name="T2" fmla="*/ 0 w 120"/>
                  <a:gd name="T3" fmla="*/ 210 h 210"/>
                  <a:gd name="T4" fmla="*/ 120 w 120"/>
                  <a:gd name="T5" fmla="*/ 180 h 210"/>
                  <a:gd name="T6" fmla="*/ 90 w 120"/>
                  <a:gd name="T7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0">
                    <a:moveTo>
                      <a:pt x="90" y="0"/>
                    </a:moveTo>
                    <a:lnTo>
                      <a:pt x="0" y="210"/>
                    </a:lnTo>
                    <a:lnTo>
                      <a:pt x="120" y="180"/>
                    </a:lnTo>
                    <a:lnTo>
                      <a:pt x="9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5" name="Freeform 2564">
                <a:extLst>
                  <a:ext uri="{FF2B5EF4-FFF2-40B4-BE49-F238E27FC236}">
                    <a16:creationId xmlns:a16="http://schemas.microsoft.com/office/drawing/2014/main" xmlns="" id="{BD658872-8E15-41ED-B928-62F507830F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240"/>
                <a:ext cx="480" cy="270"/>
              </a:xfrm>
              <a:custGeom>
                <a:avLst/>
                <a:gdLst>
                  <a:gd name="T0" fmla="*/ 0 w 480"/>
                  <a:gd name="T1" fmla="*/ 0 h 270"/>
                  <a:gd name="T2" fmla="*/ 90 w 480"/>
                  <a:gd name="T3" fmla="*/ 240 h 270"/>
                  <a:gd name="T4" fmla="*/ 300 w 480"/>
                  <a:gd name="T5" fmla="*/ 150 h 270"/>
                  <a:gd name="T6" fmla="*/ 480 w 480"/>
                  <a:gd name="T7" fmla="*/ 210 h 270"/>
                  <a:gd name="T8" fmla="*/ 270 w 480"/>
                  <a:gd name="T9" fmla="*/ 270 h 270"/>
                  <a:gd name="T10" fmla="*/ 120 w 480"/>
                  <a:gd name="T11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0" h="270">
                    <a:moveTo>
                      <a:pt x="0" y="0"/>
                    </a:moveTo>
                    <a:lnTo>
                      <a:pt x="90" y="240"/>
                    </a:lnTo>
                    <a:lnTo>
                      <a:pt x="300" y="150"/>
                    </a:lnTo>
                    <a:lnTo>
                      <a:pt x="480" y="210"/>
                    </a:lnTo>
                    <a:lnTo>
                      <a:pt x="270" y="270"/>
                    </a:lnTo>
                    <a:lnTo>
                      <a:pt x="12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6" name="Freeform 2565">
                <a:extLst>
                  <a:ext uri="{FF2B5EF4-FFF2-40B4-BE49-F238E27FC236}">
                    <a16:creationId xmlns:a16="http://schemas.microsoft.com/office/drawing/2014/main" xmlns="" id="{9A6B4293-4CF4-4B8C-AA07-D4912B8A7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60"/>
                <a:ext cx="1289" cy="300"/>
              </a:xfrm>
              <a:custGeom>
                <a:avLst/>
                <a:gdLst>
                  <a:gd name="T0" fmla="*/ 1169 w 1289"/>
                  <a:gd name="T1" fmla="*/ 210 h 300"/>
                  <a:gd name="T2" fmla="*/ 1169 w 1289"/>
                  <a:gd name="T3" fmla="*/ 0 h 300"/>
                  <a:gd name="T4" fmla="*/ 1049 w 1289"/>
                  <a:gd name="T5" fmla="*/ 90 h 300"/>
                  <a:gd name="T6" fmla="*/ 1169 w 1289"/>
                  <a:gd name="T7" fmla="*/ 210 h 300"/>
                  <a:gd name="T8" fmla="*/ 1289 w 1289"/>
                  <a:gd name="T9" fmla="*/ 60 h 300"/>
                  <a:gd name="T10" fmla="*/ 1259 w 1289"/>
                  <a:gd name="T11" fmla="*/ 240 h 300"/>
                  <a:gd name="T12" fmla="*/ 1169 w 1289"/>
                  <a:gd name="T13" fmla="*/ 0 h 300"/>
                  <a:gd name="T14" fmla="*/ 870 w 1289"/>
                  <a:gd name="T15" fmla="*/ 30 h 300"/>
                  <a:gd name="T16" fmla="*/ 780 w 1289"/>
                  <a:gd name="T17" fmla="*/ 240 h 300"/>
                  <a:gd name="T18" fmla="*/ 660 w 1289"/>
                  <a:gd name="T19" fmla="*/ 90 h 300"/>
                  <a:gd name="T20" fmla="*/ 450 w 1289"/>
                  <a:gd name="T21" fmla="*/ 90 h 300"/>
                  <a:gd name="T22" fmla="*/ 630 w 1289"/>
                  <a:gd name="T23" fmla="*/ 210 h 300"/>
                  <a:gd name="T24" fmla="*/ 390 w 1289"/>
                  <a:gd name="T25" fmla="*/ 180 h 300"/>
                  <a:gd name="T26" fmla="*/ 270 w 1289"/>
                  <a:gd name="T27" fmla="*/ 30 h 300"/>
                  <a:gd name="T28" fmla="*/ 210 w 1289"/>
                  <a:gd name="T29" fmla="*/ 150 h 300"/>
                  <a:gd name="T30" fmla="*/ 90 w 1289"/>
                  <a:gd name="T31" fmla="*/ 210 h 300"/>
                  <a:gd name="T32" fmla="*/ 0 w 1289"/>
                  <a:gd name="T33" fmla="*/ 60 h 300"/>
                  <a:gd name="T34" fmla="*/ 150 w 1289"/>
                  <a:gd name="T35" fmla="*/ 30 h 300"/>
                  <a:gd name="T36" fmla="*/ 150 w 1289"/>
                  <a:gd name="T37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89" h="300">
                    <a:moveTo>
                      <a:pt x="1169" y="210"/>
                    </a:moveTo>
                    <a:lnTo>
                      <a:pt x="1169" y="0"/>
                    </a:lnTo>
                    <a:lnTo>
                      <a:pt x="1049" y="90"/>
                    </a:lnTo>
                    <a:lnTo>
                      <a:pt x="1169" y="210"/>
                    </a:lnTo>
                    <a:lnTo>
                      <a:pt x="1289" y="60"/>
                    </a:lnTo>
                    <a:lnTo>
                      <a:pt x="1259" y="240"/>
                    </a:lnTo>
                    <a:lnTo>
                      <a:pt x="1169" y="0"/>
                    </a:lnTo>
                    <a:lnTo>
                      <a:pt x="870" y="30"/>
                    </a:lnTo>
                    <a:lnTo>
                      <a:pt x="780" y="240"/>
                    </a:lnTo>
                    <a:lnTo>
                      <a:pt x="660" y="90"/>
                    </a:lnTo>
                    <a:lnTo>
                      <a:pt x="450" y="90"/>
                    </a:lnTo>
                    <a:lnTo>
                      <a:pt x="630" y="210"/>
                    </a:lnTo>
                    <a:lnTo>
                      <a:pt x="390" y="180"/>
                    </a:lnTo>
                    <a:lnTo>
                      <a:pt x="270" y="30"/>
                    </a:lnTo>
                    <a:lnTo>
                      <a:pt x="210" y="150"/>
                    </a:lnTo>
                    <a:lnTo>
                      <a:pt x="90" y="210"/>
                    </a:lnTo>
                    <a:lnTo>
                      <a:pt x="0" y="60"/>
                    </a:lnTo>
                    <a:lnTo>
                      <a:pt x="150" y="30"/>
                    </a:lnTo>
                    <a:lnTo>
                      <a:pt x="15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7" name="Freeform 2566">
                <a:extLst>
                  <a:ext uri="{FF2B5EF4-FFF2-40B4-BE49-F238E27FC236}">
                    <a16:creationId xmlns:a16="http://schemas.microsoft.com/office/drawing/2014/main" xmlns="" id="{12EA988E-9BC0-48A9-9EAB-60C7550070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90"/>
                <a:ext cx="269" cy="270"/>
              </a:xfrm>
              <a:custGeom>
                <a:avLst/>
                <a:gdLst>
                  <a:gd name="T0" fmla="*/ 0 w 269"/>
                  <a:gd name="T1" fmla="*/ 0 h 270"/>
                  <a:gd name="T2" fmla="*/ 179 w 269"/>
                  <a:gd name="T3" fmla="*/ 60 h 270"/>
                  <a:gd name="T4" fmla="*/ 269 w 269"/>
                  <a:gd name="T5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69" h="270">
                    <a:moveTo>
                      <a:pt x="0" y="0"/>
                    </a:moveTo>
                    <a:lnTo>
                      <a:pt x="179" y="60"/>
                    </a:lnTo>
                    <a:lnTo>
                      <a:pt x="26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8" name="Freeform 2567">
                <a:extLst>
                  <a:ext uri="{FF2B5EF4-FFF2-40B4-BE49-F238E27FC236}">
                    <a16:creationId xmlns:a16="http://schemas.microsoft.com/office/drawing/2014/main" xmlns="" id="{AB8595E3-056D-4173-A70C-FAC903A16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30"/>
                <a:ext cx="360" cy="60"/>
              </a:xfrm>
              <a:custGeom>
                <a:avLst/>
                <a:gdLst>
                  <a:gd name="T0" fmla="*/ 360 w 360"/>
                  <a:gd name="T1" fmla="*/ 0 h 60"/>
                  <a:gd name="T2" fmla="*/ 150 w 360"/>
                  <a:gd name="T3" fmla="*/ 60 h 60"/>
                  <a:gd name="T4" fmla="*/ 0 w 360"/>
                  <a:gd name="T5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60">
                    <a:moveTo>
                      <a:pt x="360" y="0"/>
                    </a:moveTo>
                    <a:lnTo>
                      <a:pt x="15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9" name="Freeform 2568">
                <a:extLst>
                  <a:ext uri="{FF2B5EF4-FFF2-40B4-BE49-F238E27FC236}">
                    <a16:creationId xmlns:a16="http://schemas.microsoft.com/office/drawing/2014/main" xmlns="" id="{8C75A92E-C945-4E61-9166-3D532CED7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6" y="210"/>
                <a:ext cx="389" cy="300"/>
              </a:xfrm>
              <a:custGeom>
                <a:avLst/>
                <a:gdLst>
                  <a:gd name="T0" fmla="*/ 120 w 389"/>
                  <a:gd name="T1" fmla="*/ 150 h 300"/>
                  <a:gd name="T2" fmla="*/ 0 w 389"/>
                  <a:gd name="T3" fmla="*/ 90 h 300"/>
                  <a:gd name="T4" fmla="*/ 60 w 389"/>
                  <a:gd name="T5" fmla="*/ 300 h 300"/>
                  <a:gd name="T6" fmla="*/ 269 w 389"/>
                  <a:gd name="T7" fmla="*/ 120 h 300"/>
                  <a:gd name="T8" fmla="*/ 389 w 389"/>
                  <a:gd name="T9" fmla="*/ 180 h 300"/>
                  <a:gd name="T10" fmla="*/ 210 w 389"/>
                  <a:gd name="T11" fmla="*/ 0 h 300"/>
                  <a:gd name="T12" fmla="*/ 0 w 389"/>
                  <a:gd name="T13" fmla="*/ 9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9" h="300">
                    <a:moveTo>
                      <a:pt x="120" y="150"/>
                    </a:moveTo>
                    <a:lnTo>
                      <a:pt x="0" y="90"/>
                    </a:lnTo>
                    <a:lnTo>
                      <a:pt x="60" y="300"/>
                    </a:lnTo>
                    <a:lnTo>
                      <a:pt x="269" y="120"/>
                    </a:lnTo>
                    <a:lnTo>
                      <a:pt x="389" y="180"/>
                    </a:lnTo>
                    <a:lnTo>
                      <a:pt x="210" y="0"/>
                    </a:lnTo>
                    <a:lnTo>
                      <a:pt x="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0" name="Freeform 2569">
                <a:extLst>
                  <a:ext uri="{FF2B5EF4-FFF2-40B4-BE49-F238E27FC236}">
                    <a16:creationId xmlns:a16="http://schemas.microsoft.com/office/drawing/2014/main" xmlns="" id="{20E2414F-4B98-49AD-B172-A93047461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6" y="60"/>
                <a:ext cx="149" cy="150"/>
              </a:xfrm>
              <a:custGeom>
                <a:avLst/>
                <a:gdLst>
                  <a:gd name="T0" fmla="*/ 0 w 149"/>
                  <a:gd name="T1" fmla="*/ 0 h 150"/>
                  <a:gd name="T2" fmla="*/ 90 w 149"/>
                  <a:gd name="T3" fmla="*/ 150 h 150"/>
                  <a:gd name="T4" fmla="*/ 149 w 149"/>
                  <a:gd name="T5" fmla="*/ 3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0"/>
                    </a:moveTo>
                    <a:lnTo>
                      <a:pt x="90" y="150"/>
                    </a:lnTo>
                    <a:lnTo>
                      <a:pt x="14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1" name="Freeform 2570">
                <a:extLst>
                  <a:ext uri="{FF2B5EF4-FFF2-40B4-BE49-F238E27FC236}">
                    <a16:creationId xmlns:a16="http://schemas.microsoft.com/office/drawing/2014/main" xmlns="" id="{B760BAE8-C52B-4A17-A6A1-4E02DCEFC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210"/>
                <a:ext cx="1649" cy="1050"/>
              </a:xfrm>
              <a:custGeom>
                <a:avLst/>
                <a:gdLst>
                  <a:gd name="T0" fmla="*/ 0 w 1649"/>
                  <a:gd name="T1" fmla="*/ 0 h 1050"/>
                  <a:gd name="T2" fmla="*/ 179 w 1649"/>
                  <a:gd name="T3" fmla="*/ 30 h 1050"/>
                  <a:gd name="T4" fmla="*/ 299 w 1649"/>
                  <a:gd name="T5" fmla="*/ 120 h 1050"/>
                  <a:gd name="T6" fmla="*/ 269 w 1649"/>
                  <a:gd name="T7" fmla="*/ 240 h 1050"/>
                  <a:gd name="T8" fmla="*/ 479 w 1649"/>
                  <a:gd name="T9" fmla="*/ 180 h 1050"/>
                  <a:gd name="T10" fmla="*/ 449 w 1649"/>
                  <a:gd name="T11" fmla="*/ 300 h 1050"/>
                  <a:gd name="T12" fmla="*/ 269 w 1649"/>
                  <a:gd name="T13" fmla="*/ 240 h 1050"/>
                  <a:gd name="T14" fmla="*/ 359 w 1649"/>
                  <a:gd name="T15" fmla="*/ 360 h 1050"/>
                  <a:gd name="T16" fmla="*/ 449 w 1649"/>
                  <a:gd name="T17" fmla="*/ 300 h 1050"/>
                  <a:gd name="T18" fmla="*/ 839 w 1649"/>
                  <a:gd name="T19" fmla="*/ 240 h 1050"/>
                  <a:gd name="T20" fmla="*/ 749 w 1649"/>
                  <a:gd name="T21" fmla="*/ 330 h 1050"/>
                  <a:gd name="T22" fmla="*/ 689 w 1649"/>
                  <a:gd name="T23" fmla="*/ 420 h 1050"/>
                  <a:gd name="T24" fmla="*/ 539 w 1649"/>
                  <a:gd name="T25" fmla="*/ 510 h 1050"/>
                  <a:gd name="T26" fmla="*/ 539 w 1649"/>
                  <a:gd name="T27" fmla="*/ 660 h 1050"/>
                  <a:gd name="T28" fmla="*/ 659 w 1649"/>
                  <a:gd name="T29" fmla="*/ 570 h 1050"/>
                  <a:gd name="T30" fmla="*/ 809 w 1649"/>
                  <a:gd name="T31" fmla="*/ 450 h 1050"/>
                  <a:gd name="T32" fmla="*/ 1049 w 1649"/>
                  <a:gd name="T33" fmla="*/ 300 h 1050"/>
                  <a:gd name="T34" fmla="*/ 1139 w 1649"/>
                  <a:gd name="T35" fmla="*/ 360 h 1050"/>
                  <a:gd name="T36" fmla="*/ 1229 w 1649"/>
                  <a:gd name="T37" fmla="*/ 480 h 1050"/>
                  <a:gd name="T38" fmla="*/ 1319 w 1649"/>
                  <a:gd name="T39" fmla="*/ 360 h 1050"/>
                  <a:gd name="T40" fmla="*/ 1139 w 1649"/>
                  <a:gd name="T41" fmla="*/ 360 h 1050"/>
                  <a:gd name="T42" fmla="*/ 1139 w 1649"/>
                  <a:gd name="T43" fmla="*/ 511 h 1050"/>
                  <a:gd name="T44" fmla="*/ 1049 w 1649"/>
                  <a:gd name="T45" fmla="*/ 480 h 1050"/>
                  <a:gd name="T46" fmla="*/ 1019 w 1649"/>
                  <a:gd name="T47" fmla="*/ 570 h 1050"/>
                  <a:gd name="T48" fmla="*/ 1019 w 1649"/>
                  <a:gd name="T49" fmla="*/ 810 h 1050"/>
                  <a:gd name="T50" fmla="*/ 1139 w 1649"/>
                  <a:gd name="T51" fmla="*/ 720 h 1050"/>
                  <a:gd name="T52" fmla="*/ 1227 w 1649"/>
                  <a:gd name="T53" fmla="*/ 812 h 1050"/>
                  <a:gd name="T54" fmla="*/ 1199 w 1649"/>
                  <a:gd name="T55" fmla="*/ 630 h 1050"/>
                  <a:gd name="T56" fmla="*/ 1289 w 1649"/>
                  <a:gd name="T57" fmla="*/ 570 h 1050"/>
                  <a:gd name="T58" fmla="*/ 1409 w 1649"/>
                  <a:gd name="T59" fmla="*/ 630 h 1050"/>
                  <a:gd name="T60" fmla="*/ 1289 w 1649"/>
                  <a:gd name="T61" fmla="*/ 690 h 1050"/>
                  <a:gd name="T62" fmla="*/ 1379 w 1649"/>
                  <a:gd name="T63" fmla="*/ 750 h 1050"/>
                  <a:gd name="T64" fmla="*/ 1649 w 1649"/>
                  <a:gd name="T65" fmla="*/ 720 h 1050"/>
                  <a:gd name="T66" fmla="*/ 1529 w 1649"/>
                  <a:gd name="T67" fmla="*/ 780 h 1050"/>
                  <a:gd name="T68" fmla="*/ 1559 w 1649"/>
                  <a:gd name="T69" fmla="*/ 1050 h 1050"/>
                  <a:gd name="T70" fmla="*/ 1349 w 1649"/>
                  <a:gd name="T71" fmla="*/ 870 h 10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649" h="1050">
                    <a:moveTo>
                      <a:pt x="0" y="0"/>
                    </a:moveTo>
                    <a:lnTo>
                      <a:pt x="179" y="30"/>
                    </a:lnTo>
                    <a:lnTo>
                      <a:pt x="299" y="120"/>
                    </a:lnTo>
                    <a:lnTo>
                      <a:pt x="269" y="240"/>
                    </a:lnTo>
                    <a:lnTo>
                      <a:pt x="479" y="180"/>
                    </a:lnTo>
                    <a:lnTo>
                      <a:pt x="449" y="300"/>
                    </a:lnTo>
                    <a:lnTo>
                      <a:pt x="269" y="240"/>
                    </a:lnTo>
                    <a:lnTo>
                      <a:pt x="359" y="360"/>
                    </a:lnTo>
                    <a:lnTo>
                      <a:pt x="449" y="300"/>
                    </a:lnTo>
                    <a:lnTo>
                      <a:pt x="839" y="240"/>
                    </a:lnTo>
                    <a:lnTo>
                      <a:pt x="749" y="330"/>
                    </a:lnTo>
                    <a:lnTo>
                      <a:pt x="689" y="420"/>
                    </a:lnTo>
                    <a:lnTo>
                      <a:pt x="539" y="510"/>
                    </a:lnTo>
                    <a:lnTo>
                      <a:pt x="539" y="660"/>
                    </a:lnTo>
                    <a:lnTo>
                      <a:pt x="659" y="570"/>
                    </a:lnTo>
                    <a:lnTo>
                      <a:pt x="809" y="450"/>
                    </a:lnTo>
                    <a:lnTo>
                      <a:pt x="1049" y="300"/>
                    </a:lnTo>
                    <a:lnTo>
                      <a:pt x="1139" y="360"/>
                    </a:lnTo>
                    <a:lnTo>
                      <a:pt x="1229" y="480"/>
                    </a:lnTo>
                    <a:lnTo>
                      <a:pt x="1319" y="360"/>
                    </a:lnTo>
                    <a:lnTo>
                      <a:pt x="1139" y="360"/>
                    </a:lnTo>
                    <a:lnTo>
                      <a:pt x="1139" y="511"/>
                    </a:lnTo>
                    <a:lnTo>
                      <a:pt x="1049" y="480"/>
                    </a:lnTo>
                    <a:lnTo>
                      <a:pt x="1019" y="570"/>
                    </a:lnTo>
                    <a:lnTo>
                      <a:pt x="1019" y="810"/>
                    </a:lnTo>
                    <a:lnTo>
                      <a:pt x="1139" y="720"/>
                    </a:lnTo>
                    <a:lnTo>
                      <a:pt x="1227" y="812"/>
                    </a:lnTo>
                    <a:lnTo>
                      <a:pt x="1199" y="630"/>
                    </a:lnTo>
                    <a:lnTo>
                      <a:pt x="1289" y="570"/>
                    </a:lnTo>
                    <a:lnTo>
                      <a:pt x="1409" y="630"/>
                    </a:lnTo>
                    <a:lnTo>
                      <a:pt x="1289" y="690"/>
                    </a:lnTo>
                    <a:lnTo>
                      <a:pt x="1379" y="750"/>
                    </a:lnTo>
                    <a:lnTo>
                      <a:pt x="1649" y="720"/>
                    </a:lnTo>
                    <a:lnTo>
                      <a:pt x="1529" y="780"/>
                    </a:lnTo>
                    <a:lnTo>
                      <a:pt x="1559" y="1050"/>
                    </a:lnTo>
                    <a:lnTo>
                      <a:pt x="1349" y="8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2" name="Freeform 2571">
                <a:extLst>
                  <a:ext uri="{FF2B5EF4-FFF2-40B4-BE49-F238E27FC236}">
                    <a16:creationId xmlns:a16="http://schemas.microsoft.com/office/drawing/2014/main" xmlns="" id="{F5ECA01B-A71B-4838-898C-7FA4AAC48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5" y="300"/>
                <a:ext cx="270" cy="210"/>
              </a:xfrm>
              <a:custGeom>
                <a:avLst/>
                <a:gdLst>
                  <a:gd name="T0" fmla="*/ 120 w 270"/>
                  <a:gd name="T1" fmla="*/ 0 h 210"/>
                  <a:gd name="T2" fmla="*/ 270 w 270"/>
                  <a:gd name="T3" fmla="*/ 60 h 210"/>
                  <a:gd name="T4" fmla="*/ 0 w 270"/>
                  <a:gd name="T5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210">
                    <a:moveTo>
                      <a:pt x="120" y="0"/>
                    </a:moveTo>
                    <a:lnTo>
                      <a:pt x="270" y="6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3" name="Freeform 2572">
                <a:extLst>
                  <a:ext uri="{FF2B5EF4-FFF2-40B4-BE49-F238E27FC236}">
                    <a16:creationId xmlns:a16="http://schemas.microsoft.com/office/drawing/2014/main" xmlns="" id="{491EBD2A-E5CE-484B-9965-9138AB4B35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5" y="360"/>
                <a:ext cx="180" cy="90"/>
              </a:xfrm>
              <a:custGeom>
                <a:avLst/>
                <a:gdLst>
                  <a:gd name="T0" fmla="*/ 120 w 180"/>
                  <a:gd name="T1" fmla="*/ 90 h 90"/>
                  <a:gd name="T2" fmla="*/ 0 w 180"/>
                  <a:gd name="T3" fmla="*/ 0 h 90"/>
                  <a:gd name="T4" fmla="*/ 180 w 180"/>
                  <a:gd name="T5" fmla="*/ 0 h 90"/>
                  <a:gd name="T6" fmla="*/ 120 w 180"/>
                  <a:gd name="T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90">
                    <a:moveTo>
                      <a:pt x="120" y="90"/>
                    </a:moveTo>
                    <a:lnTo>
                      <a:pt x="0" y="0"/>
                    </a:lnTo>
                    <a:lnTo>
                      <a:pt x="180" y="0"/>
                    </a:lnTo>
                    <a:lnTo>
                      <a:pt x="120" y="9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4" name="Freeform 2573">
                <a:extLst>
                  <a:ext uri="{FF2B5EF4-FFF2-40B4-BE49-F238E27FC236}">
                    <a16:creationId xmlns:a16="http://schemas.microsoft.com/office/drawing/2014/main" xmlns="" id="{80C0CC92-850E-42D6-ABF4-DC988BC6FE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5" y="30"/>
                <a:ext cx="210" cy="150"/>
              </a:xfrm>
              <a:custGeom>
                <a:avLst/>
                <a:gdLst>
                  <a:gd name="T0" fmla="*/ 120 w 210"/>
                  <a:gd name="T1" fmla="*/ 60 h 150"/>
                  <a:gd name="T2" fmla="*/ 210 w 210"/>
                  <a:gd name="T3" fmla="*/ 90 h 150"/>
                  <a:gd name="T4" fmla="*/ 0 w 210"/>
                  <a:gd name="T5" fmla="*/ 150 h 150"/>
                  <a:gd name="T6" fmla="*/ 0 w 210"/>
                  <a:gd name="T7" fmla="*/ 0 h 150"/>
                  <a:gd name="T8" fmla="*/ 120 w 210"/>
                  <a:gd name="T9" fmla="*/ 6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0" h="150">
                    <a:moveTo>
                      <a:pt x="120" y="60"/>
                    </a:moveTo>
                    <a:lnTo>
                      <a:pt x="210" y="90"/>
                    </a:lnTo>
                    <a:lnTo>
                      <a:pt x="0" y="150"/>
                    </a:lnTo>
                    <a:lnTo>
                      <a:pt x="0" y="0"/>
                    </a:lnTo>
                    <a:lnTo>
                      <a:pt x="120" y="6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5" name="Line 2574">
                <a:extLst>
                  <a:ext uri="{FF2B5EF4-FFF2-40B4-BE49-F238E27FC236}">
                    <a16:creationId xmlns:a16="http://schemas.microsoft.com/office/drawing/2014/main" xmlns="" id="{E7EF79C8-28F4-4FBE-87AB-BADAB398C1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385" y="15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6" name="Freeform 2575">
                <a:extLst>
                  <a:ext uri="{FF2B5EF4-FFF2-40B4-BE49-F238E27FC236}">
                    <a16:creationId xmlns:a16="http://schemas.microsoft.com/office/drawing/2014/main" xmlns="" id="{017E3464-3FE4-4F2E-9EF7-BD8E66D07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30"/>
                <a:ext cx="2398" cy="390"/>
              </a:xfrm>
              <a:custGeom>
                <a:avLst/>
                <a:gdLst>
                  <a:gd name="T0" fmla="*/ 509 w 2398"/>
                  <a:gd name="T1" fmla="*/ 60 h 390"/>
                  <a:gd name="T2" fmla="*/ 419 w 2398"/>
                  <a:gd name="T3" fmla="*/ 120 h 390"/>
                  <a:gd name="T4" fmla="*/ 239 w 2398"/>
                  <a:gd name="T5" fmla="*/ 60 h 390"/>
                  <a:gd name="T6" fmla="*/ 90 w 2398"/>
                  <a:gd name="T7" fmla="*/ 30 h 390"/>
                  <a:gd name="T8" fmla="*/ 0 w 2398"/>
                  <a:gd name="T9" fmla="*/ 120 h 390"/>
                  <a:gd name="T10" fmla="*/ 180 w 2398"/>
                  <a:gd name="T11" fmla="*/ 180 h 390"/>
                  <a:gd name="T12" fmla="*/ 90 w 2398"/>
                  <a:gd name="T13" fmla="*/ 330 h 390"/>
                  <a:gd name="T14" fmla="*/ 239 w 2398"/>
                  <a:gd name="T15" fmla="*/ 300 h 390"/>
                  <a:gd name="T16" fmla="*/ 239 w 2398"/>
                  <a:gd name="T17" fmla="*/ 60 h 390"/>
                  <a:gd name="T18" fmla="*/ 359 w 2398"/>
                  <a:gd name="T19" fmla="*/ 210 h 390"/>
                  <a:gd name="T20" fmla="*/ 359 w 2398"/>
                  <a:gd name="T21" fmla="*/ 360 h 390"/>
                  <a:gd name="T22" fmla="*/ 479 w 2398"/>
                  <a:gd name="T23" fmla="*/ 300 h 390"/>
                  <a:gd name="T24" fmla="*/ 419 w 2398"/>
                  <a:gd name="T25" fmla="*/ 120 h 390"/>
                  <a:gd name="T26" fmla="*/ 509 w 2398"/>
                  <a:gd name="T27" fmla="*/ 180 h 390"/>
                  <a:gd name="T28" fmla="*/ 509 w 2398"/>
                  <a:gd name="T29" fmla="*/ 60 h 390"/>
                  <a:gd name="T30" fmla="*/ 629 w 2398"/>
                  <a:gd name="T31" fmla="*/ 30 h 390"/>
                  <a:gd name="T32" fmla="*/ 719 w 2398"/>
                  <a:gd name="T33" fmla="*/ 0 h 390"/>
                  <a:gd name="T34" fmla="*/ 629 w 2398"/>
                  <a:gd name="T35" fmla="*/ 120 h 390"/>
                  <a:gd name="T36" fmla="*/ 719 w 2398"/>
                  <a:gd name="T37" fmla="*/ 150 h 390"/>
                  <a:gd name="T38" fmla="*/ 599 w 2398"/>
                  <a:gd name="T39" fmla="*/ 240 h 390"/>
                  <a:gd name="T40" fmla="*/ 659 w 2398"/>
                  <a:gd name="T41" fmla="*/ 360 h 390"/>
                  <a:gd name="T42" fmla="*/ 749 w 2398"/>
                  <a:gd name="T43" fmla="*/ 270 h 390"/>
                  <a:gd name="T44" fmla="*/ 839 w 2398"/>
                  <a:gd name="T45" fmla="*/ 60 h 390"/>
                  <a:gd name="T46" fmla="*/ 869 w 2398"/>
                  <a:gd name="T47" fmla="*/ 210 h 390"/>
                  <a:gd name="T48" fmla="*/ 929 w 2398"/>
                  <a:gd name="T49" fmla="*/ 90 h 390"/>
                  <a:gd name="T50" fmla="*/ 899 w 2398"/>
                  <a:gd name="T51" fmla="*/ 330 h 390"/>
                  <a:gd name="T52" fmla="*/ 1019 w 2398"/>
                  <a:gd name="T53" fmla="*/ 240 h 390"/>
                  <a:gd name="T54" fmla="*/ 1079 w 2398"/>
                  <a:gd name="T55" fmla="*/ 330 h 390"/>
                  <a:gd name="T56" fmla="*/ 1139 w 2398"/>
                  <a:gd name="T57" fmla="*/ 180 h 390"/>
                  <a:gd name="T58" fmla="*/ 1079 w 2398"/>
                  <a:gd name="T59" fmla="*/ 60 h 390"/>
                  <a:gd name="T60" fmla="*/ 1199 w 2398"/>
                  <a:gd name="T61" fmla="*/ 60 h 390"/>
                  <a:gd name="T62" fmla="*/ 1319 w 2398"/>
                  <a:gd name="T63" fmla="*/ 0 h 390"/>
                  <a:gd name="T64" fmla="*/ 1319 w 2398"/>
                  <a:gd name="T65" fmla="*/ 210 h 390"/>
                  <a:gd name="T66" fmla="*/ 1199 w 2398"/>
                  <a:gd name="T67" fmla="*/ 300 h 390"/>
                  <a:gd name="T68" fmla="*/ 1319 w 2398"/>
                  <a:gd name="T69" fmla="*/ 360 h 390"/>
                  <a:gd name="T70" fmla="*/ 1439 w 2398"/>
                  <a:gd name="T71" fmla="*/ 270 h 390"/>
                  <a:gd name="T72" fmla="*/ 1379 w 2398"/>
                  <a:gd name="T73" fmla="*/ 120 h 390"/>
                  <a:gd name="T74" fmla="*/ 1469 w 2398"/>
                  <a:gd name="T75" fmla="*/ 60 h 390"/>
                  <a:gd name="T76" fmla="*/ 1589 w 2398"/>
                  <a:gd name="T77" fmla="*/ 120 h 390"/>
                  <a:gd name="T78" fmla="*/ 1559 w 2398"/>
                  <a:gd name="T79" fmla="*/ 240 h 390"/>
                  <a:gd name="T80" fmla="*/ 1619 w 2398"/>
                  <a:gd name="T81" fmla="*/ 360 h 390"/>
                  <a:gd name="T82" fmla="*/ 1709 w 2398"/>
                  <a:gd name="T83" fmla="*/ 270 h 390"/>
                  <a:gd name="T84" fmla="*/ 1679 w 2398"/>
                  <a:gd name="T85" fmla="*/ 150 h 390"/>
                  <a:gd name="T86" fmla="*/ 1679 w 2398"/>
                  <a:gd name="T87" fmla="*/ 0 h 390"/>
                  <a:gd name="T88" fmla="*/ 1799 w 2398"/>
                  <a:gd name="T89" fmla="*/ 60 h 390"/>
                  <a:gd name="T90" fmla="*/ 1829 w 2398"/>
                  <a:gd name="T91" fmla="*/ 210 h 390"/>
                  <a:gd name="T92" fmla="*/ 1978 w 2398"/>
                  <a:gd name="T93" fmla="*/ 120 h 390"/>
                  <a:gd name="T94" fmla="*/ 1948 w 2398"/>
                  <a:gd name="T95" fmla="*/ 240 h 390"/>
                  <a:gd name="T96" fmla="*/ 1888 w 2398"/>
                  <a:gd name="T97" fmla="*/ 360 h 390"/>
                  <a:gd name="T98" fmla="*/ 2068 w 2398"/>
                  <a:gd name="T99" fmla="*/ 330 h 390"/>
                  <a:gd name="T100" fmla="*/ 2248 w 2398"/>
                  <a:gd name="T101" fmla="*/ 390 h 390"/>
                  <a:gd name="T102" fmla="*/ 2398 w 2398"/>
                  <a:gd name="T103" fmla="*/ 270 h 390"/>
                  <a:gd name="T104" fmla="*/ 2278 w 2398"/>
                  <a:gd name="T105" fmla="*/ 240 h 390"/>
                  <a:gd name="T106" fmla="*/ 2368 w 2398"/>
                  <a:gd name="T107" fmla="*/ 12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98" h="390">
                    <a:moveTo>
                      <a:pt x="509" y="60"/>
                    </a:moveTo>
                    <a:lnTo>
                      <a:pt x="419" y="120"/>
                    </a:lnTo>
                    <a:lnTo>
                      <a:pt x="239" y="60"/>
                    </a:lnTo>
                    <a:lnTo>
                      <a:pt x="90" y="30"/>
                    </a:lnTo>
                    <a:lnTo>
                      <a:pt x="0" y="120"/>
                    </a:lnTo>
                    <a:lnTo>
                      <a:pt x="180" y="180"/>
                    </a:lnTo>
                    <a:lnTo>
                      <a:pt x="90" y="330"/>
                    </a:lnTo>
                    <a:lnTo>
                      <a:pt x="239" y="300"/>
                    </a:lnTo>
                    <a:lnTo>
                      <a:pt x="239" y="60"/>
                    </a:lnTo>
                    <a:lnTo>
                      <a:pt x="359" y="210"/>
                    </a:lnTo>
                    <a:lnTo>
                      <a:pt x="359" y="360"/>
                    </a:lnTo>
                    <a:lnTo>
                      <a:pt x="479" y="300"/>
                    </a:lnTo>
                    <a:lnTo>
                      <a:pt x="419" y="120"/>
                    </a:lnTo>
                    <a:lnTo>
                      <a:pt x="509" y="180"/>
                    </a:lnTo>
                    <a:lnTo>
                      <a:pt x="509" y="60"/>
                    </a:lnTo>
                    <a:lnTo>
                      <a:pt x="629" y="30"/>
                    </a:lnTo>
                    <a:lnTo>
                      <a:pt x="719" y="0"/>
                    </a:lnTo>
                    <a:lnTo>
                      <a:pt x="629" y="120"/>
                    </a:lnTo>
                    <a:lnTo>
                      <a:pt x="719" y="150"/>
                    </a:lnTo>
                    <a:lnTo>
                      <a:pt x="599" y="240"/>
                    </a:lnTo>
                    <a:lnTo>
                      <a:pt x="659" y="360"/>
                    </a:lnTo>
                    <a:lnTo>
                      <a:pt x="749" y="270"/>
                    </a:lnTo>
                    <a:lnTo>
                      <a:pt x="839" y="60"/>
                    </a:lnTo>
                    <a:lnTo>
                      <a:pt x="869" y="210"/>
                    </a:lnTo>
                    <a:lnTo>
                      <a:pt x="929" y="90"/>
                    </a:lnTo>
                    <a:lnTo>
                      <a:pt x="899" y="330"/>
                    </a:lnTo>
                    <a:lnTo>
                      <a:pt x="1019" y="240"/>
                    </a:lnTo>
                    <a:lnTo>
                      <a:pt x="1079" y="330"/>
                    </a:lnTo>
                    <a:lnTo>
                      <a:pt x="1139" y="180"/>
                    </a:lnTo>
                    <a:lnTo>
                      <a:pt x="1079" y="60"/>
                    </a:lnTo>
                    <a:lnTo>
                      <a:pt x="1199" y="60"/>
                    </a:lnTo>
                    <a:lnTo>
                      <a:pt x="1319" y="0"/>
                    </a:lnTo>
                    <a:lnTo>
                      <a:pt x="1319" y="210"/>
                    </a:lnTo>
                    <a:lnTo>
                      <a:pt x="1199" y="300"/>
                    </a:lnTo>
                    <a:lnTo>
                      <a:pt x="1319" y="360"/>
                    </a:lnTo>
                    <a:lnTo>
                      <a:pt x="1439" y="270"/>
                    </a:lnTo>
                    <a:lnTo>
                      <a:pt x="1379" y="120"/>
                    </a:lnTo>
                    <a:lnTo>
                      <a:pt x="1469" y="60"/>
                    </a:lnTo>
                    <a:lnTo>
                      <a:pt x="1589" y="120"/>
                    </a:lnTo>
                    <a:lnTo>
                      <a:pt x="1559" y="240"/>
                    </a:lnTo>
                    <a:lnTo>
                      <a:pt x="1619" y="360"/>
                    </a:lnTo>
                    <a:lnTo>
                      <a:pt x="1709" y="270"/>
                    </a:lnTo>
                    <a:lnTo>
                      <a:pt x="1679" y="150"/>
                    </a:lnTo>
                    <a:lnTo>
                      <a:pt x="1679" y="0"/>
                    </a:lnTo>
                    <a:lnTo>
                      <a:pt x="1799" y="60"/>
                    </a:lnTo>
                    <a:lnTo>
                      <a:pt x="1829" y="210"/>
                    </a:lnTo>
                    <a:lnTo>
                      <a:pt x="1978" y="120"/>
                    </a:lnTo>
                    <a:lnTo>
                      <a:pt x="1948" y="240"/>
                    </a:lnTo>
                    <a:lnTo>
                      <a:pt x="1888" y="360"/>
                    </a:lnTo>
                    <a:lnTo>
                      <a:pt x="2068" y="330"/>
                    </a:lnTo>
                    <a:lnTo>
                      <a:pt x="2248" y="390"/>
                    </a:lnTo>
                    <a:lnTo>
                      <a:pt x="2398" y="270"/>
                    </a:lnTo>
                    <a:lnTo>
                      <a:pt x="2278" y="240"/>
                    </a:lnTo>
                    <a:lnTo>
                      <a:pt x="2368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7" name="Line 2576">
                <a:extLst>
                  <a:ext uri="{FF2B5EF4-FFF2-40B4-BE49-F238E27FC236}">
                    <a16:creationId xmlns:a16="http://schemas.microsoft.com/office/drawing/2014/main" xmlns="" id="{8DBF2DF5-1590-440E-A50F-C4126532EE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35" y="150"/>
                <a:ext cx="60" cy="9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8" name="Freeform 2577">
                <a:extLst>
                  <a:ext uri="{FF2B5EF4-FFF2-40B4-BE49-F238E27FC236}">
                    <a16:creationId xmlns:a16="http://schemas.microsoft.com/office/drawing/2014/main" xmlns="" id="{C65A8C78-B657-4918-82D9-4BF9B381C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210"/>
                <a:ext cx="180" cy="360"/>
              </a:xfrm>
              <a:custGeom>
                <a:avLst/>
                <a:gdLst>
                  <a:gd name="T0" fmla="*/ 180 w 180"/>
                  <a:gd name="T1" fmla="*/ 180 h 360"/>
                  <a:gd name="T2" fmla="*/ 0 w 180"/>
                  <a:gd name="T3" fmla="*/ 120 h 360"/>
                  <a:gd name="T4" fmla="*/ 30 w 180"/>
                  <a:gd name="T5" fmla="*/ 0 h 360"/>
                  <a:gd name="T6" fmla="*/ 120 w 180"/>
                  <a:gd name="T7" fmla="*/ 60 h 360"/>
                  <a:gd name="T8" fmla="*/ 60 w 180"/>
                  <a:gd name="T9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360">
                    <a:moveTo>
                      <a:pt x="180" y="180"/>
                    </a:moveTo>
                    <a:lnTo>
                      <a:pt x="0" y="120"/>
                    </a:lnTo>
                    <a:lnTo>
                      <a:pt x="30" y="0"/>
                    </a:lnTo>
                    <a:lnTo>
                      <a:pt x="120" y="60"/>
                    </a:lnTo>
                    <a:lnTo>
                      <a:pt x="60" y="3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9" name="Line 2578">
                <a:extLst>
                  <a:ext uri="{FF2B5EF4-FFF2-40B4-BE49-F238E27FC236}">
                    <a16:creationId xmlns:a16="http://schemas.microsoft.com/office/drawing/2014/main" xmlns="" id="{41AD668A-7D9D-45E3-AE5B-9C587F264E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35" y="390"/>
                <a:ext cx="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0" name="Freeform 2579">
                <a:extLst>
                  <a:ext uri="{FF2B5EF4-FFF2-40B4-BE49-F238E27FC236}">
                    <a16:creationId xmlns:a16="http://schemas.microsoft.com/office/drawing/2014/main" xmlns="" id="{FE0ED69F-107E-45EA-9B41-DB628022BB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300"/>
                <a:ext cx="180" cy="330"/>
              </a:xfrm>
              <a:custGeom>
                <a:avLst/>
                <a:gdLst>
                  <a:gd name="T0" fmla="*/ 180 w 180"/>
                  <a:gd name="T1" fmla="*/ 240 h 330"/>
                  <a:gd name="T2" fmla="*/ 0 w 180"/>
                  <a:gd name="T3" fmla="*/ 0 h 330"/>
                  <a:gd name="T4" fmla="*/ 120 w 180"/>
                  <a:gd name="T5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330">
                    <a:moveTo>
                      <a:pt x="180" y="240"/>
                    </a:moveTo>
                    <a:lnTo>
                      <a:pt x="0" y="0"/>
                    </a:lnTo>
                    <a:lnTo>
                      <a:pt x="12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1" name="Line 2580">
                <a:extLst>
                  <a:ext uri="{FF2B5EF4-FFF2-40B4-BE49-F238E27FC236}">
                    <a16:creationId xmlns:a16="http://schemas.microsoft.com/office/drawing/2014/main" xmlns="" id="{9B4AE8E5-A80D-4ACB-A0D3-298B880940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80"/>
                <a:ext cx="3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605" name="Group 2782">
              <a:extLst>
                <a:ext uri="{FF2B5EF4-FFF2-40B4-BE49-F238E27FC236}">
                  <a16:creationId xmlns:a16="http://schemas.microsoft.com/office/drawing/2014/main" xmlns="" id="{A556337D-0371-43B3-996A-8EDCA23E7E4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46" y="0"/>
              <a:ext cx="3268" cy="3210"/>
              <a:chOff x="1246" y="0"/>
              <a:chExt cx="3268" cy="3210"/>
            </a:xfrm>
          </p:grpSpPr>
          <p:sp>
            <p:nvSpPr>
              <p:cNvPr id="2992" name="Freeform 2582">
                <a:extLst>
                  <a:ext uri="{FF2B5EF4-FFF2-40B4-BE49-F238E27FC236}">
                    <a16:creationId xmlns:a16="http://schemas.microsoft.com/office/drawing/2014/main" xmlns="" id="{11A3552C-3620-4963-A46F-DE2C924C5D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90"/>
                <a:ext cx="180" cy="240"/>
              </a:xfrm>
              <a:custGeom>
                <a:avLst/>
                <a:gdLst>
                  <a:gd name="T0" fmla="*/ 180 w 180"/>
                  <a:gd name="T1" fmla="*/ 0 h 240"/>
                  <a:gd name="T2" fmla="*/ 180 w 180"/>
                  <a:gd name="T3" fmla="*/ 240 h 240"/>
                  <a:gd name="T4" fmla="*/ 0 w 180"/>
                  <a:gd name="T5" fmla="*/ 18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40">
                    <a:moveTo>
                      <a:pt x="180" y="0"/>
                    </a:moveTo>
                    <a:lnTo>
                      <a:pt x="180" y="24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3" name="Freeform 2583">
                <a:extLst>
                  <a:ext uri="{FF2B5EF4-FFF2-40B4-BE49-F238E27FC236}">
                    <a16:creationId xmlns:a16="http://schemas.microsoft.com/office/drawing/2014/main" xmlns="" id="{36185F14-2C67-45D8-88A4-FA649636A9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20"/>
                <a:ext cx="450" cy="90"/>
              </a:xfrm>
              <a:custGeom>
                <a:avLst/>
                <a:gdLst>
                  <a:gd name="T0" fmla="*/ 0 w 450"/>
                  <a:gd name="T1" fmla="*/ 0 h 90"/>
                  <a:gd name="T2" fmla="*/ 210 w 450"/>
                  <a:gd name="T3" fmla="*/ 90 h 90"/>
                  <a:gd name="T4" fmla="*/ 450 w 450"/>
                  <a:gd name="T5" fmla="*/ 3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50" h="90">
                    <a:moveTo>
                      <a:pt x="0" y="0"/>
                    </a:moveTo>
                    <a:lnTo>
                      <a:pt x="210" y="90"/>
                    </a:lnTo>
                    <a:lnTo>
                      <a:pt x="45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4" name="Freeform 2584">
                <a:extLst>
                  <a:ext uri="{FF2B5EF4-FFF2-40B4-BE49-F238E27FC236}">
                    <a16:creationId xmlns:a16="http://schemas.microsoft.com/office/drawing/2014/main" xmlns="" id="{0386EE2F-5186-4568-9CBE-E9FD42A954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270"/>
                <a:ext cx="480" cy="240"/>
              </a:xfrm>
              <a:custGeom>
                <a:avLst/>
                <a:gdLst>
                  <a:gd name="T0" fmla="*/ 480 w 480"/>
                  <a:gd name="T1" fmla="*/ 0 h 240"/>
                  <a:gd name="T2" fmla="*/ 330 w 480"/>
                  <a:gd name="T3" fmla="*/ 210 h 240"/>
                  <a:gd name="T4" fmla="*/ 0 w 480"/>
                  <a:gd name="T5" fmla="*/ 90 h 240"/>
                  <a:gd name="T6" fmla="*/ 150 w 480"/>
                  <a:gd name="T7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0" h="240">
                    <a:moveTo>
                      <a:pt x="480" y="0"/>
                    </a:moveTo>
                    <a:lnTo>
                      <a:pt x="330" y="210"/>
                    </a:lnTo>
                    <a:lnTo>
                      <a:pt x="0" y="90"/>
                    </a:lnTo>
                    <a:lnTo>
                      <a:pt x="15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5" name="Line 2585">
                <a:extLst>
                  <a:ext uri="{FF2B5EF4-FFF2-40B4-BE49-F238E27FC236}">
                    <a16:creationId xmlns:a16="http://schemas.microsoft.com/office/drawing/2014/main" xmlns="" id="{AB9ED66E-AFF3-471F-BCE5-DD2EC76B8E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465" y="390"/>
                <a:ext cx="3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6" name="Freeform 2586">
                <a:extLst>
                  <a:ext uri="{FF2B5EF4-FFF2-40B4-BE49-F238E27FC236}">
                    <a16:creationId xmlns:a16="http://schemas.microsoft.com/office/drawing/2014/main" xmlns="" id="{CA91E15D-D39D-4B3C-894C-6F6E654CB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240"/>
                <a:ext cx="209" cy="270"/>
              </a:xfrm>
              <a:custGeom>
                <a:avLst/>
                <a:gdLst>
                  <a:gd name="T0" fmla="*/ 0 w 209"/>
                  <a:gd name="T1" fmla="*/ 60 h 270"/>
                  <a:gd name="T2" fmla="*/ 90 w 209"/>
                  <a:gd name="T3" fmla="*/ 210 h 270"/>
                  <a:gd name="T4" fmla="*/ 120 w 209"/>
                  <a:gd name="T5" fmla="*/ 0 h 270"/>
                  <a:gd name="T6" fmla="*/ 179 w 209"/>
                  <a:gd name="T7" fmla="*/ 150 h 270"/>
                  <a:gd name="T8" fmla="*/ 209 w 209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270">
                    <a:moveTo>
                      <a:pt x="0" y="60"/>
                    </a:moveTo>
                    <a:lnTo>
                      <a:pt x="90" y="210"/>
                    </a:lnTo>
                    <a:lnTo>
                      <a:pt x="120" y="0"/>
                    </a:lnTo>
                    <a:lnTo>
                      <a:pt x="179" y="150"/>
                    </a:lnTo>
                    <a:lnTo>
                      <a:pt x="20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7" name="Freeform 2587">
                <a:extLst>
                  <a:ext uri="{FF2B5EF4-FFF2-40B4-BE49-F238E27FC236}">
                    <a16:creationId xmlns:a16="http://schemas.microsoft.com/office/drawing/2014/main" xmlns="" id="{14509826-1DA0-4F79-AD17-92ACC9BC17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5" y="90"/>
                <a:ext cx="389" cy="270"/>
              </a:xfrm>
              <a:custGeom>
                <a:avLst/>
                <a:gdLst>
                  <a:gd name="T0" fmla="*/ 150 w 389"/>
                  <a:gd name="T1" fmla="*/ 150 h 270"/>
                  <a:gd name="T2" fmla="*/ 0 w 389"/>
                  <a:gd name="T3" fmla="*/ 90 h 270"/>
                  <a:gd name="T4" fmla="*/ 120 w 389"/>
                  <a:gd name="T5" fmla="*/ 0 h 270"/>
                  <a:gd name="T6" fmla="*/ 269 w 389"/>
                  <a:gd name="T7" fmla="*/ 180 h 270"/>
                  <a:gd name="T8" fmla="*/ 389 w 389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9" h="270">
                    <a:moveTo>
                      <a:pt x="150" y="150"/>
                    </a:moveTo>
                    <a:lnTo>
                      <a:pt x="0" y="90"/>
                    </a:lnTo>
                    <a:lnTo>
                      <a:pt x="120" y="0"/>
                    </a:lnTo>
                    <a:lnTo>
                      <a:pt x="269" y="180"/>
                    </a:lnTo>
                    <a:lnTo>
                      <a:pt x="38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8" name="Freeform 2588">
                <a:extLst>
                  <a:ext uri="{FF2B5EF4-FFF2-40B4-BE49-F238E27FC236}">
                    <a16:creationId xmlns:a16="http://schemas.microsoft.com/office/drawing/2014/main" xmlns="" id="{26BDDB77-C01D-4AE1-9CE0-7A51CDB294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390"/>
                <a:ext cx="360" cy="360"/>
              </a:xfrm>
              <a:custGeom>
                <a:avLst/>
                <a:gdLst>
                  <a:gd name="T0" fmla="*/ 0 w 360"/>
                  <a:gd name="T1" fmla="*/ 0 h 360"/>
                  <a:gd name="T2" fmla="*/ 180 w 360"/>
                  <a:gd name="T3" fmla="*/ 90 h 360"/>
                  <a:gd name="T4" fmla="*/ 360 w 360"/>
                  <a:gd name="T5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360">
                    <a:moveTo>
                      <a:pt x="0" y="0"/>
                    </a:moveTo>
                    <a:lnTo>
                      <a:pt x="180" y="90"/>
                    </a:lnTo>
                    <a:lnTo>
                      <a:pt x="360" y="3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9" name="Freeform 2589">
                <a:extLst>
                  <a:ext uri="{FF2B5EF4-FFF2-40B4-BE49-F238E27FC236}">
                    <a16:creationId xmlns:a16="http://schemas.microsoft.com/office/drawing/2014/main" xmlns="" id="{2661C854-7E6A-4D6A-BEA5-303BE20BE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60"/>
                <a:ext cx="600" cy="240"/>
              </a:xfrm>
              <a:custGeom>
                <a:avLst/>
                <a:gdLst>
                  <a:gd name="T0" fmla="*/ 600 w 600"/>
                  <a:gd name="T1" fmla="*/ 0 h 240"/>
                  <a:gd name="T2" fmla="*/ 450 w 600"/>
                  <a:gd name="T3" fmla="*/ 240 h 240"/>
                  <a:gd name="T4" fmla="*/ 270 w 600"/>
                  <a:gd name="T5" fmla="*/ 60 h 240"/>
                  <a:gd name="T6" fmla="*/ 0 w 600"/>
                  <a:gd name="T7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0" h="240">
                    <a:moveTo>
                      <a:pt x="600" y="0"/>
                    </a:moveTo>
                    <a:lnTo>
                      <a:pt x="450" y="240"/>
                    </a:lnTo>
                    <a:lnTo>
                      <a:pt x="270" y="6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0" name="Freeform 2590">
                <a:extLst>
                  <a:ext uri="{FF2B5EF4-FFF2-40B4-BE49-F238E27FC236}">
                    <a16:creationId xmlns:a16="http://schemas.microsoft.com/office/drawing/2014/main" xmlns="" id="{199825CB-C6C4-48FD-B2B7-BD2B664A67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2550"/>
                <a:ext cx="2338" cy="660"/>
              </a:xfrm>
              <a:custGeom>
                <a:avLst/>
                <a:gdLst>
                  <a:gd name="T0" fmla="*/ 30 w 2338"/>
                  <a:gd name="T1" fmla="*/ 420 h 660"/>
                  <a:gd name="T2" fmla="*/ 0 w 2338"/>
                  <a:gd name="T3" fmla="*/ 270 h 660"/>
                  <a:gd name="T4" fmla="*/ 150 w 2338"/>
                  <a:gd name="T5" fmla="*/ 510 h 660"/>
                  <a:gd name="T6" fmla="*/ 210 w 2338"/>
                  <a:gd name="T7" fmla="*/ 420 h 660"/>
                  <a:gd name="T8" fmla="*/ 210 w 2338"/>
                  <a:gd name="T9" fmla="*/ 120 h 660"/>
                  <a:gd name="T10" fmla="*/ 60 w 2338"/>
                  <a:gd name="T11" fmla="*/ 150 h 660"/>
                  <a:gd name="T12" fmla="*/ 120 w 2338"/>
                  <a:gd name="T13" fmla="*/ 0 h 660"/>
                  <a:gd name="T14" fmla="*/ 330 w 2338"/>
                  <a:gd name="T15" fmla="*/ 90 h 660"/>
                  <a:gd name="T16" fmla="*/ 420 w 2338"/>
                  <a:gd name="T17" fmla="*/ 210 h 660"/>
                  <a:gd name="T18" fmla="*/ 210 w 2338"/>
                  <a:gd name="T19" fmla="*/ 120 h 660"/>
                  <a:gd name="T20" fmla="*/ 270 w 2338"/>
                  <a:gd name="T21" fmla="*/ 240 h 660"/>
                  <a:gd name="T22" fmla="*/ 420 w 2338"/>
                  <a:gd name="T23" fmla="*/ 210 h 660"/>
                  <a:gd name="T24" fmla="*/ 510 w 2338"/>
                  <a:gd name="T25" fmla="*/ 120 h 660"/>
                  <a:gd name="T26" fmla="*/ 599 w 2338"/>
                  <a:gd name="T27" fmla="*/ 210 h 660"/>
                  <a:gd name="T28" fmla="*/ 809 w 2338"/>
                  <a:gd name="T29" fmla="*/ 150 h 660"/>
                  <a:gd name="T30" fmla="*/ 719 w 2338"/>
                  <a:gd name="T31" fmla="*/ 240 h 660"/>
                  <a:gd name="T32" fmla="*/ 510 w 2338"/>
                  <a:gd name="T33" fmla="*/ 480 h 660"/>
                  <a:gd name="T34" fmla="*/ 689 w 2338"/>
                  <a:gd name="T35" fmla="*/ 510 h 660"/>
                  <a:gd name="T36" fmla="*/ 689 w 2338"/>
                  <a:gd name="T37" fmla="*/ 660 h 660"/>
                  <a:gd name="T38" fmla="*/ 569 w 2338"/>
                  <a:gd name="T39" fmla="*/ 600 h 660"/>
                  <a:gd name="T40" fmla="*/ 300 w 2338"/>
                  <a:gd name="T41" fmla="*/ 570 h 660"/>
                  <a:gd name="T42" fmla="*/ 420 w 2338"/>
                  <a:gd name="T43" fmla="*/ 330 h 660"/>
                  <a:gd name="T44" fmla="*/ 569 w 2338"/>
                  <a:gd name="T45" fmla="*/ 360 h 660"/>
                  <a:gd name="T46" fmla="*/ 599 w 2338"/>
                  <a:gd name="T47" fmla="*/ 210 h 660"/>
                  <a:gd name="T48" fmla="*/ 749 w 2338"/>
                  <a:gd name="T49" fmla="*/ 420 h 660"/>
                  <a:gd name="T50" fmla="*/ 689 w 2338"/>
                  <a:gd name="T51" fmla="*/ 510 h 660"/>
                  <a:gd name="T52" fmla="*/ 809 w 2338"/>
                  <a:gd name="T53" fmla="*/ 600 h 660"/>
                  <a:gd name="T54" fmla="*/ 929 w 2338"/>
                  <a:gd name="T55" fmla="*/ 540 h 660"/>
                  <a:gd name="T56" fmla="*/ 1079 w 2338"/>
                  <a:gd name="T57" fmla="*/ 570 h 660"/>
                  <a:gd name="T58" fmla="*/ 1049 w 2338"/>
                  <a:gd name="T59" fmla="*/ 450 h 660"/>
                  <a:gd name="T60" fmla="*/ 959 w 2338"/>
                  <a:gd name="T61" fmla="*/ 420 h 660"/>
                  <a:gd name="T62" fmla="*/ 1049 w 2338"/>
                  <a:gd name="T63" fmla="*/ 300 h 660"/>
                  <a:gd name="T64" fmla="*/ 1169 w 2338"/>
                  <a:gd name="T65" fmla="*/ 360 h 660"/>
                  <a:gd name="T66" fmla="*/ 1259 w 2338"/>
                  <a:gd name="T67" fmla="*/ 390 h 660"/>
                  <a:gd name="T68" fmla="*/ 1199 w 2338"/>
                  <a:gd name="T69" fmla="*/ 510 h 660"/>
                  <a:gd name="T70" fmla="*/ 1349 w 2338"/>
                  <a:gd name="T71" fmla="*/ 540 h 660"/>
                  <a:gd name="T72" fmla="*/ 1409 w 2338"/>
                  <a:gd name="T73" fmla="*/ 360 h 660"/>
                  <a:gd name="T74" fmla="*/ 1469 w 2338"/>
                  <a:gd name="T75" fmla="*/ 480 h 660"/>
                  <a:gd name="T76" fmla="*/ 1529 w 2338"/>
                  <a:gd name="T77" fmla="*/ 360 h 660"/>
                  <a:gd name="T78" fmla="*/ 1529 w 2338"/>
                  <a:gd name="T79" fmla="*/ 600 h 660"/>
                  <a:gd name="T80" fmla="*/ 1409 w 2338"/>
                  <a:gd name="T81" fmla="*/ 630 h 660"/>
                  <a:gd name="T82" fmla="*/ 1649 w 2338"/>
                  <a:gd name="T83" fmla="*/ 300 h 660"/>
                  <a:gd name="T84" fmla="*/ 1649 w 2338"/>
                  <a:gd name="T85" fmla="*/ 510 h 660"/>
                  <a:gd name="T86" fmla="*/ 1709 w 2338"/>
                  <a:gd name="T87" fmla="*/ 420 h 660"/>
                  <a:gd name="T88" fmla="*/ 1799 w 2338"/>
                  <a:gd name="T89" fmla="*/ 360 h 660"/>
                  <a:gd name="T90" fmla="*/ 1799 w 2338"/>
                  <a:gd name="T91" fmla="*/ 480 h 660"/>
                  <a:gd name="T92" fmla="*/ 1739 w 2338"/>
                  <a:gd name="T93" fmla="*/ 600 h 660"/>
                  <a:gd name="T94" fmla="*/ 1889 w 2338"/>
                  <a:gd name="T95" fmla="*/ 540 h 660"/>
                  <a:gd name="T96" fmla="*/ 1949 w 2338"/>
                  <a:gd name="T97" fmla="*/ 660 h 660"/>
                  <a:gd name="T98" fmla="*/ 2039 w 2338"/>
                  <a:gd name="T99" fmla="*/ 570 h 660"/>
                  <a:gd name="T100" fmla="*/ 2009 w 2338"/>
                  <a:gd name="T101" fmla="*/ 450 h 660"/>
                  <a:gd name="T102" fmla="*/ 1919 w 2338"/>
                  <a:gd name="T103" fmla="*/ 420 h 660"/>
                  <a:gd name="T104" fmla="*/ 2009 w 2338"/>
                  <a:gd name="T105" fmla="*/ 300 h 660"/>
                  <a:gd name="T106" fmla="*/ 2129 w 2338"/>
                  <a:gd name="T107" fmla="*/ 360 h 660"/>
                  <a:gd name="T108" fmla="*/ 2159 w 2338"/>
                  <a:gd name="T109" fmla="*/ 510 h 660"/>
                  <a:gd name="T110" fmla="*/ 2338 w 2338"/>
                  <a:gd name="T111" fmla="*/ 540 h 660"/>
                  <a:gd name="T112" fmla="*/ 2218 w 2338"/>
                  <a:gd name="T113" fmla="*/ 660 h 660"/>
                  <a:gd name="T114" fmla="*/ 2248 w 2338"/>
                  <a:gd name="T115" fmla="*/ 390 h 660"/>
                  <a:gd name="T116" fmla="*/ 2069 w 2338"/>
                  <a:gd name="T117" fmla="*/ 24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38" h="660">
                    <a:moveTo>
                      <a:pt x="30" y="420"/>
                    </a:moveTo>
                    <a:lnTo>
                      <a:pt x="0" y="270"/>
                    </a:lnTo>
                    <a:lnTo>
                      <a:pt x="150" y="510"/>
                    </a:lnTo>
                    <a:lnTo>
                      <a:pt x="210" y="420"/>
                    </a:lnTo>
                    <a:lnTo>
                      <a:pt x="210" y="120"/>
                    </a:lnTo>
                    <a:lnTo>
                      <a:pt x="60" y="150"/>
                    </a:lnTo>
                    <a:lnTo>
                      <a:pt x="120" y="0"/>
                    </a:lnTo>
                    <a:lnTo>
                      <a:pt x="330" y="90"/>
                    </a:lnTo>
                    <a:lnTo>
                      <a:pt x="420" y="210"/>
                    </a:lnTo>
                    <a:lnTo>
                      <a:pt x="210" y="120"/>
                    </a:lnTo>
                    <a:lnTo>
                      <a:pt x="270" y="240"/>
                    </a:lnTo>
                    <a:lnTo>
                      <a:pt x="420" y="210"/>
                    </a:lnTo>
                    <a:lnTo>
                      <a:pt x="510" y="120"/>
                    </a:lnTo>
                    <a:lnTo>
                      <a:pt x="599" y="210"/>
                    </a:lnTo>
                    <a:lnTo>
                      <a:pt x="809" y="150"/>
                    </a:lnTo>
                    <a:lnTo>
                      <a:pt x="719" y="240"/>
                    </a:lnTo>
                    <a:lnTo>
                      <a:pt x="510" y="480"/>
                    </a:lnTo>
                    <a:lnTo>
                      <a:pt x="689" y="510"/>
                    </a:lnTo>
                    <a:lnTo>
                      <a:pt x="689" y="660"/>
                    </a:lnTo>
                    <a:lnTo>
                      <a:pt x="569" y="600"/>
                    </a:lnTo>
                    <a:lnTo>
                      <a:pt x="300" y="570"/>
                    </a:lnTo>
                    <a:lnTo>
                      <a:pt x="420" y="330"/>
                    </a:lnTo>
                    <a:lnTo>
                      <a:pt x="569" y="360"/>
                    </a:lnTo>
                    <a:lnTo>
                      <a:pt x="599" y="210"/>
                    </a:lnTo>
                    <a:lnTo>
                      <a:pt x="749" y="420"/>
                    </a:lnTo>
                    <a:lnTo>
                      <a:pt x="689" y="510"/>
                    </a:lnTo>
                    <a:lnTo>
                      <a:pt x="809" y="600"/>
                    </a:lnTo>
                    <a:lnTo>
                      <a:pt x="929" y="540"/>
                    </a:lnTo>
                    <a:lnTo>
                      <a:pt x="1079" y="570"/>
                    </a:lnTo>
                    <a:lnTo>
                      <a:pt x="1049" y="450"/>
                    </a:lnTo>
                    <a:lnTo>
                      <a:pt x="959" y="420"/>
                    </a:lnTo>
                    <a:lnTo>
                      <a:pt x="1049" y="300"/>
                    </a:lnTo>
                    <a:lnTo>
                      <a:pt x="1169" y="360"/>
                    </a:lnTo>
                    <a:lnTo>
                      <a:pt x="1259" y="390"/>
                    </a:lnTo>
                    <a:lnTo>
                      <a:pt x="1199" y="510"/>
                    </a:lnTo>
                    <a:lnTo>
                      <a:pt x="1349" y="540"/>
                    </a:lnTo>
                    <a:lnTo>
                      <a:pt x="1409" y="360"/>
                    </a:lnTo>
                    <a:lnTo>
                      <a:pt x="1469" y="480"/>
                    </a:lnTo>
                    <a:lnTo>
                      <a:pt x="1529" y="360"/>
                    </a:lnTo>
                    <a:lnTo>
                      <a:pt x="1529" y="600"/>
                    </a:lnTo>
                    <a:lnTo>
                      <a:pt x="1409" y="630"/>
                    </a:lnTo>
                    <a:lnTo>
                      <a:pt x="1649" y="300"/>
                    </a:lnTo>
                    <a:lnTo>
                      <a:pt x="1649" y="510"/>
                    </a:lnTo>
                    <a:lnTo>
                      <a:pt x="1709" y="420"/>
                    </a:lnTo>
                    <a:lnTo>
                      <a:pt x="1799" y="360"/>
                    </a:lnTo>
                    <a:lnTo>
                      <a:pt x="1799" y="480"/>
                    </a:lnTo>
                    <a:lnTo>
                      <a:pt x="1739" y="600"/>
                    </a:lnTo>
                    <a:lnTo>
                      <a:pt x="1889" y="540"/>
                    </a:lnTo>
                    <a:lnTo>
                      <a:pt x="1949" y="660"/>
                    </a:lnTo>
                    <a:lnTo>
                      <a:pt x="2039" y="570"/>
                    </a:lnTo>
                    <a:lnTo>
                      <a:pt x="2009" y="450"/>
                    </a:lnTo>
                    <a:lnTo>
                      <a:pt x="1919" y="420"/>
                    </a:lnTo>
                    <a:lnTo>
                      <a:pt x="2009" y="300"/>
                    </a:lnTo>
                    <a:lnTo>
                      <a:pt x="2129" y="360"/>
                    </a:lnTo>
                    <a:lnTo>
                      <a:pt x="2159" y="510"/>
                    </a:lnTo>
                    <a:lnTo>
                      <a:pt x="2338" y="540"/>
                    </a:lnTo>
                    <a:lnTo>
                      <a:pt x="2218" y="660"/>
                    </a:lnTo>
                    <a:lnTo>
                      <a:pt x="2248" y="390"/>
                    </a:lnTo>
                    <a:lnTo>
                      <a:pt x="2069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1" name="Freeform 2591">
                <a:extLst>
                  <a:ext uri="{FF2B5EF4-FFF2-40B4-BE49-F238E27FC236}">
                    <a16:creationId xmlns:a16="http://schemas.microsoft.com/office/drawing/2014/main" xmlns="" id="{6CF449F6-A821-45CC-9658-C228D2577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2760"/>
                <a:ext cx="269" cy="300"/>
              </a:xfrm>
              <a:custGeom>
                <a:avLst/>
                <a:gdLst>
                  <a:gd name="T0" fmla="*/ 269 w 269"/>
                  <a:gd name="T1" fmla="*/ 0 h 300"/>
                  <a:gd name="T2" fmla="*/ 120 w 269"/>
                  <a:gd name="T3" fmla="*/ 150 h 300"/>
                  <a:gd name="T4" fmla="*/ 0 w 269"/>
                  <a:gd name="T5" fmla="*/ 240 h 300"/>
                  <a:gd name="T6" fmla="*/ 150 w 269"/>
                  <a:gd name="T7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9" h="300">
                    <a:moveTo>
                      <a:pt x="269" y="0"/>
                    </a:moveTo>
                    <a:lnTo>
                      <a:pt x="120" y="150"/>
                    </a:lnTo>
                    <a:lnTo>
                      <a:pt x="0" y="240"/>
                    </a:lnTo>
                    <a:lnTo>
                      <a:pt x="15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2" name="Freeform 2592">
                <a:extLst>
                  <a:ext uri="{FF2B5EF4-FFF2-40B4-BE49-F238E27FC236}">
                    <a16:creationId xmlns:a16="http://schemas.microsoft.com/office/drawing/2014/main" xmlns="" id="{6BB7F0A7-0F82-457D-BB07-74F64BF68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2790"/>
                <a:ext cx="1289" cy="420"/>
              </a:xfrm>
              <a:custGeom>
                <a:avLst/>
                <a:gdLst>
                  <a:gd name="T0" fmla="*/ 210 w 1289"/>
                  <a:gd name="T1" fmla="*/ 240 h 420"/>
                  <a:gd name="T2" fmla="*/ 150 w 1289"/>
                  <a:gd name="T3" fmla="*/ 390 h 420"/>
                  <a:gd name="T4" fmla="*/ 90 w 1289"/>
                  <a:gd name="T5" fmla="*/ 300 h 420"/>
                  <a:gd name="T6" fmla="*/ 0 w 1289"/>
                  <a:gd name="T7" fmla="*/ 150 h 420"/>
                  <a:gd name="T8" fmla="*/ 150 w 1289"/>
                  <a:gd name="T9" fmla="*/ 120 h 420"/>
                  <a:gd name="T10" fmla="*/ 300 w 1289"/>
                  <a:gd name="T11" fmla="*/ 30 h 420"/>
                  <a:gd name="T12" fmla="*/ 390 w 1289"/>
                  <a:gd name="T13" fmla="*/ 60 h 420"/>
                  <a:gd name="T14" fmla="*/ 450 w 1289"/>
                  <a:gd name="T15" fmla="*/ 180 h 420"/>
                  <a:gd name="T16" fmla="*/ 480 w 1289"/>
                  <a:gd name="T17" fmla="*/ 30 h 420"/>
                  <a:gd name="T18" fmla="*/ 600 w 1289"/>
                  <a:gd name="T19" fmla="*/ 0 h 420"/>
                  <a:gd name="T20" fmla="*/ 540 w 1289"/>
                  <a:gd name="T21" fmla="*/ 120 h 420"/>
                  <a:gd name="T22" fmla="*/ 660 w 1289"/>
                  <a:gd name="T23" fmla="*/ 180 h 420"/>
                  <a:gd name="T24" fmla="*/ 630 w 1289"/>
                  <a:gd name="T25" fmla="*/ 300 h 420"/>
                  <a:gd name="T26" fmla="*/ 780 w 1289"/>
                  <a:gd name="T27" fmla="*/ 330 h 420"/>
                  <a:gd name="T28" fmla="*/ 959 w 1289"/>
                  <a:gd name="T29" fmla="*/ 420 h 420"/>
                  <a:gd name="T30" fmla="*/ 1289 w 1289"/>
                  <a:gd name="T31" fmla="*/ 42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89" h="420">
                    <a:moveTo>
                      <a:pt x="210" y="240"/>
                    </a:moveTo>
                    <a:lnTo>
                      <a:pt x="150" y="390"/>
                    </a:lnTo>
                    <a:lnTo>
                      <a:pt x="90" y="300"/>
                    </a:lnTo>
                    <a:lnTo>
                      <a:pt x="0" y="150"/>
                    </a:lnTo>
                    <a:lnTo>
                      <a:pt x="150" y="120"/>
                    </a:lnTo>
                    <a:lnTo>
                      <a:pt x="300" y="30"/>
                    </a:lnTo>
                    <a:lnTo>
                      <a:pt x="390" y="60"/>
                    </a:lnTo>
                    <a:lnTo>
                      <a:pt x="450" y="180"/>
                    </a:lnTo>
                    <a:lnTo>
                      <a:pt x="480" y="30"/>
                    </a:lnTo>
                    <a:lnTo>
                      <a:pt x="600" y="0"/>
                    </a:lnTo>
                    <a:lnTo>
                      <a:pt x="540" y="120"/>
                    </a:lnTo>
                    <a:lnTo>
                      <a:pt x="660" y="180"/>
                    </a:lnTo>
                    <a:lnTo>
                      <a:pt x="630" y="300"/>
                    </a:lnTo>
                    <a:lnTo>
                      <a:pt x="780" y="330"/>
                    </a:lnTo>
                    <a:lnTo>
                      <a:pt x="959" y="420"/>
                    </a:lnTo>
                    <a:lnTo>
                      <a:pt x="1289" y="4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3" name="Freeform 2593">
                <a:extLst>
                  <a:ext uri="{FF2B5EF4-FFF2-40B4-BE49-F238E27FC236}">
                    <a16:creationId xmlns:a16="http://schemas.microsoft.com/office/drawing/2014/main" xmlns="" id="{70F71936-7E99-4FCF-B968-21B474C10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6" y="2130"/>
                <a:ext cx="629" cy="720"/>
              </a:xfrm>
              <a:custGeom>
                <a:avLst/>
                <a:gdLst>
                  <a:gd name="T0" fmla="*/ 629 w 629"/>
                  <a:gd name="T1" fmla="*/ 720 h 720"/>
                  <a:gd name="T2" fmla="*/ 479 w 629"/>
                  <a:gd name="T3" fmla="*/ 690 h 720"/>
                  <a:gd name="T4" fmla="*/ 599 w 629"/>
                  <a:gd name="T5" fmla="*/ 510 h 720"/>
                  <a:gd name="T6" fmla="*/ 389 w 629"/>
                  <a:gd name="T7" fmla="*/ 570 h 720"/>
                  <a:gd name="T8" fmla="*/ 269 w 629"/>
                  <a:gd name="T9" fmla="*/ 510 h 720"/>
                  <a:gd name="T10" fmla="*/ 90 w 629"/>
                  <a:gd name="T11" fmla="*/ 540 h 720"/>
                  <a:gd name="T12" fmla="*/ 0 w 629"/>
                  <a:gd name="T13" fmla="*/ 390 h 720"/>
                  <a:gd name="T14" fmla="*/ 0 w 629"/>
                  <a:gd name="T15" fmla="*/ 630 h 720"/>
                  <a:gd name="T16" fmla="*/ 90 w 629"/>
                  <a:gd name="T17" fmla="*/ 300 h 720"/>
                  <a:gd name="T18" fmla="*/ 0 w 629"/>
                  <a:gd name="T19" fmla="*/ 210 h 720"/>
                  <a:gd name="T20" fmla="*/ 0 w 629"/>
                  <a:gd name="T21" fmla="*/ 60 h 720"/>
                  <a:gd name="T22" fmla="*/ 60 w 629"/>
                  <a:gd name="T23" fmla="*/ 0 h 720"/>
                  <a:gd name="T24" fmla="*/ 149 w 629"/>
                  <a:gd name="T25" fmla="*/ 180 h 720"/>
                  <a:gd name="T26" fmla="*/ 329 w 629"/>
                  <a:gd name="T27" fmla="*/ 240 h 720"/>
                  <a:gd name="T28" fmla="*/ 359 w 629"/>
                  <a:gd name="T29" fmla="*/ 9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29" h="720">
                    <a:moveTo>
                      <a:pt x="629" y="720"/>
                    </a:moveTo>
                    <a:lnTo>
                      <a:pt x="479" y="690"/>
                    </a:lnTo>
                    <a:lnTo>
                      <a:pt x="599" y="510"/>
                    </a:lnTo>
                    <a:lnTo>
                      <a:pt x="389" y="570"/>
                    </a:lnTo>
                    <a:lnTo>
                      <a:pt x="269" y="510"/>
                    </a:lnTo>
                    <a:lnTo>
                      <a:pt x="90" y="540"/>
                    </a:lnTo>
                    <a:lnTo>
                      <a:pt x="0" y="390"/>
                    </a:lnTo>
                    <a:lnTo>
                      <a:pt x="0" y="630"/>
                    </a:lnTo>
                    <a:lnTo>
                      <a:pt x="90" y="300"/>
                    </a:lnTo>
                    <a:lnTo>
                      <a:pt x="0" y="210"/>
                    </a:lnTo>
                    <a:lnTo>
                      <a:pt x="0" y="60"/>
                    </a:lnTo>
                    <a:lnTo>
                      <a:pt x="60" y="0"/>
                    </a:lnTo>
                    <a:lnTo>
                      <a:pt x="149" y="180"/>
                    </a:lnTo>
                    <a:lnTo>
                      <a:pt x="329" y="240"/>
                    </a:lnTo>
                    <a:lnTo>
                      <a:pt x="359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4" name="Freeform 2594">
                <a:extLst>
                  <a:ext uri="{FF2B5EF4-FFF2-40B4-BE49-F238E27FC236}">
                    <a16:creationId xmlns:a16="http://schemas.microsoft.com/office/drawing/2014/main" xmlns="" id="{BCABA6C8-6824-4965-9B6A-FC52BD6D0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5" y="2640"/>
                <a:ext cx="780" cy="480"/>
              </a:xfrm>
              <a:custGeom>
                <a:avLst/>
                <a:gdLst>
                  <a:gd name="T0" fmla="*/ 330 w 780"/>
                  <a:gd name="T1" fmla="*/ 360 h 480"/>
                  <a:gd name="T2" fmla="*/ 210 w 780"/>
                  <a:gd name="T3" fmla="*/ 450 h 480"/>
                  <a:gd name="T4" fmla="*/ 120 w 780"/>
                  <a:gd name="T5" fmla="*/ 390 h 480"/>
                  <a:gd name="T6" fmla="*/ 120 w 780"/>
                  <a:gd name="T7" fmla="*/ 270 h 480"/>
                  <a:gd name="T8" fmla="*/ 180 w 780"/>
                  <a:gd name="T9" fmla="*/ 180 h 480"/>
                  <a:gd name="T10" fmla="*/ 0 w 780"/>
                  <a:gd name="T11" fmla="*/ 150 h 480"/>
                  <a:gd name="T12" fmla="*/ 30 w 780"/>
                  <a:gd name="T13" fmla="*/ 330 h 480"/>
                  <a:gd name="T14" fmla="*/ 120 w 780"/>
                  <a:gd name="T15" fmla="*/ 270 h 480"/>
                  <a:gd name="T16" fmla="*/ 240 w 780"/>
                  <a:gd name="T17" fmla="*/ 330 h 480"/>
                  <a:gd name="T18" fmla="*/ 360 w 780"/>
                  <a:gd name="T19" fmla="*/ 480 h 480"/>
                  <a:gd name="T20" fmla="*/ 480 w 780"/>
                  <a:gd name="T21" fmla="*/ 420 h 480"/>
                  <a:gd name="T22" fmla="*/ 330 w 780"/>
                  <a:gd name="T23" fmla="*/ 360 h 480"/>
                  <a:gd name="T24" fmla="*/ 450 w 780"/>
                  <a:gd name="T25" fmla="*/ 270 h 480"/>
                  <a:gd name="T26" fmla="*/ 510 w 780"/>
                  <a:gd name="T27" fmla="*/ 90 h 480"/>
                  <a:gd name="T28" fmla="*/ 690 w 780"/>
                  <a:gd name="T29" fmla="*/ 0 h 480"/>
                  <a:gd name="T30" fmla="*/ 450 w 780"/>
                  <a:gd name="T31" fmla="*/ 0 h 480"/>
                  <a:gd name="T32" fmla="*/ 780 w 780"/>
                  <a:gd name="T33" fmla="*/ 9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80" h="480">
                    <a:moveTo>
                      <a:pt x="330" y="360"/>
                    </a:moveTo>
                    <a:lnTo>
                      <a:pt x="210" y="450"/>
                    </a:lnTo>
                    <a:lnTo>
                      <a:pt x="120" y="390"/>
                    </a:lnTo>
                    <a:lnTo>
                      <a:pt x="120" y="270"/>
                    </a:lnTo>
                    <a:lnTo>
                      <a:pt x="180" y="180"/>
                    </a:lnTo>
                    <a:lnTo>
                      <a:pt x="0" y="150"/>
                    </a:lnTo>
                    <a:lnTo>
                      <a:pt x="30" y="330"/>
                    </a:lnTo>
                    <a:lnTo>
                      <a:pt x="120" y="270"/>
                    </a:lnTo>
                    <a:lnTo>
                      <a:pt x="240" y="330"/>
                    </a:lnTo>
                    <a:lnTo>
                      <a:pt x="360" y="480"/>
                    </a:lnTo>
                    <a:lnTo>
                      <a:pt x="480" y="420"/>
                    </a:lnTo>
                    <a:lnTo>
                      <a:pt x="330" y="360"/>
                    </a:lnTo>
                    <a:lnTo>
                      <a:pt x="450" y="270"/>
                    </a:lnTo>
                    <a:lnTo>
                      <a:pt x="510" y="90"/>
                    </a:lnTo>
                    <a:lnTo>
                      <a:pt x="690" y="0"/>
                    </a:lnTo>
                    <a:lnTo>
                      <a:pt x="450" y="0"/>
                    </a:lnTo>
                    <a:lnTo>
                      <a:pt x="7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5" name="Line 2595">
                <a:extLst>
                  <a:ext uri="{FF2B5EF4-FFF2-40B4-BE49-F238E27FC236}">
                    <a16:creationId xmlns:a16="http://schemas.microsoft.com/office/drawing/2014/main" xmlns="" id="{CEB6E236-D662-41DC-A6E7-02A5C700235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325" y="297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6" name="Freeform 2596">
                <a:extLst>
                  <a:ext uri="{FF2B5EF4-FFF2-40B4-BE49-F238E27FC236}">
                    <a16:creationId xmlns:a16="http://schemas.microsoft.com/office/drawing/2014/main" xmlns="" id="{08236DA8-477E-42FA-8FE9-720CCC4FE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2820"/>
                <a:ext cx="449" cy="390"/>
              </a:xfrm>
              <a:custGeom>
                <a:avLst/>
                <a:gdLst>
                  <a:gd name="T0" fmla="*/ 179 w 449"/>
                  <a:gd name="T1" fmla="*/ 390 h 390"/>
                  <a:gd name="T2" fmla="*/ 329 w 449"/>
                  <a:gd name="T3" fmla="*/ 210 h 390"/>
                  <a:gd name="T4" fmla="*/ 449 w 449"/>
                  <a:gd name="T5" fmla="*/ 150 h 390"/>
                  <a:gd name="T6" fmla="*/ 389 w 449"/>
                  <a:gd name="T7" fmla="*/ 0 h 390"/>
                  <a:gd name="T8" fmla="*/ 0 w 449"/>
                  <a:gd name="T9" fmla="*/ 21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9" h="390">
                    <a:moveTo>
                      <a:pt x="179" y="390"/>
                    </a:moveTo>
                    <a:lnTo>
                      <a:pt x="329" y="210"/>
                    </a:lnTo>
                    <a:lnTo>
                      <a:pt x="449" y="150"/>
                    </a:lnTo>
                    <a:lnTo>
                      <a:pt x="389" y="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7" name="Freeform 2597">
                <a:extLst>
                  <a:ext uri="{FF2B5EF4-FFF2-40B4-BE49-F238E27FC236}">
                    <a16:creationId xmlns:a16="http://schemas.microsoft.com/office/drawing/2014/main" xmlns="" id="{42E0A9FD-A2D7-4CC6-9D1F-06C5FFB66A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5" y="2310"/>
                <a:ext cx="870" cy="600"/>
              </a:xfrm>
              <a:custGeom>
                <a:avLst/>
                <a:gdLst>
                  <a:gd name="T0" fmla="*/ 0 w 870"/>
                  <a:gd name="T1" fmla="*/ 480 h 600"/>
                  <a:gd name="T2" fmla="*/ 60 w 870"/>
                  <a:gd name="T3" fmla="*/ 600 h 600"/>
                  <a:gd name="T4" fmla="*/ 270 w 870"/>
                  <a:gd name="T5" fmla="*/ 480 h 600"/>
                  <a:gd name="T6" fmla="*/ 390 w 870"/>
                  <a:gd name="T7" fmla="*/ 420 h 600"/>
                  <a:gd name="T8" fmla="*/ 540 w 870"/>
                  <a:gd name="T9" fmla="*/ 420 h 600"/>
                  <a:gd name="T10" fmla="*/ 750 w 870"/>
                  <a:gd name="T11" fmla="*/ 480 h 600"/>
                  <a:gd name="T12" fmla="*/ 870 w 870"/>
                  <a:gd name="T13" fmla="*/ 330 h 600"/>
                  <a:gd name="T14" fmla="*/ 660 w 870"/>
                  <a:gd name="T15" fmla="*/ 390 h 600"/>
                  <a:gd name="T16" fmla="*/ 540 w 870"/>
                  <a:gd name="T17" fmla="*/ 330 h 600"/>
                  <a:gd name="T18" fmla="*/ 420 w 870"/>
                  <a:gd name="T19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70" h="600">
                    <a:moveTo>
                      <a:pt x="0" y="480"/>
                    </a:moveTo>
                    <a:lnTo>
                      <a:pt x="60" y="600"/>
                    </a:lnTo>
                    <a:lnTo>
                      <a:pt x="270" y="480"/>
                    </a:lnTo>
                    <a:lnTo>
                      <a:pt x="390" y="420"/>
                    </a:lnTo>
                    <a:lnTo>
                      <a:pt x="540" y="420"/>
                    </a:lnTo>
                    <a:lnTo>
                      <a:pt x="750" y="480"/>
                    </a:lnTo>
                    <a:lnTo>
                      <a:pt x="870" y="330"/>
                    </a:lnTo>
                    <a:lnTo>
                      <a:pt x="660" y="390"/>
                    </a:lnTo>
                    <a:lnTo>
                      <a:pt x="540" y="330"/>
                    </a:lnTo>
                    <a:lnTo>
                      <a:pt x="42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8" name="Line 2598">
                <a:extLst>
                  <a:ext uri="{FF2B5EF4-FFF2-40B4-BE49-F238E27FC236}">
                    <a16:creationId xmlns:a16="http://schemas.microsoft.com/office/drawing/2014/main" xmlns="" id="{9640FB84-59F0-4FB1-A2E8-323290DF3FE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745" y="2910"/>
                <a:ext cx="3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9" name="Freeform 2599">
                <a:extLst>
                  <a:ext uri="{FF2B5EF4-FFF2-40B4-BE49-F238E27FC236}">
                    <a16:creationId xmlns:a16="http://schemas.microsoft.com/office/drawing/2014/main" xmlns="" id="{4CAAD0DC-EBF5-48B6-86C4-02DF29F50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3060"/>
                <a:ext cx="210" cy="90"/>
              </a:xfrm>
              <a:custGeom>
                <a:avLst/>
                <a:gdLst>
                  <a:gd name="T0" fmla="*/ 0 w 210"/>
                  <a:gd name="T1" fmla="*/ 90 h 90"/>
                  <a:gd name="T2" fmla="*/ 120 w 210"/>
                  <a:gd name="T3" fmla="*/ 0 h 90"/>
                  <a:gd name="T4" fmla="*/ 210 w 210"/>
                  <a:gd name="T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90">
                    <a:moveTo>
                      <a:pt x="0" y="90"/>
                    </a:moveTo>
                    <a:lnTo>
                      <a:pt x="120" y="0"/>
                    </a:lnTo>
                    <a:lnTo>
                      <a:pt x="21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0" name="Line 2600">
                <a:extLst>
                  <a:ext uri="{FF2B5EF4-FFF2-40B4-BE49-F238E27FC236}">
                    <a16:creationId xmlns:a16="http://schemas.microsoft.com/office/drawing/2014/main" xmlns="" id="{4DE8794E-B5B8-4E02-BC95-71B303CEB5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805" y="2730"/>
                <a:ext cx="30" cy="21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1" name="Freeform 2601">
                <a:extLst>
                  <a:ext uri="{FF2B5EF4-FFF2-40B4-BE49-F238E27FC236}">
                    <a16:creationId xmlns:a16="http://schemas.microsoft.com/office/drawing/2014/main" xmlns="" id="{EC0282BB-8456-4F25-A34B-3570822D2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5" y="2730"/>
                <a:ext cx="90" cy="120"/>
              </a:xfrm>
              <a:custGeom>
                <a:avLst/>
                <a:gdLst>
                  <a:gd name="T0" fmla="*/ 0 w 90"/>
                  <a:gd name="T1" fmla="*/ 0 h 120"/>
                  <a:gd name="T2" fmla="*/ 90 w 90"/>
                  <a:gd name="T3" fmla="*/ 90 h 120"/>
                  <a:gd name="T4" fmla="*/ 0 w 90"/>
                  <a:gd name="T5" fmla="*/ 120 h 120"/>
                  <a:gd name="T6" fmla="*/ 0 w 90"/>
                  <a:gd name="T7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120">
                    <a:moveTo>
                      <a:pt x="0" y="0"/>
                    </a:moveTo>
                    <a:lnTo>
                      <a:pt x="90" y="90"/>
                    </a:lnTo>
                    <a:lnTo>
                      <a:pt x="0" y="1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2" name="Freeform 2602">
                <a:extLst>
                  <a:ext uri="{FF2B5EF4-FFF2-40B4-BE49-F238E27FC236}">
                    <a16:creationId xmlns:a16="http://schemas.microsoft.com/office/drawing/2014/main" xmlns="" id="{C92778BF-2A79-43BE-A847-AFF9DB4CD6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2820"/>
                <a:ext cx="270" cy="90"/>
              </a:xfrm>
              <a:custGeom>
                <a:avLst/>
                <a:gdLst>
                  <a:gd name="T0" fmla="*/ 60 w 270"/>
                  <a:gd name="T1" fmla="*/ 90 h 90"/>
                  <a:gd name="T2" fmla="*/ 0 w 270"/>
                  <a:gd name="T3" fmla="*/ 0 h 90"/>
                  <a:gd name="T4" fmla="*/ 270 w 270"/>
                  <a:gd name="T5" fmla="*/ 3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90">
                    <a:moveTo>
                      <a:pt x="60" y="90"/>
                    </a:moveTo>
                    <a:lnTo>
                      <a:pt x="0" y="0"/>
                    </a:lnTo>
                    <a:lnTo>
                      <a:pt x="27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3" name="Freeform 2603">
                <a:extLst>
                  <a:ext uri="{FF2B5EF4-FFF2-40B4-BE49-F238E27FC236}">
                    <a16:creationId xmlns:a16="http://schemas.microsoft.com/office/drawing/2014/main" xmlns="" id="{29D76AD4-1C22-4F8C-9386-3A4BCF370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2730"/>
                <a:ext cx="540" cy="330"/>
              </a:xfrm>
              <a:custGeom>
                <a:avLst/>
                <a:gdLst>
                  <a:gd name="T0" fmla="*/ 540 w 540"/>
                  <a:gd name="T1" fmla="*/ 240 h 330"/>
                  <a:gd name="T2" fmla="*/ 420 w 540"/>
                  <a:gd name="T3" fmla="*/ 300 h 330"/>
                  <a:gd name="T4" fmla="*/ 270 w 540"/>
                  <a:gd name="T5" fmla="*/ 330 h 330"/>
                  <a:gd name="T6" fmla="*/ 150 w 540"/>
                  <a:gd name="T7" fmla="*/ 180 h 330"/>
                  <a:gd name="T8" fmla="*/ 180 w 540"/>
                  <a:gd name="T9" fmla="*/ 90 h 330"/>
                  <a:gd name="T10" fmla="*/ 120 w 540"/>
                  <a:gd name="T11" fmla="*/ 0 h 330"/>
                  <a:gd name="T12" fmla="*/ 30 w 540"/>
                  <a:gd name="T13" fmla="*/ 180 h 330"/>
                  <a:gd name="T14" fmla="*/ 0 w 540"/>
                  <a:gd name="T15" fmla="*/ 6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0" h="330">
                    <a:moveTo>
                      <a:pt x="540" y="240"/>
                    </a:moveTo>
                    <a:lnTo>
                      <a:pt x="420" y="300"/>
                    </a:lnTo>
                    <a:lnTo>
                      <a:pt x="270" y="330"/>
                    </a:lnTo>
                    <a:lnTo>
                      <a:pt x="150" y="180"/>
                    </a:lnTo>
                    <a:lnTo>
                      <a:pt x="180" y="90"/>
                    </a:lnTo>
                    <a:lnTo>
                      <a:pt x="120" y="0"/>
                    </a:lnTo>
                    <a:lnTo>
                      <a:pt x="30" y="18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4" name="Line 2604">
                <a:extLst>
                  <a:ext uri="{FF2B5EF4-FFF2-40B4-BE49-F238E27FC236}">
                    <a16:creationId xmlns:a16="http://schemas.microsoft.com/office/drawing/2014/main" xmlns="" id="{9AB400F5-307F-4DEF-989C-79F846EAEC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95" y="153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5" name="Freeform 2605">
                <a:extLst>
                  <a:ext uri="{FF2B5EF4-FFF2-40B4-BE49-F238E27FC236}">
                    <a16:creationId xmlns:a16="http://schemas.microsoft.com/office/drawing/2014/main" xmlns="" id="{B2C89CC1-2810-4E61-9D8E-FFC3385A7A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5" y="1620"/>
                <a:ext cx="180" cy="150"/>
              </a:xfrm>
              <a:custGeom>
                <a:avLst/>
                <a:gdLst>
                  <a:gd name="T0" fmla="*/ 0 w 180"/>
                  <a:gd name="T1" fmla="*/ 0 h 150"/>
                  <a:gd name="T2" fmla="*/ 180 w 180"/>
                  <a:gd name="T3" fmla="*/ 150 h 150"/>
                  <a:gd name="T4" fmla="*/ 120 w 180"/>
                  <a:gd name="T5" fmla="*/ 3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0" y="0"/>
                    </a:moveTo>
                    <a:lnTo>
                      <a:pt x="180" y="150"/>
                    </a:lnTo>
                    <a:lnTo>
                      <a:pt x="12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6" name="Line 2606">
                <a:extLst>
                  <a:ext uri="{FF2B5EF4-FFF2-40B4-BE49-F238E27FC236}">
                    <a16:creationId xmlns:a16="http://schemas.microsoft.com/office/drawing/2014/main" xmlns="" id="{37346514-AA4F-4C60-8FAE-A786B693B0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985" y="165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7" name="Line 2607">
                <a:extLst>
                  <a:ext uri="{FF2B5EF4-FFF2-40B4-BE49-F238E27FC236}">
                    <a16:creationId xmlns:a16="http://schemas.microsoft.com/office/drawing/2014/main" xmlns="" id="{1186D136-84DD-4CAF-9EC7-2A1007C137E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15" y="159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8" name="Line 2608">
                <a:extLst>
                  <a:ext uri="{FF2B5EF4-FFF2-40B4-BE49-F238E27FC236}">
                    <a16:creationId xmlns:a16="http://schemas.microsoft.com/office/drawing/2014/main" xmlns="" id="{8F32698A-EB22-4B97-98B6-3A5FDCF7E1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85" y="150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9" name="Freeform 2609">
                <a:extLst>
                  <a:ext uri="{FF2B5EF4-FFF2-40B4-BE49-F238E27FC236}">
                    <a16:creationId xmlns:a16="http://schemas.microsoft.com/office/drawing/2014/main" xmlns="" id="{2F6A8FDD-5833-4B06-B59D-E0587B533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470"/>
                <a:ext cx="330" cy="210"/>
              </a:xfrm>
              <a:custGeom>
                <a:avLst/>
                <a:gdLst>
                  <a:gd name="T0" fmla="*/ 0 w 330"/>
                  <a:gd name="T1" fmla="*/ 150 h 210"/>
                  <a:gd name="T2" fmla="*/ 60 w 330"/>
                  <a:gd name="T3" fmla="*/ 210 h 210"/>
                  <a:gd name="T4" fmla="*/ 150 w 330"/>
                  <a:gd name="T5" fmla="*/ 150 h 210"/>
                  <a:gd name="T6" fmla="*/ 210 w 330"/>
                  <a:gd name="T7" fmla="*/ 60 h 210"/>
                  <a:gd name="T8" fmla="*/ 330 w 330"/>
                  <a:gd name="T9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0" h="210">
                    <a:moveTo>
                      <a:pt x="0" y="150"/>
                    </a:moveTo>
                    <a:lnTo>
                      <a:pt x="60" y="210"/>
                    </a:lnTo>
                    <a:lnTo>
                      <a:pt x="150" y="150"/>
                    </a:lnTo>
                    <a:lnTo>
                      <a:pt x="210" y="60"/>
                    </a:lnTo>
                    <a:lnTo>
                      <a:pt x="33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0" name="Freeform 2610">
                <a:extLst>
                  <a:ext uri="{FF2B5EF4-FFF2-40B4-BE49-F238E27FC236}">
                    <a16:creationId xmlns:a16="http://schemas.microsoft.com/office/drawing/2014/main" xmlns="" id="{B7831F3E-2ADE-4C7E-892E-036F48A115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1500"/>
                <a:ext cx="270" cy="150"/>
              </a:xfrm>
              <a:custGeom>
                <a:avLst/>
                <a:gdLst>
                  <a:gd name="T0" fmla="*/ 270 w 270"/>
                  <a:gd name="T1" fmla="*/ 90 h 150"/>
                  <a:gd name="T2" fmla="*/ 150 w 270"/>
                  <a:gd name="T3" fmla="*/ 150 h 150"/>
                  <a:gd name="T4" fmla="*/ 30 w 270"/>
                  <a:gd name="T5" fmla="*/ 120 h 150"/>
                  <a:gd name="T6" fmla="*/ 0 w 270"/>
                  <a:gd name="T7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0" h="150">
                    <a:moveTo>
                      <a:pt x="270" y="90"/>
                    </a:moveTo>
                    <a:lnTo>
                      <a:pt x="150" y="150"/>
                    </a:lnTo>
                    <a:lnTo>
                      <a:pt x="30" y="12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1" name="Line 2611">
                <a:extLst>
                  <a:ext uri="{FF2B5EF4-FFF2-40B4-BE49-F238E27FC236}">
                    <a16:creationId xmlns:a16="http://schemas.microsoft.com/office/drawing/2014/main" xmlns="" id="{672F47E1-254D-450A-B333-D663E2916D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47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2" name="Line 2612">
                <a:extLst>
                  <a:ext uri="{FF2B5EF4-FFF2-40B4-BE49-F238E27FC236}">
                    <a16:creationId xmlns:a16="http://schemas.microsoft.com/office/drawing/2014/main" xmlns="" id="{2D57A2CA-D306-4731-ABCE-F4218B5F90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75" y="1410"/>
                <a:ext cx="60" cy="9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3" name="Line 2613">
                <a:extLst>
                  <a:ext uri="{FF2B5EF4-FFF2-40B4-BE49-F238E27FC236}">
                    <a16:creationId xmlns:a16="http://schemas.microsoft.com/office/drawing/2014/main" xmlns="" id="{447AACF8-56F8-48D6-B0B6-BA37037E01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65" y="15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4" name="Freeform 2614">
                <a:extLst>
                  <a:ext uri="{FF2B5EF4-FFF2-40B4-BE49-F238E27FC236}">
                    <a16:creationId xmlns:a16="http://schemas.microsoft.com/office/drawing/2014/main" xmlns="" id="{D5230537-3937-4D5B-A036-5FC4DD5B3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5" y="1500"/>
                <a:ext cx="180" cy="120"/>
              </a:xfrm>
              <a:custGeom>
                <a:avLst/>
                <a:gdLst>
                  <a:gd name="T0" fmla="*/ 150 w 180"/>
                  <a:gd name="T1" fmla="*/ 0 h 120"/>
                  <a:gd name="T2" fmla="*/ 0 w 180"/>
                  <a:gd name="T3" fmla="*/ 0 h 120"/>
                  <a:gd name="T4" fmla="*/ 30 w 180"/>
                  <a:gd name="T5" fmla="*/ 120 h 120"/>
                  <a:gd name="T6" fmla="*/ 180 w 180"/>
                  <a:gd name="T7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120">
                    <a:moveTo>
                      <a:pt x="150" y="0"/>
                    </a:moveTo>
                    <a:lnTo>
                      <a:pt x="0" y="0"/>
                    </a:lnTo>
                    <a:lnTo>
                      <a:pt x="30" y="120"/>
                    </a:lnTo>
                    <a:lnTo>
                      <a:pt x="180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5" name="Freeform 2615">
                <a:extLst>
                  <a:ext uri="{FF2B5EF4-FFF2-40B4-BE49-F238E27FC236}">
                    <a16:creationId xmlns:a16="http://schemas.microsoft.com/office/drawing/2014/main" xmlns="" id="{186E4826-6C5D-4BB3-9336-5F870F7847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4" y="125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6" name="Freeform 2616">
                <a:extLst>
                  <a:ext uri="{FF2B5EF4-FFF2-40B4-BE49-F238E27FC236}">
                    <a16:creationId xmlns:a16="http://schemas.microsoft.com/office/drawing/2014/main" xmlns="" id="{C391CB45-9C8F-4C7B-B441-0F9D361A36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4" y="206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7" name="Freeform 2617">
                <a:extLst>
                  <a:ext uri="{FF2B5EF4-FFF2-40B4-BE49-F238E27FC236}">
                    <a16:creationId xmlns:a16="http://schemas.microsoft.com/office/drawing/2014/main" xmlns="" id="{89D46438-51F6-4F28-B1AE-86F690732B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" y="206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8" name="Freeform 2618">
                <a:extLst>
                  <a:ext uri="{FF2B5EF4-FFF2-40B4-BE49-F238E27FC236}">
                    <a16:creationId xmlns:a16="http://schemas.microsoft.com/office/drawing/2014/main" xmlns="" id="{C65614BE-7849-44CF-ABFF-BD36FA37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4" y="53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9" name="Freeform 2619">
                <a:extLst>
                  <a:ext uri="{FF2B5EF4-FFF2-40B4-BE49-F238E27FC236}">
                    <a16:creationId xmlns:a16="http://schemas.microsoft.com/office/drawing/2014/main" xmlns="" id="{7F66261F-B6AB-4DE7-8D2E-0EB94C1775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3" y="53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0" name="Oval 2620">
                <a:extLst>
                  <a:ext uri="{FF2B5EF4-FFF2-40B4-BE49-F238E27FC236}">
                    <a16:creationId xmlns:a16="http://schemas.microsoft.com/office/drawing/2014/main" xmlns="" id="{7D5AA986-53FA-4BDF-9D06-A34318F8EE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1" name="Oval 2621">
                <a:extLst>
                  <a:ext uri="{FF2B5EF4-FFF2-40B4-BE49-F238E27FC236}">
                    <a16:creationId xmlns:a16="http://schemas.microsoft.com/office/drawing/2014/main" xmlns="" id="{0017B849-E83B-4EEC-AAC3-FCF881455A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2" name="Oval 2622">
                <a:extLst>
                  <a:ext uri="{FF2B5EF4-FFF2-40B4-BE49-F238E27FC236}">
                    <a16:creationId xmlns:a16="http://schemas.microsoft.com/office/drawing/2014/main" xmlns="" id="{3840FCEA-BA07-48A6-8628-E0530CA4C6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3" name="Oval 2623">
                <a:extLst>
                  <a:ext uri="{FF2B5EF4-FFF2-40B4-BE49-F238E27FC236}">
                    <a16:creationId xmlns:a16="http://schemas.microsoft.com/office/drawing/2014/main" xmlns="" id="{8517C6AB-78DA-4EA2-ACC3-DB70EB9D63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4" name="Oval 2624">
                <a:extLst>
                  <a:ext uri="{FF2B5EF4-FFF2-40B4-BE49-F238E27FC236}">
                    <a16:creationId xmlns:a16="http://schemas.microsoft.com/office/drawing/2014/main" xmlns="" id="{151474C7-4BA3-4526-8789-3F588F2756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4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5" name="Oval 2625">
                <a:extLst>
                  <a:ext uri="{FF2B5EF4-FFF2-40B4-BE49-F238E27FC236}">
                    <a16:creationId xmlns:a16="http://schemas.microsoft.com/office/drawing/2014/main" xmlns="" id="{637A3E53-B5F7-4D2B-9D6F-D26428ADEC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4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6" name="Oval 2626">
                <a:extLst>
                  <a:ext uri="{FF2B5EF4-FFF2-40B4-BE49-F238E27FC236}">
                    <a16:creationId xmlns:a16="http://schemas.microsoft.com/office/drawing/2014/main" xmlns="" id="{BE75D479-27A3-4C86-B393-C2C6DBBF63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4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7" name="Oval 2627">
                <a:extLst>
                  <a:ext uri="{FF2B5EF4-FFF2-40B4-BE49-F238E27FC236}">
                    <a16:creationId xmlns:a16="http://schemas.microsoft.com/office/drawing/2014/main" xmlns="" id="{25FF4F16-B447-4F77-A242-12E9C26807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8" name="Oval 2628">
                <a:extLst>
                  <a:ext uri="{FF2B5EF4-FFF2-40B4-BE49-F238E27FC236}">
                    <a16:creationId xmlns:a16="http://schemas.microsoft.com/office/drawing/2014/main" xmlns="" id="{B5D1B9AD-6869-407C-80A8-FD31F9F73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9" name="Oval 2629">
                <a:extLst>
                  <a:ext uri="{FF2B5EF4-FFF2-40B4-BE49-F238E27FC236}">
                    <a16:creationId xmlns:a16="http://schemas.microsoft.com/office/drawing/2014/main" xmlns="" id="{45171956-4028-4070-B968-3152716A16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4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0" name="Oval 2630">
                <a:extLst>
                  <a:ext uri="{FF2B5EF4-FFF2-40B4-BE49-F238E27FC236}">
                    <a16:creationId xmlns:a16="http://schemas.microsoft.com/office/drawing/2014/main" xmlns="" id="{C1141C36-7341-4522-8B29-6748769B44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1" name="Oval 2631">
                <a:extLst>
                  <a:ext uri="{FF2B5EF4-FFF2-40B4-BE49-F238E27FC236}">
                    <a16:creationId xmlns:a16="http://schemas.microsoft.com/office/drawing/2014/main" xmlns="" id="{91584CD1-C5EF-46AE-8C88-49E9CB02FC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4" y="26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2" name="Oval 2632">
                <a:extLst>
                  <a:ext uri="{FF2B5EF4-FFF2-40B4-BE49-F238E27FC236}">
                    <a16:creationId xmlns:a16="http://schemas.microsoft.com/office/drawing/2014/main" xmlns="" id="{E9BDD82E-503D-4EAF-9953-37AF36E075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4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3" name="Oval 2633">
                <a:extLst>
                  <a:ext uri="{FF2B5EF4-FFF2-40B4-BE49-F238E27FC236}">
                    <a16:creationId xmlns:a16="http://schemas.microsoft.com/office/drawing/2014/main" xmlns="" id="{5B6431FE-D37E-4069-BF8D-3D01FB5339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4" name="Oval 2634">
                <a:extLst>
                  <a:ext uri="{FF2B5EF4-FFF2-40B4-BE49-F238E27FC236}">
                    <a16:creationId xmlns:a16="http://schemas.microsoft.com/office/drawing/2014/main" xmlns="" id="{BA825897-6B4B-4030-A1A2-7AA30656BB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5" name="Oval 2635">
                <a:extLst>
                  <a:ext uri="{FF2B5EF4-FFF2-40B4-BE49-F238E27FC236}">
                    <a16:creationId xmlns:a16="http://schemas.microsoft.com/office/drawing/2014/main" xmlns="" id="{B1A1C359-E6F2-4727-8D79-3D12BDD77C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6" name="Oval 2636">
                <a:extLst>
                  <a:ext uri="{FF2B5EF4-FFF2-40B4-BE49-F238E27FC236}">
                    <a16:creationId xmlns:a16="http://schemas.microsoft.com/office/drawing/2014/main" xmlns="" id="{741D9434-FA10-4A3F-92AF-C1B0E7D9A6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7" name="Oval 2637">
                <a:extLst>
                  <a:ext uri="{FF2B5EF4-FFF2-40B4-BE49-F238E27FC236}">
                    <a16:creationId xmlns:a16="http://schemas.microsoft.com/office/drawing/2014/main" xmlns="" id="{3DA66931-F40B-4EED-86FE-7A252A8974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4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8" name="Oval 2638">
                <a:extLst>
                  <a:ext uri="{FF2B5EF4-FFF2-40B4-BE49-F238E27FC236}">
                    <a16:creationId xmlns:a16="http://schemas.microsoft.com/office/drawing/2014/main" xmlns="" id="{3C22C594-1BE9-4FD9-B0E4-6FCDFDB591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9" name="Oval 2639">
                <a:extLst>
                  <a:ext uri="{FF2B5EF4-FFF2-40B4-BE49-F238E27FC236}">
                    <a16:creationId xmlns:a16="http://schemas.microsoft.com/office/drawing/2014/main" xmlns="" id="{F5FE1887-5518-465C-80B3-108151ADCC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0" name="Oval 2640">
                <a:extLst>
                  <a:ext uri="{FF2B5EF4-FFF2-40B4-BE49-F238E27FC236}">
                    <a16:creationId xmlns:a16="http://schemas.microsoft.com/office/drawing/2014/main" xmlns="" id="{2B7C877B-4647-4AB8-83B1-F58FA6863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1" name="Oval 2641">
                <a:extLst>
                  <a:ext uri="{FF2B5EF4-FFF2-40B4-BE49-F238E27FC236}">
                    <a16:creationId xmlns:a16="http://schemas.microsoft.com/office/drawing/2014/main" xmlns="" id="{EBCAA00A-78BC-45EB-B158-3A5DA8224E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4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2" name="Oval 2642">
                <a:extLst>
                  <a:ext uri="{FF2B5EF4-FFF2-40B4-BE49-F238E27FC236}">
                    <a16:creationId xmlns:a16="http://schemas.microsoft.com/office/drawing/2014/main" xmlns="" id="{495F5092-9079-4B2A-A0F7-8182E30DF5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3" name="Oval 2643">
                <a:extLst>
                  <a:ext uri="{FF2B5EF4-FFF2-40B4-BE49-F238E27FC236}">
                    <a16:creationId xmlns:a16="http://schemas.microsoft.com/office/drawing/2014/main" xmlns="" id="{8C20932A-E594-4D00-9F68-B0101A2F04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4" name="Oval 2644">
                <a:extLst>
                  <a:ext uri="{FF2B5EF4-FFF2-40B4-BE49-F238E27FC236}">
                    <a16:creationId xmlns:a16="http://schemas.microsoft.com/office/drawing/2014/main" xmlns="" id="{BB7F1A50-0074-4369-B07E-06F15C5387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04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5" name="Oval 2645">
                <a:extLst>
                  <a:ext uri="{FF2B5EF4-FFF2-40B4-BE49-F238E27FC236}">
                    <a16:creationId xmlns:a16="http://schemas.microsoft.com/office/drawing/2014/main" xmlns="" id="{7F8812FE-24EF-4904-BDA7-BC9DE4C74D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13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6" name="Oval 2646">
                <a:extLst>
                  <a:ext uri="{FF2B5EF4-FFF2-40B4-BE49-F238E27FC236}">
                    <a16:creationId xmlns:a16="http://schemas.microsoft.com/office/drawing/2014/main" xmlns="" id="{B13DEA20-F35F-4359-A1A4-633C9B722B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7" name="Oval 2647">
                <a:extLst>
                  <a:ext uri="{FF2B5EF4-FFF2-40B4-BE49-F238E27FC236}">
                    <a16:creationId xmlns:a16="http://schemas.microsoft.com/office/drawing/2014/main" xmlns="" id="{BDC5020D-B699-44AF-8737-E950DE8BA5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4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8" name="Oval 2648">
                <a:extLst>
                  <a:ext uri="{FF2B5EF4-FFF2-40B4-BE49-F238E27FC236}">
                    <a16:creationId xmlns:a16="http://schemas.microsoft.com/office/drawing/2014/main" xmlns="" id="{5AE417E4-66A6-4247-8C60-C1D60C76B9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9" name="Oval 2649">
                <a:extLst>
                  <a:ext uri="{FF2B5EF4-FFF2-40B4-BE49-F238E27FC236}">
                    <a16:creationId xmlns:a16="http://schemas.microsoft.com/office/drawing/2014/main" xmlns="" id="{AA9D20CC-F7B7-4AAF-805F-23F3A8CCB1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0" name="Oval 2650">
                <a:extLst>
                  <a:ext uri="{FF2B5EF4-FFF2-40B4-BE49-F238E27FC236}">
                    <a16:creationId xmlns:a16="http://schemas.microsoft.com/office/drawing/2014/main" xmlns="" id="{3F04D762-EC50-471C-BF02-B34545D0F4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4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1" name="Oval 2651">
                <a:extLst>
                  <a:ext uri="{FF2B5EF4-FFF2-40B4-BE49-F238E27FC236}">
                    <a16:creationId xmlns:a16="http://schemas.microsoft.com/office/drawing/2014/main" xmlns="" id="{D03537D8-0B86-4936-A6EE-7BF6FDFF63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2" name="Oval 2652">
                <a:extLst>
                  <a:ext uri="{FF2B5EF4-FFF2-40B4-BE49-F238E27FC236}">
                    <a16:creationId xmlns:a16="http://schemas.microsoft.com/office/drawing/2014/main" xmlns="" id="{FD2E68EB-D294-4846-9D99-2759059857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3" name="Oval 2653">
                <a:extLst>
                  <a:ext uri="{FF2B5EF4-FFF2-40B4-BE49-F238E27FC236}">
                    <a16:creationId xmlns:a16="http://schemas.microsoft.com/office/drawing/2014/main" xmlns="" id="{4FDC08F2-B7CF-4762-9E55-51243FA28A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4" name="Oval 2654">
                <a:extLst>
                  <a:ext uri="{FF2B5EF4-FFF2-40B4-BE49-F238E27FC236}">
                    <a16:creationId xmlns:a16="http://schemas.microsoft.com/office/drawing/2014/main" xmlns="" id="{0D504A83-0C88-4FBC-BAB4-19FA5E5AFC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5" name="Oval 2655">
                <a:extLst>
                  <a:ext uri="{FF2B5EF4-FFF2-40B4-BE49-F238E27FC236}">
                    <a16:creationId xmlns:a16="http://schemas.microsoft.com/office/drawing/2014/main" xmlns="" id="{60B827BD-7EAB-47B5-9B94-F2027A863C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6" name="Oval 2656">
                <a:extLst>
                  <a:ext uri="{FF2B5EF4-FFF2-40B4-BE49-F238E27FC236}">
                    <a16:creationId xmlns:a16="http://schemas.microsoft.com/office/drawing/2014/main" xmlns="" id="{209F3275-34A0-409C-B35E-F3F39A16FA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7" name="Oval 2657">
                <a:extLst>
                  <a:ext uri="{FF2B5EF4-FFF2-40B4-BE49-F238E27FC236}">
                    <a16:creationId xmlns:a16="http://schemas.microsoft.com/office/drawing/2014/main" xmlns="" id="{4B220A02-F739-4766-967A-C0D8693F1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8" name="Oval 2658">
                <a:extLst>
                  <a:ext uri="{FF2B5EF4-FFF2-40B4-BE49-F238E27FC236}">
                    <a16:creationId xmlns:a16="http://schemas.microsoft.com/office/drawing/2014/main" xmlns="" id="{8656B4CD-A562-4E52-95AF-9A4A064410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14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9" name="Oval 2659">
                <a:extLst>
                  <a:ext uri="{FF2B5EF4-FFF2-40B4-BE49-F238E27FC236}">
                    <a16:creationId xmlns:a16="http://schemas.microsoft.com/office/drawing/2014/main" xmlns="" id="{F9B50E16-AC90-4702-A2B0-1CF07FCE2A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0" name="Oval 2660">
                <a:extLst>
                  <a:ext uri="{FF2B5EF4-FFF2-40B4-BE49-F238E27FC236}">
                    <a16:creationId xmlns:a16="http://schemas.microsoft.com/office/drawing/2014/main" xmlns="" id="{2A42687A-7FC7-4936-B9A7-BB3F72A714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1" name="Oval 2661">
                <a:extLst>
                  <a:ext uri="{FF2B5EF4-FFF2-40B4-BE49-F238E27FC236}">
                    <a16:creationId xmlns:a16="http://schemas.microsoft.com/office/drawing/2014/main" xmlns="" id="{A1D30381-3ABE-4656-A0A5-14B3342D28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2" name="Oval 2662">
                <a:extLst>
                  <a:ext uri="{FF2B5EF4-FFF2-40B4-BE49-F238E27FC236}">
                    <a16:creationId xmlns:a16="http://schemas.microsoft.com/office/drawing/2014/main" xmlns="" id="{7903DEAB-164A-4F5C-BFD0-DC9291899F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3" name="Oval 2663">
                <a:extLst>
                  <a:ext uri="{FF2B5EF4-FFF2-40B4-BE49-F238E27FC236}">
                    <a16:creationId xmlns:a16="http://schemas.microsoft.com/office/drawing/2014/main" xmlns="" id="{DC511BCB-AF2C-4B34-B87E-A6D4A6B459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34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4" name="Oval 2664">
                <a:extLst>
                  <a:ext uri="{FF2B5EF4-FFF2-40B4-BE49-F238E27FC236}">
                    <a16:creationId xmlns:a16="http://schemas.microsoft.com/office/drawing/2014/main" xmlns="" id="{080E606A-C7A6-476E-85AE-6A8C50CCAC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4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5" name="Oval 2665">
                <a:extLst>
                  <a:ext uri="{FF2B5EF4-FFF2-40B4-BE49-F238E27FC236}">
                    <a16:creationId xmlns:a16="http://schemas.microsoft.com/office/drawing/2014/main" xmlns="" id="{21623BEC-FC00-4378-9263-4322CD2C35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4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6" name="Oval 2666">
                <a:extLst>
                  <a:ext uri="{FF2B5EF4-FFF2-40B4-BE49-F238E27FC236}">
                    <a16:creationId xmlns:a16="http://schemas.microsoft.com/office/drawing/2014/main" xmlns="" id="{D84F49A1-396E-45B9-B4E0-401FF6E9F2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4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7" name="Oval 2667">
                <a:extLst>
                  <a:ext uri="{FF2B5EF4-FFF2-40B4-BE49-F238E27FC236}">
                    <a16:creationId xmlns:a16="http://schemas.microsoft.com/office/drawing/2014/main" xmlns="" id="{60E73FD3-7058-40CE-BB0C-44E1ADEEF2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8" name="Oval 2668">
                <a:extLst>
                  <a:ext uri="{FF2B5EF4-FFF2-40B4-BE49-F238E27FC236}">
                    <a16:creationId xmlns:a16="http://schemas.microsoft.com/office/drawing/2014/main" xmlns="" id="{26A07F9E-3012-4F03-AB25-5ED984DF0A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9" name="Oval 2669">
                <a:extLst>
                  <a:ext uri="{FF2B5EF4-FFF2-40B4-BE49-F238E27FC236}">
                    <a16:creationId xmlns:a16="http://schemas.microsoft.com/office/drawing/2014/main" xmlns="" id="{A3DF7859-55F5-4B18-9FCC-F5DD563253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0" name="Oval 2670">
                <a:extLst>
                  <a:ext uri="{FF2B5EF4-FFF2-40B4-BE49-F238E27FC236}">
                    <a16:creationId xmlns:a16="http://schemas.microsoft.com/office/drawing/2014/main" xmlns="" id="{F5CE45F5-9A75-414D-980F-01C215706D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5" y="36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1" name="Oval 2671">
                <a:extLst>
                  <a:ext uri="{FF2B5EF4-FFF2-40B4-BE49-F238E27FC236}">
                    <a16:creationId xmlns:a16="http://schemas.microsoft.com/office/drawing/2014/main" xmlns="" id="{F46F04BB-5693-467C-BAD9-A6BB54CA54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4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2" name="Oval 2672">
                <a:extLst>
                  <a:ext uri="{FF2B5EF4-FFF2-40B4-BE49-F238E27FC236}">
                    <a16:creationId xmlns:a16="http://schemas.microsoft.com/office/drawing/2014/main" xmlns="" id="{0BB9E677-68C3-48E8-AE28-62CD1B695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3" name="Oval 2673">
                <a:extLst>
                  <a:ext uri="{FF2B5EF4-FFF2-40B4-BE49-F238E27FC236}">
                    <a16:creationId xmlns:a16="http://schemas.microsoft.com/office/drawing/2014/main" xmlns="" id="{E3D7340E-A0CA-4428-8751-562A0D8FF3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5" y="78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4" name="Oval 2674">
                <a:extLst>
                  <a:ext uri="{FF2B5EF4-FFF2-40B4-BE49-F238E27FC236}">
                    <a16:creationId xmlns:a16="http://schemas.microsoft.com/office/drawing/2014/main" xmlns="" id="{D6560FF2-8BF4-4037-94A2-82543D1D2A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5" name="Oval 2675">
                <a:extLst>
                  <a:ext uri="{FF2B5EF4-FFF2-40B4-BE49-F238E27FC236}">
                    <a16:creationId xmlns:a16="http://schemas.microsoft.com/office/drawing/2014/main" xmlns="" id="{D05B4ADF-A837-415C-8AD8-CE0D147BB3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6" name="Oval 2676">
                <a:extLst>
                  <a:ext uri="{FF2B5EF4-FFF2-40B4-BE49-F238E27FC236}">
                    <a16:creationId xmlns:a16="http://schemas.microsoft.com/office/drawing/2014/main" xmlns="" id="{7778E4F6-96FE-44BA-9B42-04D03C9D37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7" name="Oval 2677">
                <a:extLst>
                  <a:ext uri="{FF2B5EF4-FFF2-40B4-BE49-F238E27FC236}">
                    <a16:creationId xmlns:a16="http://schemas.microsoft.com/office/drawing/2014/main" xmlns="" id="{60316479-79A0-44A8-B232-BDA9D5D192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1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8" name="Oval 2678">
                <a:extLst>
                  <a:ext uri="{FF2B5EF4-FFF2-40B4-BE49-F238E27FC236}">
                    <a16:creationId xmlns:a16="http://schemas.microsoft.com/office/drawing/2014/main" xmlns="" id="{CD05EBF5-D554-4EA3-98D5-E26C301145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5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9" name="Oval 2679">
                <a:extLst>
                  <a:ext uri="{FF2B5EF4-FFF2-40B4-BE49-F238E27FC236}">
                    <a16:creationId xmlns:a16="http://schemas.microsoft.com/office/drawing/2014/main" xmlns="" id="{77ACF15D-A01F-4843-BBC9-B366E91347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0" name="Oval 2680">
                <a:extLst>
                  <a:ext uri="{FF2B5EF4-FFF2-40B4-BE49-F238E27FC236}">
                    <a16:creationId xmlns:a16="http://schemas.microsoft.com/office/drawing/2014/main" xmlns="" id="{06AC55C3-5040-426E-ABF9-325D81F8F1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5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1" name="Oval 2681">
                <a:extLst>
                  <a:ext uri="{FF2B5EF4-FFF2-40B4-BE49-F238E27FC236}">
                    <a16:creationId xmlns:a16="http://schemas.microsoft.com/office/drawing/2014/main" xmlns="" id="{68A2CC6C-1E64-4601-A15D-FBCD531279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5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2" name="Oval 2682">
                <a:extLst>
                  <a:ext uri="{FF2B5EF4-FFF2-40B4-BE49-F238E27FC236}">
                    <a16:creationId xmlns:a16="http://schemas.microsoft.com/office/drawing/2014/main" xmlns="" id="{F683C56B-3054-4C7E-853C-E5DC694ECD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3" name="Oval 2683">
                <a:extLst>
                  <a:ext uri="{FF2B5EF4-FFF2-40B4-BE49-F238E27FC236}">
                    <a16:creationId xmlns:a16="http://schemas.microsoft.com/office/drawing/2014/main" xmlns="" id="{2C5584A2-A521-4B91-B6DA-857A3FC49A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4" name="Oval 2684">
                <a:extLst>
                  <a:ext uri="{FF2B5EF4-FFF2-40B4-BE49-F238E27FC236}">
                    <a16:creationId xmlns:a16="http://schemas.microsoft.com/office/drawing/2014/main" xmlns="" id="{CB8ABF81-4790-4849-81AF-6A4C3766A4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5" name="Oval 2685">
                <a:extLst>
                  <a:ext uri="{FF2B5EF4-FFF2-40B4-BE49-F238E27FC236}">
                    <a16:creationId xmlns:a16="http://schemas.microsoft.com/office/drawing/2014/main" xmlns="" id="{446DE32C-08E9-4CCC-A723-A7A37B12D8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5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6" name="Oval 2686">
                <a:extLst>
                  <a:ext uri="{FF2B5EF4-FFF2-40B4-BE49-F238E27FC236}">
                    <a16:creationId xmlns:a16="http://schemas.microsoft.com/office/drawing/2014/main" xmlns="" id="{910FCAC9-DB9F-4660-B7E4-8CA59C4B2B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7" name="Oval 2687">
                <a:extLst>
                  <a:ext uri="{FF2B5EF4-FFF2-40B4-BE49-F238E27FC236}">
                    <a16:creationId xmlns:a16="http://schemas.microsoft.com/office/drawing/2014/main" xmlns="" id="{943D6649-3DFB-4883-8D4F-878EAC4CAC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8" name="Oval 2688">
                <a:extLst>
                  <a:ext uri="{FF2B5EF4-FFF2-40B4-BE49-F238E27FC236}">
                    <a16:creationId xmlns:a16="http://schemas.microsoft.com/office/drawing/2014/main" xmlns="" id="{21657494-DDB5-415B-BB35-2E0774436A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3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9" name="Oval 2689">
                <a:extLst>
                  <a:ext uri="{FF2B5EF4-FFF2-40B4-BE49-F238E27FC236}">
                    <a16:creationId xmlns:a16="http://schemas.microsoft.com/office/drawing/2014/main" xmlns="" id="{0112293C-561F-49E7-93EE-CFCE0B8A4D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0" name="Oval 2690">
                <a:extLst>
                  <a:ext uri="{FF2B5EF4-FFF2-40B4-BE49-F238E27FC236}">
                    <a16:creationId xmlns:a16="http://schemas.microsoft.com/office/drawing/2014/main" xmlns="" id="{8E5A77F9-1ACD-49B2-A12A-492ACFC523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1" name="Oval 2691">
                <a:extLst>
                  <a:ext uri="{FF2B5EF4-FFF2-40B4-BE49-F238E27FC236}">
                    <a16:creationId xmlns:a16="http://schemas.microsoft.com/office/drawing/2014/main" xmlns="" id="{FF17AD6B-9F6D-4F1E-AA03-ADE70A3575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2" name="Oval 2692">
                <a:extLst>
                  <a:ext uri="{FF2B5EF4-FFF2-40B4-BE49-F238E27FC236}">
                    <a16:creationId xmlns:a16="http://schemas.microsoft.com/office/drawing/2014/main" xmlns="" id="{49DE2702-D92F-4EE9-9F8A-23B564032D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4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3" name="Oval 2693">
                <a:extLst>
                  <a:ext uri="{FF2B5EF4-FFF2-40B4-BE49-F238E27FC236}">
                    <a16:creationId xmlns:a16="http://schemas.microsoft.com/office/drawing/2014/main" xmlns="" id="{1D7256C6-5486-4072-887D-A6532826DA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4" name="Oval 2694">
                <a:extLst>
                  <a:ext uri="{FF2B5EF4-FFF2-40B4-BE49-F238E27FC236}">
                    <a16:creationId xmlns:a16="http://schemas.microsoft.com/office/drawing/2014/main" xmlns="" id="{451C7BF0-BA39-4F01-A0B4-0D128BBF73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5" name="Oval 2695">
                <a:extLst>
                  <a:ext uri="{FF2B5EF4-FFF2-40B4-BE49-F238E27FC236}">
                    <a16:creationId xmlns:a16="http://schemas.microsoft.com/office/drawing/2014/main" xmlns="" id="{86ECAB5E-51BD-4FBC-B0D7-0098773882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6" name="Oval 2696">
                <a:extLst>
                  <a:ext uri="{FF2B5EF4-FFF2-40B4-BE49-F238E27FC236}">
                    <a16:creationId xmlns:a16="http://schemas.microsoft.com/office/drawing/2014/main" xmlns="" id="{6D986BE1-C7A1-4D07-958C-B4C1055B2C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7" name="Oval 2697">
                <a:extLst>
                  <a:ext uri="{FF2B5EF4-FFF2-40B4-BE49-F238E27FC236}">
                    <a16:creationId xmlns:a16="http://schemas.microsoft.com/office/drawing/2014/main" xmlns="" id="{1B20F3AC-1660-475F-A4EF-B4923B45C9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8" name="Oval 2698">
                <a:extLst>
                  <a:ext uri="{FF2B5EF4-FFF2-40B4-BE49-F238E27FC236}">
                    <a16:creationId xmlns:a16="http://schemas.microsoft.com/office/drawing/2014/main" xmlns="" id="{DD26C94B-36CF-4FBD-9C1D-B2456BF3A9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9" name="Oval 2699">
                <a:extLst>
                  <a:ext uri="{FF2B5EF4-FFF2-40B4-BE49-F238E27FC236}">
                    <a16:creationId xmlns:a16="http://schemas.microsoft.com/office/drawing/2014/main" xmlns="" id="{5A84D512-EFA8-4F97-873E-07070CFEEB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0" name="Oval 2700">
                <a:extLst>
                  <a:ext uri="{FF2B5EF4-FFF2-40B4-BE49-F238E27FC236}">
                    <a16:creationId xmlns:a16="http://schemas.microsoft.com/office/drawing/2014/main" xmlns="" id="{8D32CF99-1D10-419D-AB15-BADA616E17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1" name="Oval 2701">
                <a:extLst>
                  <a:ext uri="{FF2B5EF4-FFF2-40B4-BE49-F238E27FC236}">
                    <a16:creationId xmlns:a16="http://schemas.microsoft.com/office/drawing/2014/main" xmlns="" id="{A109D0F7-4B75-4F8B-96DA-59CAD206A8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2" name="Oval 2702">
                <a:extLst>
                  <a:ext uri="{FF2B5EF4-FFF2-40B4-BE49-F238E27FC236}">
                    <a16:creationId xmlns:a16="http://schemas.microsoft.com/office/drawing/2014/main" xmlns="" id="{EDF558AF-25C5-47BB-A7D0-3F3DA26282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15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3" name="Oval 2703">
                <a:extLst>
                  <a:ext uri="{FF2B5EF4-FFF2-40B4-BE49-F238E27FC236}">
                    <a16:creationId xmlns:a16="http://schemas.microsoft.com/office/drawing/2014/main" xmlns="" id="{1132C05F-2222-4348-ABA0-C33BB62987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4" name="Oval 2704">
                <a:extLst>
                  <a:ext uri="{FF2B5EF4-FFF2-40B4-BE49-F238E27FC236}">
                    <a16:creationId xmlns:a16="http://schemas.microsoft.com/office/drawing/2014/main" xmlns="" id="{9C96B3DA-6976-465A-83B1-2D43FA9760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5" name="Oval 2705">
                <a:extLst>
                  <a:ext uri="{FF2B5EF4-FFF2-40B4-BE49-F238E27FC236}">
                    <a16:creationId xmlns:a16="http://schemas.microsoft.com/office/drawing/2014/main" xmlns="" id="{E8637EC7-FC83-449E-B35E-A48F4E94BB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6" name="Oval 2706">
                <a:extLst>
                  <a:ext uri="{FF2B5EF4-FFF2-40B4-BE49-F238E27FC236}">
                    <a16:creationId xmlns:a16="http://schemas.microsoft.com/office/drawing/2014/main" xmlns="" id="{AF18984A-5140-4DF7-8B08-ABDE10473B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7" name="Oval 2707">
                <a:extLst>
                  <a:ext uri="{FF2B5EF4-FFF2-40B4-BE49-F238E27FC236}">
                    <a16:creationId xmlns:a16="http://schemas.microsoft.com/office/drawing/2014/main" xmlns="" id="{B8AC8FCF-4456-462B-B0C0-14A9244CC5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10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8" name="Oval 2708">
                <a:extLst>
                  <a:ext uri="{FF2B5EF4-FFF2-40B4-BE49-F238E27FC236}">
                    <a16:creationId xmlns:a16="http://schemas.microsoft.com/office/drawing/2014/main" xmlns="" id="{736FB248-8A0C-4017-A971-A060567253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9" name="Oval 2709">
                <a:extLst>
                  <a:ext uri="{FF2B5EF4-FFF2-40B4-BE49-F238E27FC236}">
                    <a16:creationId xmlns:a16="http://schemas.microsoft.com/office/drawing/2014/main" xmlns="" id="{F389423D-2FE8-4DB2-9284-BD04D78F6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0" name="Oval 2710">
                <a:extLst>
                  <a:ext uri="{FF2B5EF4-FFF2-40B4-BE49-F238E27FC236}">
                    <a16:creationId xmlns:a16="http://schemas.microsoft.com/office/drawing/2014/main" xmlns="" id="{63F7FADE-7E3F-427F-A206-EBAC1E2CBE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1" name="Oval 2711">
                <a:extLst>
                  <a:ext uri="{FF2B5EF4-FFF2-40B4-BE49-F238E27FC236}">
                    <a16:creationId xmlns:a16="http://schemas.microsoft.com/office/drawing/2014/main" xmlns="" id="{FD345648-B9DC-489A-8614-982BED7689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2" name="Oval 2712">
                <a:extLst>
                  <a:ext uri="{FF2B5EF4-FFF2-40B4-BE49-F238E27FC236}">
                    <a16:creationId xmlns:a16="http://schemas.microsoft.com/office/drawing/2014/main" xmlns="" id="{A5BE3984-DE21-4625-B11A-15D495CC38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3" name="Oval 2713">
                <a:extLst>
                  <a:ext uri="{FF2B5EF4-FFF2-40B4-BE49-F238E27FC236}">
                    <a16:creationId xmlns:a16="http://schemas.microsoft.com/office/drawing/2014/main" xmlns="" id="{357E5CC3-A010-4400-BC1C-0CA954A136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4" name="Oval 2714">
                <a:extLst>
                  <a:ext uri="{FF2B5EF4-FFF2-40B4-BE49-F238E27FC236}">
                    <a16:creationId xmlns:a16="http://schemas.microsoft.com/office/drawing/2014/main" xmlns="" id="{F02EE3A0-43DB-4000-8335-C0568CB097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1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5" name="Oval 2715">
                <a:extLst>
                  <a:ext uri="{FF2B5EF4-FFF2-40B4-BE49-F238E27FC236}">
                    <a16:creationId xmlns:a16="http://schemas.microsoft.com/office/drawing/2014/main" xmlns="" id="{D022DCDE-7ACF-4CC7-9A53-B1632919EA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6" name="Oval 2716">
                <a:extLst>
                  <a:ext uri="{FF2B5EF4-FFF2-40B4-BE49-F238E27FC236}">
                    <a16:creationId xmlns:a16="http://schemas.microsoft.com/office/drawing/2014/main" xmlns="" id="{FD5212BA-CB10-46E2-AE10-378896581A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7" name="Oval 2717">
                <a:extLst>
                  <a:ext uri="{FF2B5EF4-FFF2-40B4-BE49-F238E27FC236}">
                    <a16:creationId xmlns:a16="http://schemas.microsoft.com/office/drawing/2014/main" xmlns="" id="{6122A88E-D886-4B51-9F85-89967668EE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8" name="Oval 2718">
                <a:extLst>
                  <a:ext uri="{FF2B5EF4-FFF2-40B4-BE49-F238E27FC236}">
                    <a16:creationId xmlns:a16="http://schemas.microsoft.com/office/drawing/2014/main" xmlns="" id="{A43094B7-2E51-4596-99BD-7F567D4AD8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9" name="Oval 2719">
                <a:extLst>
                  <a:ext uri="{FF2B5EF4-FFF2-40B4-BE49-F238E27FC236}">
                    <a16:creationId xmlns:a16="http://schemas.microsoft.com/office/drawing/2014/main" xmlns="" id="{1CA2DECB-8761-4F56-950A-2D73E5231C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0" name="Oval 2720">
                <a:extLst>
                  <a:ext uri="{FF2B5EF4-FFF2-40B4-BE49-F238E27FC236}">
                    <a16:creationId xmlns:a16="http://schemas.microsoft.com/office/drawing/2014/main" xmlns="" id="{80C12790-C7A5-4DF0-AB85-A0DBC7F3B0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1" name="Oval 2721">
                <a:extLst>
                  <a:ext uri="{FF2B5EF4-FFF2-40B4-BE49-F238E27FC236}">
                    <a16:creationId xmlns:a16="http://schemas.microsoft.com/office/drawing/2014/main" xmlns="" id="{1A58D89D-1A19-4BA9-BFEF-830A0D569F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2" name="Oval 2722">
                <a:extLst>
                  <a:ext uri="{FF2B5EF4-FFF2-40B4-BE49-F238E27FC236}">
                    <a16:creationId xmlns:a16="http://schemas.microsoft.com/office/drawing/2014/main" xmlns="" id="{4F3BEDFD-89C6-4C30-91D0-BD31B3C90F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3" name="Oval 2723">
                <a:extLst>
                  <a:ext uri="{FF2B5EF4-FFF2-40B4-BE49-F238E27FC236}">
                    <a16:creationId xmlns:a16="http://schemas.microsoft.com/office/drawing/2014/main" xmlns="" id="{FC59098B-80F6-4858-984D-90AA991622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4" name="Oval 2724">
                <a:extLst>
                  <a:ext uri="{FF2B5EF4-FFF2-40B4-BE49-F238E27FC236}">
                    <a16:creationId xmlns:a16="http://schemas.microsoft.com/office/drawing/2014/main" xmlns="" id="{1F861820-FD06-42AB-BE24-1E4485E1E8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5" name="Oval 2725">
                <a:extLst>
                  <a:ext uri="{FF2B5EF4-FFF2-40B4-BE49-F238E27FC236}">
                    <a16:creationId xmlns:a16="http://schemas.microsoft.com/office/drawing/2014/main" xmlns="" id="{2A081706-3ED1-412C-B142-C8C2D67EA2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6" name="Oval 2726">
                <a:extLst>
                  <a:ext uri="{FF2B5EF4-FFF2-40B4-BE49-F238E27FC236}">
                    <a16:creationId xmlns:a16="http://schemas.microsoft.com/office/drawing/2014/main" xmlns="" id="{BDA03BDF-4CD8-4D07-BC62-0938C6F1D3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7" name="Oval 2727">
                <a:extLst>
                  <a:ext uri="{FF2B5EF4-FFF2-40B4-BE49-F238E27FC236}">
                    <a16:creationId xmlns:a16="http://schemas.microsoft.com/office/drawing/2014/main" xmlns="" id="{CA602E85-B624-4A06-AC46-AEC6BEDA23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8" name="Oval 2728">
                <a:extLst>
                  <a:ext uri="{FF2B5EF4-FFF2-40B4-BE49-F238E27FC236}">
                    <a16:creationId xmlns:a16="http://schemas.microsoft.com/office/drawing/2014/main" xmlns="" id="{4F1250A6-3752-4183-B4D9-5300A4536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9" name="Oval 2729">
                <a:extLst>
                  <a:ext uri="{FF2B5EF4-FFF2-40B4-BE49-F238E27FC236}">
                    <a16:creationId xmlns:a16="http://schemas.microsoft.com/office/drawing/2014/main" xmlns="" id="{DED79C39-0757-4EF4-82BD-D87B7BBB2C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0" name="Oval 2730">
                <a:extLst>
                  <a:ext uri="{FF2B5EF4-FFF2-40B4-BE49-F238E27FC236}">
                    <a16:creationId xmlns:a16="http://schemas.microsoft.com/office/drawing/2014/main" xmlns="" id="{D9DF39CB-E626-43AF-AA6E-5F457DC3D3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1" name="Oval 2731">
                <a:extLst>
                  <a:ext uri="{FF2B5EF4-FFF2-40B4-BE49-F238E27FC236}">
                    <a16:creationId xmlns:a16="http://schemas.microsoft.com/office/drawing/2014/main" xmlns="" id="{CE8E430F-0566-44E0-A831-A618E87492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2" name="Oval 2732">
                <a:extLst>
                  <a:ext uri="{FF2B5EF4-FFF2-40B4-BE49-F238E27FC236}">
                    <a16:creationId xmlns:a16="http://schemas.microsoft.com/office/drawing/2014/main" xmlns="" id="{04D3182D-3F11-4CB6-8C21-B1E15336D6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3" name="Oval 2733">
                <a:extLst>
                  <a:ext uri="{FF2B5EF4-FFF2-40B4-BE49-F238E27FC236}">
                    <a16:creationId xmlns:a16="http://schemas.microsoft.com/office/drawing/2014/main" xmlns="" id="{D93C89EE-F466-4458-B25E-D0FD17E887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4" name="Oval 2734">
                <a:extLst>
                  <a:ext uri="{FF2B5EF4-FFF2-40B4-BE49-F238E27FC236}">
                    <a16:creationId xmlns:a16="http://schemas.microsoft.com/office/drawing/2014/main" xmlns="" id="{88701911-5AF5-4905-8C8F-A68D937CEC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5" name="Oval 2735">
                <a:extLst>
                  <a:ext uri="{FF2B5EF4-FFF2-40B4-BE49-F238E27FC236}">
                    <a16:creationId xmlns:a16="http://schemas.microsoft.com/office/drawing/2014/main" xmlns="" id="{13AFC4E8-9765-44FA-9075-D1ACE32BF3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6" name="Oval 2736">
                <a:extLst>
                  <a:ext uri="{FF2B5EF4-FFF2-40B4-BE49-F238E27FC236}">
                    <a16:creationId xmlns:a16="http://schemas.microsoft.com/office/drawing/2014/main" xmlns="" id="{FE9C3BE2-C0BB-4E84-A617-6D78892021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7" name="Oval 2737">
                <a:extLst>
                  <a:ext uri="{FF2B5EF4-FFF2-40B4-BE49-F238E27FC236}">
                    <a16:creationId xmlns:a16="http://schemas.microsoft.com/office/drawing/2014/main" xmlns="" id="{0E21BB0F-784F-4BCF-88A9-801E0F2F13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8" name="Oval 2738">
                <a:extLst>
                  <a:ext uri="{FF2B5EF4-FFF2-40B4-BE49-F238E27FC236}">
                    <a16:creationId xmlns:a16="http://schemas.microsoft.com/office/drawing/2014/main" xmlns="" id="{89565C82-67C4-43E1-9A08-EE552666B0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9" name="Oval 2739">
                <a:extLst>
                  <a:ext uri="{FF2B5EF4-FFF2-40B4-BE49-F238E27FC236}">
                    <a16:creationId xmlns:a16="http://schemas.microsoft.com/office/drawing/2014/main" xmlns="" id="{B39F0999-C685-47F6-BEC8-F5D03355FC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0" name="Oval 2740">
                <a:extLst>
                  <a:ext uri="{FF2B5EF4-FFF2-40B4-BE49-F238E27FC236}">
                    <a16:creationId xmlns:a16="http://schemas.microsoft.com/office/drawing/2014/main" xmlns="" id="{6B49215F-0DBA-4E4B-A0E4-6E8F412E6B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1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1" name="Oval 2741">
                <a:extLst>
                  <a:ext uri="{FF2B5EF4-FFF2-40B4-BE49-F238E27FC236}">
                    <a16:creationId xmlns:a16="http://schemas.microsoft.com/office/drawing/2014/main" xmlns="" id="{36CA39AB-8BF4-4DB7-AA4F-45DA2F5C76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2" name="Oval 2742">
                <a:extLst>
                  <a:ext uri="{FF2B5EF4-FFF2-40B4-BE49-F238E27FC236}">
                    <a16:creationId xmlns:a16="http://schemas.microsoft.com/office/drawing/2014/main" xmlns="" id="{C54D577F-BB37-4669-8B81-9ACA2D4104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3" name="Oval 2743">
                <a:extLst>
                  <a:ext uri="{FF2B5EF4-FFF2-40B4-BE49-F238E27FC236}">
                    <a16:creationId xmlns:a16="http://schemas.microsoft.com/office/drawing/2014/main" xmlns="" id="{5C8A0734-252E-4ABC-B5DF-FCCA0C4F44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4" name="Oval 2744">
                <a:extLst>
                  <a:ext uri="{FF2B5EF4-FFF2-40B4-BE49-F238E27FC236}">
                    <a16:creationId xmlns:a16="http://schemas.microsoft.com/office/drawing/2014/main" xmlns="" id="{B62FDB66-6213-493A-BF7E-9FB5B504EF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5" name="Oval 2745">
                <a:extLst>
                  <a:ext uri="{FF2B5EF4-FFF2-40B4-BE49-F238E27FC236}">
                    <a16:creationId xmlns:a16="http://schemas.microsoft.com/office/drawing/2014/main" xmlns="" id="{0410AA02-A4E7-4569-AC79-C60FDB3D59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99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6" name="Oval 2746">
                <a:extLst>
                  <a:ext uri="{FF2B5EF4-FFF2-40B4-BE49-F238E27FC236}">
                    <a16:creationId xmlns:a16="http://schemas.microsoft.com/office/drawing/2014/main" xmlns="" id="{6D69BCB2-A536-445B-BE8D-000C9548B7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7" name="Oval 2747">
                <a:extLst>
                  <a:ext uri="{FF2B5EF4-FFF2-40B4-BE49-F238E27FC236}">
                    <a16:creationId xmlns:a16="http://schemas.microsoft.com/office/drawing/2014/main" xmlns="" id="{78C68E1F-29E7-43A9-95F5-491ED00E82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8" name="Oval 2748">
                <a:extLst>
                  <a:ext uri="{FF2B5EF4-FFF2-40B4-BE49-F238E27FC236}">
                    <a16:creationId xmlns:a16="http://schemas.microsoft.com/office/drawing/2014/main" xmlns="" id="{0D703754-AC39-467E-A8BE-DCE818EBFF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9" name="Oval 2749">
                <a:extLst>
                  <a:ext uri="{FF2B5EF4-FFF2-40B4-BE49-F238E27FC236}">
                    <a16:creationId xmlns:a16="http://schemas.microsoft.com/office/drawing/2014/main" xmlns="" id="{75C696DB-E599-49A6-8FE4-6B24C4BDE5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0" name="Oval 2750">
                <a:extLst>
                  <a:ext uri="{FF2B5EF4-FFF2-40B4-BE49-F238E27FC236}">
                    <a16:creationId xmlns:a16="http://schemas.microsoft.com/office/drawing/2014/main" xmlns="" id="{B69F038A-97A9-429C-BBEA-60CB85DD17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45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1" name="Oval 2751">
                <a:extLst>
                  <a:ext uri="{FF2B5EF4-FFF2-40B4-BE49-F238E27FC236}">
                    <a16:creationId xmlns:a16="http://schemas.microsoft.com/office/drawing/2014/main" xmlns="" id="{72528DD1-FA07-4C69-87E0-D739B00818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3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2" name="Oval 2752">
                <a:extLst>
                  <a:ext uri="{FF2B5EF4-FFF2-40B4-BE49-F238E27FC236}">
                    <a16:creationId xmlns:a16="http://schemas.microsoft.com/office/drawing/2014/main" xmlns="" id="{8DD67A1F-CB3E-4886-A558-F8FF7CD2F5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3" name="Oval 2753">
                <a:extLst>
                  <a:ext uri="{FF2B5EF4-FFF2-40B4-BE49-F238E27FC236}">
                    <a16:creationId xmlns:a16="http://schemas.microsoft.com/office/drawing/2014/main" xmlns="" id="{ED81BB88-3C40-4372-97D2-2ABEA677C3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4" name="Oval 2754">
                <a:extLst>
                  <a:ext uri="{FF2B5EF4-FFF2-40B4-BE49-F238E27FC236}">
                    <a16:creationId xmlns:a16="http://schemas.microsoft.com/office/drawing/2014/main" xmlns="" id="{77CACFD9-90F3-422C-9BF3-6667FA3568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6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5" name="Oval 2755">
                <a:extLst>
                  <a:ext uri="{FF2B5EF4-FFF2-40B4-BE49-F238E27FC236}">
                    <a16:creationId xmlns:a16="http://schemas.microsoft.com/office/drawing/2014/main" xmlns="" id="{336062DC-B4A7-41ED-8041-DF3A261E3E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6" name="Oval 2756">
                <a:extLst>
                  <a:ext uri="{FF2B5EF4-FFF2-40B4-BE49-F238E27FC236}">
                    <a16:creationId xmlns:a16="http://schemas.microsoft.com/office/drawing/2014/main" xmlns="" id="{65F1C575-0C77-4054-8F46-2E38B071FD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7" name="Oval 2757">
                <a:extLst>
                  <a:ext uri="{FF2B5EF4-FFF2-40B4-BE49-F238E27FC236}">
                    <a16:creationId xmlns:a16="http://schemas.microsoft.com/office/drawing/2014/main" xmlns="" id="{B0BCDA78-2793-4A81-8574-B90E706B2B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8" name="Oval 2758">
                <a:extLst>
                  <a:ext uri="{FF2B5EF4-FFF2-40B4-BE49-F238E27FC236}">
                    <a16:creationId xmlns:a16="http://schemas.microsoft.com/office/drawing/2014/main" xmlns="" id="{1786878B-CCF3-4B87-8DA0-21440914F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9" name="Oval 2759">
                <a:extLst>
                  <a:ext uri="{FF2B5EF4-FFF2-40B4-BE49-F238E27FC236}">
                    <a16:creationId xmlns:a16="http://schemas.microsoft.com/office/drawing/2014/main" xmlns="" id="{9CA1D9B3-E7C7-4C64-A880-7228DDEC2E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0" name="Oval 2760">
                <a:extLst>
                  <a:ext uri="{FF2B5EF4-FFF2-40B4-BE49-F238E27FC236}">
                    <a16:creationId xmlns:a16="http://schemas.microsoft.com/office/drawing/2014/main" xmlns="" id="{62B8C270-3B81-4563-A6F5-64268454E2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1" name="Oval 2761">
                <a:extLst>
                  <a:ext uri="{FF2B5EF4-FFF2-40B4-BE49-F238E27FC236}">
                    <a16:creationId xmlns:a16="http://schemas.microsoft.com/office/drawing/2014/main" xmlns="" id="{6EF8C317-1700-44E8-96E0-0EDBB16F78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2" name="Oval 2762">
                <a:extLst>
                  <a:ext uri="{FF2B5EF4-FFF2-40B4-BE49-F238E27FC236}">
                    <a16:creationId xmlns:a16="http://schemas.microsoft.com/office/drawing/2014/main" xmlns="" id="{1F2C46FC-4275-4454-A274-6C659A2A5B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3" name="Oval 2763">
                <a:extLst>
                  <a:ext uri="{FF2B5EF4-FFF2-40B4-BE49-F238E27FC236}">
                    <a16:creationId xmlns:a16="http://schemas.microsoft.com/office/drawing/2014/main" xmlns="" id="{9D8C38EC-92D3-4FA3-A4DE-2496C3C236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4" name="Oval 2764">
                <a:extLst>
                  <a:ext uri="{FF2B5EF4-FFF2-40B4-BE49-F238E27FC236}">
                    <a16:creationId xmlns:a16="http://schemas.microsoft.com/office/drawing/2014/main" xmlns="" id="{424BC905-3B9C-44C2-9ACA-7487D15E95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5" name="Oval 2765">
                <a:extLst>
                  <a:ext uri="{FF2B5EF4-FFF2-40B4-BE49-F238E27FC236}">
                    <a16:creationId xmlns:a16="http://schemas.microsoft.com/office/drawing/2014/main" xmlns="" id="{DA8A04D8-CEF9-4FFA-9FC7-4D9D89D341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4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6" name="Oval 2766">
                <a:extLst>
                  <a:ext uri="{FF2B5EF4-FFF2-40B4-BE49-F238E27FC236}">
                    <a16:creationId xmlns:a16="http://schemas.microsoft.com/office/drawing/2014/main" xmlns="" id="{2DB2FD82-82AD-4376-971F-8FDBD44D5E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7" name="Oval 2767">
                <a:extLst>
                  <a:ext uri="{FF2B5EF4-FFF2-40B4-BE49-F238E27FC236}">
                    <a16:creationId xmlns:a16="http://schemas.microsoft.com/office/drawing/2014/main" xmlns="" id="{C2B9C4DC-AD22-492B-8212-FF8DD98A1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8" name="Oval 2768">
                <a:extLst>
                  <a:ext uri="{FF2B5EF4-FFF2-40B4-BE49-F238E27FC236}">
                    <a16:creationId xmlns:a16="http://schemas.microsoft.com/office/drawing/2014/main" xmlns="" id="{29B415E0-CC5D-4160-BF54-4C5AAE6CC2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9" name="Oval 2769">
                <a:extLst>
                  <a:ext uri="{FF2B5EF4-FFF2-40B4-BE49-F238E27FC236}">
                    <a16:creationId xmlns:a16="http://schemas.microsoft.com/office/drawing/2014/main" xmlns="" id="{889F0758-F4D2-48E6-9CB7-17BBA3439F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0" name="Oval 2770">
                <a:extLst>
                  <a:ext uri="{FF2B5EF4-FFF2-40B4-BE49-F238E27FC236}">
                    <a16:creationId xmlns:a16="http://schemas.microsoft.com/office/drawing/2014/main" xmlns="" id="{D661B9DA-28D8-4CAE-8396-EAE1CFE585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1" name="Oval 2771">
                <a:extLst>
                  <a:ext uri="{FF2B5EF4-FFF2-40B4-BE49-F238E27FC236}">
                    <a16:creationId xmlns:a16="http://schemas.microsoft.com/office/drawing/2014/main" xmlns="" id="{ED260909-BAD8-400F-AA13-5E7F669008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2" name="Oval 2772">
                <a:extLst>
                  <a:ext uri="{FF2B5EF4-FFF2-40B4-BE49-F238E27FC236}">
                    <a16:creationId xmlns:a16="http://schemas.microsoft.com/office/drawing/2014/main" xmlns="" id="{8660C176-9321-4B70-85C2-5986117710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3" name="Oval 2773">
                <a:extLst>
                  <a:ext uri="{FF2B5EF4-FFF2-40B4-BE49-F238E27FC236}">
                    <a16:creationId xmlns:a16="http://schemas.microsoft.com/office/drawing/2014/main" xmlns="" id="{405BCF63-53AF-4FFC-A73F-2D0776247D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4" name="Oval 2774">
                <a:extLst>
                  <a:ext uri="{FF2B5EF4-FFF2-40B4-BE49-F238E27FC236}">
                    <a16:creationId xmlns:a16="http://schemas.microsoft.com/office/drawing/2014/main" xmlns="" id="{6F5AA934-4F34-49C6-BE79-D335C041E4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5" name="Oval 2775">
                <a:extLst>
                  <a:ext uri="{FF2B5EF4-FFF2-40B4-BE49-F238E27FC236}">
                    <a16:creationId xmlns:a16="http://schemas.microsoft.com/office/drawing/2014/main" xmlns="" id="{E362C7F4-9373-4BE6-AD8A-930E45AD85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6" name="Oval 2776">
                <a:extLst>
                  <a:ext uri="{FF2B5EF4-FFF2-40B4-BE49-F238E27FC236}">
                    <a16:creationId xmlns:a16="http://schemas.microsoft.com/office/drawing/2014/main" xmlns="" id="{435B7E98-9856-444E-B541-162CB16797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7" name="Oval 2777">
                <a:extLst>
                  <a:ext uri="{FF2B5EF4-FFF2-40B4-BE49-F238E27FC236}">
                    <a16:creationId xmlns:a16="http://schemas.microsoft.com/office/drawing/2014/main" xmlns="" id="{4186FA8C-CF2E-4D32-A4A4-3603C39B0B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8" name="Oval 2778">
                <a:extLst>
                  <a:ext uri="{FF2B5EF4-FFF2-40B4-BE49-F238E27FC236}">
                    <a16:creationId xmlns:a16="http://schemas.microsoft.com/office/drawing/2014/main" xmlns="" id="{034127AE-3E9A-472B-93F6-103E1325CD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6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9" name="Oval 2779">
                <a:extLst>
                  <a:ext uri="{FF2B5EF4-FFF2-40B4-BE49-F238E27FC236}">
                    <a16:creationId xmlns:a16="http://schemas.microsoft.com/office/drawing/2014/main" xmlns="" id="{8B4862D2-2A20-49E1-A3E9-E81F980A27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12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0" name="Oval 2780">
                <a:extLst>
                  <a:ext uri="{FF2B5EF4-FFF2-40B4-BE49-F238E27FC236}">
                    <a16:creationId xmlns:a16="http://schemas.microsoft.com/office/drawing/2014/main" xmlns="" id="{ABF13899-165B-4373-8753-8F42F6857B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0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1" name="Oval 2781">
                <a:extLst>
                  <a:ext uri="{FF2B5EF4-FFF2-40B4-BE49-F238E27FC236}">
                    <a16:creationId xmlns:a16="http://schemas.microsoft.com/office/drawing/2014/main" xmlns="" id="{198F927F-9885-4D2C-AA3F-5666115234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606" name="Group 2983">
              <a:extLst>
                <a:ext uri="{FF2B5EF4-FFF2-40B4-BE49-F238E27FC236}">
                  <a16:creationId xmlns:a16="http://schemas.microsoft.com/office/drawing/2014/main" xmlns="" id="{61AA66A9-2F9C-41CA-9900-9A1767E4DA1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46" y="120"/>
              <a:ext cx="1979" cy="3120"/>
              <a:chOff x="1246" y="120"/>
              <a:chExt cx="1979" cy="3120"/>
            </a:xfrm>
          </p:grpSpPr>
          <p:sp>
            <p:nvSpPr>
              <p:cNvPr id="2792" name="Oval 2783">
                <a:extLst>
                  <a:ext uri="{FF2B5EF4-FFF2-40B4-BE49-F238E27FC236}">
                    <a16:creationId xmlns:a16="http://schemas.microsoft.com/office/drawing/2014/main" xmlns="" id="{0D772049-A969-4853-A807-C5221EC6E4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3" name="Oval 2784">
                <a:extLst>
                  <a:ext uri="{FF2B5EF4-FFF2-40B4-BE49-F238E27FC236}">
                    <a16:creationId xmlns:a16="http://schemas.microsoft.com/office/drawing/2014/main" xmlns="" id="{1FE068D8-3803-4AB8-AD39-4A9CE09267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4" name="Oval 2785">
                <a:extLst>
                  <a:ext uri="{FF2B5EF4-FFF2-40B4-BE49-F238E27FC236}">
                    <a16:creationId xmlns:a16="http://schemas.microsoft.com/office/drawing/2014/main" xmlns="" id="{57B0ACF4-FD32-4FDE-8841-09DB22C412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5" name="Oval 2786">
                <a:extLst>
                  <a:ext uri="{FF2B5EF4-FFF2-40B4-BE49-F238E27FC236}">
                    <a16:creationId xmlns:a16="http://schemas.microsoft.com/office/drawing/2014/main" xmlns="" id="{DD132A6D-0D8E-4CFC-AF98-AC4E5C12D0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6" name="Oval 2787">
                <a:extLst>
                  <a:ext uri="{FF2B5EF4-FFF2-40B4-BE49-F238E27FC236}">
                    <a16:creationId xmlns:a16="http://schemas.microsoft.com/office/drawing/2014/main" xmlns="" id="{A2A33441-277D-4349-B43A-ECFF67CB14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7" name="Oval 2788">
                <a:extLst>
                  <a:ext uri="{FF2B5EF4-FFF2-40B4-BE49-F238E27FC236}">
                    <a16:creationId xmlns:a16="http://schemas.microsoft.com/office/drawing/2014/main" xmlns="" id="{5B671F36-904D-40B2-8D86-C45FDCEE24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8" name="Oval 2789">
                <a:extLst>
                  <a:ext uri="{FF2B5EF4-FFF2-40B4-BE49-F238E27FC236}">
                    <a16:creationId xmlns:a16="http://schemas.microsoft.com/office/drawing/2014/main" xmlns="" id="{0A2B99D6-F833-4E06-BB34-D585896EA8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7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9" name="Oval 2790">
                <a:extLst>
                  <a:ext uri="{FF2B5EF4-FFF2-40B4-BE49-F238E27FC236}">
                    <a16:creationId xmlns:a16="http://schemas.microsoft.com/office/drawing/2014/main" xmlns="" id="{85EB187E-E9FF-470D-85B0-870D18B55D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0" name="Oval 2791">
                <a:extLst>
                  <a:ext uri="{FF2B5EF4-FFF2-40B4-BE49-F238E27FC236}">
                    <a16:creationId xmlns:a16="http://schemas.microsoft.com/office/drawing/2014/main" xmlns="" id="{4D9AF970-C3CA-4AFD-AC14-1348D9C6C2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1" name="Oval 2792">
                <a:extLst>
                  <a:ext uri="{FF2B5EF4-FFF2-40B4-BE49-F238E27FC236}">
                    <a16:creationId xmlns:a16="http://schemas.microsoft.com/office/drawing/2014/main" xmlns="" id="{A364CE03-A0E6-4CB1-85D4-7E85F50DF9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13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2" name="Oval 2793">
                <a:extLst>
                  <a:ext uri="{FF2B5EF4-FFF2-40B4-BE49-F238E27FC236}">
                    <a16:creationId xmlns:a16="http://schemas.microsoft.com/office/drawing/2014/main" xmlns="" id="{8F676246-2784-4A65-9966-E756CCF896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3" name="Oval 2794">
                <a:extLst>
                  <a:ext uri="{FF2B5EF4-FFF2-40B4-BE49-F238E27FC236}">
                    <a16:creationId xmlns:a16="http://schemas.microsoft.com/office/drawing/2014/main" xmlns="" id="{1331C03A-277A-445E-BC67-A1BC3E2726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15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4" name="Oval 2795">
                <a:extLst>
                  <a:ext uri="{FF2B5EF4-FFF2-40B4-BE49-F238E27FC236}">
                    <a16:creationId xmlns:a16="http://schemas.microsoft.com/office/drawing/2014/main" xmlns="" id="{76657A6B-3E94-4F03-A696-D12049C026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5" name="Oval 2796">
                <a:extLst>
                  <a:ext uri="{FF2B5EF4-FFF2-40B4-BE49-F238E27FC236}">
                    <a16:creationId xmlns:a16="http://schemas.microsoft.com/office/drawing/2014/main" xmlns="" id="{516E9942-EC58-42C6-AD5A-3F00135498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6" name="Oval 2797">
                <a:extLst>
                  <a:ext uri="{FF2B5EF4-FFF2-40B4-BE49-F238E27FC236}">
                    <a16:creationId xmlns:a16="http://schemas.microsoft.com/office/drawing/2014/main" xmlns="" id="{EC52A1F4-DC9E-4F04-AA05-FFDB7F2FEB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7" name="Oval 2798">
                <a:extLst>
                  <a:ext uri="{FF2B5EF4-FFF2-40B4-BE49-F238E27FC236}">
                    <a16:creationId xmlns:a16="http://schemas.microsoft.com/office/drawing/2014/main" xmlns="" id="{9EC7A489-408D-4A5F-94D5-2A55CEC2B7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8" name="Oval 2799">
                <a:extLst>
                  <a:ext uri="{FF2B5EF4-FFF2-40B4-BE49-F238E27FC236}">
                    <a16:creationId xmlns:a16="http://schemas.microsoft.com/office/drawing/2014/main" xmlns="" id="{95659B63-CB82-426F-9176-16E13149F0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9" name="Oval 2800">
                <a:extLst>
                  <a:ext uri="{FF2B5EF4-FFF2-40B4-BE49-F238E27FC236}">
                    <a16:creationId xmlns:a16="http://schemas.microsoft.com/office/drawing/2014/main" xmlns="" id="{03BB9CC8-D3BB-4F9B-BCB6-DCF93FFF43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0" name="Oval 2801">
                <a:extLst>
                  <a:ext uri="{FF2B5EF4-FFF2-40B4-BE49-F238E27FC236}">
                    <a16:creationId xmlns:a16="http://schemas.microsoft.com/office/drawing/2014/main" xmlns="" id="{9F1EEA1D-01C6-4834-98D7-E70590F34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1" name="Oval 2802">
                <a:extLst>
                  <a:ext uri="{FF2B5EF4-FFF2-40B4-BE49-F238E27FC236}">
                    <a16:creationId xmlns:a16="http://schemas.microsoft.com/office/drawing/2014/main" xmlns="" id="{CDD88DF9-910C-4929-A29A-3D526EF048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2" name="Oval 2803">
                <a:extLst>
                  <a:ext uri="{FF2B5EF4-FFF2-40B4-BE49-F238E27FC236}">
                    <a16:creationId xmlns:a16="http://schemas.microsoft.com/office/drawing/2014/main" xmlns="" id="{0695A538-8399-48BB-BE53-2E68B7F3C0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8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3" name="Oval 2804">
                <a:extLst>
                  <a:ext uri="{FF2B5EF4-FFF2-40B4-BE49-F238E27FC236}">
                    <a16:creationId xmlns:a16="http://schemas.microsoft.com/office/drawing/2014/main" xmlns="" id="{96849FD4-DE1F-4D37-A9F8-5D24B1A266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4" name="Oval 2805">
                <a:extLst>
                  <a:ext uri="{FF2B5EF4-FFF2-40B4-BE49-F238E27FC236}">
                    <a16:creationId xmlns:a16="http://schemas.microsoft.com/office/drawing/2014/main" xmlns="" id="{2061F435-8C91-4936-8470-0949F73622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5" name="Oval 2806">
                <a:extLst>
                  <a:ext uri="{FF2B5EF4-FFF2-40B4-BE49-F238E27FC236}">
                    <a16:creationId xmlns:a16="http://schemas.microsoft.com/office/drawing/2014/main" xmlns="" id="{7067F547-A8DB-46AA-B5C1-9DEAF3F95C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6" name="Oval 2807">
                <a:extLst>
                  <a:ext uri="{FF2B5EF4-FFF2-40B4-BE49-F238E27FC236}">
                    <a16:creationId xmlns:a16="http://schemas.microsoft.com/office/drawing/2014/main" xmlns="" id="{88D60458-D445-4712-9E24-292E8731D6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7" name="Oval 2808">
                <a:extLst>
                  <a:ext uri="{FF2B5EF4-FFF2-40B4-BE49-F238E27FC236}">
                    <a16:creationId xmlns:a16="http://schemas.microsoft.com/office/drawing/2014/main" xmlns="" id="{1310FDAD-2CCA-43B1-BBA3-204CBD8A9C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8" name="Oval 2809">
                <a:extLst>
                  <a:ext uri="{FF2B5EF4-FFF2-40B4-BE49-F238E27FC236}">
                    <a16:creationId xmlns:a16="http://schemas.microsoft.com/office/drawing/2014/main" xmlns="" id="{0E5D87A0-1C1C-4195-839B-CCF1E5B11C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9" name="Oval 2810">
                <a:extLst>
                  <a:ext uri="{FF2B5EF4-FFF2-40B4-BE49-F238E27FC236}">
                    <a16:creationId xmlns:a16="http://schemas.microsoft.com/office/drawing/2014/main" xmlns="" id="{2E066F40-3C7F-42C0-A109-5ABA40E389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0" name="Oval 2811">
                <a:extLst>
                  <a:ext uri="{FF2B5EF4-FFF2-40B4-BE49-F238E27FC236}">
                    <a16:creationId xmlns:a16="http://schemas.microsoft.com/office/drawing/2014/main" xmlns="" id="{478CF495-B5CD-4A0E-B1B1-43BBD7D1FE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1" name="Oval 2812">
                <a:extLst>
                  <a:ext uri="{FF2B5EF4-FFF2-40B4-BE49-F238E27FC236}">
                    <a16:creationId xmlns:a16="http://schemas.microsoft.com/office/drawing/2014/main" xmlns="" id="{BE01D9F8-749F-4BCB-A9A1-2AAD769580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2" name="Oval 2813">
                <a:extLst>
                  <a:ext uri="{FF2B5EF4-FFF2-40B4-BE49-F238E27FC236}">
                    <a16:creationId xmlns:a16="http://schemas.microsoft.com/office/drawing/2014/main" xmlns="" id="{E728FD31-8C2D-4667-82BB-D94B7B41B3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3" name="Oval 2814">
                <a:extLst>
                  <a:ext uri="{FF2B5EF4-FFF2-40B4-BE49-F238E27FC236}">
                    <a16:creationId xmlns:a16="http://schemas.microsoft.com/office/drawing/2014/main" xmlns="" id="{4853CF3C-758C-476F-88E9-1EA572A9FE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4" name="Oval 2815">
                <a:extLst>
                  <a:ext uri="{FF2B5EF4-FFF2-40B4-BE49-F238E27FC236}">
                    <a16:creationId xmlns:a16="http://schemas.microsoft.com/office/drawing/2014/main" xmlns="" id="{51FDDDDB-99AC-4F6C-B15D-388060854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5" name="Oval 2816">
                <a:extLst>
                  <a:ext uri="{FF2B5EF4-FFF2-40B4-BE49-F238E27FC236}">
                    <a16:creationId xmlns:a16="http://schemas.microsoft.com/office/drawing/2014/main" xmlns="" id="{903B6DBA-2BA0-4670-BB0E-44DC95ADFE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6" name="Oval 2817">
                <a:extLst>
                  <a:ext uri="{FF2B5EF4-FFF2-40B4-BE49-F238E27FC236}">
                    <a16:creationId xmlns:a16="http://schemas.microsoft.com/office/drawing/2014/main" xmlns="" id="{D23B8104-9D8A-40AF-806E-6F1B0468E0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7" name="Oval 2818">
                <a:extLst>
                  <a:ext uri="{FF2B5EF4-FFF2-40B4-BE49-F238E27FC236}">
                    <a16:creationId xmlns:a16="http://schemas.microsoft.com/office/drawing/2014/main" xmlns="" id="{9E588A3B-6E2F-4233-B5CC-20E16AFB1F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8" name="Oval 2819">
                <a:extLst>
                  <a:ext uri="{FF2B5EF4-FFF2-40B4-BE49-F238E27FC236}">
                    <a16:creationId xmlns:a16="http://schemas.microsoft.com/office/drawing/2014/main" xmlns="" id="{4F94432C-1D3B-4A36-9753-7446CD37E8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6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9" name="Oval 2820">
                <a:extLst>
                  <a:ext uri="{FF2B5EF4-FFF2-40B4-BE49-F238E27FC236}">
                    <a16:creationId xmlns:a16="http://schemas.microsoft.com/office/drawing/2014/main" xmlns="" id="{26F439E5-D21A-434A-A4EC-C3B499415A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0" name="Oval 2821">
                <a:extLst>
                  <a:ext uri="{FF2B5EF4-FFF2-40B4-BE49-F238E27FC236}">
                    <a16:creationId xmlns:a16="http://schemas.microsoft.com/office/drawing/2014/main" xmlns="" id="{868176EB-7958-4ED6-874C-1771E515E6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1" name="Oval 2822">
                <a:extLst>
                  <a:ext uri="{FF2B5EF4-FFF2-40B4-BE49-F238E27FC236}">
                    <a16:creationId xmlns:a16="http://schemas.microsoft.com/office/drawing/2014/main" xmlns="" id="{0CCEA681-107D-4125-B4C3-9FB74A2C44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2" name="Oval 2823">
                <a:extLst>
                  <a:ext uri="{FF2B5EF4-FFF2-40B4-BE49-F238E27FC236}">
                    <a16:creationId xmlns:a16="http://schemas.microsoft.com/office/drawing/2014/main" xmlns="" id="{32A05AA8-4FF1-4EDC-8D1F-F1359639B8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3" name="Oval 2824">
                <a:extLst>
                  <a:ext uri="{FF2B5EF4-FFF2-40B4-BE49-F238E27FC236}">
                    <a16:creationId xmlns:a16="http://schemas.microsoft.com/office/drawing/2014/main" xmlns="" id="{27433B23-A21E-42B8-9064-1FD9FEAC78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4" name="Oval 2825">
                <a:extLst>
                  <a:ext uri="{FF2B5EF4-FFF2-40B4-BE49-F238E27FC236}">
                    <a16:creationId xmlns:a16="http://schemas.microsoft.com/office/drawing/2014/main" xmlns="" id="{44426377-7A96-4582-9FE1-2B8DFC18E4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5" name="Oval 2826">
                <a:extLst>
                  <a:ext uri="{FF2B5EF4-FFF2-40B4-BE49-F238E27FC236}">
                    <a16:creationId xmlns:a16="http://schemas.microsoft.com/office/drawing/2014/main" xmlns="" id="{00AE6228-EFE2-4F48-9047-DC8FE170CB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6" name="Oval 2827">
                <a:extLst>
                  <a:ext uri="{FF2B5EF4-FFF2-40B4-BE49-F238E27FC236}">
                    <a16:creationId xmlns:a16="http://schemas.microsoft.com/office/drawing/2014/main" xmlns="" id="{3FF9B01F-7EFF-4DE6-B215-353182D599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7" name="Oval 2828">
                <a:extLst>
                  <a:ext uri="{FF2B5EF4-FFF2-40B4-BE49-F238E27FC236}">
                    <a16:creationId xmlns:a16="http://schemas.microsoft.com/office/drawing/2014/main" xmlns="" id="{CFDC902C-7C0E-4B37-9183-816542FD7B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8" name="Oval 2829">
                <a:extLst>
                  <a:ext uri="{FF2B5EF4-FFF2-40B4-BE49-F238E27FC236}">
                    <a16:creationId xmlns:a16="http://schemas.microsoft.com/office/drawing/2014/main" xmlns="" id="{B2A5CCE5-AC50-4AAC-BD6E-214644643C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0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9" name="Oval 2830">
                <a:extLst>
                  <a:ext uri="{FF2B5EF4-FFF2-40B4-BE49-F238E27FC236}">
                    <a16:creationId xmlns:a16="http://schemas.microsoft.com/office/drawing/2014/main" xmlns="" id="{8D2EBB3B-0AC1-48FB-840A-A0E95D1EF6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0" name="Oval 2831">
                <a:extLst>
                  <a:ext uri="{FF2B5EF4-FFF2-40B4-BE49-F238E27FC236}">
                    <a16:creationId xmlns:a16="http://schemas.microsoft.com/office/drawing/2014/main" xmlns="" id="{FCEB5FE0-CB81-4D46-8AF7-1E89D43F31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1" name="Oval 2832">
                <a:extLst>
                  <a:ext uri="{FF2B5EF4-FFF2-40B4-BE49-F238E27FC236}">
                    <a16:creationId xmlns:a16="http://schemas.microsoft.com/office/drawing/2014/main" xmlns="" id="{D8265628-6521-42F6-875E-7ACE23B41A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2" name="Oval 2833">
                <a:extLst>
                  <a:ext uri="{FF2B5EF4-FFF2-40B4-BE49-F238E27FC236}">
                    <a16:creationId xmlns:a16="http://schemas.microsoft.com/office/drawing/2014/main" xmlns="" id="{E23769AB-85BA-4573-8D27-9C9992791E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3" name="Oval 2834">
                <a:extLst>
                  <a:ext uri="{FF2B5EF4-FFF2-40B4-BE49-F238E27FC236}">
                    <a16:creationId xmlns:a16="http://schemas.microsoft.com/office/drawing/2014/main" xmlns="" id="{9827C4B2-38A1-4DFF-93F1-87658EF11F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4" name="Oval 2835">
                <a:extLst>
                  <a:ext uri="{FF2B5EF4-FFF2-40B4-BE49-F238E27FC236}">
                    <a16:creationId xmlns:a16="http://schemas.microsoft.com/office/drawing/2014/main" xmlns="" id="{81B71D78-0F15-406C-BC60-6FDE98E18B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5" name="Oval 2836">
                <a:extLst>
                  <a:ext uri="{FF2B5EF4-FFF2-40B4-BE49-F238E27FC236}">
                    <a16:creationId xmlns:a16="http://schemas.microsoft.com/office/drawing/2014/main" xmlns="" id="{581F50A6-68EA-442B-A814-79BDC1B78D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6" name="Oval 2837">
                <a:extLst>
                  <a:ext uri="{FF2B5EF4-FFF2-40B4-BE49-F238E27FC236}">
                    <a16:creationId xmlns:a16="http://schemas.microsoft.com/office/drawing/2014/main" xmlns="" id="{7D4E501C-D9A9-4909-918F-F098ADFB8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7" name="Oval 2838">
                <a:extLst>
                  <a:ext uri="{FF2B5EF4-FFF2-40B4-BE49-F238E27FC236}">
                    <a16:creationId xmlns:a16="http://schemas.microsoft.com/office/drawing/2014/main" xmlns="" id="{92DE0C6A-5EC2-4E98-A1F2-7995010FFF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8" name="Oval 2839">
                <a:extLst>
                  <a:ext uri="{FF2B5EF4-FFF2-40B4-BE49-F238E27FC236}">
                    <a16:creationId xmlns:a16="http://schemas.microsoft.com/office/drawing/2014/main" xmlns="" id="{0A3AFEFC-1E87-461E-BCBB-6D0BABF56C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9" name="Oval 2840">
                <a:extLst>
                  <a:ext uri="{FF2B5EF4-FFF2-40B4-BE49-F238E27FC236}">
                    <a16:creationId xmlns:a16="http://schemas.microsoft.com/office/drawing/2014/main" xmlns="" id="{F7BB7845-B6C3-495B-84DB-6868353856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0" name="Oval 2841">
                <a:extLst>
                  <a:ext uri="{FF2B5EF4-FFF2-40B4-BE49-F238E27FC236}">
                    <a16:creationId xmlns:a16="http://schemas.microsoft.com/office/drawing/2014/main" xmlns="" id="{F0CCACB5-A3F0-48B4-A2EC-7D715AD496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1" name="Oval 2842">
                <a:extLst>
                  <a:ext uri="{FF2B5EF4-FFF2-40B4-BE49-F238E27FC236}">
                    <a16:creationId xmlns:a16="http://schemas.microsoft.com/office/drawing/2014/main" xmlns="" id="{7C32428E-47B1-4189-A299-75B8DBCD2F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2" name="Oval 2843">
                <a:extLst>
                  <a:ext uri="{FF2B5EF4-FFF2-40B4-BE49-F238E27FC236}">
                    <a16:creationId xmlns:a16="http://schemas.microsoft.com/office/drawing/2014/main" xmlns="" id="{228DAD51-D8FF-4B6F-B61B-21F193F455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3" name="Oval 2844">
                <a:extLst>
                  <a:ext uri="{FF2B5EF4-FFF2-40B4-BE49-F238E27FC236}">
                    <a16:creationId xmlns:a16="http://schemas.microsoft.com/office/drawing/2014/main" xmlns="" id="{D29FE72A-37A4-49D6-B65A-16DA28ADD7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4" name="Oval 2845">
                <a:extLst>
                  <a:ext uri="{FF2B5EF4-FFF2-40B4-BE49-F238E27FC236}">
                    <a16:creationId xmlns:a16="http://schemas.microsoft.com/office/drawing/2014/main" xmlns="" id="{1EB23FB0-45BE-4129-8BAC-898AFF2594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75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5" name="Oval 2846">
                <a:extLst>
                  <a:ext uri="{FF2B5EF4-FFF2-40B4-BE49-F238E27FC236}">
                    <a16:creationId xmlns:a16="http://schemas.microsoft.com/office/drawing/2014/main" xmlns="" id="{2BF66118-7851-4988-BF7C-B33CD5B7DF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6" name="Oval 2847">
                <a:extLst>
                  <a:ext uri="{FF2B5EF4-FFF2-40B4-BE49-F238E27FC236}">
                    <a16:creationId xmlns:a16="http://schemas.microsoft.com/office/drawing/2014/main" xmlns="" id="{64D79C42-65F9-4B26-992D-E179ABDB5F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6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7" name="Oval 2848">
                <a:extLst>
                  <a:ext uri="{FF2B5EF4-FFF2-40B4-BE49-F238E27FC236}">
                    <a16:creationId xmlns:a16="http://schemas.microsoft.com/office/drawing/2014/main" xmlns="" id="{C3517A56-BAF8-40B6-8B3C-28980746EE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8" name="Oval 2849">
                <a:extLst>
                  <a:ext uri="{FF2B5EF4-FFF2-40B4-BE49-F238E27FC236}">
                    <a16:creationId xmlns:a16="http://schemas.microsoft.com/office/drawing/2014/main" xmlns="" id="{F6D235F7-CE4E-4B56-8662-42117E9466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9" name="Oval 2850">
                <a:extLst>
                  <a:ext uri="{FF2B5EF4-FFF2-40B4-BE49-F238E27FC236}">
                    <a16:creationId xmlns:a16="http://schemas.microsoft.com/office/drawing/2014/main" xmlns="" id="{4F21C202-78A8-48EA-8DDB-45CE186FF7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0" name="Oval 2851">
                <a:extLst>
                  <a:ext uri="{FF2B5EF4-FFF2-40B4-BE49-F238E27FC236}">
                    <a16:creationId xmlns:a16="http://schemas.microsoft.com/office/drawing/2014/main" xmlns="" id="{61FDF714-3093-4CF8-8976-5CA615EFEE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10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1" name="Oval 2852">
                <a:extLst>
                  <a:ext uri="{FF2B5EF4-FFF2-40B4-BE49-F238E27FC236}">
                    <a16:creationId xmlns:a16="http://schemas.microsoft.com/office/drawing/2014/main" xmlns="" id="{BC0E7A67-7122-44E0-BA9A-85C3A5CD5E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2" name="Oval 2853">
                <a:extLst>
                  <a:ext uri="{FF2B5EF4-FFF2-40B4-BE49-F238E27FC236}">
                    <a16:creationId xmlns:a16="http://schemas.microsoft.com/office/drawing/2014/main" xmlns="" id="{59199D29-4D75-4A8A-A983-22C1EBC217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3" name="Oval 2854">
                <a:extLst>
                  <a:ext uri="{FF2B5EF4-FFF2-40B4-BE49-F238E27FC236}">
                    <a16:creationId xmlns:a16="http://schemas.microsoft.com/office/drawing/2014/main" xmlns="" id="{C8A70D15-F98C-4B57-AE92-4B06D1E347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5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4" name="Oval 2855">
                <a:extLst>
                  <a:ext uri="{FF2B5EF4-FFF2-40B4-BE49-F238E27FC236}">
                    <a16:creationId xmlns:a16="http://schemas.microsoft.com/office/drawing/2014/main" xmlns="" id="{AC013C42-2619-4E47-BAF8-DE17C5AE8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5" name="Oval 2856">
                <a:extLst>
                  <a:ext uri="{FF2B5EF4-FFF2-40B4-BE49-F238E27FC236}">
                    <a16:creationId xmlns:a16="http://schemas.microsoft.com/office/drawing/2014/main" xmlns="" id="{9A174792-39AA-47BA-9E53-96A4E7D93D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6" name="Oval 2857">
                <a:extLst>
                  <a:ext uri="{FF2B5EF4-FFF2-40B4-BE49-F238E27FC236}">
                    <a16:creationId xmlns:a16="http://schemas.microsoft.com/office/drawing/2014/main" xmlns="" id="{21C0AAC1-1F6F-4017-90C9-8C050E0FC7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3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7" name="Oval 2858">
                <a:extLst>
                  <a:ext uri="{FF2B5EF4-FFF2-40B4-BE49-F238E27FC236}">
                    <a16:creationId xmlns:a16="http://schemas.microsoft.com/office/drawing/2014/main" xmlns="" id="{04E22DEC-658D-4261-B376-9E0C071E10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8" name="Oval 2859">
                <a:extLst>
                  <a:ext uri="{FF2B5EF4-FFF2-40B4-BE49-F238E27FC236}">
                    <a16:creationId xmlns:a16="http://schemas.microsoft.com/office/drawing/2014/main" xmlns="" id="{383CB2AB-1EAF-434C-B475-E65F999380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9" name="Oval 2860">
                <a:extLst>
                  <a:ext uri="{FF2B5EF4-FFF2-40B4-BE49-F238E27FC236}">
                    <a16:creationId xmlns:a16="http://schemas.microsoft.com/office/drawing/2014/main" xmlns="" id="{D0FF22DC-471D-41F8-AAF7-544F875203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0" name="Oval 2861">
                <a:extLst>
                  <a:ext uri="{FF2B5EF4-FFF2-40B4-BE49-F238E27FC236}">
                    <a16:creationId xmlns:a16="http://schemas.microsoft.com/office/drawing/2014/main" xmlns="" id="{7B2A3491-1A5D-4926-9F98-85BADFEFCF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1" name="Oval 2862">
                <a:extLst>
                  <a:ext uri="{FF2B5EF4-FFF2-40B4-BE49-F238E27FC236}">
                    <a16:creationId xmlns:a16="http://schemas.microsoft.com/office/drawing/2014/main" xmlns="" id="{9D23DCA7-F34F-4BA5-9BDE-DDA13547A4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2" name="Oval 2863">
                <a:extLst>
                  <a:ext uri="{FF2B5EF4-FFF2-40B4-BE49-F238E27FC236}">
                    <a16:creationId xmlns:a16="http://schemas.microsoft.com/office/drawing/2014/main" xmlns="" id="{D1E3DD51-76B1-4264-8DA4-0606F8AE58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3" name="Oval 2864">
                <a:extLst>
                  <a:ext uri="{FF2B5EF4-FFF2-40B4-BE49-F238E27FC236}">
                    <a16:creationId xmlns:a16="http://schemas.microsoft.com/office/drawing/2014/main" xmlns="" id="{226A55B7-1547-4A7B-8BF4-F95C2B4592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4" name="Oval 2865">
                <a:extLst>
                  <a:ext uri="{FF2B5EF4-FFF2-40B4-BE49-F238E27FC236}">
                    <a16:creationId xmlns:a16="http://schemas.microsoft.com/office/drawing/2014/main" xmlns="" id="{E5E59396-68BB-46FA-AEAB-31259CCAC7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5" name="Oval 2866">
                <a:extLst>
                  <a:ext uri="{FF2B5EF4-FFF2-40B4-BE49-F238E27FC236}">
                    <a16:creationId xmlns:a16="http://schemas.microsoft.com/office/drawing/2014/main" xmlns="" id="{F73EFD56-980F-46DE-A442-29174D22C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6" name="Oval 2867">
                <a:extLst>
                  <a:ext uri="{FF2B5EF4-FFF2-40B4-BE49-F238E27FC236}">
                    <a16:creationId xmlns:a16="http://schemas.microsoft.com/office/drawing/2014/main" xmlns="" id="{A7857A68-E134-497C-8B11-BC88DD293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7" name="Oval 2868">
                <a:extLst>
                  <a:ext uri="{FF2B5EF4-FFF2-40B4-BE49-F238E27FC236}">
                    <a16:creationId xmlns:a16="http://schemas.microsoft.com/office/drawing/2014/main" xmlns="" id="{680771A5-FA66-4D93-AD62-CD47FE3BEF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8" name="Oval 2869">
                <a:extLst>
                  <a:ext uri="{FF2B5EF4-FFF2-40B4-BE49-F238E27FC236}">
                    <a16:creationId xmlns:a16="http://schemas.microsoft.com/office/drawing/2014/main" xmlns="" id="{3ABE1EEA-EF8F-44A2-A119-AF7B87897D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9" name="Oval 2870">
                <a:extLst>
                  <a:ext uri="{FF2B5EF4-FFF2-40B4-BE49-F238E27FC236}">
                    <a16:creationId xmlns:a16="http://schemas.microsoft.com/office/drawing/2014/main" xmlns="" id="{BCD03EC3-CB26-4235-91EF-71AE86D2DA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0" name="Oval 2871">
                <a:extLst>
                  <a:ext uri="{FF2B5EF4-FFF2-40B4-BE49-F238E27FC236}">
                    <a16:creationId xmlns:a16="http://schemas.microsoft.com/office/drawing/2014/main" xmlns="" id="{AFEC504F-09CD-4DFD-A286-88E385037D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1" name="Oval 2872">
                <a:extLst>
                  <a:ext uri="{FF2B5EF4-FFF2-40B4-BE49-F238E27FC236}">
                    <a16:creationId xmlns:a16="http://schemas.microsoft.com/office/drawing/2014/main" xmlns="" id="{E843F484-CEFF-423A-A045-2E6A6930B4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2" name="Oval 2873">
                <a:extLst>
                  <a:ext uri="{FF2B5EF4-FFF2-40B4-BE49-F238E27FC236}">
                    <a16:creationId xmlns:a16="http://schemas.microsoft.com/office/drawing/2014/main" xmlns="" id="{8404F9E6-BF00-491D-BBDC-AB1ABD8FD2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4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3" name="Oval 2874">
                <a:extLst>
                  <a:ext uri="{FF2B5EF4-FFF2-40B4-BE49-F238E27FC236}">
                    <a16:creationId xmlns:a16="http://schemas.microsoft.com/office/drawing/2014/main" xmlns="" id="{270D8579-5715-4ABA-A31E-5AD480584F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4" name="Oval 2875">
                <a:extLst>
                  <a:ext uri="{FF2B5EF4-FFF2-40B4-BE49-F238E27FC236}">
                    <a16:creationId xmlns:a16="http://schemas.microsoft.com/office/drawing/2014/main" xmlns="" id="{15E423C9-B041-4FAA-8CC5-E1A4D16A14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5" name="Oval 2876">
                <a:extLst>
                  <a:ext uri="{FF2B5EF4-FFF2-40B4-BE49-F238E27FC236}">
                    <a16:creationId xmlns:a16="http://schemas.microsoft.com/office/drawing/2014/main" xmlns="" id="{81C7870D-2DAB-4006-BAB7-A8C820EDD8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6" name="Oval 2877">
                <a:extLst>
                  <a:ext uri="{FF2B5EF4-FFF2-40B4-BE49-F238E27FC236}">
                    <a16:creationId xmlns:a16="http://schemas.microsoft.com/office/drawing/2014/main" xmlns="" id="{38AEB002-0EDD-4FB8-A42A-9B4142578E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7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7" name="Oval 2878">
                <a:extLst>
                  <a:ext uri="{FF2B5EF4-FFF2-40B4-BE49-F238E27FC236}">
                    <a16:creationId xmlns:a16="http://schemas.microsoft.com/office/drawing/2014/main" xmlns="" id="{881DA672-3D14-41E2-B489-B18C4CF6A8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8" name="Oval 2879">
                <a:extLst>
                  <a:ext uri="{FF2B5EF4-FFF2-40B4-BE49-F238E27FC236}">
                    <a16:creationId xmlns:a16="http://schemas.microsoft.com/office/drawing/2014/main" xmlns="" id="{40DBC6A2-7C9E-444F-A020-185BBC115C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9" name="Oval 2880">
                <a:extLst>
                  <a:ext uri="{FF2B5EF4-FFF2-40B4-BE49-F238E27FC236}">
                    <a16:creationId xmlns:a16="http://schemas.microsoft.com/office/drawing/2014/main" xmlns="" id="{BC049EA0-AF2D-4044-96BB-F731C3A87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0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0" name="Oval 2881">
                <a:extLst>
                  <a:ext uri="{FF2B5EF4-FFF2-40B4-BE49-F238E27FC236}">
                    <a16:creationId xmlns:a16="http://schemas.microsoft.com/office/drawing/2014/main" xmlns="" id="{58CBE8B0-4BB5-4B81-91A6-987A2AB5B9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1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1" name="Oval 2882">
                <a:extLst>
                  <a:ext uri="{FF2B5EF4-FFF2-40B4-BE49-F238E27FC236}">
                    <a16:creationId xmlns:a16="http://schemas.microsoft.com/office/drawing/2014/main" xmlns="" id="{08F51A0B-4274-492C-BF5E-3D77E021D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2" name="Oval 2883">
                <a:extLst>
                  <a:ext uri="{FF2B5EF4-FFF2-40B4-BE49-F238E27FC236}">
                    <a16:creationId xmlns:a16="http://schemas.microsoft.com/office/drawing/2014/main" xmlns="" id="{723EAAB5-7D55-4C34-8DD1-545F93C33B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3" name="Oval 2884">
                <a:extLst>
                  <a:ext uri="{FF2B5EF4-FFF2-40B4-BE49-F238E27FC236}">
                    <a16:creationId xmlns:a16="http://schemas.microsoft.com/office/drawing/2014/main" xmlns="" id="{45DA67B8-9F7E-4022-AB7B-F6A63CD9F9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4" name="Oval 2885">
                <a:extLst>
                  <a:ext uri="{FF2B5EF4-FFF2-40B4-BE49-F238E27FC236}">
                    <a16:creationId xmlns:a16="http://schemas.microsoft.com/office/drawing/2014/main" xmlns="" id="{636C8AF7-1177-4A5C-8758-09B571BD0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5" name="Oval 2886">
                <a:extLst>
                  <a:ext uri="{FF2B5EF4-FFF2-40B4-BE49-F238E27FC236}">
                    <a16:creationId xmlns:a16="http://schemas.microsoft.com/office/drawing/2014/main" xmlns="" id="{5AC4A67F-7B55-437F-BC57-FF785E9707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6" name="Oval 2887">
                <a:extLst>
                  <a:ext uri="{FF2B5EF4-FFF2-40B4-BE49-F238E27FC236}">
                    <a16:creationId xmlns:a16="http://schemas.microsoft.com/office/drawing/2014/main" xmlns="" id="{7BCB48F4-5A1D-4263-A0A1-60F4A68688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7" name="Oval 2888">
                <a:extLst>
                  <a:ext uri="{FF2B5EF4-FFF2-40B4-BE49-F238E27FC236}">
                    <a16:creationId xmlns:a16="http://schemas.microsoft.com/office/drawing/2014/main" xmlns="" id="{88F4D7CB-A70E-4036-9358-8BF55F4D23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8" name="Oval 2889">
                <a:extLst>
                  <a:ext uri="{FF2B5EF4-FFF2-40B4-BE49-F238E27FC236}">
                    <a16:creationId xmlns:a16="http://schemas.microsoft.com/office/drawing/2014/main" xmlns="" id="{411FF6B9-008B-41AF-88B2-AB19178505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9" name="Oval 2890">
                <a:extLst>
                  <a:ext uri="{FF2B5EF4-FFF2-40B4-BE49-F238E27FC236}">
                    <a16:creationId xmlns:a16="http://schemas.microsoft.com/office/drawing/2014/main" xmlns="" id="{F731392F-6559-4288-B4EB-F5869C3179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0" name="Oval 2891">
                <a:extLst>
                  <a:ext uri="{FF2B5EF4-FFF2-40B4-BE49-F238E27FC236}">
                    <a16:creationId xmlns:a16="http://schemas.microsoft.com/office/drawing/2014/main" xmlns="" id="{45003271-6ADB-46CE-8D43-BD3532519B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24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1" name="Oval 2892">
                <a:extLst>
                  <a:ext uri="{FF2B5EF4-FFF2-40B4-BE49-F238E27FC236}">
                    <a16:creationId xmlns:a16="http://schemas.microsoft.com/office/drawing/2014/main" xmlns="" id="{F3CDD557-6677-4BE0-BE45-D17B0B7373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2" name="Oval 2893">
                <a:extLst>
                  <a:ext uri="{FF2B5EF4-FFF2-40B4-BE49-F238E27FC236}">
                    <a16:creationId xmlns:a16="http://schemas.microsoft.com/office/drawing/2014/main" xmlns="" id="{D322BF32-0FEE-411F-A9F6-E36C7A89E0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3" name="Oval 2894">
                <a:extLst>
                  <a:ext uri="{FF2B5EF4-FFF2-40B4-BE49-F238E27FC236}">
                    <a16:creationId xmlns:a16="http://schemas.microsoft.com/office/drawing/2014/main" xmlns="" id="{B95E5DC4-5246-4D8A-B364-EC50865F08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4" name="Oval 2895">
                <a:extLst>
                  <a:ext uri="{FF2B5EF4-FFF2-40B4-BE49-F238E27FC236}">
                    <a16:creationId xmlns:a16="http://schemas.microsoft.com/office/drawing/2014/main" xmlns="" id="{E1F12BC7-0953-43F7-A49C-43C956C7F7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5" name="Oval 2896">
                <a:extLst>
                  <a:ext uri="{FF2B5EF4-FFF2-40B4-BE49-F238E27FC236}">
                    <a16:creationId xmlns:a16="http://schemas.microsoft.com/office/drawing/2014/main" xmlns="" id="{E48B5825-A428-4528-8CCA-DED2D471BB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6" name="Oval 2897">
                <a:extLst>
                  <a:ext uri="{FF2B5EF4-FFF2-40B4-BE49-F238E27FC236}">
                    <a16:creationId xmlns:a16="http://schemas.microsoft.com/office/drawing/2014/main" xmlns="" id="{36C588A5-375A-4BD9-B273-011DBA7AC8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7" name="Oval 2898">
                <a:extLst>
                  <a:ext uri="{FF2B5EF4-FFF2-40B4-BE49-F238E27FC236}">
                    <a16:creationId xmlns:a16="http://schemas.microsoft.com/office/drawing/2014/main" xmlns="" id="{BBE64F6D-54AA-4AFB-B7DE-8BA153CCC9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8" name="Oval 2899">
                <a:extLst>
                  <a:ext uri="{FF2B5EF4-FFF2-40B4-BE49-F238E27FC236}">
                    <a16:creationId xmlns:a16="http://schemas.microsoft.com/office/drawing/2014/main" xmlns="" id="{D504BCAD-831B-479A-80F1-7ADBE056C1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9" name="Oval 2900">
                <a:extLst>
                  <a:ext uri="{FF2B5EF4-FFF2-40B4-BE49-F238E27FC236}">
                    <a16:creationId xmlns:a16="http://schemas.microsoft.com/office/drawing/2014/main" xmlns="" id="{2421940F-5B94-49C4-91ED-48F21D10BF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0" name="Oval 2901">
                <a:extLst>
                  <a:ext uri="{FF2B5EF4-FFF2-40B4-BE49-F238E27FC236}">
                    <a16:creationId xmlns:a16="http://schemas.microsoft.com/office/drawing/2014/main" xmlns="" id="{C8EDA3E6-0112-4EB9-88D1-A10BA6F142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24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1" name="Oval 2902">
                <a:extLst>
                  <a:ext uri="{FF2B5EF4-FFF2-40B4-BE49-F238E27FC236}">
                    <a16:creationId xmlns:a16="http://schemas.microsoft.com/office/drawing/2014/main" xmlns="" id="{86D33BFE-B9CB-4E1A-ADB0-D13B7D8A51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2" name="Oval 2903">
                <a:extLst>
                  <a:ext uri="{FF2B5EF4-FFF2-40B4-BE49-F238E27FC236}">
                    <a16:creationId xmlns:a16="http://schemas.microsoft.com/office/drawing/2014/main" xmlns="" id="{ED9FC8E5-D626-4802-971F-EDD24E6661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3" name="Oval 2904">
                <a:extLst>
                  <a:ext uri="{FF2B5EF4-FFF2-40B4-BE49-F238E27FC236}">
                    <a16:creationId xmlns:a16="http://schemas.microsoft.com/office/drawing/2014/main" xmlns="" id="{F359FB28-3542-4CB2-A167-57FF1B4586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4" name="Oval 2905">
                <a:extLst>
                  <a:ext uri="{FF2B5EF4-FFF2-40B4-BE49-F238E27FC236}">
                    <a16:creationId xmlns:a16="http://schemas.microsoft.com/office/drawing/2014/main" xmlns="" id="{908A61E3-3F4D-4A92-9966-85BB24342E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2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5" name="Oval 2906">
                <a:extLst>
                  <a:ext uri="{FF2B5EF4-FFF2-40B4-BE49-F238E27FC236}">
                    <a16:creationId xmlns:a16="http://schemas.microsoft.com/office/drawing/2014/main" xmlns="" id="{FB69BFB2-F81E-4A46-BC06-E8D832B4C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6" name="Oval 2907">
                <a:extLst>
                  <a:ext uri="{FF2B5EF4-FFF2-40B4-BE49-F238E27FC236}">
                    <a16:creationId xmlns:a16="http://schemas.microsoft.com/office/drawing/2014/main" xmlns="" id="{E10DCC3B-FA60-4916-9780-EA59DCA3E7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7" name="Oval 2908">
                <a:extLst>
                  <a:ext uri="{FF2B5EF4-FFF2-40B4-BE49-F238E27FC236}">
                    <a16:creationId xmlns:a16="http://schemas.microsoft.com/office/drawing/2014/main" xmlns="" id="{FD9AC08C-D289-45AD-BD2F-46962A0C36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5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8" name="Oval 2909">
                <a:extLst>
                  <a:ext uri="{FF2B5EF4-FFF2-40B4-BE49-F238E27FC236}">
                    <a16:creationId xmlns:a16="http://schemas.microsoft.com/office/drawing/2014/main" xmlns="" id="{C78302BA-115A-4ECE-975F-6B1049C69C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9" name="Oval 2910">
                <a:extLst>
                  <a:ext uri="{FF2B5EF4-FFF2-40B4-BE49-F238E27FC236}">
                    <a16:creationId xmlns:a16="http://schemas.microsoft.com/office/drawing/2014/main" xmlns="" id="{93EADD7A-E1AE-41CB-A954-8076593254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0" name="Oval 2911">
                <a:extLst>
                  <a:ext uri="{FF2B5EF4-FFF2-40B4-BE49-F238E27FC236}">
                    <a16:creationId xmlns:a16="http://schemas.microsoft.com/office/drawing/2014/main" xmlns="" id="{C631353E-68CD-4924-93FF-30CCC30EF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1" name="Oval 2912">
                <a:extLst>
                  <a:ext uri="{FF2B5EF4-FFF2-40B4-BE49-F238E27FC236}">
                    <a16:creationId xmlns:a16="http://schemas.microsoft.com/office/drawing/2014/main" xmlns="" id="{7BE88486-A027-4C1A-ADC2-18B0640B15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2" name="Oval 2913">
                <a:extLst>
                  <a:ext uri="{FF2B5EF4-FFF2-40B4-BE49-F238E27FC236}">
                    <a16:creationId xmlns:a16="http://schemas.microsoft.com/office/drawing/2014/main" xmlns="" id="{E87554F1-66E3-4332-A97E-076FE957A3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3" name="Oval 2914">
                <a:extLst>
                  <a:ext uri="{FF2B5EF4-FFF2-40B4-BE49-F238E27FC236}">
                    <a16:creationId xmlns:a16="http://schemas.microsoft.com/office/drawing/2014/main" xmlns="" id="{10818E67-D711-4C6C-8AEF-099DC7C4CA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8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4" name="Oval 2915">
                <a:extLst>
                  <a:ext uri="{FF2B5EF4-FFF2-40B4-BE49-F238E27FC236}">
                    <a16:creationId xmlns:a16="http://schemas.microsoft.com/office/drawing/2014/main" xmlns="" id="{AF4522B3-9628-4091-B2F8-70C96087FB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9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5" name="Oval 2916">
                <a:extLst>
                  <a:ext uri="{FF2B5EF4-FFF2-40B4-BE49-F238E27FC236}">
                    <a16:creationId xmlns:a16="http://schemas.microsoft.com/office/drawing/2014/main" xmlns="" id="{0D7519BC-0E92-4520-8241-D8F8DCE653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6" name="Oval 2917">
                <a:extLst>
                  <a:ext uri="{FF2B5EF4-FFF2-40B4-BE49-F238E27FC236}">
                    <a16:creationId xmlns:a16="http://schemas.microsoft.com/office/drawing/2014/main" xmlns="" id="{3490953F-E176-404B-B0BB-A199FB53B2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30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7" name="Oval 2918">
                <a:extLst>
                  <a:ext uri="{FF2B5EF4-FFF2-40B4-BE49-F238E27FC236}">
                    <a16:creationId xmlns:a16="http://schemas.microsoft.com/office/drawing/2014/main" xmlns="" id="{F0FB05B2-2EE8-46F4-A528-38BF6EB50B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30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8" name="Oval 2919">
                <a:extLst>
                  <a:ext uri="{FF2B5EF4-FFF2-40B4-BE49-F238E27FC236}">
                    <a16:creationId xmlns:a16="http://schemas.microsoft.com/office/drawing/2014/main" xmlns="" id="{EA2D072E-D6C6-45F3-AEEB-8406A38637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9" name="Oval 2920">
                <a:extLst>
                  <a:ext uri="{FF2B5EF4-FFF2-40B4-BE49-F238E27FC236}">
                    <a16:creationId xmlns:a16="http://schemas.microsoft.com/office/drawing/2014/main" xmlns="" id="{AA18448D-5795-4562-B98B-E5F51927A2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0" name="Oval 2921">
                <a:extLst>
                  <a:ext uri="{FF2B5EF4-FFF2-40B4-BE49-F238E27FC236}">
                    <a16:creationId xmlns:a16="http://schemas.microsoft.com/office/drawing/2014/main" xmlns="" id="{23C259ED-3D44-4063-8810-316E13C2A5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1" name="Oval 2922">
                <a:extLst>
                  <a:ext uri="{FF2B5EF4-FFF2-40B4-BE49-F238E27FC236}">
                    <a16:creationId xmlns:a16="http://schemas.microsoft.com/office/drawing/2014/main" xmlns="" id="{139CDA34-664B-44A2-A4DB-06FB08E08C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31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2" name="Oval 2923">
                <a:extLst>
                  <a:ext uri="{FF2B5EF4-FFF2-40B4-BE49-F238E27FC236}">
                    <a16:creationId xmlns:a16="http://schemas.microsoft.com/office/drawing/2014/main" xmlns="" id="{DD27D70B-7C4F-45C7-B245-C398F413D4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3" name="Oval 2924">
                <a:extLst>
                  <a:ext uri="{FF2B5EF4-FFF2-40B4-BE49-F238E27FC236}">
                    <a16:creationId xmlns:a16="http://schemas.microsoft.com/office/drawing/2014/main" xmlns="" id="{45626ADB-1F1F-40B1-B4F6-79EEEAC663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4" name="Oval 2925">
                <a:extLst>
                  <a:ext uri="{FF2B5EF4-FFF2-40B4-BE49-F238E27FC236}">
                    <a16:creationId xmlns:a16="http://schemas.microsoft.com/office/drawing/2014/main" xmlns="" id="{298B77E5-9331-4F91-9A01-95DA4D59D4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5" name="Oval 2926">
                <a:extLst>
                  <a:ext uri="{FF2B5EF4-FFF2-40B4-BE49-F238E27FC236}">
                    <a16:creationId xmlns:a16="http://schemas.microsoft.com/office/drawing/2014/main" xmlns="" id="{6F591789-3901-482E-A2B1-EC84F1477A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6" name="Oval 2927">
                <a:extLst>
                  <a:ext uri="{FF2B5EF4-FFF2-40B4-BE49-F238E27FC236}">
                    <a16:creationId xmlns:a16="http://schemas.microsoft.com/office/drawing/2014/main" xmlns="" id="{92783266-F533-43A5-8C3C-4190F0EED9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7" name="Oval 2928">
                <a:extLst>
                  <a:ext uri="{FF2B5EF4-FFF2-40B4-BE49-F238E27FC236}">
                    <a16:creationId xmlns:a16="http://schemas.microsoft.com/office/drawing/2014/main" xmlns="" id="{4DBD4FAD-4274-4084-BF1B-ACE320F8CE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8" name="Oval 2929">
                <a:extLst>
                  <a:ext uri="{FF2B5EF4-FFF2-40B4-BE49-F238E27FC236}">
                    <a16:creationId xmlns:a16="http://schemas.microsoft.com/office/drawing/2014/main" xmlns="" id="{C0A9DE48-427F-41AB-8962-EF0866E14C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3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9" name="Oval 2930">
                <a:extLst>
                  <a:ext uri="{FF2B5EF4-FFF2-40B4-BE49-F238E27FC236}">
                    <a16:creationId xmlns:a16="http://schemas.microsoft.com/office/drawing/2014/main" xmlns="" id="{F5FBC60B-B5A6-4A63-B235-C32469EB55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2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0" name="Oval 2931">
                <a:extLst>
                  <a:ext uri="{FF2B5EF4-FFF2-40B4-BE49-F238E27FC236}">
                    <a16:creationId xmlns:a16="http://schemas.microsoft.com/office/drawing/2014/main" xmlns="" id="{8580DABD-3E38-4F35-9FF5-DDB4400D48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1" name="Oval 2932">
                <a:extLst>
                  <a:ext uri="{FF2B5EF4-FFF2-40B4-BE49-F238E27FC236}">
                    <a16:creationId xmlns:a16="http://schemas.microsoft.com/office/drawing/2014/main" xmlns="" id="{3AD543BF-F288-4D35-B46A-12E60477D0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2" name="Oval 2933">
                <a:extLst>
                  <a:ext uri="{FF2B5EF4-FFF2-40B4-BE49-F238E27FC236}">
                    <a16:creationId xmlns:a16="http://schemas.microsoft.com/office/drawing/2014/main" xmlns="" id="{02A676AE-377F-42EE-BAED-23F39393CB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3" name="Oval 2934">
                <a:extLst>
                  <a:ext uri="{FF2B5EF4-FFF2-40B4-BE49-F238E27FC236}">
                    <a16:creationId xmlns:a16="http://schemas.microsoft.com/office/drawing/2014/main" xmlns="" id="{D1F1B4EE-C4C5-4A5B-86E7-BEC1CC6D51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4" name="Oval 2935">
                <a:extLst>
                  <a:ext uri="{FF2B5EF4-FFF2-40B4-BE49-F238E27FC236}">
                    <a16:creationId xmlns:a16="http://schemas.microsoft.com/office/drawing/2014/main" xmlns="" id="{6F87A672-022D-4F4F-A75A-D60F2E4895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15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5" name="Oval 2936">
                <a:extLst>
                  <a:ext uri="{FF2B5EF4-FFF2-40B4-BE49-F238E27FC236}">
                    <a16:creationId xmlns:a16="http://schemas.microsoft.com/office/drawing/2014/main" xmlns="" id="{D8984A34-68F0-41A5-B46C-D1F41D2503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6" name="Oval 2937">
                <a:extLst>
                  <a:ext uri="{FF2B5EF4-FFF2-40B4-BE49-F238E27FC236}">
                    <a16:creationId xmlns:a16="http://schemas.microsoft.com/office/drawing/2014/main" xmlns="" id="{BB40DEC9-0B76-4183-A606-711EDDEF9F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7" name="Oval 2938">
                <a:extLst>
                  <a:ext uri="{FF2B5EF4-FFF2-40B4-BE49-F238E27FC236}">
                    <a16:creationId xmlns:a16="http://schemas.microsoft.com/office/drawing/2014/main" xmlns="" id="{AC589DD6-2B2B-4565-B342-49EC62FED8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17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8" name="Oval 2939">
                <a:extLst>
                  <a:ext uri="{FF2B5EF4-FFF2-40B4-BE49-F238E27FC236}">
                    <a16:creationId xmlns:a16="http://schemas.microsoft.com/office/drawing/2014/main" xmlns="" id="{F829549F-F2BE-4BB9-8B0C-828C49D31A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18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9" name="Oval 2940">
                <a:extLst>
                  <a:ext uri="{FF2B5EF4-FFF2-40B4-BE49-F238E27FC236}">
                    <a16:creationId xmlns:a16="http://schemas.microsoft.com/office/drawing/2014/main" xmlns="" id="{4B3B6947-F4AB-4D53-BC65-92DCA034AC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9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0" name="Oval 2941">
                <a:extLst>
                  <a:ext uri="{FF2B5EF4-FFF2-40B4-BE49-F238E27FC236}">
                    <a16:creationId xmlns:a16="http://schemas.microsoft.com/office/drawing/2014/main" xmlns="" id="{75AE08F0-B66F-4659-8E4B-33663CF7ED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21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1" name="Oval 2942">
                <a:extLst>
                  <a:ext uri="{FF2B5EF4-FFF2-40B4-BE49-F238E27FC236}">
                    <a16:creationId xmlns:a16="http://schemas.microsoft.com/office/drawing/2014/main" xmlns="" id="{9BBEFD94-C246-4E4B-AFF0-CD04FB9FB7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2" name="Oval 2943">
                <a:extLst>
                  <a:ext uri="{FF2B5EF4-FFF2-40B4-BE49-F238E27FC236}">
                    <a16:creationId xmlns:a16="http://schemas.microsoft.com/office/drawing/2014/main" xmlns="" id="{5BF4AB5A-EEAD-4A78-8914-423590E777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3" name="Oval 2944">
                <a:extLst>
                  <a:ext uri="{FF2B5EF4-FFF2-40B4-BE49-F238E27FC236}">
                    <a16:creationId xmlns:a16="http://schemas.microsoft.com/office/drawing/2014/main" xmlns="" id="{E7B7B262-3A8C-43E4-BBD8-E84D7CABE4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4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4" name="Oval 2945">
                <a:extLst>
                  <a:ext uri="{FF2B5EF4-FFF2-40B4-BE49-F238E27FC236}">
                    <a16:creationId xmlns:a16="http://schemas.microsoft.com/office/drawing/2014/main" xmlns="" id="{EDB5F04B-AFDC-4419-A65D-1B5554F5E6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5" name="Oval 2946">
                <a:extLst>
                  <a:ext uri="{FF2B5EF4-FFF2-40B4-BE49-F238E27FC236}">
                    <a16:creationId xmlns:a16="http://schemas.microsoft.com/office/drawing/2014/main" xmlns="" id="{4248DD78-B065-44F8-A74C-CAB50F4124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6" name="Oval 2947">
                <a:extLst>
                  <a:ext uri="{FF2B5EF4-FFF2-40B4-BE49-F238E27FC236}">
                    <a16:creationId xmlns:a16="http://schemas.microsoft.com/office/drawing/2014/main" xmlns="" id="{2EEF27A6-421F-4D2A-A086-3CD0618C34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7" name="Oval 2948">
                <a:extLst>
                  <a:ext uri="{FF2B5EF4-FFF2-40B4-BE49-F238E27FC236}">
                    <a16:creationId xmlns:a16="http://schemas.microsoft.com/office/drawing/2014/main" xmlns="" id="{96194F9C-591C-4A2A-B9D8-3F9F61EB36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5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8" name="Oval 2949">
                <a:extLst>
                  <a:ext uri="{FF2B5EF4-FFF2-40B4-BE49-F238E27FC236}">
                    <a16:creationId xmlns:a16="http://schemas.microsoft.com/office/drawing/2014/main" xmlns="" id="{5023FF7E-BE81-4DCD-8A38-2B056F65B2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24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9" name="Oval 2950">
                <a:extLst>
                  <a:ext uri="{FF2B5EF4-FFF2-40B4-BE49-F238E27FC236}">
                    <a16:creationId xmlns:a16="http://schemas.microsoft.com/office/drawing/2014/main" xmlns="" id="{4B1E874A-AB47-48E2-B979-8133E40C1F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0" name="Oval 2951">
                <a:extLst>
                  <a:ext uri="{FF2B5EF4-FFF2-40B4-BE49-F238E27FC236}">
                    <a16:creationId xmlns:a16="http://schemas.microsoft.com/office/drawing/2014/main" xmlns="" id="{B0D0BBD4-18B2-4378-8041-C40D75EC37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1" name="Oval 2952">
                <a:extLst>
                  <a:ext uri="{FF2B5EF4-FFF2-40B4-BE49-F238E27FC236}">
                    <a16:creationId xmlns:a16="http://schemas.microsoft.com/office/drawing/2014/main" xmlns="" id="{AFAE9ABC-0507-406C-9330-B9EB354A44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2" name="Oval 2953">
                <a:extLst>
                  <a:ext uri="{FF2B5EF4-FFF2-40B4-BE49-F238E27FC236}">
                    <a16:creationId xmlns:a16="http://schemas.microsoft.com/office/drawing/2014/main" xmlns="" id="{560FDE4A-E135-4306-BAF1-278B18B6C0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3" name="Oval 2954">
                <a:extLst>
                  <a:ext uri="{FF2B5EF4-FFF2-40B4-BE49-F238E27FC236}">
                    <a16:creationId xmlns:a16="http://schemas.microsoft.com/office/drawing/2014/main" xmlns="" id="{9291E4A4-ABBC-4346-8083-E51324B02E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30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4" name="Oval 2955">
                <a:extLst>
                  <a:ext uri="{FF2B5EF4-FFF2-40B4-BE49-F238E27FC236}">
                    <a16:creationId xmlns:a16="http://schemas.microsoft.com/office/drawing/2014/main" xmlns="" id="{8C3D7A7F-921A-4743-91B6-84A97359C3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5" name="Oval 2956">
                <a:extLst>
                  <a:ext uri="{FF2B5EF4-FFF2-40B4-BE49-F238E27FC236}">
                    <a16:creationId xmlns:a16="http://schemas.microsoft.com/office/drawing/2014/main" xmlns="" id="{4248B621-6F0B-4EE2-A867-CC7F12AB66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6" name="Oval 2957">
                <a:extLst>
                  <a:ext uri="{FF2B5EF4-FFF2-40B4-BE49-F238E27FC236}">
                    <a16:creationId xmlns:a16="http://schemas.microsoft.com/office/drawing/2014/main" xmlns="" id="{EF1519CC-DA48-49C3-BDA1-B261CF84C1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7" name="Oval 2958">
                <a:extLst>
                  <a:ext uri="{FF2B5EF4-FFF2-40B4-BE49-F238E27FC236}">
                    <a16:creationId xmlns:a16="http://schemas.microsoft.com/office/drawing/2014/main" xmlns="" id="{3A65BF1B-D4A3-4695-B20F-070046F9C1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8" name="Oval 2959">
                <a:extLst>
                  <a:ext uri="{FF2B5EF4-FFF2-40B4-BE49-F238E27FC236}">
                    <a16:creationId xmlns:a16="http://schemas.microsoft.com/office/drawing/2014/main" xmlns="" id="{FAF6D771-4DA4-46DA-B8BA-B37182DFF6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9" name="Oval 2960">
                <a:extLst>
                  <a:ext uri="{FF2B5EF4-FFF2-40B4-BE49-F238E27FC236}">
                    <a16:creationId xmlns:a16="http://schemas.microsoft.com/office/drawing/2014/main" xmlns="" id="{57C175A7-63FC-423C-A3B5-A911C6954E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0" name="Oval 2961">
                <a:extLst>
                  <a:ext uri="{FF2B5EF4-FFF2-40B4-BE49-F238E27FC236}">
                    <a16:creationId xmlns:a16="http://schemas.microsoft.com/office/drawing/2014/main" xmlns="" id="{2AAD92E5-CAE6-4360-9382-FE0D004455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1" name="Oval 2962">
                <a:extLst>
                  <a:ext uri="{FF2B5EF4-FFF2-40B4-BE49-F238E27FC236}">
                    <a16:creationId xmlns:a16="http://schemas.microsoft.com/office/drawing/2014/main" xmlns="" id="{2E77C209-7EE6-468E-8785-175B3E0F7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30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2" name="Oval 2963">
                <a:extLst>
                  <a:ext uri="{FF2B5EF4-FFF2-40B4-BE49-F238E27FC236}">
                    <a16:creationId xmlns:a16="http://schemas.microsoft.com/office/drawing/2014/main" xmlns="" id="{F7402052-359B-4268-A8C2-A8FFC477B9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3" name="Oval 2964">
                <a:extLst>
                  <a:ext uri="{FF2B5EF4-FFF2-40B4-BE49-F238E27FC236}">
                    <a16:creationId xmlns:a16="http://schemas.microsoft.com/office/drawing/2014/main" xmlns="" id="{2DB17923-39CA-40B6-9A4A-4306222740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45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4" name="Oval 2965">
                <a:extLst>
                  <a:ext uri="{FF2B5EF4-FFF2-40B4-BE49-F238E27FC236}">
                    <a16:creationId xmlns:a16="http://schemas.microsoft.com/office/drawing/2014/main" xmlns="" id="{928009B1-DDE3-4AD5-A924-04DD98FD09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30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5" name="Oval 2966">
                <a:extLst>
                  <a:ext uri="{FF2B5EF4-FFF2-40B4-BE49-F238E27FC236}">
                    <a16:creationId xmlns:a16="http://schemas.microsoft.com/office/drawing/2014/main" xmlns="" id="{417302F4-2475-4E4A-B3C2-F31DB0C848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8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6" name="Oval 2967">
                <a:extLst>
                  <a:ext uri="{FF2B5EF4-FFF2-40B4-BE49-F238E27FC236}">
                    <a16:creationId xmlns:a16="http://schemas.microsoft.com/office/drawing/2014/main" xmlns="" id="{439E8F78-75DF-4D30-BE54-AC9B98F9E0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7" name="Oval 2968">
                <a:extLst>
                  <a:ext uri="{FF2B5EF4-FFF2-40B4-BE49-F238E27FC236}">
                    <a16:creationId xmlns:a16="http://schemas.microsoft.com/office/drawing/2014/main" xmlns="" id="{6CA48E93-94EF-4D7A-BCAB-C5F15F2195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264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8" name="Oval 2969">
                <a:extLst>
                  <a:ext uri="{FF2B5EF4-FFF2-40B4-BE49-F238E27FC236}">
                    <a16:creationId xmlns:a16="http://schemas.microsoft.com/office/drawing/2014/main" xmlns="" id="{34C1C4D3-D295-4BD2-84AC-C961EDE5F5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9" name="Oval 2970">
                <a:extLst>
                  <a:ext uri="{FF2B5EF4-FFF2-40B4-BE49-F238E27FC236}">
                    <a16:creationId xmlns:a16="http://schemas.microsoft.com/office/drawing/2014/main" xmlns="" id="{662EA6A7-4375-458E-87AA-4F15F87700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0" name="Oval 2971">
                <a:extLst>
                  <a:ext uri="{FF2B5EF4-FFF2-40B4-BE49-F238E27FC236}">
                    <a16:creationId xmlns:a16="http://schemas.microsoft.com/office/drawing/2014/main" xmlns="" id="{78471533-4705-47CE-A66B-A2306AC01A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24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1" name="Oval 2972">
                <a:extLst>
                  <a:ext uri="{FF2B5EF4-FFF2-40B4-BE49-F238E27FC236}">
                    <a16:creationId xmlns:a16="http://schemas.microsoft.com/office/drawing/2014/main" xmlns="" id="{9CFEDEAF-BF3D-4F52-9F00-1B75663FC3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2" name="Oval 2973">
                <a:extLst>
                  <a:ext uri="{FF2B5EF4-FFF2-40B4-BE49-F238E27FC236}">
                    <a16:creationId xmlns:a16="http://schemas.microsoft.com/office/drawing/2014/main" xmlns="" id="{A2DB9682-BBA0-4832-9C63-9FA40A04D8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3" name="Oval 2974">
                <a:extLst>
                  <a:ext uri="{FF2B5EF4-FFF2-40B4-BE49-F238E27FC236}">
                    <a16:creationId xmlns:a16="http://schemas.microsoft.com/office/drawing/2014/main" xmlns="" id="{AB09A07A-BC86-4BC4-A6A0-E14343CB7C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4" name="Oval 2975">
                <a:extLst>
                  <a:ext uri="{FF2B5EF4-FFF2-40B4-BE49-F238E27FC236}">
                    <a16:creationId xmlns:a16="http://schemas.microsoft.com/office/drawing/2014/main" xmlns="" id="{75C44ACB-D1C8-4FFB-AAC5-59796680C4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5" name="Oval 2976">
                <a:extLst>
                  <a:ext uri="{FF2B5EF4-FFF2-40B4-BE49-F238E27FC236}">
                    <a16:creationId xmlns:a16="http://schemas.microsoft.com/office/drawing/2014/main" xmlns="" id="{EF97FC4C-7F4A-498F-8EE4-E11CA9F83F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6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6" name="Oval 2977">
                <a:extLst>
                  <a:ext uri="{FF2B5EF4-FFF2-40B4-BE49-F238E27FC236}">
                    <a16:creationId xmlns:a16="http://schemas.microsoft.com/office/drawing/2014/main" xmlns="" id="{7004B5A2-4474-467F-B46A-7E4BBEDAD2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7" name="Oval 2978">
                <a:extLst>
                  <a:ext uri="{FF2B5EF4-FFF2-40B4-BE49-F238E27FC236}">
                    <a16:creationId xmlns:a16="http://schemas.microsoft.com/office/drawing/2014/main" xmlns="" id="{B3C38E0E-1651-4782-99D5-DA5A430E74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8" name="Oval 2979">
                <a:extLst>
                  <a:ext uri="{FF2B5EF4-FFF2-40B4-BE49-F238E27FC236}">
                    <a16:creationId xmlns:a16="http://schemas.microsoft.com/office/drawing/2014/main" xmlns="" id="{3982CDCF-659C-4248-BFBA-530C286176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9" name="Oval 2980">
                <a:extLst>
                  <a:ext uri="{FF2B5EF4-FFF2-40B4-BE49-F238E27FC236}">
                    <a16:creationId xmlns:a16="http://schemas.microsoft.com/office/drawing/2014/main" xmlns="" id="{066C74C9-9569-4AD9-9A84-038123AC7C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0" name="Oval 2981">
                <a:extLst>
                  <a:ext uri="{FF2B5EF4-FFF2-40B4-BE49-F238E27FC236}">
                    <a16:creationId xmlns:a16="http://schemas.microsoft.com/office/drawing/2014/main" xmlns="" id="{43F17E57-EFB2-4055-918B-0201A2CFC4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1" name="Oval 2982">
                <a:extLst>
                  <a:ext uri="{FF2B5EF4-FFF2-40B4-BE49-F238E27FC236}">
                    <a16:creationId xmlns:a16="http://schemas.microsoft.com/office/drawing/2014/main" xmlns="" id="{AE933B88-BE52-4EEB-893C-1F61DF22EE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607" name="Oval 2984">
              <a:extLst>
                <a:ext uri="{FF2B5EF4-FFF2-40B4-BE49-F238E27FC236}">
                  <a16:creationId xmlns:a16="http://schemas.microsoft.com/office/drawing/2014/main" xmlns="" id="{B310FD13-8104-414F-B319-F7EA9DB1B3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8" name="Oval 2985">
              <a:extLst>
                <a:ext uri="{FF2B5EF4-FFF2-40B4-BE49-F238E27FC236}">
                  <a16:creationId xmlns:a16="http://schemas.microsoft.com/office/drawing/2014/main" xmlns="" id="{7B09CB79-B807-4760-AF3D-EA8344139B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9" name="Oval 2986">
              <a:extLst>
                <a:ext uri="{FF2B5EF4-FFF2-40B4-BE49-F238E27FC236}">
                  <a16:creationId xmlns:a16="http://schemas.microsoft.com/office/drawing/2014/main" xmlns="" id="{06F24C27-6489-4388-B79B-702E2ECF2E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21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0" name="Oval 2987">
              <a:extLst>
                <a:ext uri="{FF2B5EF4-FFF2-40B4-BE49-F238E27FC236}">
                  <a16:creationId xmlns:a16="http://schemas.microsoft.com/office/drawing/2014/main" xmlns="" id="{E5F1D6B3-EF02-48EB-AE70-03B98F580B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6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1" name="Oval 2988">
              <a:extLst>
                <a:ext uri="{FF2B5EF4-FFF2-40B4-BE49-F238E27FC236}">
                  <a16:creationId xmlns:a16="http://schemas.microsoft.com/office/drawing/2014/main" xmlns="" id="{D3FD35A0-2ECB-4B5F-BD3D-9FE35E6FD2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6" y="198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2" name="Oval 2989">
              <a:extLst>
                <a:ext uri="{FF2B5EF4-FFF2-40B4-BE49-F238E27FC236}">
                  <a16:creationId xmlns:a16="http://schemas.microsoft.com/office/drawing/2014/main" xmlns="" id="{FE4B1BFF-475D-442A-A04D-DF933772D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6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3" name="Oval 2990">
              <a:extLst>
                <a:ext uri="{FF2B5EF4-FFF2-40B4-BE49-F238E27FC236}">
                  <a16:creationId xmlns:a16="http://schemas.microsoft.com/office/drawing/2014/main" xmlns="" id="{2B8C1CA5-7DA5-4AEE-BED3-17701AE6B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4" name="Oval 2991">
              <a:extLst>
                <a:ext uri="{FF2B5EF4-FFF2-40B4-BE49-F238E27FC236}">
                  <a16:creationId xmlns:a16="http://schemas.microsoft.com/office/drawing/2014/main" xmlns="" id="{CB01D10D-BF65-461B-85B6-DEC830AED2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17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5" name="Oval 2992">
              <a:extLst>
                <a:ext uri="{FF2B5EF4-FFF2-40B4-BE49-F238E27FC236}">
                  <a16:creationId xmlns:a16="http://schemas.microsoft.com/office/drawing/2014/main" xmlns="" id="{62E0AC6D-3937-4D80-B2D1-1AD035DFB4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5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6" name="Oval 2993">
              <a:extLst>
                <a:ext uri="{FF2B5EF4-FFF2-40B4-BE49-F238E27FC236}">
                  <a16:creationId xmlns:a16="http://schemas.microsoft.com/office/drawing/2014/main" xmlns="" id="{CA81E157-52E6-49A3-9E44-DC773CAA52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86" y="159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7" name="Oval 2994">
              <a:extLst>
                <a:ext uri="{FF2B5EF4-FFF2-40B4-BE49-F238E27FC236}">
                  <a16:creationId xmlns:a16="http://schemas.microsoft.com/office/drawing/2014/main" xmlns="" id="{C7752D20-A552-4BC0-AE66-A3173AAC2A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5" y="13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8" name="Oval 2995">
              <a:extLst>
                <a:ext uri="{FF2B5EF4-FFF2-40B4-BE49-F238E27FC236}">
                  <a16:creationId xmlns:a16="http://schemas.microsoft.com/office/drawing/2014/main" xmlns="" id="{D17B062A-C983-4CD1-9CC6-AF0A901C8E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9" name="Oval 2996">
              <a:extLst>
                <a:ext uri="{FF2B5EF4-FFF2-40B4-BE49-F238E27FC236}">
                  <a16:creationId xmlns:a16="http://schemas.microsoft.com/office/drawing/2014/main" xmlns="" id="{963DCA3B-884B-4FF4-8B17-9A7C270C2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14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0" name="Oval 2997">
              <a:extLst>
                <a:ext uri="{FF2B5EF4-FFF2-40B4-BE49-F238E27FC236}">
                  <a16:creationId xmlns:a16="http://schemas.microsoft.com/office/drawing/2014/main" xmlns="" id="{4D9F04F8-8241-4035-B3D1-FC9DD683D3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6" y="12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1" name="Oval 2998">
              <a:extLst>
                <a:ext uri="{FF2B5EF4-FFF2-40B4-BE49-F238E27FC236}">
                  <a16:creationId xmlns:a16="http://schemas.microsoft.com/office/drawing/2014/main" xmlns="" id="{FD0E6989-FEC9-4459-ADC6-021DCFEEC1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6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2" name="Oval 2999">
              <a:extLst>
                <a:ext uri="{FF2B5EF4-FFF2-40B4-BE49-F238E27FC236}">
                  <a16:creationId xmlns:a16="http://schemas.microsoft.com/office/drawing/2014/main" xmlns="" id="{5B17C7C8-E6E7-40C5-B6E9-6D0D2741FB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6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3" name="Oval 3000">
              <a:extLst>
                <a:ext uri="{FF2B5EF4-FFF2-40B4-BE49-F238E27FC236}">
                  <a16:creationId xmlns:a16="http://schemas.microsoft.com/office/drawing/2014/main" xmlns="" id="{7B16AB51-982A-4961-B8E1-6A9165C2D9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4" name="Oval 3001">
              <a:extLst>
                <a:ext uri="{FF2B5EF4-FFF2-40B4-BE49-F238E27FC236}">
                  <a16:creationId xmlns:a16="http://schemas.microsoft.com/office/drawing/2014/main" xmlns="" id="{775F59A4-EC3F-4C72-8810-7ED5EF4C2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6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5" name="Oval 3002">
              <a:extLst>
                <a:ext uri="{FF2B5EF4-FFF2-40B4-BE49-F238E27FC236}">
                  <a16:creationId xmlns:a16="http://schemas.microsoft.com/office/drawing/2014/main" xmlns="" id="{9582C577-A83F-4C5E-A2B1-E687F23B4C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6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6" name="Oval 3003">
              <a:extLst>
                <a:ext uri="{FF2B5EF4-FFF2-40B4-BE49-F238E27FC236}">
                  <a16:creationId xmlns:a16="http://schemas.microsoft.com/office/drawing/2014/main" xmlns="" id="{1C7C4A05-34BF-4021-AF89-E03B5FB9BF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6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7" name="Oval 3004">
              <a:extLst>
                <a:ext uri="{FF2B5EF4-FFF2-40B4-BE49-F238E27FC236}">
                  <a16:creationId xmlns:a16="http://schemas.microsoft.com/office/drawing/2014/main" xmlns="" id="{214190C0-5DDA-4336-86CF-FA2054AC5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19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8" name="Oval 3005">
              <a:extLst>
                <a:ext uri="{FF2B5EF4-FFF2-40B4-BE49-F238E27FC236}">
                  <a16:creationId xmlns:a16="http://schemas.microsoft.com/office/drawing/2014/main" xmlns="" id="{9E04DE5C-D63C-4433-95A9-47B0248E90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9" name="Oval 3006">
              <a:extLst>
                <a:ext uri="{FF2B5EF4-FFF2-40B4-BE49-F238E27FC236}">
                  <a16:creationId xmlns:a16="http://schemas.microsoft.com/office/drawing/2014/main" xmlns="" id="{81A3C943-78D7-4ED5-8815-130890FA2F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5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0" name="Oval 3007">
              <a:extLst>
                <a:ext uri="{FF2B5EF4-FFF2-40B4-BE49-F238E27FC236}">
                  <a16:creationId xmlns:a16="http://schemas.microsoft.com/office/drawing/2014/main" xmlns="" id="{241E86BD-4442-410A-AECB-EE0F12A1D1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1" name="Oval 3008">
              <a:extLst>
                <a:ext uri="{FF2B5EF4-FFF2-40B4-BE49-F238E27FC236}">
                  <a16:creationId xmlns:a16="http://schemas.microsoft.com/office/drawing/2014/main" xmlns="" id="{8CE4DC89-104A-47BD-8903-35CF05DCF9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2" name="Oval 3009">
              <a:extLst>
                <a:ext uri="{FF2B5EF4-FFF2-40B4-BE49-F238E27FC236}">
                  <a16:creationId xmlns:a16="http://schemas.microsoft.com/office/drawing/2014/main" xmlns="" id="{BB97E780-D427-4346-AD3D-E30564FA2C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3" name="Oval 3010">
              <a:extLst>
                <a:ext uri="{FF2B5EF4-FFF2-40B4-BE49-F238E27FC236}">
                  <a16:creationId xmlns:a16="http://schemas.microsoft.com/office/drawing/2014/main" xmlns="" id="{A7C60487-A107-4136-83E6-3568C9BB97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5" y="15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4" name="Oval 3011">
              <a:extLst>
                <a:ext uri="{FF2B5EF4-FFF2-40B4-BE49-F238E27FC236}">
                  <a16:creationId xmlns:a16="http://schemas.microsoft.com/office/drawing/2014/main" xmlns="" id="{0DC53904-9447-4CE7-BCD4-9ECCA48CF9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5" y="14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5" name="Oval 3012">
              <a:extLst>
                <a:ext uri="{FF2B5EF4-FFF2-40B4-BE49-F238E27FC236}">
                  <a16:creationId xmlns:a16="http://schemas.microsoft.com/office/drawing/2014/main" xmlns="" id="{11279C95-9CE3-48E7-8E49-A97AB42A95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5" y="15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6" name="Oval 3013">
              <a:extLst>
                <a:ext uri="{FF2B5EF4-FFF2-40B4-BE49-F238E27FC236}">
                  <a16:creationId xmlns:a16="http://schemas.microsoft.com/office/drawing/2014/main" xmlns="" id="{0C1A72B8-5CC7-4915-B504-E8397B983E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7" name="Oval 3014">
              <a:extLst>
                <a:ext uri="{FF2B5EF4-FFF2-40B4-BE49-F238E27FC236}">
                  <a16:creationId xmlns:a16="http://schemas.microsoft.com/office/drawing/2014/main" xmlns="" id="{461D233F-CB47-4762-8B8F-EDA320CB22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8" name="Oval 3015">
              <a:extLst>
                <a:ext uri="{FF2B5EF4-FFF2-40B4-BE49-F238E27FC236}">
                  <a16:creationId xmlns:a16="http://schemas.microsoft.com/office/drawing/2014/main" xmlns="" id="{816540C4-086E-4A36-8496-2241D7B4B7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5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9" name="Oval 3016">
              <a:extLst>
                <a:ext uri="{FF2B5EF4-FFF2-40B4-BE49-F238E27FC236}">
                  <a16:creationId xmlns:a16="http://schemas.microsoft.com/office/drawing/2014/main" xmlns="" id="{9F68BDEC-8383-44EF-9D0F-55091A101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0" name="Oval 3017">
              <a:extLst>
                <a:ext uri="{FF2B5EF4-FFF2-40B4-BE49-F238E27FC236}">
                  <a16:creationId xmlns:a16="http://schemas.microsoft.com/office/drawing/2014/main" xmlns="" id="{142F5190-7A67-4279-BB00-ECC0774409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1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1" name="Oval 3018">
              <a:extLst>
                <a:ext uri="{FF2B5EF4-FFF2-40B4-BE49-F238E27FC236}">
                  <a16:creationId xmlns:a16="http://schemas.microsoft.com/office/drawing/2014/main" xmlns="" id="{86761E9B-2345-4654-AA6A-392A9592B1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2" name="Oval 3019">
              <a:extLst>
                <a:ext uri="{FF2B5EF4-FFF2-40B4-BE49-F238E27FC236}">
                  <a16:creationId xmlns:a16="http://schemas.microsoft.com/office/drawing/2014/main" xmlns="" id="{5CF505DD-767B-4EE7-A1C7-345A097388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3" name="Oval 3020">
              <a:extLst>
                <a:ext uri="{FF2B5EF4-FFF2-40B4-BE49-F238E27FC236}">
                  <a16:creationId xmlns:a16="http://schemas.microsoft.com/office/drawing/2014/main" xmlns="" id="{7A7C6960-11BA-49C5-83F4-5544D3FE0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4" name="Oval 3021">
              <a:extLst>
                <a:ext uri="{FF2B5EF4-FFF2-40B4-BE49-F238E27FC236}">
                  <a16:creationId xmlns:a16="http://schemas.microsoft.com/office/drawing/2014/main" xmlns="" id="{A299362F-C77E-4FFB-A8B0-FDC3F28605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5" name="Oval 3022">
              <a:extLst>
                <a:ext uri="{FF2B5EF4-FFF2-40B4-BE49-F238E27FC236}">
                  <a16:creationId xmlns:a16="http://schemas.microsoft.com/office/drawing/2014/main" xmlns="" id="{4BEDAAB5-5C09-4E1D-8729-835628027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5" y="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6" name="Oval 3023">
              <a:extLst>
                <a:ext uri="{FF2B5EF4-FFF2-40B4-BE49-F238E27FC236}">
                  <a16:creationId xmlns:a16="http://schemas.microsoft.com/office/drawing/2014/main" xmlns="" id="{6666CEA9-89D6-40AD-93F4-CE0FC35CC2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" y="3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7" name="Oval 3024">
              <a:extLst>
                <a:ext uri="{FF2B5EF4-FFF2-40B4-BE49-F238E27FC236}">
                  <a16:creationId xmlns:a16="http://schemas.microsoft.com/office/drawing/2014/main" xmlns="" id="{C3961067-103E-4E0D-B62E-0C2687DDC3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8" name="Oval 3025">
              <a:extLst>
                <a:ext uri="{FF2B5EF4-FFF2-40B4-BE49-F238E27FC236}">
                  <a16:creationId xmlns:a16="http://schemas.microsoft.com/office/drawing/2014/main" xmlns="" id="{FF98C343-8784-40FA-9ABE-B7FFD3388F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4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9" name="Oval 3026">
              <a:extLst>
                <a:ext uri="{FF2B5EF4-FFF2-40B4-BE49-F238E27FC236}">
                  <a16:creationId xmlns:a16="http://schemas.microsoft.com/office/drawing/2014/main" xmlns="" id="{104C7E08-5D88-4B56-BECF-4ED5F6233A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0" name="Oval 3027">
              <a:extLst>
                <a:ext uri="{FF2B5EF4-FFF2-40B4-BE49-F238E27FC236}">
                  <a16:creationId xmlns:a16="http://schemas.microsoft.com/office/drawing/2014/main" xmlns="" id="{84015CAC-FBF9-495E-A11D-8C75D0783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5" y="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1" name="Oval 3028">
              <a:extLst>
                <a:ext uri="{FF2B5EF4-FFF2-40B4-BE49-F238E27FC236}">
                  <a16:creationId xmlns:a16="http://schemas.microsoft.com/office/drawing/2014/main" xmlns="" id="{3D465E52-FFB8-4111-89BC-FCABEEE84B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2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2" name="Oval 3029">
              <a:extLst>
                <a:ext uri="{FF2B5EF4-FFF2-40B4-BE49-F238E27FC236}">
                  <a16:creationId xmlns:a16="http://schemas.microsoft.com/office/drawing/2014/main" xmlns="" id="{80220D5E-E3C9-4FF0-8C4F-0F40F3B817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3" name="Oval 3030">
              <a:extLst>
                <a:ext uri="{FF2B5EF4-FFF2-40B4-BE49-F238E27FC236}">
                  <a16:creationId xmlns:a16="http://schemas.microsoft.com/office/drawing/2014/main" xmlns="" id="{8BAB14B7-2A0B-4868-A36B-DC4C7D9138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4" name="Oval 3031">
              <a:extLst>
                <a:ext uri="{FF2B5EF4-FFF2-40B4-BE49-F238E27FC236}">
                  <a16:creationId xmlns:a16="http://schemas.microsoft.com/office/drawing/2014/main" xmlns="" id="{ACAB0E9A-24DD-42E5-91A3-695962550F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3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5" name="Oval 3032">
              <a:extLst>
                <a:ext uri="{FF2B5EF4-FFF2-40B4-BE49-F238E27FC236}">
                  <a16:creationId xmlns:a16="http://schemas.microsoft.com/office/drawing/2014/main" xmlns="" id="{0B81CDA6-BE68-46F6-BE97-82E3963038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2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6" name="Oval 3033">
              <a:extLst>
                <a:ext uri="{FF2B5EF4-FFF2-40B4-BE49-F238E27FC236}">
                  <a16:creationId xmlns:a16="http://schemas.microsoft.com/office/drawing/2014/main" xmlns="" id="{6A5375A0-DF24-40B6-A850-2D3F3539F5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4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7" name="Oval 3034">
              <a:extLst>
                <a:ext uri="{FF2B5EF4-FFF2-40B4-BE49-F238E27FC236}">
                  <a16:creationId xmlns:a16="http://schemas.microsoft.com/office/drawing/2014/main" xmlns="" id="{61B510F5-2264-46A8-8173-B1BB5D1A72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6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8" name="Oval 3035">
              <a:extLst>
                <a:ext uri="{FF2B5EF4-FFF2-40B4-BE49-F238E27FC236}">
                  <a16:creationId xmlns:a16="http://schemas.microsoft.com/office/drawing/2014/main" xmlns="" id="{DC826A6B-CF7A-4EFF-B872-C2241C03B7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4" y="7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9" name="Oval 3036">
              <a:extLst>
                <a:ext uri="{FF2B5EF4-FFF2-40B4-BE49-F238E27FC236}">
                  <a16:creationId xmlns:a16="http://schemas.microsoft.com/office/drawing/2014/main" xmlns="" id="{D776AC49-7687-4DCA-9322-F2413F2A5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9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0" name="Oval 3037">
              <a:extLst>
                <a:ext uri="{FF2B5EF4-FFF2-40B4-BE49-F238E27FC236}">
                  <a16:creationId xmlns:a16="http://schemas.microsoft.com/office/drawing/2014/main" xmlns="" id="{CC039493-FE8D-4AA8-8FAC-9A7BA3C21D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0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1" name="Oval 3038">
              <a:extLst>
                <a:ext uri="{FF2B5EF4-FFF2-40B4-BE49-F238E27FC236}">
                  <a16:creationId xmlns:a16="http://schemas.microsoft.com/office/drawing/2014/main" xmlns="" id="{D4340834-F1B1-4821-9964-DEAD910C77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2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2" name="Oval 3039">
              <a:extLst>
                <a:ext uri="{FF2B5EF4-FFF2-40B4-BE49-F238E27FC236}">
                  <a16:creationId xmlns:a16="http://schemas.microsoft.com/office/drawing/2014/main" xmlns="" id="{CCBC0F96-1B57-4A6B-A142-19A3275808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3" name="Oval 3040">
              <a:extLst>
                <a:ext uri="{FF2B5EF4-FFF2-40B4-BE49-F238E27FC236}">
                  <a16:creationId xmlns:a16="http://schemas.microsoft.com/office/drawing/2014/main" xmlns="" id="{7B3F753C-B01D-4660-B855-928AE3C00C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4" y="9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4" name="Oval 3041">
              <a:extLst>
                <a:ext uri="{FF2B5EF4-FFF2-40B4-BE49-F238E27FC236}">
                  <a16:creationId xmlns:a16="http://schemas.microsoft.com/office/drawing/2014/main" xmlns="" id="{5BBDF909-44F5-4F08-8712-F94071DEA1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5" name="Oval 3042">
              <a:extLst>
                <a:ext uri="{FF2B5EF4-FFF2-40B4-BE49-F238E27FC236}">
                  <a16:creationId xmlns:a16="http://schemas.microsoft.com/office/drawing/2014/main" xmlns="" id="{43146686-50AB-49C4-9121-25FE65B281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10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6" name="Oval 3043">
              <a:extLst>
                <a:ext uri="{FF2B5EF4-FFF2-40B4-BE49-F238E27FC236}">
                  <a16:creationId xmlns:a16="http://schemas.microsoft.com/office/drawing/2014/main" xmlns="" id="{A596A95B-0678-4B0C-AD88-83E21D7185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10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7" name="Oval 3044">
              <a:extLst>
                <a:ext uri="{FF2B5EF4-FFF2-40B4-BE49-F238E27FC236}">
                  <a16:creationId xmlns:a16="http://schemas.microsoft.com/office/drawing/2014/main" xmlns="" id="{96E4D5DA-5305-4409-83A3-7D4F266971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11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8" name="Oval 3045">
              <a:extLst>
                <a:ext uri="{FF2B5EF4-FFF2-40B4-BE49-F238E27FC236}">
                  <a16:creationId xmlns:a16="http://schemas.microsoft.com/office/drawing/2014/main" xmlns="" id="{87151FD1-900E-44FB-A98B-7732C7C0AB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2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9" name="Oval 3046">
              <a:extLst>
                <a:ext uri="{FF2B5EF4-FFF2-40B4-BE49-F238E27FC236}">
                  <a16:creationId xmlns:a16="http://schemas.microsoft.com/office/drawing/2014/main" xmlns="" id="{C58E9B85-0297-4A30-8978-B09B6FAAAA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0" name="Oval 3047">
              <a:extLst>
                <a:ext uri="{FF2B5EF4-FFF2-40B4-BE49-F238E27FC236}">
                  <a16:creationId xmlns:a16="http://schemas.microsoft.com/office/drawing/2014/main" xmlns="" id="{4F7F30BD-8F75-4D7D-8EF2-B215F56BD8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4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1" name="Oval 3048">
              <a:extLst>
                <a:ext uri="{FF2B5EF4-FFF2-40B4-BE49-F238E27FC236}">
                  <a16:creationId xmlns:a16="http://schemas.microsoft.com/office/drawing/2014/main" xmlns="" id="{EB7D61B2-CFAA-4354-BA8D-BB42BEF2CA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2" name="Oval 3049">
              <a:extLst>
                <a:ext uri="{FF2B5EF4-FFF2-40B4-BE49-F238E27FC236}">
                  <a16:creationId xmlns:a16="http://schemas.microsoft.com/office/drawing/2014/main" xmlns="" id="{E86DD210-FE77-49D6-9A8B-0B9C554710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3" name="Oval 3050">
              <a:extLst>
                <a:ext uri="{FF2B5EF4-FFF2-40B4-BE49-F238E27FC236}">
                  <a16:creationId xmlns:a16="http://schemas.microsoft.com/office/drawing/2014/main" xmlns="" id="{AE391646-EFC3-40F1-B1F2-1EFC496AB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4" name="Oval 3051">
              <a:extLst>
                <a:ext uri="{FF2B5EF4-FFF2-40B4-BE49-F238E27FC236}">
                  <a16:creationId xmlns:a16="http://schemas.microsoft.com/office/drawing/2014/main" xmlns="" id="{8C2DD63E-26A0-48CC-9460-C97AFB20D9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8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5" name="Oval 3052">
              <a:extLst>
                <a:ext uri="{FF2B5EF4-FFF2-40B4-BE49-F238E27FC236}">
                  <a16:creationId xmlns:a16="http://schemas.microsoft.com/office/drawing/2014/main" xmlns="" id="{FB21D351-1D70-4375-867D-7B490F843D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6" name="Oval 3053">
              <a:extLst>
                <a:ext uri="{FF2B5EF4-FFF2-40B4-BE49-F238E27FC236}">
                  <a16:creationId xmlns:a16="http://schemas.microsoft.com/office/drawing/2014/main" xmlns="" id="{219FE068-3072-4226-8167-336263DC97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5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7" name="Oval 3054">
              <a:extLst>
                <a:ext uri="{FF2B5EF4-FFF2-40B4-BE49-F238E27FC236}">
                  <a16:creationId xmlns:a16="http://schemas.microsoft.com/office/drawing/2014/main" xmlns="" id="{D447D7F8-77A4-4361-A673-F25662C19E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14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8" name="Oval 3055">
              <a:extLst>
                <a:ext uri="{FF2B5EF4-FFF2-40B4-BE49-F238E27FC236}">
                  <a16:creationId xmlns:a16="http://schemas.microsoft.com/office/drawing/2014/main" xmlns="" id="{5161D2A6-E5EB-4093-B915-BBEC4FDD14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9" name="Oval 3056">
              <a:extLst>
                <a:ext uri="{FF2B5EF4-FFF2-40B4-BE49-F238E27FC236}">
                  <a16:creationId xmlns:a16="http://schemas.microsoft.com/office/drawing/2014/main" xmlns="" id="{461A7FD2-4B63-44B0-AE56-A379D9B958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0" name="Oval 3057">
              <a:extLst>
                <a:ext uri="{FF2B5EF4-FFF2-40B4-BE49-F238E27FC236}">
                  <a16:creationId xmlns:a16="http://schemas.microsoft.com/office/drawing/2014/main" xmlns="" id="{A1CC5DA8-E610-4C7E-B25B-4620F8EAA3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4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1" name="Oval 3058">
              <a:extLst>
                <a:ext uri="{FF2B5EF4-FFF2-40B4-BE49-F238E27FC236}">
                  <a16:creationId xmlns:a16="http://schemas.microsoft.com/office/drawing/2014/main" xmlns="" id="{B5E4578F-D687-42A9-8DA3-0EA0F7DCD9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12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2" name="Oval 3059">
              <a:extLst>
                <a:ext uri="{FF2B5EF4-FFF2-40B4-BE49-F238E27FC236}">
                  <a16:creationId xmlns:a16="http://schemas.microsoft.com/office/drawing/2014/main" xmlns="" id="{B640CD62-3349-425D-A54E-2D026B98B6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5" y="12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3" name="Oval 3060">
              <a:extLst>
                <a:ext uri="{FF2B5EF4-FFF2-40B4-BE49-F238E27FC236}">
                  <a16:creationId xmlns:a16="http://schemas.microsoft.com/office/drawing/2014/main" xmlns="" id="{6ACFA51A-B1DB-4C78-841F-061585FDE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4" name="Oval 3061">
              <a:extLst>
                <a:ext uri="{FF2B5EF4-FFF2-40B4-BE49-F238E27FC236}">
                  <a16:creationId xmlns:a16="http://schemas.microsoft.com/office/drawing/2014/main" xmlns="" id="{33307EF6-8529-44B5-B304-D59D5260E6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5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5" name="Oval 3062">
              <a:extLst>
                <a:ext uri="{FF2B5EF4-FFF2-40B4-BE49-F238E27FC236}">
                  <a16:creationId xmlns:a16="http://schemas.microsoft.com/office/drawing/2014/main" xmlns="" id="{E3E45E8C-B6C8-4044-AC67-1784FB063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1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6" name="Oval 3063">
              <a:extLst>
                <a:ext uri="{FF2B5EF4-FFF2-40B4-BE49-F238E27FC236}">
                  <a16:creationId xmlns:a16="http://schemas.microsoft.com/office/drawing/2014/main" xmlns="" id="{FC7AFD9E-5FA0-4B2A-9E45-90984FA0B9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8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7" name="Oval 3064">
              <a:extLst>
                <a:ext uri="{FF2B5EF4-FFF2-40B4-BE49-F238E27FC236}">
                  <a16:creationId xmlns:a16="http://schemas.microsoft.com/office/drawing/2014/main" xmlns="" id="{60F9ADC8-6FAA-470B-B05E-4347418362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5" y="159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8" name="Oval 3065">
              <a:extLst>
                <a:ext uri="{FF2B5EF4-FFF2-40B4-BE49-F238E27FC236}">
                  <a16:creationId xmlns:a16="http://schemas.microsoft.com/office/drawing/2014/main" xmlns="" id="{8EBA26E3-73C9-4531-BB7E-FA8EAD4ACB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12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9" name="Oval 3066">
              <a:extLst>
                <a:ext uri="{FF2B5EF4-FFF2-40B4-BE49-F238E27FC236}">
                  <a16:creationId xmlns:a16="http://schemas.microsoft.com/office/drawing/2014/main" xmlns="" id="{31E82EA7-443C-4A2B-8F37-498AD82100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9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0" name="Oval 3067">
              <a:extLst>
                <a:ext uri="{FF2B5EF4-FFF2-40B4-BE49-F238E27FC236}">
                  <a16:creationId xmlns:a16="http://schemas.microsoft.com/office/drawing/2014/main" xmlns="" id="{5EEF1AB7-8A72-4852-86E9-099B1D2B9A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0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1" name="Oval 3068">
              <a:extLst>
                <a:ext uri="{FF2B5EF4-FFF2-40B4-BE49-F238E27FC236}">
                  <a16:creationId xmlns:a16="http://schemas.microsoft.com/office/drawing/2014/main" xmlns="" id="{F8CE69D3-8147-4B43-BBD7-40B787216D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0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2" name="Oval 3069">
              <a:extLst>
                <a:ext uri="{FF2B5EF4-FFF2-40B4-BE49-F238E27FC236}">
                  <a16:creationId xmlns:a16="http://schemas.microsoft.com/office/drawing/2014/main" xmlns="" id="{A606068B-AD19-478D-B7AD-6B7C73CD1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9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3" name="Oval 3070">
              <a:extLst>
                <a:ext uri="{FF2B5EF4-FFF2-40B4-BE49-F238E27FC236}">
                  <a16:creationId xmlns:a16="http://schemas.microsoft.com/office/drawing/2014/main" xmlns="" id="{321B20D4-A361-45BA-ACA3-C4D41D4A18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4" name="Oval 3071">
              <a:extLst>
                <a:ext uri="{FF2B5EF4-FFF2-40B4-BE49-F238E27FC236}">
                  <a16:creationId xmlns:a16="http://schemas.microsoft.com/office/drawing/2014/main" xmlns="" id="{3B1BA6E6-5347-4F13-A1A1-A487ED57F7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5" y="8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5" name="Oval 3072">
              <a:extLst>
                <a:ext uri="{FF2B5EF4-FFF2-40B4-BE49-F238E27FC236}">
                  <a16:creationId xmlns:a16="http://schemas.microsoft.com/office/drawing/2014/main" xmlns="" id="{62137C6A-F579-4CB2-A834-BD3C2E40FE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6" name="Oval 3073">
              <a:extLst>
                <a:ext uri="{FF2B5EF4-FFF2-40B4-BE49-F238E27FC236}">
                  <a16:creationId xmlns:a16="http://schemas.microsoft.com/office/drawing/2014/main" xmlns="" id="{EE76FAE0-EE8D-48CE-80D5-4F28CED128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8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7" name="Oval 3074">
              <a:extLst>
                <a:ext uri="{FF2B5EF4-FFF2-40B4-BE49-F238E27FC236}">
                  <a16:creationId xmlns:a16="http://schemas.microsoft.com/office/drawing/2014/main" xmlns="" id="{5804C624-E8AF-4796-A2D1-5FCD387BDF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6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8" name="Oval 3075">
              <a:extLst>
                <a:ext uri="{FF2B5EF4-FFF2-40B4-BE49-F238E27FC236}">
                  <a16:creationId xmlns:a16="http://schemas.microsoft.com/office/drawing/2014/main" xmlns="" id="{46364144-C139-46E2-BF8B-1E95ABE729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5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9" name="Oval 3076">
              <a:extLst>
                <a:ext uri="{FF2B5EF4-FFF2-40B4-BE49-F238E27FC236}">
                  <a16:creationId xmlns:a16="http://schemas.microsoft.com/office/drawing/2014/main" xmlns="" id="{492A8816-23B4-4612-9589-47443CE4B5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4" y="4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0" name="Oval 3077">
              <a:extLst>
                <a:ext uri="{FF2B5EF4-FFF2-40B4-BE49-F238E27FC236}">
                  <a16:creationId xmlns:a16="http://schemas.microsoft.com/office/drawing/2014/main" xmlns="" id="{BDDDF3C2-81C9-48FE-B5BA-419ED8C9F2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4" y="6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1" name="Oval 3078">
              <a:extLst>
                <a:ext uri="{FF2B5EF4-FFF2-40B4-BE49-F238E27FC236}">
                  <a16:creationId xmlns:a16="http://schemas.microsoft.com/office/drawing/2014/main" xmlns="" id="{7C5B4B53-FAE3-473F-9AA0-E5A3C55FE5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4" y="8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2" name="Oval 3079">
              <a:extLst>
                <a:ext uri="{FF2B5EF4-FFF2-40B4-BE49-F238E27FC236}">
                  <a16:creationId xmlns:a16="http://schemas.microsoft.com/office/drawing/2014/main" xmlns="" id="{E5F49272-435D-4D7D-B853-A096FDD8DE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7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3" name="Oval 3080">
              <a:extLst>
                <a:ext uri="{FF2B5EF4-FFF2-40B4-BE49-F238E27FC236}">
                  <a16:creationId xmlns:a16="http://schemas.microsoft.com/office/drawing/2014/main" xmlns="" id="{810A574F-D2D2-4813-B8F2-1819C43290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4" name="Oval 3081">
              <a:extLst>
                <a:ext uri="{FF2B5EF4-FFF2-40B4-BE49-F238E27FC236}">
                  <a16:creationId xmlns:a16="http://schemas.microsoft.com/office/drawing/2014/main" xmlns="" id="{17DCBE32-5B94-45FE-BF86-88DAE6E280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13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5" name="Oval 3082">
              <a:extLst>
                <a:ext uri="{FF2B5EF4-FFF2-40B4-BE49-F238E27FC236}">
                  <a16:creationId xmlns:a16="http://schemas.microsoft.com/office/drawing/2014/main" xmlns="" id="{67A16FF7-8088-45AB-AF27-640C51C498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13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6" name="Oval 3083">
              <a:extLst>
                <a:ext uri="{FF2B5EF4-FFF2-40B4-BE49-F238E27FC236}">
                  <a16:creationId xmlns:a16="http://schemas.microsoft.com/office/drawing/2014/main" xmlns="" id="{6D6A2322-CF8D-468D-A53F-4443487571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4" y="15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7" name="Oval 3084">
              <a:extLst>
                <a:ext uri="{FF2B5EF4-FFF2-40B4-BE49-F238E27FC236}">
                  <a16:creationId xmlns:a16="http://schemas.microsoft.com/office/drawing/2014/main" xmlns="" id="{E7909EA4-8AE0-4865-A736-83AD218E1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4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8" name="Oval 3085">
              <a:extLst>
                <a:ext uri="{FF2B5EF4-FFF2-40B4-BE49-F238E27FC236}">
                  <a16:creationId xmlns:a16="http://schemas.microsoft.com/office/drawing/2014/main" xmlns="" id="{17C8FCC0-348C-4B4F-94BE-280DE55B2C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9" name="Oval 3086">
              <a:extLst>
                <a:ext uri="{FF2B5EF4-FFF2-40B4-BE49-F238E27FC236}">
                  <a16:creationId xmlns:a16="http://schemas.microsoft.com/office/drawing/2014/main" xmlns="" id="{13559A23-D408-4E7B-A1EA-255D6F8AB9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0" name="Oval 3087">
              <a:extLst>
                <a:ext uri="{FF2B5EF4-FFF2-40B4-BE49-F238E27FC236}">
                  <a16:creationId xmlns:a16="http://schemas.microsoft.com/office/drawing/2014/main" xmlns="" id="{D0BD3322-8672-4FD5-8454-EBA23C648D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1" name="Oval 3088">
              <a:extLst>
                <a:ext uri="{FF2B5EF4-FFF2-40B4-BE49-F238E27FC236}">
                  <a16:creationId xmlns:a16="http://schemas.microsoft.com/office/drawing/2014/main" xmlns="" id="{DB4AE540-74CC-4A2E-BE76-BC061D102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2" name="Oval 3089">
              <a:extLst>
                <a:ext uri="{FF2B5EF4-FFF2-40B4-BE49-F238E27FC236}">
                  <a16:creationId xmlns:a16="http://schemas.microsoft.com/office/drawing/2014/main" xmlns="" id="{4E0EB6B6-5FA7-4730-88B1-80255CB051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9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3" name="Oval 3090">
              <a:extLst>
                <a:ext uri="{FF2B5EF4-FFF2-40B4-BE49-F238E27FC236}">
                  <a16:creationId xmlns:a16="http://schemas.microsoft.com/office/drawing/2014/main" xmlns="" id="{A9BA1F96-500B-4E36-8AA8-147380D4B5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20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4" name="Oval 3091">
              <a:extLst>
                <a:ext uri="{FF2B5EF4-FFF2-40B4-BE49-F238E27FC236}">
                  <a16:creationId xmlns:a16="http://schemas.microsoft.com/office/drawing/2014/main" xmlns="" id="{4810616B-D730-4CF5-B545-5E161D77CE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5" name="Oval 3092">
              <a:extLst>
                <a:ext uri="{FF2B5EF4-FFF2-40B4-BE49-F238E27FC236}">
                  <a16:creationId xmlns:a16="http://schemas.microsoft.com/office/drawing/2014/main" xmlns="" id="{0760CD4D-8D73-4F27-A9E6-FDAAE8CA26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3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6" name="Oval 3093">
              <a:extLst>
                <a:ext uri="{FF2B5EF4-FFF2-40B4-BE49-F238E27FC236}">
                  <a16:creationId xmlns:a16="http://schemas.microsoft.com/office/drawing/2014/main" xmlns="" id="{6126C524-B836-4044-965D-F6736E6D95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24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7" name="Oval 3094">
              <a:extLst>
                <a:ext uri="{FF2B5EF4-FFF2-40B4-BE49-F238E27FC236}">
                  <a16:creationId xmlns:a16="http://schemas.microsoft.com/office/drawing/2014/main" xmlns="" id="{9ED4A760-075D-4BCF-92DC-8DFE91BC7C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24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8" name="Oval 3095">
              <a:extLst>
                <a:ext uri="{FF2B5EF4-FFF2-40B4-BE49-F238E27FC236}">
                  <a16:creationId xmlns:a16="http://schemas.microsoft.com/office/drawing/2014/main" xmlns="" id="{B14114AE-51AC-4A86-A759-ED51CA5F00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5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9" name="Oval 3096">
              <a:extLst>
                <a:ext uri="{FF2B5EF4-FFF2-40B4-BE49-F238E27FC236}">
                  <a16:creationId xmlns:a16="http://schemas.microsoft.com/office/drawing/2014/main" xmlns="" id="{FC64DDE5-BC18-4B59-910A-692F9ED2E5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26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0" name="Oval 3097">
              <a:extLst>
                <a:ext uri="{FF2B5EF4-FFF2-40B4-BE49-F238E27FC236}">
                  <a16:creationId xmlns:a16="http://schemas.microsoft.com/office/drawing/2014/main" xmlns="" id="{7E9F26B3-E632-40D2-A790-633F14986F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7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1" name="Oval 3098">
              <a:extLst>
                <a:ext uri="{FF2B5EF4-FFF2-40B4-BE49-F238E27FC236}">
                  <a16:creationId xmlns:a16="http://schemas.microsoft.com/office/drawing/2014/main" xmlns="" id="{92DF911C-245A-43C7-9D5F-2F1990CB0B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7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2" name="Oval 3099">
              <a:extLst>
                <a:ext uri="{FF2B5EF4-FFF2-40B4-BE49-F238E27FC236}">
                  <a16:creationId xmlns:a16="http://schemas.microsoft.com/office/drawing/2014/main" xmlns="" id="{52EACC82-023A-45E1-9288-5126924F5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3" name="Oval 3100">
              <a:extLst>
                <a:ext uri="{FF2B5EF4-FFF2-40B4-BE49-F238E27FC236}">
                  <a16:creationId xmlns:a16="http://schemas.microsoft.com/office/drawing/2014/main" xmlns="" id="{9BAFA051-63F0-4A00-BD37-C149858AC4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30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4" name="Oval 3101">
              <a:extLst>
                <a:ext uri="{FF2B5EF4-FFF2-40B4-BE49-F238E27FC236}">
                  <a16:creationId xmlns:a16="http://schemas.microsoft.com/office/drawing/2014/main" xmlns="" id="{5CAAA34A-62F4-4CED-B8B5-39BA8B4AF6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29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5" name="Oval 3102">
              <a:extLst>
                <a:ext uri="{FF2B5EF4-FFF2-40B4-BE49-F238E27FC236}">
                  <a16:creationId xmlns:a16="http://schemas.microsoft.com/office/drawing/2014/main" xmlns="" id="{C6C64E70-75A4-4F45-8D97-5F1D0FA87B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30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6" name="Oval 3103">
              <a:extLst>
                <a:ext uri="{FF2B5EF4-FFF2-40B4-BE49-F238E27FC236}">
                  <a16:creationId xmlns:a16="http://schemas.microsoft.com/office/drawing/2014/main" xmlns="" id="{F1AD139B-ECE0-4D54-92EA-352615593F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7" name="Oval 3104">
              <a:extLst>
                <a:ext uri="{FF2B5EF4-FFF2-40B4-BE49-F238E27FC236}">
                  <a16:creationId xmlns:a16="http://schemas.microsoft.com/office/drawing/2014/main" xmlns="" id="{FECDB099-9C83-4254-A18D-81110A5F63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7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8" name="Oval 3105">
              <a:extLst>
                <a:ext uri="{FF2B5EF4-FFF2-40B4-BE49-F238E27FC236}">
                  <a16:creationId xmlns:a16="http://schemas.microsoft.com/office/drawing/2014/main" xmlns="" id="{48491760-D022-4151-88A7-685571CB9D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9" name="Oval 3106">
              <a:extLst>
                <a:ext uri="{FF2B5EF4-FFF2-40B4-BE49-F238E27FC236}">
                  <a16:creationId xmlns:a16="http://schemas.microsoft.com/office/drawing/2014/main" xmlns="" id="{E177A318-59F9-4DE0-86DA-8AD8703459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4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0" name="Oval 3107">
              <a:extLst>
                <a:ext uri="{FF2B5EF4-FFF2-40B4-BE49-F238E27FC236}">
                  <a16:creationId xmlns:a16="http://schemas.microsoft.com/office/drawing/2014/main" xmlns="" id="{97554C76-4725-4176-A5E0-FA59E5D7A0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1" name="Oval 3108">
              <a:extLst>
                <a:ext uri="{FF2B5EF4-FFF2-40B4-BE49-F238E27FC236}">
                  <a16:creationId xmlns:a16="http://schemas.microsoft.com/office/drawing/2014/main" xmlns="" id="{AB3C0DC0-F573-4608-BA38-E424E78E64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2" name="Oval 3109">
              <a:extLst>
                <a:ext uri="{FF2B5EF4-FFF2-40B4-BE49-F238E27FC236}">
                  <a16:creationId xmlns:a16="http://schemas.microsoft.com/office/drawing/2014/main" xmlns="" id="{D1F9DF7E-ADEB-4039-8F6E-2242827FEB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3" name="Oval 3110">
              <a:extLst>
                <a:ext uri="{FF2B5EF4-FFF2-40B4-BE49-F238E27FC236}">
                  <a16:creationId xmlns:a16="http://schemas.microsoft.com/office/drawing/2014/main" xmlns="" id="{45DD3D4F-1BD7-4A8D-A23E-F27A13F331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4" name="Oval 3111">
              <a:extLst>
                <a:ext uri="{FF2B5EF4-FFF2-40B4-BE49-F238E27FC236}">
                  <a16:creationId xmlns:a16="http://schemas.microsoft.com/office/drawing/2014/main" xmlns="" id="{2A12949F-61C9-437A-815F-F780017A89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5" name="Oval 3112">
              <a:extLst>
                <a:ext uri="{FF2B5EF4-FFF2-40B4-BE49-F238E27FC236}">
                  <a16:creationId xmlns:a16="http://schemas.microsoft.com/office/drawing/2014/main" xmlns="" id="{9C232A9A-0109-4CFA-832C-C603AD7755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23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6" name="Oval 3113">
              <a:extLst>
                <a:ext uri="{FF2B5EF4-FFF2-40B4-BE49-F238E27FC236}">
                  <a16:creationId xmlns:a16="http://schemas.microsoft.com/office/drawing/2014/main" xmlns="" id="{04B835F3-19FA-4160-8657-19370E29E3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3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7" name="Oval 3114">
              <a:extLst>
                <a:ext uri="{FF2B5EF4-FFF2-40B4-BE49-F238E27FC236}">
                  <a16:creationId xmlns:a16="http://schemas.microsoft.com/office/drawing/2014/main" xmlns="" id="{A28BC890-5EA3-47BE-AC7B-611FFDF1D7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8" name="Oval 3115">
              <a:extLst>
                <a:ext uri="{FF2B5EF4-FFF2-40B4-BE49-F238E27FC236}">
                  <a16:creationId xmlns:a16="http://schemas.microsoft.com/office/drawing/2014/main" xmlns="" id="{530C9BAE-6C06-4AA6-A1C5-3A122447C6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21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9" name="Oval 3116">
              <a:extLst>
                <a:ext uri="{FF2B5EF4-FFF2-40B4-BE49-F238E27FC236}">
                  <a16:creationId xmlns:a16="http://schemas.microsoft.com/office/drawing/2014/main" xmlns="" id="{1CE74192-2956-487B-88EC-6235E48EAA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0" name="Oval 3117">
              <a:extLst>
                <a:ext uri="{FF2B5EF4-FFF2-40B4-BE49-F238E27FC236}">
                  <a16:creationId xmlns:a16="http://schemas.microsoft.com/office/drawing/2014/main" xmlns="" id="{447E941A-8901-41DC-B73E-00C970963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3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1" name="Oval 3118">
              <a:extLst>
                <a:ext uri="{FF2B5EF4-FFF2-40B4-BE49-F238E27FC236}">
                  <a16:creationId xmlns:a16="http://schemas.microsoft.com/office/drawing/2014/main" xmlns="" id="{8686BA11-AC69-4C48-A888-78B1E6EBE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2" name="Oval 3119">
              <a:extLst>
                <a:ext uri="{FF2B5EF4-FFF2-40B4-BE49-F238E27FC236}">
                  <a16:creationId xmlns:a16="http://schemas.microsoft.com/office/drawing/2014/main" xmlns="" id="{41262B00-B166-4BED-B75E-7042B15E22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4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3" name="Oval 3120">
              <a:extLst>
                <a:ext uri="{FF2B5EF4-FFF2-40B4-BE49-F238E27FC236}">
                  <a16:creationId xmlns:a16="http://schemas.microsoft.com/office/drawing/2014/main" xmlns="" id="{42EA8083-31D2-4B7E-8008-2AD2359F1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5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4" name="Oval 3121">
              <a:extLst>
                <a:ext uri="{FF2B5EF4-FFF2-40B4-BE49-F238E27FC236}">
                  <a16:creationId xmlns:a16="http://schemas.microsoft.com/office/drawing/2014/main" xmlns="" id="{A9C3F8BD-25D6-46FE-AE7B-ED1CE53534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5" name="Oval 3122">
              <a:extLst>
                <a:ext uri="{FF2B5EF4-FFF2-40B4-BE49-F238E27FC236}">
                  <a16:creationId xmlns:a16="http://schemas.microsoft.com/office/drawing/2014/main" xmlns="" id="{E7FCFC41-E526-4005-93AD-B345A3651A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6" name="Oval 3123">
              <a:extLst>
                <a:ext uri="{FF2B5EF4-FFF2-40B4-BE49-F238E27FC236}">
                  <a16:creationId xmlns:a16="http://schemas.microsoft.com/office/drawing/2014/main" xmlns="" id="{C5764111-6871-4885-9013-0F546A51EA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7" name="Oval 3124">
              <a:extLst>
                <a:ext uri="{FF2B5EF4-FFF2-40B4-BE49-F238E27FC236}">
                  <a16:creationId xmlns:a16="http://schemas.microsoft.com/office/drawing/2014/main" xmlns="" id="{37FF6907-A4DF-4EBE-A0D1-6C5260F024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8" name="Oval 3125">
              <a:extLst>
                <a:ext uri="{FF2B5EF4-FFF2-40B4-BE49-F238E27FC236}">
                  <a16:creationId xmlns:a16="http://schemas.microsoft.com/office/drawing/2014/main" xmlns="" id="{290ABC34-3954-48A3-9637-65A0D5942C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19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9" name="Oval 3126">
              <a:extLst>
                <a:ext uri="{FF2B5EF4-FFF2-40B4-BE49-F238E27FC236}">
                  <a16:creationId xmlns:a16="http://schemas.microsoft.com/office/drawing/2014/main" xmlns="" id="{175ADE90-DAD2-4A1C-BEB5-A9E426054B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0" name="Oval 3127">
              <a:extLst>
                <a:ext uri="{FF2B5EF4-FFF2-40B4-BE49-F238E27FC236}">
                  <a16:creationId xmlns:a16="http://schemas.microsoft.com/office/drawing/2014/main" xmlns="" id="{346F84E2-C28B-4AC2-A5D1-B05AF1E5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1" name="Oval 3128">
              <a:extLst>
                <a:ext uri="{FF2B5EF4-FFF2-40B4-BE49-F238E27FC236}">
                  <a16:creationId xmlns:a16="http://schemas.microsoft.com/office/drawing/2014/main" xmlns="" id="{F7C7065E-A557-446A-8CAA-D93DF24F50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2" name="Oval 3129">
              <a:extLst>
                <a:ext uri="{FF2B5EF4-FFF2-40B4-BE49-F238E27FC236}">
                  <a16:creationId xmlns:a16="http://schemas.microsoft.com/office/drawing/2014/main" xmlns="" id="{AA657277-906E-4FB7-8CAC-40CB9043FB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3" name="Oval 3130">
              <a:extLst>
                <a:ext uri="{FF2B5EF4-FFF2-40B4-BE49-F238E27FC236}">
                  <a16:creationId xmlns:a16="http://schemas.microsoft.com/office/drawing/2014/main" xmlns="" id="{BA796E87-F32A-457B-A09D-A82C965747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7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4" name="Oval 3131">
              <a:extLst>
                <a:ext uri="{FF2B5EF4-FFF2-40B4-BE49-F238E27FC236}">
                  <a16:creationId xmlns:a16="http://schemas.microsoft.com/office/drawing/2014/main" xmlns="" id="{1076C74B-AB82-4214-9611-6C65392F95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5" name="Oval 3132">
              <a:extLst>
                <a:ext uri="{FF2B5EF4-FFF2-40B4-BE49-F238E27FC236}">
                  <a16:creationId xmlns:a16="http://schemas.microsoft.com/office/drawing/2014/main" xmlns="" id="{2CECC33E-78A5-4DFD-84C2-5251E4E011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6" name="Oval 3133">
              <a:extLst>
                <a:ext uri="{FF2B5EF4-FFF2-40B4-BE49-F238E27FC236}">
                  <a16:creationId xmlns:a16="http://schemas.microsoft.com/office/drawing/2014/main" xmlns="" id="{E9E93BC7-74A5-4F50-BCB0-B4858E9187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7" name="Oval 3134">
              <a:extLst>
                <a:ext uri="{FF2B5EF4-FFF2-40B4-BE49-F238E27FC236}">
                  <a16:creationId xmlns:a16="http://schemas.microsoft.com/office/drawing/2014/main" xmlns="" id="{F4478692-25C7-46EB-BAA7-A4F462F073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24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8" name="Oval 3135">
              <a:extLst>
                <a:ext uri="{FF2B5EF4-FFF2-40B4-BE49-F238E27FC236}">
                  <a16:creationId xmlns:a16="http://schemas.microsoft.com/office/drawing/2014/main" xmlns="" id="{065020F9-D81F-487A-9728-44C850C52B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5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9" name="Oval 3136">
              <a:extLst>
                <a:ext uri="{FF2B5EF4-FFF2-40B4-BE49-F238E27FC236}">
                  <a16:creationId xmlns:a16="http://schemas.microsoft.com/office/drawing/2014/main" xmlns="" id="{292E6F45-4503-4B2F-8145-1E3DD5A7A7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5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0" name="Oval 3137">
              <a:extLst>
                <a:ext uri="{FF2B5EF4-FFF2-40B4-BE49-F238E27FC236}">
                  <a16:creationId xmlns:a16="http://schemas.microsoft.com/office/drawing/2014/main" xmlns="" id="{7F8C174F-1F82-4F47-AE4D-C38F37CA34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24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1" name="Oval 3138">
              <a:extLst>
                <a:ext uri="{FF2B5EF4-FFF2-40B4-BE49-F238E27FC236}">
                  <a16:creationId xmlns:a16="http://schemas.microsoft.com/office/drawing/2014/main" xmlns="" id="{D40A6F7C-872C-4D61-AC52-98E3B7C65F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23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2" name="Oval 3139">
              <a:extLst>
                <a:ext uri="{FF2B5EF4-FFF2-40B4-BE49-F238E27FC236}">
                  <a16:creationId xmlns:a16="http://schemas.microsoft.com/office/drawing/2014/main" xmlns="" id="{ECAFF863-340A-44B0-8701-322082B1D7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24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3" name="Oval 3140">
              <a:extLst>
                <a:ext uri="{FF2B5EF4-FFF2-40B4-BE49-F238E27FC236}">
                  <a16:creationId xmlns:a16="http://schemas.microsoft.com/office/drawing/2014/main" xmlns="" id="{0C688072-C3E7-4EA3-9BB7-0C28B90249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4" name="Oval 3141">
              <a:extLst>
                <a:ext uri="{FF2B5EF4-FFF2-40B4-BE49-F238E27FC236}">
                  <a16:creationId xmlns:a16="http://schemas.microsoft.com/office/drawing/2014/main" xmlns="" id="{976FFA0E-66E3-41E9-81C2-79F69F299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5" y="27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5" name="Oval 3142">
              <a:extLst>
                <a:ext uri="{FF2B5EF4-FFF2-40B4-BE49-F238E27FC236}">
                  <a16:creationId xmlns:a16="http://schemas.microsoft.com/office/drawing/2014/main" xmlns="" id="{577C6548-3332-449A-9EA5-1CDD5665D6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6" name="Oval 3143">
              <a:extLst>
                <a:ext uri="{FF2B5EF4-FFF2-40B4-BE49-F238E27FC236}">
                  <a16:creationId xmlns:a16="http://schemas.microsoft.com/office/drawing/2014/main" xmlns="" id="{3B5DBB04-FCED-4B9B-B2CA-1756586960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9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7" name="Oval 3144">
              <a:extLst>
                <a:ext uri="{FF2B5EF4-FFF2-40B4-BE49-F238E27FC236}">
                  <a16:creationId xmlns:a16="http://schemas.microsoft.com/office/drawing/2014/main" xmlns="" id="{F2922A1B-383A-4D88-B0CF-558B342FF6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30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8" name="Oval 3145">
              <a:extLst>
                <a:ext uri="{FF2B5EF4-FFF2-40B4-BE49-F238E27FC236}">
                  <a16:creationId xmlns:a16="http://schemas.microsoft.com/office/drawing/2014/main" xmlns="" id="{24435BC1-3BF6-440E-AC69-4A6D02A87B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9" name="Oval 3146">
              <a:extLst>
                <a:ext uri="{FF2B5EF4-FFF2-40B4-BE49-F238E27FC236}">
                  <a16:creationId xmlns:a16="http://schemas.microsoft.com/office/drawing/2014/main" xmlns="" id="{CE191E43-65A7-4A77-A456-E369E0C3D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4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0" name="Oval 3147">
              <a:extLst>
                <a:ext uri="{FF2B5EF4-FFF2-40B4-BE49-F238E27FC236}">
                  <a16:creationId xmlns:a16="http://schemas.microsoft.com/office/drawing/2014/main" xmlns="" id="{9A64915B-D54C-491B-A6F5-CACCAB0E85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21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1" name="Oval 3148">
              <a:extLst>
                <a:ext uri="{FF2B5EF4-FFF2-40B4-BE49-F238E27FC236}">
                  <a16:creationId xmlns:a16="http://schemas.microsoft.com/office/drawing/2014/main" xmlns="" id="{FF0FCBC0-2A67-4A4D-ACA7-7A562FB74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2" name="Oval 3149">
              <a:extLst>
                <a:ext uri="{FF2B5EF4-FFF2-40B4-BE49-F238E27FC236}">
                  <a16:creationId xmlns:a16="http://schemas.microsoft.com/office/drawing/2014/main" xmlns="" id="{4EC0E989-87EE-4A9B-8825-B67F755F35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3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3" name="Oval 3150">
              <a:extLst>
                <a:ext uri="{FF2B5EF4-FFF2-40B4-BE49-F238E27FC236}">
                  <a16:creationId xmlns:a16="http://schemas.microsoft.com/office/drawing/2014/main" xmlns="" id="{FA0FA3F2-70B8-4310-929F-9C636626EE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27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4" name="Oval 3151">
              <a:extLst>
                <a:ext uri="{FF2B5EF4-FFF2-40B4-BE49-F238E27FC236}">
                  <a16:creationId xmlns:a16="http://schemas.microsoft.com/office/drawing/2014/main" xmlns="" id="{1C65EFEB-56AD-495E-8F6C-CD201429ED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5" name="Oval 3152">
              <a:extLst>
                <a:ext uri="{FF2B5EF4-FFF2-40B4-BE49-F238E27FC236}">
                  <a16:creationId xmlns:a16="http://schemas.microsoft.com/office/drawing/2014/main" xmlns="" id="{8B70D84F-A4C2-4E43-BB62-605B4FA9DB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6" name="Oval 3153">
              <a:extLst>
                <a:ext uri="{FF2B5EF4-FFF2-40B4-BE49-F238E27FC236}">
                  <a16:creationId xmlns:a16="http://schemas.microsoft.com/office/drawing/2014/main" xmlns="" id="{96B25FF9-8E3E-4E4B-9AAB-1A2971B464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7" name="Oval 3154">
              <a:extLst>
                <a:ext uri="{FF2B5EF4-FFF2-40B4-BE49-F238E27FC236}">
                  <a16:creationId xmlns:a16="http://schemas.microsoft.com/office/drawing/2014/main" xmlns="" id="{DA0F317E-0D0D-4643-B07D-3C1186D374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9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8" name="Oval 3155">
              <a:extLst>
                <a:ext uri="{FF2B5EF4-FFF2-40B4-BE49-F238E27FC236}">
                  <a16:creationId xmlns:a16="http://schemas.microsoft.com/office/drawing/2014/main" xmlns="" id="{FB5FA394-51E8-46F8-8B56-9CF097FEB2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9" name="Oval 3156">
              <a:extLst>
                <a:ext uri="{FF2B5EF4-FFF2-40B4-BE49-F238E27FC236}">
                  <a16:creationId xmlns:a16="http://schemas.microsoft.com/office/drawing/2014/main" xmlns="" id="{6554689C-2D94-42E8-8EFA-71D7D241FF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0" name="Oval 3157">
              <a:extLst>
                <a:ext uri="{FF2B5EF4-FFF2-40B4-BE49-F238E27FC236}">
                  <a16:creationId xmlns:a16="http://schemas.microsoft.com/office/drawing/2014/main" xmlns="" id="{D049C377-0B8E-4A8E-9986-12A43462A1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1" name="Oval 3158">
              <a:extLst>
                <a:ext uri="{FF2B5EF4-FFF2-40B4-BE49-F238E27FC236}">
                  <a16:creationId xmlns:a16="http://schemas.microsoft.com/office/drawing/2014/main" xmlns="" id="{C168DA0A-041A-4C08-8E8C-9060AF621E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7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2" name="Oval 3159">
              <a:extLst>
                <a:ext uri="{FF2B5EF4-FFF2-40B4-BE49-F238E27FC236}">
                  <a16:creationId xmlns:a16="http://schemas.microsoft.com/office/drawing/2014/main" xmlns="" id="{50F0F6E1-9890-46F3-A49A-0DB1318ED2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4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3" name="Oval 3160">
              <a:extLst>
                <a:ext uri="{FF2B5EF4-FFF2-40B4-BE49-F238E27FC236}">
                  <a16:creationId xmlns:a16="http://schemas.microsoft.com/office/drawing/2014/main" xmlns="" id="{B2D418C4-7178-4F71-A534-71307B03E4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4" name="Oval 3161">
              <a:extLst>
                <a:ext uri="{FF2B5EF4-FFF2-40B4-BE49-F238E27FC236}">
                  <a16:creationId xmlns:a16="http://schemas.microsoft.com/office/drawing/2014/main" xmlns="" id="{CD3C8309-6234-4670-8166-827C04F3C8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4" y="30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5" name="Oval 3162">
              <a:extLst>
                <a:ext uri="{FF2B5EF4-FFF2-40B4-BE49-F238E27FC236}">
                  <a16:creationId xmlns:a16="http://schemas.microsoft.com/office/drawing/2014/main" xmlns="" id="{99DDC8D4-6858-49E3-B649-83C20BA9D1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9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6" name="Oval 3163">
              <a:extLst>
                <a:ext uri="{FF2B5EF4-FFF2-40B4-BE49-F238E27FC236}">
                  <a16:creationId xmlns:a16="http://schemas.microsoft.com/office/drawing/2014/main" xmlns="" id="{37248B00-7250-4124-99BE-A3417FEAE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4" y="30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7" name="Oval 3164">
              <a:extLst>
                <a:ext uri="{FF2B5EF4-FFF2-40B4-BE49-F238E27FC236}">
                  <a16:creationId xmlns:a16="http://schemas.microsoft.com/office/drawing/2014/main" xmlns="" id="{074D325B-95E3-4E79-95B3-7D42A699E8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8" name="Oval 3165">
              <a:extLst>
                <a:ext uri="{FF2B5EF4-FFF2-40B4-BE49-F238E27FC236}">
                  <a16:creationId xmlns:a16="http://schemas.microsoft.com/office/drawing/2014/main" xmlns="" id="{27D88805-3713-4A15-8E29-714B5CDB9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30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9" name="Oval 3166">
              <a:extLst>
                <a:ext uri="{FF2B5EF4-FFF2-40B4-BE49-F238E27FC236}">
                  <a16:creationId xmlns:a16="http://schemas.microsoft.com/office/drawing/2014/main" xmlns="" id="{24275F87-1D72-4D67-9646-3659F416BB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0" name="Oval 3167">
              <a:extLst>
                <a:ext uri="{FF2B5EF4-FFF2-40B4-BE49-F238E27FC236}">
                  <a16:creationId xmlns:a16="http://schemas.microsoft.com/office/drawing/2014/main" xmlns="" id="{76E70DEE-D77F-4885-AA70-6DB52C1739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1" name="Oval 3168">
              <a:extLst>
                <a:ext uri="{FF2B5EF4-FFF2-40B4-BE49-F238E27FC236}">
                  <a16:creationId xmlns:a16="http://schemas.microsoft.com/office/drawing/2014/main" xmlns="" id="{A7695C32-10A6-431C-A791-0FE6F7E1E7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9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87" name="Group 1186">
            <a:extLst>
              <a:ext uri="{FF2B5EF4-FFF2-40B4-BE49-F238E27FC236}">
                <a16:creationId xmlns:a16="http://schemas.microsoft.com/office/drawing/2014/main" xmlns="" id="{3DA74C6F-D6BB-4AC1-A6BC-3D7D3DE1657E}"/>
              </a:ext>
            </a:extLst>
          </p:cNvPr>
          <p:cNvGrpSpPr/>
          <p:nvPr/>
        </p:nvGrpSpPr>
        <p:grpSpPr>
          <a:xfrm>
            <a:off x="-192333" y="813489"/>
            <a:ext cx="8477739" cy="3556493"/>
            <a:chOff x="4057123" y="813489"/>
            <a:chExt cx="8477739" cy="3556493"/>
          </a:xfrm>
        </p:grpSpPr>
        <p:sp>
          <p:nvSpPr>
            <p:cNvPr id="1188" name="Oval 1187">
              <a:extLst>
                <a:ext uri="{FF2B5EF4-FFF2-40B4-BE49-F238E27FC236}">
                  <a16:creationId xmlns:a16="http://schemas.microsoft.com/office/drawing/2014/main" xmlns="" id="{F4AE1DD1-98A2-42B5-9672-C8B34A061A11}"/>
                </a:ext>
              </a:extLst>
            </p:cNvPr>
            <p:cNvSpPr/>
            <p:nvPr/>
          </p:nvSpPr>
          <p:spPr>
            <a:xfrm>
              <a:off x="8892109" y="1095567"/>
              <a:ext cx="3137312" cy="313731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90" name="Oval 1189">
              <a:extLst>
                <a:ext uri="{FF2B5EF4-FFF2-40B4-BE49-F238E27FC236}">
                  <a16:creationId xmlns:a16="http://schemas.microsoft.com/office/drawing/2014/main" xmlns="" id="{95BEA87C-0C4B-4E63-B251-2D62624B380D}"/>
                </a:ext>
              </a:extLst>
            </p:cNvPr>
            <p:cNvSpPr/>
            <p:nvPr/>
          </p:nvSpPr>
          <p:spPr>
            <a:xfrm>
              <a:off x="4555693" y="1095567"/>
              <a:ext cx="3137312" cy="3137312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192" name="Straight Connector 1191">
              <a:extLst>
                <a:ext uri="{FF2B5EF4-FFF2-40B4-BE49-F238E27FC236}">
                  <a16:creationId xmlns:a16="http://schemas.microsoft.com/office/drawing/2014/main" xmlns="" id="{6D05260D-EAED-47BE-82C4-5B0FA834C7A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960031" y="3507336"/>
              <a:ext cx="244913" cy="641928"/>
            </a:xfrm>
            <a:prstGeom prst="line">
              <a:avLst/>
            </a:prstGeom>
            <a:ln w="63500">
              <a:solidFill>
                <a:srgbClr val="EBEBE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3" name="Straight Connector 1192">
              <a:extLst>
                <a:ext uri="{FF2B5EF4-FFF2-40B4-BE49-F238E27FC236}">
                  <a16:creationId xmlns:a16="http://schemas.microsoft.com/office/drawing/2014/main" xmlns="" id="{87A69562-ED0F-46E9-84AD-69A8002DEB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946551" y="1336566"/>
              <a:ext cx="313992" cy="435961"/>
            </a:xfrm>
            <a:prstGeom prst="line">
              <a:avLst/>
            </a:prstGeom>
            <a:ln w="63500">
              <a:solidFill>
                <a:srgbClr val="EBEBE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4" name="Straight Connector 1193">
              <a:extLst>
                <a:ext uri="{FF2B5EF4-FFF2-40B4-BE49-F238E27FC236}">
                  <a16:creationId xmlns:a16="http://schemas.microsoft.com/office/drawing/2014/main" xmlns="" id="{C340053F-AA5F-4B4A-BFC3-60EDAE0FD7E4}"/>
                </a:ext>
              </a:extLst>
            </p:cNvPr>
            <p:cNvCxnSpPr>
              <a:cxnSpLocks/>
            </p:cNvCxnSpPr>
            <p:nvPr/>
          </p:nvCxnSpPr>
          <p:spPr>
            <a:xfrm>
              <a:off x="4948184" y="1615530"/>
              <a:ext cx="392240" cy="410031"/>
            </a:xfrm>
            <a:prstGeom prst="line">
              <a:avLst/>
            </a:prstGeom>
            <a:ln w="63500">
              <a:solidFill>
                <a:srgbClr val="EBEBE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6" name="Straight Connector 1195">
              <a:extLst>
                <a:ext uri="{FF2B5EF4-FFF2-40B4-BE49-F238E27FC236}">
                  <a16:creationId xmlns:a16="http://schemas.microsoft.com/office/drawing/2014/main" xmlns="" id="{4738B800-413F-4AAD-B4F1-49DF077F8C17}"/>
                </a:ext>
              </a:extLst>
            </p:cNvPr>
            <p:cNvCxnSpPr>
              <a:cxnSpLocks/>
            </p:cNvCxnSpPr>
            <p:nvPr/>
          </p:nvCxnSpPr>
          <p:spPr>
            <a:xfrm>
              <a:off x="4320200" y="2687454"/>
              <a:ext cx="5208576" cy="0"/>
            </a:xfrm>
            <a:prstGeom prst="line">
              <a:avLst/>
            </a:prstGeom>
            <a:ln w="63500">
              <a:solidFill>
                <a:srgbClr val="EBEBE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8" name="Straight Connector 1197">
              <a:extLst>
                <a:ext uri="{FF2B5EF4-FFF2-40B4-BE49-F238E27FC236}">
                  <a16:creationId xmlns:a16="http://schemas.microsoft.com/office/drawing/2014/main" xmlns="" id="{D577CA8A-CEC5-4F35-A666-99AE0203BDB0}"/>
                </a:ext>
              </a:extLst>
            </p:cNvPr>
            <p:cNvCxnSpPr>
              <a:cxnSpLocks/>
            </p:cNvCxnSpPr>
            <p:nvPr/>
          </p:nvCxnSpPr>
          <p:spPr>
            <a:xfrm>
              <a:off x="6965268" y="3463514"/>
              <a:ext cx="311525" cy="209913"/>
            </a:xfrm>
            <a:prstGeom prst="line">
              <a:avLst/>
            </a:prstGeom>
            <a:ln w="63500">
              <a:solidFill>
                <a:srgbClr val="EBEBE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9" name="Oval 1198">
              <a:extLst>
                <a:ext uri="{FF2B5EF4-FFF2-40B4-BE49-F238E27FC236}">
                  <a16:creationId xmlns:a16="http://schemas.microsoft.com/office/drawing/2014/main" xmlns="" id="{F8AB7228-8B42-477D-A42A-B2EE6198E360}"/>
                </a:ext>
              </a:extLst>
            </p:cNvPr>
            <p:cNvSpPr/>
            <p:nvPr/>
          </p:nvSpPr>
          <p:spPr>
            <a:xfrm>
              <a:off x="4999941" y="1536192"/>
              <a:ext cx="2302523" cy="2302523"/>
            </a:xfrm>
            <a:prstGeom prst="ellipse">
              <a:avLst/>
            </a:prstGeom>
            <a:solidFill>
              <a:srgbClr val="F2F2F3"/>
            </a:solidFill>
            <a:ln cap="rnd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00" name="Oval 1199">
              <a:extLst>
                <a:ext uri="{FF2B5EF4-FFF2-40B4-BE49-F238E27FC236}">
                  <a16:creationId xmlns:a16="http://schemas.microsoft.com/office/drawing/2014/main" xmlns="" id="{3BFBFF28-CEA9-464B-931E-E2A5C9F32AA7}"/>
                </a:ext>
              </a:extLst>
            </p:cNvPr>
            <p:cNvSpPr/>
            <p:nvPr/>
          </p:nvSpPr>
          <p:spPr>
            <a:xfrm>
              <a:off x="9279485" y="1536192"/>
              <a:ext cx="2302523" cy="2302523"/>
            </a:xfrm>
            <a:prstGeom prst="ellipse">
              <a:avLst/>
            </a:prstGeom>
            <a:solidFill>
              <a:srgbClr val="F2F2F3"/>
            </a:solidFill>
            <a:ln cap="rnd">
              <a:solidFill>
                <a:schemeClr val="accent1">
                  <a:lumMod val="40000"/>
                  <a:lumOff val="60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pic>
          <p:nvPicPr>
            <p:cNvPr id="1201" name="Picture 1100">
              <a:extLst>
                <a:ext uri="{FF2B5EF4-FFF2-40B4-BE49-F238E27FC236}">
                  <a16:creationId xmlns:a16="http://schemas.microsoft.com/office/drawing/2014/main" xmlns="" id="{A36FB683-C8BC-41D3-A185-481CDA8614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xmlns="" r:embed="rId28"/>
                </a:ext>
              </a:extLst>
            </a:blip>
            <a:stretch>
              <a:fillRect/>
            </a:stretch>
          </p:blipFill>
          <p:spPr>
            <a:xfrm>
              <a:off x="5838520" y="1294877"/>
              <a:ext cx="571661" cy="571661"/>
            </a:xfrm>
            <a:prstGeom prst="rect">
              <a:avLst/>
            </a:prstGeom>
          </p:spPr>
        </p:pic>
        <p:grpSp>
          <p:nvGrpSpPr>
            <p:cNvPr id="1202" name="Group 1201">
              <a:extLst>
                <a:ext uri="{FF2B5EF4-FFF2-40B4-BE49-F238E27FC236}">
                  <a16:creationId xmlns:a16="http://schemas.microsoft.com/office/drawing/2014/main" xmlns="" id="{9BFD0F2C-73EC-4BFA-A0EA-AFAA9310F500}"/>
                </a:ext>
              </a:extLst>
            </p:cNvPr>
            <p:cNvGrpSpPr/>
            <p:nvPr/>
          </p:nvGrpSpPr>
          <p:grpSpPr>
            <a:xfrm>
              <a:off x="5824406" y="2082895"/>
              <a:ext cx="618697" cy="448449"/>
              <a:chOff x="4207537" y="2273730"/>
              <a:chExt cx="598923" cy="434116"/>
            </a:xfrm>
          </p:grpSpPr>
          <p:grpSp>
            <p:nvGrpSpPr>
              <p:cNvPr id="1761" name="Group 1760">
                <a:extLst>
                  <a:ext uri="{FF2B5EF4-FFF2-40B4-BE49-F238E27FC236}">
                    <a16:creationId xmlns:a16="http://schemas.microsoft.com/office/drawing/2014/main" xmlns="" id="{131B5644-BDF4-41E0-8D5C-F2300DCF1998}"/>
                  </a:ext>
                </a:extLst>
              </p:cNvPr>
              <p:cNvGrpSpPr/>
              <p:nvPr/>
            </p:nvGrpSpPr>
            <p:grpSpPr>
              <a:xfrm>
                <a:off x="4207537" y="2273730"/>
                <a:ext cx="179387" cy="434116"/>
                <a:chOff x="2330274" y="3840316"/>
                <a:chExt cx="238125" cy="576262"/>
              </a:xfrm>
            </p:grpSpPr>
            <p:sp>
              <p:nvSpPr>
                <p:cNvPr id="1776" name="Freeform 201">
                  <a:extLst>
                    <a:ext uri="{FF2B5EF4-FFF2-40B4-BE49-F238E27FC236}">
                      <a16:creationId xmlns:a16="http://schemas.microsoft.com/office/drawing/2014/main" xmlns="" id="{EA7D69B2-AF77-4F60-BD5D-916953E480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274" y="3840316"/>
                  <a:ext cx="238125" cy="576262"/>
                </a:xfrm>
                <a:custGeom>
                  <a:avLst/>
                  <a:gdLst>
                    <a:gd name="T0" fmla="*/ 84 w 101"/>
                    <a:gd name="T1" fmla="*/ 243 h 243"/>
                    <a:gd name="T2" fmla="*/ 17 w 101"/>
                    <a:gd name="T3" fmla="*/ 243 h 243"/>
                    <a:gd name="T4" fmla="*/ 0 w 101"/>
                    <a:gd name="T5" fmla="*/ 226 h 243"/>
                    <a:gd name="T6" fmla="*/ 0 w 101"/>
                    <a:gd name="T7" fmla="*/ 17 h 243"/>
                    <a:gd name="T8" fmla="*/ 17 w 101"/>
                    <a:gd name="T9" fmla="*/ 0 h 243"/>
                    <a:gd name="T10" fmla="*/ 84 w 101"/>
                    <a:gd name="T11" fmla="*/ 0 h 243"/>
                    <a:gd name="T12" fmla="*/ 101 w 101"/>
                    <a:gd name="T13" fmla="*/ 17 h 243"/>
                    <a:gd name="T14" fmla="*/ 101 w 101"/>
                    <a:gd name="T15" fmla="*/ 226 h 243"/>
                    <a:gd name="T16" fmla="*/ 84 w 101"/>
                    <a:gd name="T17" fmla="*/ 243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" h="243">
                      <a:moveTo>
                        <a:pt x="84" y="243"/>
                      </a:moveTo>
                      <a:cubicBezTo>
                        <a:pt x="17" y="243"/>
                        <a:pt x="17" y="243"/>
                        <a:pt x="17" y="243"/>
                      </a:cubicBezTo>
                      <a:cubicBezTo>
                        <a:pt x="8" y="243"/>
                        <a:pt x="0" y="235"/>
                        <a:pt x="0" y="226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7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93" y="0"/>
                        <a:pt x="101" y="8"/>
                        <a:pt x="101" y="17"/>
                      </a:cubicBezTo>
                      <a:cubicBezTo>
                        <a:pt x="101" y="226"/>
                        <a:pt x="101" y="226"/>
                        <a:pt x="101" y="226"/>
                      </a:cubicBezTo>
                      <a:cubicBezTo>
                        <a:pt x="101" y="235"/>
                        <a:pt x="93" y="243"/>
                        <a:pt x="84" y="24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7" name="Line 202">
                  <a:extLst>
                    <a:ext uri="{FF2B5EF4-FFF2-40B4-BE49-F238E27FC236}">
                      <a16:creationId xmlns:a16="http://schemas.microsoft.com/office/drawing/2014/main" xmlns="" id="{1EC9437D-DF7C-4EB2-975E-346FB0E215F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10166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8" name="Line 203">
                  <a:extLst>
                    <a:ext uri="{FF2B5EF4-FFF2-40B4-BE49-F238E27FC236}">
                      <a16:creationId xmlns:a16="http://schemas.microsoft.com/office/drawing/2014/main" xmlns="" id="{51ADB053-D999-4015-8606-921A1C37E5A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816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9" name="Line 204">
                  <a:extLst>
                    <a:ext uri="{FF2B5EF4-FFF2-40B4-BE49-F238E27FC236}">
                      <a16:creationId xmlns:a16="http://schemas.microsoft.com/office/drawing/2014/main" xmlns="" id="{2FA38AE5-AC0F-4441-8B97-7FFDD238D01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05145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0" name="Line 205">
                  <a:extLst>
                    <a:ext uri="{FF2B5EF4-FFF2-40B4-BE49-F238E27FC236}">
                      <a16:creationId xmlns:a16="http://schemas.microsoft.com/office/drawing/2014/main" xmlns="" id="{14AEF770-2C64-4834-91E1-1A6424CCDCB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213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81" name="Line 206">
                  <a:extLst>
                    <a:ext uri="{FF2B5EF4-FFF2-40B4-BE49-F238E27FC236}">
                      <a16:creationId xmlns:a16="http://schemas.microsoft.com/office/drawing/2014/main" xmlns="" id="{DCD15A51-B09E-4CBC-B09B-8965A2EC515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92741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1762" name="Group 1761">
                <a:extLst>
                  <a:ext uri="{FF2B5EF4-FFF2-40B4-BE49-F238E27FC236}">
                    <a16:creationId xmlns:a16="http://schemas.microsoft.com/office/drawing/2014/main" xmlns="" id="{4CEC25D0-DAA6-44F1-A4CA-6208CFE61FD2}"/>
                  </a:ext>
                </a:extLst>
              </p:cNvPr>
              <p:cNvGrpSpPr/>
              <p:nvPr/>
            </p:nvGrpSpPr>
            <p:grpSpPr>
              <a:xfrm>
                <a:off x="4417305" y="2273730"/>
                <a:ext cx="179387" cy="434116"/>
                <a:chOff x="2330274" y="3840316"/>
                <a:chExt cx="238125" cy="576262"/>
              </a:xfrm>
            </p:grpSpPr>
            <p:sp>
              <p:nvSpPr>
                <p:cNvPr id="1770" name="Freeform 201">
                  <a:extLst>
                    <a:ext uri="{FF2B5EF4-FFF2-40B4-BE49-F238E27FC236}">
                      <a16:creationId xmlns:a16="http://schemas.microsoft.com/office/drawing/2014/main" xmlns="" id="{5CB61596-54E7-416A-A956-24EA5C29B3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274" y="3840316"/>
                  <a:ext cx="238125" cy="576262"/>
                </a:xfrm>
                <a:custGeom>
                  <a:avLst/>
                  <a:gdLst>
                    <a:gd name="T0" fmla="*/ 84 w 101"/>
                    <a:gd name="T1" fmla="*/ 243 h 243"/>
                    <a:gd name="T2" fmla="*/ 17 w 101"/>
                    <a:gd name="T3" fmla="*/ 243 h 243"/>
                    <a:gd name="T4" fmla="*/ 0 w 101"/>
                    <a:gd name="T5" fmla="*/ 226 h 243"/>
                    <a:gd name="T6" fmla="*/ 0 w 101"/>
                    <a:gd name="T7" fmla="*/ 17 h 243"/>
                    <a:gd name="T8" fmla="*/ 17 w 101"/>
                    <a:gd name="T9" fmla="*/ 0 h 243"/>
                    <a:gd name="T10" fmla="*/ 84 w 101"/>
                    <a:gd name="T11" fmla="*/ 0 h 243"/>
                    <a:gd name="T12" fmla="*/ 101 w 101"/>
                    <a:gd name="T13" fmla="*/ 17 h 243"/>
                    <a:gd name="T14" fmla="*/ 101 w 101"/>
                    <a:gd name="T15" fmla="*/ 226 h 243"/>
                    <a:gd name="T16" fmla="*/ 84 w 101"/>
                    <a:gd name="T17" fmla="*/ 243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" h="243">
                      <a:moveTo>
                        <a:pt x="84" y="243"/>
                      </a:moveTo>
                      <a:cubicBezTo>
                        <a:pt x="17" y="243"/>
                        <a:pt x="17" y="243"/>
                        <a:pt x="17" y="243"/>
                      </a:cubicBezTo>
                      <a:cubicBezTo>
                        <a:pt x="8" y="243"/>
                        <a:pt x="0" y="235"/>
                        <a:pt x="0" y="226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7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93" y="0"/>
                        <a:pt x="101" y="8"/>
                        <a:pt x="101" y="17"/>
                      </a:cubicBezTo>
                      <a:cubicBezTo>
                        <a:pt x="101" y="226"/>
                        <a:pt x="101" y="226"/>
                        <a:pt x="101" y="226"/>
                      </a:cubicBezTo>
                      <a:cubicBezTo>
                        <a:pt x="101" y="235"/>
                        <a:pt x="93" y="243"/>
                        <a:pt x="84" y="24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1" name="Line 202">
                  <a:extLst>
                    <a:ext uri="{FF2B5EF4-FFF2-40B4-BE49-F238E27FC236}">
                      <a16:creationId xmlns:a16="http://schemas.microsoft.com/office/drawing/2014/main" xmlns="" id="{9E59422F-30D1-44D8-A29B-50284A532E9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10166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2" name="Line 203">
                  <a:extLst>
                    <a:ext uri="{FF2B5EF4-FFF2-40B4-BE49-F238E27FC236}">
                      <a16:creationId xmlns:a16="http://schemas.microsoft.com/office/drawing/2014/main" xmlns="" id="{BFE27093-2D19-45EC-900B-57CD51D58FA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816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3" name="Line 204">
                  <a:extLst>
                    <a:ext uri="{FF2B5EF4-FFF2-40B4-BE49-F238E27FC236}">
                      <a16:creationId xmlns:a16="http://schemas.microsoft.com/office/drawing/2014/main" xmlns="" id="{101736C3-99FA-44DA-B011-75CE5194F63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05145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4" name="Line 205">
                  <a:extLst>
                    <a:ext uri="{FF2B5EF4-FFF2-40B4-BE49-F238E27FC236}">
                      <a16:creationId xmlns:a16="http://schemas.microsoft.com/office/drawing/2014/main" xmlns="" id="{AB1B0D84-298E-4FBA-8601-F8C2BC9A1AA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213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75" name="Line 206">
                  <a:extLst>
                    <a:ext uri="{FF2B5EF4-FFF2-40B4-BE49-F238E27FC236}">
                      <a16:creationId xmlns:a16="http://schemas.microsoft.com/office/drawing/2014/main" xmlns="" id="{289BF296-EC56-4C78-8C62-0594A31F984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92741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1763" name="Group 1762">
                <a:extLst>
                  <a:ext uri="{FF2B5EF4-FFF2-40B4-BE49-F238E27FC236}">
                    <a16:creationId xmlns:a16="http://schemas.microsoft.com/office/drawing/2014/main" xmlns="" id="{CB986087-BBB2-4CE4-A583-1AC365584453}"/>
                  </a:ext>
                </a:extLst>
              </p:cNvPr>
              <p:cNvGrpSpPr/>
              <p:nvPr/>
            </p:nvGrpSpPr>
            <p:grpSpPr>
              <a:xfrm>
                <a:off x="4627073" y="2273730"/>
                <a:ext cx="179387" cy="434116"/>
                <a:chOff x="2330274" y="3840316"/>
                <a:chExt cx="238125" cy="576262"/>
              </a:xfrm>
            </p:grpSpPr>
            <p:sp>
              <p:nvSpPr>
                <p:cNvPr id="1764" name="Freeform 201">
                  <a:extLst>
                    <a:ext uri="{FF2B5EF4-FFF2-40B4-BE49-F238E27FC236}">
                      <a16:creationId xmlns:a16="http://schemas.microsoft.com/office/drawing/2014/main" xmlns="" id="{99AF48C8-BB3B-4D72-8B8C-0E06ADAABA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274" y="3840316"/>
                  <a:ext cx="238125" cy="576262"/>
                </a:xfrm>
                <a:custGeom>
                  <a:avLst/>
                  <a:gdLst>
                    <a:gd name="T0" fmla="*/ 84 w 101"/>
                    <a:gd name="T1" fmla="*/ 243 h 243"/>
                    <a:gd name="T2" fmla="*/ 17 w 101"/>
                    <a:gd name="T3" fmla="*/ 243 h 243"/>
                    <a:gd name="T4" fmla="*/ 0 w 101"/>
                    <a:gd name="T5" fmla="*/ 226 h 243"/>
                    <a:gd name="T6" fmla="*/ 0 w 101"/>
                    <a:gd name="T7" fmla="*/ 17 h 243"/>
                    <a:gd name="T8" fmla="*/ 17 w 101"/>
                    <a:gd name="T9" fmla="*/ 0 h 243"/>
                    <a:gd name="T10" fmla="*/ 84 w 101"/>
                    <a:gd name="T11" fmla="*/ 0 h 243"/>
                    <a:gd name="T12" fmla="*/ 101 w 101"/>
                    <a:gd name="T13" fmla="*/ 17 h 243"/>
                    <a:gd name="T14" fmla="*/ 101 w 101"/>
                    <a:gd name="T15" fmla="*/ 226 h 243"/>
                    <a:gd name="T16" fmla="*/ 84 w 101"/>
                    <a:gd name="T17" fmla="*/ 243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" h="243">
                      <a:moveTo>
                        <a:pt x="84" y="243"/>
                      </a:moveTo>
                      <a:cubicBezTo>
                        <a:pt x="17" y="243"/>
                        <a:pt x="17" y="243"/>
                        <a:pt x="17" y="243"/>
                      </a:cubicBezTo>
                      <a:cubicBezTo>
                        <a:pt x="8" y="243"/>
                        <a:pt x="0" y="235"/>
                        <a:pt x="0" y="226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7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93" y="0"/>
                        <a:pt x="101" y="8"/>
                        <a:pt x="101" y="17"/>
                      </a:cubicBezTo>
                      <a:cubicBezTo>
                        <a:pt x="101" y="226"/>
                        <a:pt x="101" y="226"/>
                        <a:pt x="101" y="226"/>
                      </a:cubicBezTo>
                      <a:cubicBezTo>
                        <a:pt x="101" y="235"/>
                        <a:pt x="93" y="243"/>
                        <a:pt x="84" y="24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5" name="Line 202">
                  <a:extLst>
                    <a:ext uri="{FF2B5EF4-FFF2-40B4-BE49-F238E27FC236}">
                      <a16:creationId xmlns:a16="http://schemas.microsoft.com/office/drawing/2014/main" xmlns="" id="{0217198F-3F1D-4376-AC92-F4A1CCE55C9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10166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6" name="Line 203">
                  <a:extLst>
                    <a:ext uri="{FF2B5EF4-FFF2-40B4-BE49-F238E27FC236}">
                      <a16:creationId xmlns:a16="http://schemas.microsoft.com/office/drawing/2014/main" xmlns="" id="{BD79BBBF-DB4D-4401-B79B-06B919D77AD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816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7" name="Line 204">
                  <a:extLst>
                    <a:ext uri="{FF2B5EF4-FFF2-40B4-BE49-F238E27FC236}">
                      <a16:creationId xmlns:a16="http://schemas.microsoft.com/office/drawing/2014/main" xmlns="" id="{C0A1DCA5-3EF0-4043-B45D-10079DC3460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05145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8" name="Line 205">
                  <a:extLst>
                    <a:ext uri="{FF2B5EF4-FFF2-40B4-BE49-F238E27FC236}">
                      <a16:creationId xmlns:a16="http://schemas.microsoft.com/office/drawing/2014/main" xmlns="" id="{B2FAA811-DB1E-49C7-882D-7C816FAC05A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213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9" name="Line 206">
                  <a:extLst>
                    <a:ext uri="{FF2B5EF4-FFF2-40B4-BE49-F238E27FC236}">
                      <a16:creationId xmlns:a16="http://schemas.microsoft.com/office/drawing/2014/main" xmlns="" id="{1888C56C-B827-41D8-9600-1EB28C83DB4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92741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1203" name="Group 1202">
              <a:extLst>
                <a:ext uri="{FF2B5EF4-FFF2-40B4-BE49-F238E27FC236}">
                  <a16:creationId xmlns:a16="http://schemas.microsoft.com/office/drawing/2014/main" xmlns="" id="{1C8F5EF8-F3CF-46E8-8E5F-9143204953A5}"/>
                </a:ext>
              </a:extLst>
            </p:cNvPr>
            <p:cNvGrpSpPr/>
            <p:nvPr/>
          </p:nvGrpSpPr>
          <p:grpSpPr>
            <a:xfrm>
              <a:off x="5824406" y="2835347"/>
              <a:ext cx="618697" cy="448449"/>
              <a:chOff x="4207537" y="2273730"/>
              <a:chExt cx="598923" cy="434116"/>
            </a:xfrm>
          </p:grpSpPr>
          <p:grpSp>
            <p:nvGrpSpPr>
              <p:cNvPr id="1740" name="Group 1739">
                <a:extLst>
                  <a:ext uri="{FF2B5EF4-FFF2-40B4-BE49-F238E27FC236}">
                    <a16:creationId xmlns:a16="http://schemas.microsoft.com/office/drawing/2014/main" xmlns="" id="{A626A6D7-E148-4249-B900-9ADADCAC948C}"/>
                  </a:ext>
                </a:extLst>
              </p:cNvPr>
              <p:cNvGrpSpPr/>
              <p:nvPr/>
            </p:nvGrpSpPr>
            <p:grpSpPr>
              <a:xfrm>
                <a:off x="4207537" y="2273730"/>
                <a:ext cx="179387" cy="434116"/>
                <a:chOff x="2330274" y="3840316"/>
                <a:chExt cx="238125" cy="576262"/>
              </a:xfrm>
            </p:grpSpPr>
            <p:sp>
              <p:nvSpPr>
                <p:cNvPr id="1755" name="Freeform 201">
                  <a:extLst>
                    <a:ext uri="{FF2B5EF4-FFF2-40B4-BE49-F238E27FC236}">
                      <a16:creationId xmlns:a16="http://schemas.microsoft.com/office/drawing/2014/main" xmlns="" id="{F5D16DDC-AFDB-4FD0-913C-AB15A42691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274" y="3840316"/>
                  <a:ext cx="238125" cy="576262"/>
                </a:xfrm>
                <a:custGeom>
                  <a:avLst/>
                  <a:gdLst>
                    <a:gd name="T0" fmla="*/ 84 w 101"/>
                    <a:gd name="T1" fmla="*/ 243 h 243"/>
                    <a:gd name="T2" fmla="*/ 17 w 101"/>
                    <a:gd name="T3" fmla="*/ 243 h 243"/>
                    <a:gd name="T4" fmla="*/ 0 w 101"/>
                    <a:gd name="T5" fmla="*/ 226 h 243"/>
                    <a:gd name="T6" fmla="*/ 0 w 101"/>
                    <a:gd name="T7" fmla="*/ 17 h 243"/>
                    <a:gd name="T8" fmla="*/ 17 w 101"/>
                    <a:gd name="T9" fmla="*/ 0 h 243"/>
                    <a:gd name="T10" fmla="*/ 84 w 101"/>
                    <a:gd name="T11" fmla="*/ 0 h 243"/>
                    <a:gd name="T12" fmla="*/ 101 w 101"/>
                    <a:gd name="T13" fmla="*/ 17 h 243"/>
                    <a:gd name="T14" fmla="*/ 101 w 101"/>
                    <a:gd name="T15" fmla="*/ 226 h 243"/>
                    <a:gd name="T16" fmla="*/ 84 w 101"/>
                    <a:gd name="T17" fmla="*/ 243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" h="243">
                      <a:moveTo>
                        <a:pt x="84" y="243"/>
                      </a:moveTo>
                      <a:cubicBezTo>
                        <a:pt x="17" y="243"/>
                        <a:pt x="17" y="243"/>
                        <a:pt x="17" y="243"/>
                      </a:cubicBezTo>
                      <a:cubicBezTo>
                        <a:pt x="8" y="243"/>
                        <a:pt x="0" y="235"/>
                        <a:pt x="0" y="226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7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93" y="0"/>
                        <a:pt x="101" y="8"/>
                        <a:pt x="101" y="17"/>
                      </a:cubicBezTo>
                      <a:cubicBezTo>
                        <a:pt x="101" y="226"/>
                        <a:pt x="101" y="226"/>
                        <a:pt x="101" y="226"/>
                      </a:cubicBezTo>
                      <a:cubicBezTo>
                        <a:pt x="101" y="235"/>
                        <a:pt x="93" y="243"/>
                        <a:pt x="84" y="24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6" name="Line 202">
                  <a:extLst>
                    <a:ext uri="{FF2B5EF4-FFF2-40B4-BE49-F238E27FC236}">
                      <a16:creationId xmlns:a16="http://schemas.microsoft.com/office/drawing/2014/main" xmlns="" id="{D3BAB590-6AB3-469A-8CE8-FC3DFE1F22E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10166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7" name="Line 203">
                  <a:extLst>
                    <a:ext uri="{FF2B5EF4-FFF2-40B4-BE49-F238E27FC236}">
                      <a16:creationId xmlns:a16="http://schemas.microsoft.com/office/drawing/2014/main" xmlns="" id="{B4A90C6F-7F8B-4C9C-82FE-25A091857F8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816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8" name="Line 204">
                  <a:extLst>
                    <a:ext uri="{FF2B5EF4-FFF2-40B4-BE49-F238E27FC236}">
                      <a16:creationId xmlns:a16="http://schemas.microsoft.com/office/drawing/2014/main" xmlns="" id="{7C900B45-4C0F-4ED3-B03B-4F82BA9637E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05145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9" name="Line 205">
                  <a:extLst>
                    <a:ext uri="{FF2B5EF4-FFF2-40B4-BE49-F238E27FC236}">
                      <a16:creationId xmlns:a16="http://schemas.microsoft.com/office/drawing/2014/main" xmlns="" id="{82A648C7-63BE-488B-8C7B-8A19D54C029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213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60" name="Line 206">
                  <a:extLst>
                    <a:ext uri="{FF2B5EF4-FFF2-40B4-BE49-F238E27FC236}">
                      <a16:creationId xmlns:a16="http://schemas.microsoft.com/office/drawing/2014/main" xmlns="" id="{84354B55-A6E3-4B36-9464-ABEFB7638EC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92741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1741" name="Group 1740">
                <a:extLst>
                  <a:ext uri="{FF2B5EF4-FFF2-40B4-BE49-F238E27FC236}">
                    <a16:creationId xmlns:a16="http://schemas.microsoft.com/office/drawing/2014/main" xmlns="" id="{8E327775-AA55-427E-9EB5-BCACA140EF59}"/>
                  </a:ext>
                </a:extLst>
              </p:cNvPr>
              <p:cNvGrpSpPr/>
              <p:nvPr/>
            </p:nvGrpSpPr>
            <p:grpSpPr>
              <a:xfrm>
                <a:off x="4417305" y="2273730"/>
                <a:ext cx="179387" cy="434116"/>
                <a:chOff x="2330274" y="3840316"/>
                <a:chExt cx="238125" cy="576262"/>
              </a:xfrm>
            </p:grpSpPr>
            <p:sp>
              <p:nvSpPr>
                <p:cNvPr id="1749" name="Freeform 201">
                  <a:extLst>
                    <a:ext uri="{FF2B5EF4-FFF2-40B4-BE49-F238E27FC236}">
                      <a16:creationId xmlns:a16="http://schemas.microsoft.com/office/drawing/2014/main" xmlns="" id="{6881385B-5D88-43BD-B450-AEF7D03835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274" y="3840316"/>
                  <a:ext cx="238125" cy="576262"/>
                </a:xfrm>
                <a:custGeom>
                  <a:avLst/>
                  <a:gdLst>
                    <a:gd name="T0" fmla="*/ 84 w 101"/>
                    <a:gd name="T1" fmla="*/ 243 h 243"/>
                    <a:gd name="T2" fmla="*/ 17 w 101"/>
                    <a:gd name="T3" fmla="*/ 243 h 243"/>
                    <a:gd name="T4" fmla="*/ 0 w 101"/>
                    <a:gd name="T5" fmla="*/ 226 h 243"/>
                    <a:gd name="T6" fmla="*/ 0 w 101"/>
                    <a:gd name="T7" fmla="*/ 17 h 243"/>
                    <a:gd name="T8" fmla="*/ 17 w 101"/>
                    <a:gd name="T9" fmla="*/ 0 h 243"/>
                    <a:gd name="T10" fmla="*/ 84 w 101"/>
                    <a:gd name="T11" fmla="*/ 0 h 243"/>
                    <a:gd name="T12" fmla="*/ 101 w 101"/>
                    <a:gd name="T13" fmla="*/ 17 h 243"/>
                    <a:gd name="T14" fmla="*/ 101 w 101"/>
                    <a:gd name="T15" fmla="*/ 226 h 243"/>
                    <a:gd name="T16" fmla="*/ 84 w 101"/>
                    <a:gd name="T17" fmla="*/ 243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" h="243">
                      <a:moveTo>
                        <a:pt x="84" y="243"/>
                      </a:moveTo>
                      <a:cubicBezTo>
                        <a:pt x="17" y="243"/>
                        <a:pt x="17" y="243"/>
                        <a:pt x="17" y="243"/>
                      </a:cubicBezTo>
                      <a:cubicBezTo>
                        <a:pt x="8" y="243"/>
                        <a:pt x="0" y="235"/>
                        <a:pt x="0" y="226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7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93" y="0"/>
                        <a:pt x="101" y="8"/>
                        <a:pt x="101" y="17"/>
                      </a:cubicBezTo>
                      <a:cubicBezTo>
                        <a:pt x="101" y="226"/>
                        <a:pt x="101" y="226"/>
                        <a:pt x="101" y="226"/>
                      </a:cubicBezTo>
                      <a:cubicBezTo>
                        <a:pt x="101" y="235"/>
                        <a:pt x="93" y="243"/>
                        <a:pt x="84" y="24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0" name="Line 202">
                  <a:extLst>
                    <a:ext uri="{FF2B5EF4-FFF2-40B4-BE49-F238E27FC236}">
                      <a16:creationId xmlns:a16="http://schemas.microsoft.com/office/drawing/2014/main" xmlns="" id="{8AE7877B-ACC2-42BB-8E8A-A628DE8778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10166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1" name="Line 203">
                  <a:extLst>
                    <a:ext uri="{FF2B5EF4-FFF2-40B4-BE49-F238E27FC236}">
                      <a16:creationId xmlns:a16="http://schemas.microsoft.com/office/drawing/2014/main" xmlns="" id="{75CA6E43-222B-4E7E-A036-D431F5BF6CA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816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2" name="Line 204">
                  <a:extLst>
                    <a:ext uri="{FF2B5EF4-FFF2-40B4-BE49-F238E27FC236}">
                      <a16:creationId xmlns:a16="http://schemas.microsoft.com/office/drawing/2014/main" xmlns="" id="{FB16C9DC-AAB1-4748-8498-546A7DA50A6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05145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3" name="Line 205">
                  <a:extLst>
                    <a:ext uri="{FF2B5EF4-FFF2-40B4-BE49-F238E27FC236}">
                      <a16:creationId xmlns:a16="http://schemas.microsoft.com/office/drawing/2014/main" xmlns="" id="{407825E0-C9DF-40C8-91DF-E730E26B6C8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213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54" name="Line 206">
                  <a:extLst>
                    <a:ext uri="{FF2B5EF4-FFF2-40B4-BE49-F238E27FC236}">
                      <a16:creationId xmlns:a16="http://schemas.microsoft.com/office/drawing/2014/main" xmlns="" id="{2F13AEC4-2C3F-4738-AF9A-63D4B18A29D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92741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1742" name="Group 1741">
                <a:extLst>
                  <a:ext uri="{FF2B5EF4-FFF2-40B4-BE49-F238E27FC236}">
                    <a16:creationId xmlns:a16="http://schemas.microsoft.com/office/drawing/2014/main" xmlns="" id="{DE5B49B0-509D-4F8B-9C4D-1C0B76350A40}"/>
                  </a:ext>
                </a:extLst>
              </p:cNvPr>
              <p:cNvGrpSpPr/>
              <p:nvPr/>
            </p:nvGrpSpPr>
            <p:grpSpPr>
              <a:xfrm>
                <a:off x="4627073" y="2273730"/>
                <a:ext cx="179387" cy="434116"/>
                <a:chOff x="2330274" y="3840316"/>
                <a:chExt cx="238125" cy="576262"/>
              </a:xfrm>
            </p:grpSpPr>
            <p:sp>
              <p:nvSpPr>
                <p:cNvPr id="1743" name="Freeform 201">
                  <a:extLst>
                    <a:ext uri="{FF2B5EF4-FFF2-40B4-BE49-F238E27FC236}">
                      <a16:creationId xmlns:a16="http://schemas.microsoft.com/office/drawing/2014/main" xmlns="" id="{F9C78381-AE6E-40FE-B0A6-24A3184462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274" y="3840316"/>
                  <a:ext cx="238125" cy="576262"/>
                </a:xfrm>
                <a:custGeom>
                  <a:avLst/>
                  <a:gdLst>
                    <a:gd name="T0" fmla="*/ 84 w 101"/>
                    <a:gd name="T1" fmla="*/ 243 h 243"/>
                    <a:gd name="T2" fmla="*/ 17 w 101"/>
                    <a:gd name="T3" fmla="*/ 243 h 243"/>
                    <a:gd name="T4" fmla="*/ 0 w 101"/>
                    <a:gd name="T5" fmla="*/ 226 h 243"/>
                    <a:gd name="T6" fmla="*/ 0 w 101"/>
                    <a:gd name="T7" fmla="*/ 17 h 243"/>
                    <a:gd name="T8" fmla="*/ 17 w 101"/>
                    <a:gd name="T9" fmla="*/ 0 h 243"/>
                    <a:gd name="T10" fmla="*/ 84 w 101"/>
                    <a:gd name="T11" fmla="*/ 0 h 243"/>
                    <a:gd name="T12" fmla="*/ 101 w 101"/>
                    <a:gd name="T13" fmla="*/ 17 h 243"/>
                    <a:gd name="T14" fmla="*/ 101 w 101"/>
                    <a:gd name="T15" fmla="*/ 226 h 243"/>
                    <a:gd name="T16" fmla="*/ 84 w 101"/>
                    <a:gd name="T17" fmla="*/ 243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1" h="243">
                      <a:moveTo>
                        <a:pt x="84" y="243"/>
                      </a:moveTo>
                      <a:cubicBezTo>
                        <a:pt x="17" y="243"/>
                        <a:pt x="17" y="243"/>
                        <a:pt x="17" y="243"/>
                      </a:cubicBezTo>
                      <a:cubicBezTo>
                        <a:pt x="8" y="243"/>
                        <a:pt x="0" y="235"/>
                        <a:pt x="0" y="226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7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93" y="0"/>
                        <a:pt x="101" y="8"/>
                        <a:pt x="101" y="17"/>
                      </a:cubicBezTo>
                      <a:cubicBezTo>
                        <a:pt x="101" y="226"/>
                        <a:pt x="101" y="226"/>
                        <a:pt x="101" y="226"/>
                      </a:cubicBezTo>
                      <a:cubicBezTo>
                        <a:pt x="101" y="235"/>
                        <a:pt x="93" y="243"/>
                        <a:pt x="84" y="24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4" name="Line 202">
                  <a:extLst>
                    <a:ext uri="{FF2B5EF4-FFF2-40B4-BE49-F238E27FC236}">
                      <a16:creationId xmlns:a16="http://schemas.microsoft.com/office/drawing/2014/main" xmlns="" id="{60FD7585-78CF-40DA-849C-6E08A659205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10166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5" name="Line 203">
                  <a:extLst>
                    <a:ext uri="{FF2B5EF4-FFF2-40B4-BE49-F238E27FC236}">
                      <a16:creationId xmlns:a16="http://schemas.microsoft.com/office/drawing/2014/main" xmlns="" id="{3B8A7DDE-83F3-4A66-AA6A-F686C4D855B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39816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6" name="Line 204">
                  <a:extLst>
                    <a:ext uri="{FF2B5EF4-FFF2-40B4-BE49-F238E27FC236}">
                      <a16:creationId xmlns:a16="http://schemas.microsoft.com/office/drawing/2014/main" xmlns="" id="{6AAA864E-096E-4748-B804-E775AAB222C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05145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7" name="Line 205">
                  <a:extLst>
                    <a:ext uri="{FF2B5EF4-FFF2-40B4-BE49-F238E27FC236}">
                      <a16:creationId xmlns:a16="http://schemas.microsoft.com/office/drawing/2014/main" xmlns="" id="{2A9F4CC0-F273-4856-AEE8-400FA66FA5B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21303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48" name="Line 206">
                  <a:extLst>
                    <a:ext uri="{FF2B5EF4-FFF2-40B4-BE49-F238E27FC236}">
                      <a16:creationId xmlns:a16="http://schemas.microsoft.com/office/drawing/2014/main" xmlns="" id="{2FD6BB23-88DD-4F09-8BEC-A66A4AEB0E1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389011" y="4192741"/>
                  <a:ext cx="120650" cy="0"/>
                </a:xfrm>
                <a:prstGeom prst="line">
                  <a:avLst/>
                </a:prstGeom>
                <a:noFill/>
                <a:ln w="20638" cap="rnd">
                  <a:solidFill>
                    <a:srgbClr val="005073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cxnSp>
          <p:nvCxnSpPr>
            <p:cNvPr id="1204" name="Connector: Elbow 1203">
              <a:extLst>
                <a:ext uri="{FF2B5EF4-FFF2-40B4-BE49-F238E27FC236}">
                  <a16:creationId xmlns:a16="http://schemas.microsoft.com/office/drawing/2014/main" xmlns="" id="{AD0959CA-B37F-4CA9-B054-AB0FAFE8443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5543377" y="2405535"/>
              <a:ext cx="372347" cy="189715"/>
            </a:xfrm>
            <a:prstGeom prst="bentConnector3">
              <a:avLst>
                <a:gd name="adj1" fmla="val -184"/>
              </a:avLst>
            </a:prstGeom>
            <a:ln cap="rnd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7" name="Connector: Elbow 1216">
              <a:extLst>
                <a:ext uri="{FF2B5EF4-FFF2-40B4-BE49-F238E27FC236}">
                  <a16:creationId xmlns:a16="http://schemas.microsoft.com/office/drawing/2014/main" xmlns="" id="{1D91D982-4440-4D16-9FEF-377C58987E55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5543377" y="2785822"/>
              <a:ext cx="372347" cy="189715"/>
            </a:xfrm>
            <a:prstGeom prst="bentConnector3">
              <a:avLst>
                <a:gd name="adj1" fmla="val -184"/>
              </a:avLst>
            </a:prstGeom>
            <a:ln cap="rnd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18" name="Group 1217">
              <a:extLst>
                <a:ext uri="{FF2B5EF4-FFF2-40B4-BE49-F238E27FC236}">
                  <a16:creationId xmlns:a16="http://schemas.microsoft.com/office/drawing/2014/main" xmlns="" id="{86C65946-0E95-4318-94C1-7846D9B3F1C3}"/>
                </a:ext>
              </a:extLst>
            </p:cNvPr>
            <p:cNvGrpSpPr/>
            <p:nvPr/>
          </p:nvGrpSpPr>
          <p:grpSpPr>
            <a:xfrm>
              <a:off x="5523369" y="2953858"/>
              <a:ext cx="226628" cy="226628"/>
              <a:chOff x="1358899" y="2193925"/>
              <a:chExt cx="390525" cy="390525"/>
            </a:xfrm>
          </p:grpSpPr>
          <p:sp>
            <p:nvSpPr>
              <p:cNvPr id="1732" name="Rectangle: Rounded Corners 1731">
                <a:extLst>
                  <a:ext uri="{FF2B5EF4-FFF2-40B4-BE49-F238E27FC236}">
                    <a16:creationId xmlns:a16="http://schemas.microsoft.com/office/drawing/2014/main" xmlns="" id="{8FA04BBD-9D41-452C-A5EA-305DC965889C}"/>
                  </a:ext>
                </a:extLst>
              </p:cNvPr>
              <p:cNvSpPr/>
              <p:nvPr/>
            </p:nvSpPr>
            <p:spPr>
              <a:xfrm>
                <a:off x="1358899" y="2193925"/>
                <a:ext cx="390525" cy="390525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1733" name="Group 1732">
                <a:extLst>
                  <a:ext uri="{FF2B5EF4-FFF2-40B4-BE49-F238E27FC236}">
                    <a16:creationId xmlns:a16="http://schemas.microsoft.com/office/drawing/2014/main" xmlns="" id="{DD7D1DBF-6B04-4B39-8D7B-BF66B89FDE6D}"/>
                  </a:ext>
                </a:extLst>
              </p:cNvPr>
              <p:cNvGrpSpPr/>
              <p:nvPr/>
            </p:nvGrpSpPr>
            <p:grpSpPr>
              <a:xfrm>
                <a:off x="1420588" y="2248963"/>
                <a:ext cx="267146" cy="280448"/>
                <a:chOff x="1401763" y="2228851"/>
                <a:chExt cx="307974" cy="323308"/>
              </a:xfrm>
            </p:grpSpPr>
            <p:grpSp>
              <p:nvGrpSpPr>
                <p:cNvPr id="1734" name="Group 1733">
                  <a:extLst>
                    <a:ext uri="{FF2B5EF4-FFF2-40B4-BE49-F238E27FC236}">
                      <a16:creationId xmlns:a16="http://schemas.microsoft.com/office/drawing/2014/main" xmlns="" id="{3C07E661-869C-4276-B790-82F2A29C878C}"/>
                    </a:ext>
                  </a:extLst>
                </p:cNvPr>
                <p:cNvGrpSpPr/>
                <p:nvPr/>
              </p:nvGrpSpPr>
              <p:grpSpPr>
                <a:xfrm>
                  <a:off x="1482725" y="2295526"/>
                  <a:ext cx="227012" cy="256633"/>
                  <a:chOff x="1482725" y="2276476"/>
                  <a:chExt cx="227012" cy="256633"/>
                </a:xfrm>
                <a:solidFill>
                  <a:schemeClr val="bg2"/>
                </a:solidFill>
              </p:grpSpPr>
              <p:sp>
                <p:nvSpPr>
                  <p:cNvPr id="1738" name="Freeform 33">
                    <a:extLst>
                      <a:ext uri="{FF2B5EF4-FFF2-40B4-BE49-F238E27FC236}">
                        <a16:creationId xmlns:a16="http://schemas.microsoft.com/office/drawing/2014/main" xmlns="" id="{DC59D64B-FD70-4271-923C-33846692100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433639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39" name="Freeform 33">
                    <a:extLst>
                      <a:ext uri="{FF2B5EF4-FFF2-40B4-BE49-F238E27FC236}">
                        <a16:creationId xmlns:a16="http://schemas.microsoft.com/office/drawing/2014/main" xmlns="" id="{D6292760-A5C6-4A01-9A0C-93E90506178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276476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735" name="Group 1734">
                  <a:extLst>
                    <a:ext uri="{FF2B5EF4-FFF2-40B4-BE49-F238E27FC236}">
                      <a16:creationId xmlns:a16="http://schemas.microsoft.com/office/drawing/2014/main" xmlns="" id="{C8421481-84AC-41C7-9314-A26E4AA290C1}"/>
                    </a:ext>
                  </a:extLst>
                </p:cNvPr>
                <p:cNvGrpSpPr/>
                <p:nvPr/>
              </p:nvGrpSpPr>
              <p:grpSpPr>
                <a:xfrm flipH="1">
                  <a:off x="1401763" y="2228851"/>
                  <a:ext cx="227012" cy="256633"/>
                  <a:chOff x="1482725" y="2276476"/>
                  <a:chExt cx="227012" cy="256633"/>
                </a:xfrm>
              </p:grpSpPr>
              <p:sp>
                <p:nvSpPr>
                  <p:cNvPr id="1736" name="Freeform 33">
                    <a:extLst>
                      <a:ext uri="{FF2B5EF4-FFF2-40B4-BE49-F238E27FC236}">
                        <a16:creationId xmlns:a16="http://schemas.microsoft.com/office/drawing/2014/main" xmlns="" id="{7EB15F5C-6E1C-4DE3-B8F5-87700C8F7BD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433639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solidFill>
                    <a:srgbClr val="0050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37" name="Freeform 33">
                    <a:extLst>
                      <a:ext uri="{FF2B5EF4-FFF2-40B4-BE49-F238E27FC236}">
                        <a16:creationId xmlns:a16="http://schemas.microsoft.com/office/drawing/2014/main" xmlns="" id="{C6D91C22-E8BF-4D14-8904-333BBCBBB4B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276476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solidFill>
                    <a:srgbClr val="0050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</p:grpSp>
        <p:grpSp>
          <p:nvGrpSpPr>
            <p:cNvPr id="1219" name="Group 1218">
              <a:extLst>
                <a:ext uri="{FF2B5EF4-FFF2-40B4-BE49-F238E27FC236}">
                  <a16:creationId xmlns:a16="http://schemas.microsoft.com/office/drawing/2014/main" xmlns="" id="{B46DA8A9-05C4-4820-B79C-935BAE057F0C}"/>
                </a:ext>
              </a:extLst>
            </p:cNvPr>
            <p:cNvGrpSpPr/>
            <p:nvPr/>
          </p:nvGrpSpPr>
          <p:grpSpPr>
            <a:xfrm>
              <a:off x="5523369" y="2210215"/>
              <a:ext cx="226628" cy="226628"/>
              <a:chOff x="1358899" y="2193925"/>
              <a:chExt cx="390525" cy="390525"/>
            </a:xfrm>
          </p:grpSpPr>
          <p:sp>
            <p:nvSpPr>
              <p:cNvPr id="1637" name="Rectangle: Rounded Corners 1636">
                <a:extLst>
                  <a:ext uri="{FF2B5EF4-FFF2-40B4-BE49-F238E27FC236}">
                    <a16:creationId xmlns:a16="http://schemas.microsoft.com/office/drawing/2014/main" xmlns="" id="{93DF1748-B308-47E9-B765-D67A762DB276}"/>
                  </a:ext>
                </a:extLst>
              </p:cNvPr>
              <p:cNvSpPr/>
              <p:nvPr/>
            </p:nvSpPr>
            <p:spPr>
              <a:xfrm>
                <a:off x="1358899" y="2193925"/>
                <a:ext cx="390525" cy="390525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1638" name="Group 1637">
                <a:extLst>
                  <a:ext uri="{FF2B5EF4-FFF2-40B4-BE49-F238E27FC236}">
                    <a16:creationId xmlns:a16="http://schemas.microsoft.com/office/drawing/2014/main" xmlns="" id="{43DAE674-3108-4315-A66D-D9389222D625}"/>
                  </a:ext>
                </a:extLst>
              </p:cNvPr>
              <p:cNvGrpSpPr/>
              <p:nvPr/>
            </p:nvGrpSpPr>
            <p:grpSpPr>
              <a:xfrm>
                <a:off x="1420588" y="2248963"/>
                <a:ext cx="267146" cy="280448"/>
                <a:chOff x="1401763" y="2228851"/>
                <a:chExt cx="307974" cy="323308"/>
              </a:xfrm>
            </p:grpSpPr>
            <p:grpSp>
              <p:nvGrpSpPr>
                <p:cNvPr id="1639" name="Group 1638">
                  <a:extLst>
                    <a:ext uri="{FF2B5EF4-FFF2-40B4-BE49-F238E27FC236}">
                      <a16:creationId xmlns:a16="http://schemas.microsoft.com/office/drawing/2014/main" xmlns="" id="{87766F05-16AE-4459-8C6B-4905B84FE694}"/>
                    </a:ext>
                  </a:extLst>
                </p:cNvPr>
                <p:cNvGrpSpPr/>
                <p:nvPr/>
              </p:nvGrpSpPr>
              <p:grpSpPr>
                <a:xfrm>
                  <a:off x="1482725" y="2295526"/>
                  <a:ext cx="227012" cy="256633"/>
                  <a:chOff x="1482725" y="2276476"/>
                  <a:chExt cx="227012" cy="256633"/>
                </a:xfrm>
                <a:solidFill>
                  <a:schemeClr val="bg2"/>
                </a:solidFill>
              </p:grpSpPr>
              <p:sp>
                <p:nvSpPr>
                  <p:cNvPr id="1720" name="Freeform 33">
                    <a:extLst>
                      <a:ext uri="{FF2B5EF4-FFF2-40B4-BE49-F238E27FC236}">
                        <a16:creationId xmlns:a16="http://schemas.microsoft.com/office/drawing/2014/main" xmlns="" id="{CC4F215A-0987-496B-95D8-B677A10986F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433639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726" name="Freeform 33">
                    <a:extLst>
                      <a:ext uri="{FF2B5EF4-FFF2-40B4-BE49-F238E27FC236}">
                        <a16:creationId xmlns:a16="http://schemas.microsoft.com/office/drawing/2014/main" xmlns="" id="{69717913-B0EB-453B-9C68-39A7055E6EE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276476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640" name="Group 1639">
                  <a:extLst>
                    <a:ext uri="{FF2B5EF4-FFF2-40B4-BE49-F238E27FC236}">
                      <a16:creationId xmlns:a16="http://schemas.microsoft.com/office/drawing/2014/main" xmlns="" id="{F9E7166D-A006-4049-9B1D-50CAD8EF3863}"/>
                    </a:ext>
                  </a:extLst>
                </p:cNvPr>
                <p:cNvGrpSpPr/>
                <p:nvPr/>
              </p:nvGrpSpPr>
              <p:grpSpPr>
                <a:xfrm flipH="1">
                  <a:off x="1401763" y="2228851"/>
                  <a:ext cx="227012" cy="256633"/>
                  <a:chOff x="1482725" y="2276476"/>
                  <a:chExt cx="227012" cy="256633"/>
                </a:xfrm>
              </p:grpSpPr>
              <p:sp>
                <p:nvSpPr>
                  <p:cNvPr id="1667" name="Freeform 33">
                    <a:extLst>
                      <a:ext uri="{FF2B5EF4-FFF2-40B4-BE49-F238E27FC236}">
                        <a16:creationId xmlns:a16="http://schemas.microsoft.com/office/drawing/2014/main" xmlns="" id="{D1D2B201-D6E6-423C-B493-261DB0BA8A2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433639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solidFill>
                    <a:srgbClr val="0050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72" name="Freeform 33">
                    <a:extLst>
                      <a:ext uri="{FF2B5EF4-FFF2-40B4-BE49-F238E27FC236}">
                        <a16:creationId xmlns:a16="http://schemas.microsoft.com/office/drawing/2014/main" xmlns="" id="{1BD2EFEF-F041-4AB5-8680-15D69D790CA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82725" y="2276476"/>
                    <a:ext cx="227012" cy="99470"/>
                  </a:xfrm>
                  <a:custGeom>
                    <a:avLst/>
                    <a:gdLst>
                      <a:gd name="T0" fmla="*/ 362 w 368"/>
                      <a:gd name="T1" fmla="*/ 65 h 159"/>
                      <a:gd name="T2" fmla="*/ 305 w 368"/>
                      <a:gd name="T3" fmla="*/ 8 h 159"/>
                      <a:gd name="T4" fmla="*/ 277 w 368"/>
                      <a:gd name="T5" fmla="*/ 8 h 159"/>
                      <a:gd name="T6" fmla="*/ 277 w 368"/>
                      <a:gd name="T7" fmla="*/ 35 h 159"/>
                      <a:gd name="T8" fmla="*/ 302 w 368"/>
                      <a:gd name="T9" fmla="*/ 60 h 159"/>
                      <a:gd name="T10" fmla="*/ 20 w 368"/>
                      <a:gd name="T11" fmla="*/ 60 h 159"/>
                      <a:gd name="T12" fmla="*/ 0 w 368"/>
                      <a:gd name="T13" fmla="*/ 80 h 159"/>
                      <a:gd name="T14" fmla="*/ 20 w 368"/>
                      <a:gd name="T15" fmla="*/ 100 h 159"/>
                      <a:gd name="T16" fmla="*/ 301 w 368"/>
                      <a:gd name="T17" fmla="*/ 100 h 159"/>
                      <a:gd name="T18" fmla="*/ 277 w 368"/>
                      <a:gd name="T19" fmla="*/ 124 h 159"/>
                      <a:gd name="T20" fmla="*/ 277 w 368"/>
                      <a:gd name="T21" fmla="*/ 151 h 159"/>
                      <a:gd name="T22" fmla="*/ 305 w 368"/>
                      <a:gd name="T23" fmla="*/ 151 h 159"/>
                      <a:gd name="T24" fmla="*/ 362 w 368"/>
                      <a:gd name="T25" fmla="*/ 94 h 159"/>
                      <a:gd name="T26" fmla="*/ 368 w 368"/>
                      <a:gd name="T27" fmla="*/ 79 h 159"/>
                      <a:gd name="T28" fmla="*/ 362 w 368"/>
                      <a:gd name="T29" fmla="*/ 65 h 15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68" h="159">
                        <a:moveTo>
                          <a:pt x="362" y="65"/>
                        </a:moveTo>
                        <a:cubicBezTo>
                          <a:pt x="305" y="8"/>
                          <a:pt x="305" y="8"/>
                          <a:pt x="305" y="8"/>
                        </a:cubicBezTo>
                        <a:cubicBezTo>
                          <a:pt x="297" y="0"/>
                          <a:pt x="285" y="0"/>
                          <a:pt x="277" y="8"/>
                        </a:cubicBezTo>
                        <a:cubicBezTo>
                          <a:pt x="269" y="15"/>
                          <a:pt x="269" y="28"/>
                          <a:pt x="277" y="35"/>
                        </a:cubicBezTo>
                        <a:cubicBezTo>
                          <a:pt x="302" y="60"/>
                          <a:pt x="302" y="60"/>
                          <a:pt x="302" y="60"/>
                        </a:cubicBezTo>
                        <a:cubicBezTo>
                          <a:pt x="20" y="60"/>
                          <a:pt x="20" y="60"/>
                          <a:pt x="20" y="60"/>
                        </a:cubicBezTo>
                        <a:cubicBezTo>
                          <a:pt x="9" y="60"/>
                          <a:pt x="0" y="69"/>
                          <a:pt x="0" y="80"/>
                        </a:cubicBezTo>
                        <a:cubicBezTo>
                          <a:pt x="0" y="91"/>
                          <a:pt x="9" y="100"/>
                          <a:pt x="20" y="100"/>
                        </a:cubicBezTo>
                        <a:cubicBezTo>
                          <a:pt x="301" y="100"/>
                          <a:pt x="301" y="100"/>
                          <a:pt x="301" y="100"/>
                        </a:cubicBezTo>
                        <a:cubicBezTo>
                          <a:pt x="277" y="124"/>
                          <a:pt x="277" y="124"/>
                          <a:pt x="277" y="124"/>
                        </a:cubicBezTo>
                        <a:cubicBezTo>
                          <a:pt x="269" y="131"/>
                          <a:pt x="269" y="144"/>
                          <a:pt x="277" y="151"/>
                        </a:cubicBezTo>
                        <a:cubicBezTo>
                          <a:pt x="285" y="159"/>
                          <a:pt x="297" y="159"/>
                          <a:pt x="305" y="151"/>
                        </a:cubicBezTo>
                        <a:cubicBezTo>
                          <a:pt x="362" y="94"/>
                          <a:pt x="362" y="94"/>
                          <a:pt x="362" y="94"/>
                        </a:cubicBezTo>
                        <a:cubicBezTo>
                          <a:pt x="366" y="90"/>
                          <a:pt x="368" y="85"/>
                          <a:pt x="368" y="79"/>
                        </a:cubicBezTo>
                        <a:cubicBezTo>
                          <a:pt x="368" y="74"/>
                          <a:pt x="366" y="69"/>
                          <a:pt x="362" y="65"/>
                        </a:cubicBezTo>
                        <a:close/>
                      </a:path>
                    </a:pathLst>
                  </a:custGeom>
                  <a:solidFill>
                    <a:srgbClr val="0050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</p:grpSp>
        <p:grpSp>
          <p:nvGrpSpPr>
            <p:cNvPr id="1220" name="Group 1219">
              <a:extLst>
                <a:ext uri="{FF2B5EF4-FFF2-40B4-BE49-F238E27FC236}">
                  <a16:creationId xmlns:a16="http://schemas.microsoft.com/office/drawing/2014/main" xmlns="" id="{685E929D-5979-4DD5-91BC-42AAEAC99596}"/>
                </a:ext>
              </a:extLst>
            </p:cNvPr>
            <p:cNvGrpSpPr/>
            <p:nvPr/>
          </p:nvGrpSpPr>
          <p:grpSpPr>
            <a:xfrm>
              <a:off x="4897043" y="2465614"/>
              <a:ext cx="443632" cy="443680"/>
              <a:chOff x="542940" y="1857375"/>
              <a:chExt cx="914400" cy="914494"/>
            </a:xfrm>
          </p:grpSpPr>
          <p:sp>
            <p:nvSpPr>
              <p:cNvPr id="1613" name="Oval 1612">
                <a:extLst>
                  <a:ext uri="{FF2B5EF4-FFF2-40B4-BE49-F238E27FC236}">
                    <a16:creationId xmlns:a16="http://schemas.microsoft.com/office/drawing/2014/main" xmlns="" id="{300694D3-0D28-4AA6-A26D-7C73326B522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42940" y="1857422"/>
                <a:ext cx="914400" cy="9144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1614" name="Group 4">
                <a:extLst>
                  <a:ext uri="{FF2B5EF4-FFF2-40B4-BE49-F238E27FC236}">
                    <a16:creationId xmlns:a16="http://schemas.microsoft.com/office/drawing/2014/main" xmlns="" id="{6537F2A1-6E2C-4E49-BC17-3C53319C283A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43174" y="1857375"/>
                <a:ext cx="913932" cy="914494"/>
                <a:chOff x="1261" y="0"/>
                <a:chExt cx="3238" cy="3240"/>
              </a:xfrm>
              <a:solidFill>
                <a:schemeClr val="tx2"/>
              </a:solidFill>
            </p:grpSpPr>
            <p:sp>
              <p:nvSpPr>
                <p:cNvPr id="1616" name="Freeform 5">
                  <a:extLst>
                    <a:ext uri="{FF2B5EF4-FFF2-40B4-BE49-F238E27FC236}">
                      <a16:creationId xmlns:a16="http://schemas.microsoft.com/office/drawing/2014/main" xmlns="" id="{27E50CF6-F4B9-450B-8513-CC999DF853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1" y="443"/>
                  <a:ext cx="36" cy="37"/>
                </a:xfrm>
                <a:custGeom>
                  <a:avLst/>
                  <a:gdLst>
                    <a:gd name="T0" fmla="*/ 0 w 29"/>
                    <a:gd name="T1" fmla="*/ 30 h 30"/>
                    <a:gd name="T2" fmla="*/ 29 w 29"/>
                    <a:gd name="T3" fmla="*/ 0 h 30"/>
                    <a:gd name="T4" fmla="*/ 0 w 29"/>
                    <a:gd name="T5" fmla="*/ 3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9" h="30">
                      <a:moveTo>
                        <a:pt x="0" y="30"/>
                      </a:moveTo>
                      <a:cubicBezTo>
                        <a:pt x="15" y="27"/>
                        <a:pt x="26" y="15"/>
                        <a:pt x="29" y="0"/>
                      </a:cubicBezTo>
                      <a:cubicBezTo>
                        <a:pt x="19" y="10"/>
                        <a:pt x="10" y="20"/>
                        <a:pt x="0" y="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7" name="Freeform 6">
                  <a:extLst>
                    <a:ext uri="{FF2B5EF4-FFF2-40B4-BE49-F238E27FC236}">
                      <a16:creationId xmlns:a16="http://schemas.microsoft.com/office/drawing/2014/main" xmlns="" id="{A973DF85-94FE-42FE-A092-21080CD401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3" y="0"/>
                  <a:ext cx="1056" cy="480"/>
                </a:xfrm>
                <a:custGeom>
                  <a:avLst/>
                  <a:gdLst>
                    <a:gd name="T0" fmla="*/ 0 w 845"/>
                    <a:gd name="T1" fmla="*/ 346 h 384"/>
                    <a:gd name="T2" fmla="*/ 38 w 845"/>
                    <a:gd name="T3" fmla="*/ 384 h 384"/>
                    <a:gd name="T4" fmla="*/ 807 w 845"/>
                    <a:gd name="T5" fmla="*/ 384 h 384"/>
                    <a:gd name="T6" fmla="*/ 845 w 845"/>
                    <a:gd name="T7" fmla="*/ 346 h 384"/>
                    <a:gd name="T8" fmla="*/ 845 w 845"/>
                    <a:gd name="T9" fmla="*/ 38 h 384"/>
                    <a:gd name="T10" fmla="*/ 812 w 845"/>
                    <a:gd name="T11" fmla="*/ 0 h 384"/>
                    <a:gd name="T12" fmla="*/ 0 w 845"/>
                    <a:gd name="T13" fmla="*/ 308 h 384"/>
                    <a:gd name="T14" fmla="*/ 0 w 845"/>
                    <a:gd name="T15" fmla="*/ 346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45" h="384">
                      <a:moveTo>
                        <a:pt x="0" y="346"/>
                      </a:move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9"/>
                        <a:pt x="830" y="3"/>
                        <a:pt x="812" y="0"/>
                      </a:cubicBezTo>
                      <a:cubicBezTo>
                        <a:pt x="502" y="6"/>
                        <a:pt x="219" y="121"/>
                        <a:pt x="0" y="308"/>
                      </a:cubicBezTo>
                      <a:lnTo>
                        <a:pt x="0" y="34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8" name="Freeform 7">
                  <a:extLst>
                    <a:ext uri="{FF2B5EF4-FFF2-40B4-BE49-F238E27FC236}">
                      <a16:creationId xmlns:a16="http://schemas.microsoft.com/office/drawing/2014/main" xmlns="" id="{2BB3265C-2F54-4303-8171-45769A4687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" y="4"/>
                  <a:ext cx="1051" cy="476"/>
                </a:xfrm>
                <a:custGeom>
                  <a:avLst/>
                  <a:gdLst>
                    <a:gd name="T0" fmla="*/ 24 w 841"/>
                    <a:gd name="T1" fmla="*/ 0 h 381"/>
                    <a:gd name="T2" fmla="*/ 0 w 841"/>
                    <a:gd name="T3" fmla="*/ 35 h 381"/>
                    <a:gd name="T4" fmla="*/ 0 w 841"/>
                    <a:gd name="T5" fmla="*/ 343 h 381"/>
                    <a:gd name="T6" fmla="*/ 38 w 841"/>
                    <a:gd name="T7" fmla="*/ 381 h 381"/>
                    <a:gd name="T8" fmla="*/ 807 w 841"/>
                    <a:gd name="T9" fmla="*/ 381 h 381"/>
                    <a:gd name="T10" fmla="*/ 841 w 841"/>
                    <a:gd name="T11" fmla="*/ 360 h 381"/>
                    <a:gd name="T12" fmla="*/ 24 w 841"/>
                    <a:gd name="T13" fmla="*/ 0 h 3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41" h="381">
                      <a:moveTo>
                        <a:pt x="24" y="0"/>
                      </a:moveTo>
                      <a:cubicBezTo>
                        <a:pt x="10" y="5"/>
                        <a:pt x="0" y="19"/>
                        <a:pt x="0" y="35"/>
                      </a:cubicBezTo>
                      <a:cubicBezTo>
                        <a:pt x="0" y="343"/>
                        <a:pt x="0" y="343"/>
                        <a:pt x="0" y="343"/>
                      </a:cubicBezTo>
                      <a:cubicBezTo>
                        <a:pt x="0" y="364"/>
                        <a:pt x="17" y="381"/>
                        <a:pt x="38" y="381"/>
                      </a:cubicBezTo>
                      <a:cubicBezTo>
                        <a:pt x="807" y="381"/>
                        <a:pt x="807" y="381"/>
                        <a:pt x="807" y="381"/>
                      </a:cubicBezTo>
                      <a:cubicBezTo>
                        <a:pt x="822" y="381"/>
                        <a:pt x="835" y="373"/>
                        <a:pt x="841" y="360"/>
                      </a:cubicBezTo>
                      <a:cubicBezTo>
                        <a:pt x="627" y="153"/>
                        <a:pt x="341" y="20"/>
                        <a:pt x="2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19" name="Freeform 8">
                  <a:extLst>
                    <a:ext uri="{FF2B5EF4-FFF2-40B4-BE49-F238E27FC236}">
                      <a16:creationId xmlns:a16="http://schemas.microsoft.com/office/drawing/2014/main" xmlns="" id="{4A7F5C0E-9FB3-4064-AA0C-F06991C32E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0" y="555"/>
                  <a:ext cx="943" cy="480"/>
                </a:xfrm>
                <a:custGeom>
                  <a:avLst/>
                  <a:gdLst>
                    <a:gd name="T0" fmla="*/ 717 w 755"/>
                    <a:gd name="T1" fmla="*/ 0 h 384"/>
                    <a:gd name="T2" fmla="*/ 233 w 755"/>
                    <a:gd name="T3" fmla="*/ 0 h 384"/>
                    <a:gd name="T4" fmla="*/ 0 w 755"/>
                    <a:gd name="T5" fmla="*/ 384 h 384"/>
                    <a:gd name="T6" fmla="*/ 717 w 755"/>
                    <a:gd name="T7" fmla="*/ 384 h 384"/>
                    <a:gd name="T8" fmla="*/ 755 w 755"/>
                    <a:gd name="T9" fmla="*/ 346 h 384"/>
                    <a:gd name="T10" fmla="*/ 755 w 755"/>
                    <a:gd name="T11" fmla="*/ 38 h 384"/>
                    <a:gd name="T12" fmla="*/ 717 w 755"/>
                    <a:gd name="T13" fmla="*/ 0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55" h="384">
                      <a:moveTo>
                        <a:pt x="717" y="0"/>
                      </a:moveTo>
                      <a:cubicBezTo>
                        <a:pt x="233" y="0"/>
                        <a:pt x="233" y="0"/>
                        <a:pt x="233" y="0"/>
                      </a:cubicBezTo>
                      <a:cubicBezTo>
                        <a:pt x="134" y="113"/>
                        <a:pt x="55" y="242"/>
                        <a:pt x="0" y="384"/>
                      </a:cubicBezTo>
                      <a:cubicBezTo>
                        <a:pt x="717" y="384"/>
                        <a:pt x="717" y="384"/>
                        <a:pt x="717" y="384"/>
                      </a:cubicBezTo>
                      <a:cubicBezTo>
                        <a:pt x="738" y="384"/>
                        <a:pt x="755" y="367"/>
                        <a:pt x="755" y="346"/>
                      </a:cubicBezTo>
                      <a:cubicBezTo>
                        <a:pt x="755" y="38"/>
                        <a:pt x="755" y="38"/>
                        <a:pt x="755" y="38"/>
                      </a:cubicBezTo>
                      <a:cubicBezTo>
                        <a:pt x="755" y="17"/>
                        <a:pt x="738" y="0"/>
                        <a:pt x="71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0" name="Freeform 9">
                  <a:extLst>
                    <a:ext uri="{FF2B5EF4-FFF2-40B4-BE49-F238E27FC236}">
                      <a16:creationId xmlns:a16="http://schemas.microsoft.com/office/drawing/2014/main" xmlns="" id="{E64E601F-2A96-4CB6-B2BB-15DB839B6D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7" y="555"/>
                  <a:ext cx="1055" cy="480"/>
                </a:xfrm>
                <a:custGeom>
                  <a:avLst/>
                  <a:gdLst>
                    <a:gd name="T0" fmla="*/ 807 w 845"/>
                    <a:gd name="T1" fmla="*/ 0 h 384"/>
                    <a:gd name="T2" fmla="*/ 38 w 845"/>
                    <a:gd name="T3" fmla="*/ 0 h 384"/>
                    <a:gd name="T4" fmla="*/ 0 w 845"/>
                    <a:gd name="T5" fmla="*/ 38 h 384"/>
                    <a:gd name="T6" fmla="*/ 0 w 845"/>
                    <a:gd name="T7" fmla="*/ 346 h 384"/>
                    <a:gd name="T8" fmla="*/ 38 w 845"/>
                    <a:gd name="T9" fmla="*/ 384 h 384"/>
                    <a:gd name="T10" fmla="*/ 807 w 845"/>
                    <a:gd name="T11" fmla="*/ 384 h 384"/>
                    <a:gd name="T12" fmla="*/ 845 w 845"/>
                    <a:gd name="T13" fmla="*/ 346 h 384"/>
                    <a:gd name="T14" fmla="*/ 845 w 845"/>
                    <a:gd name="T15" fmla="*/ 38 h 384"/>
                    <a:gd name="T16" fmla="*/ 807 w 845"/>
                    <a:gd name="T17" fmla="*/ 0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807" y="0"/>
                      </a:move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1" name="Freeform 10">
                  <a:extLst>
                    <a:ext uri="{FF2B5EF4-FFF2-40B4-BE49-F238E27FC236}">
                      <a16:creationId xmlns:a16="http://schemas.microsoft.com/office/drawing/2014/main" xmlns="" id="{31E69B77-B8FB-4457-A3F6-720621D959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7" y="555"/>
                  <a:ext cx="893" cy="480"/>
                </a:xfrm>
                <a:custGeom>
                  <a:avLst/>
                  <a:gdLst>
                    <a:gd name="T0" fmla="*/ 0 w 715"/>
                    <a:gd name="T1" fmla="*/ 38 h 384"/>
                    <a:gd name="T2" fmla="*/ 0 w 715"/>
                    <a:gd name="T3" fmla="*/ 346 h 384"/>
                    <a:gd name="T4" fmla="*/ 38 w 715"/>
                    <a:gd name="T5" fmla="*/ 384 h 384"/>
                    <a:gd name="T6" fmla="*/ 715 w 715"/>
                    <a:gd name="T7" fmla="*/ 384 h 384"/>
                    <a:gd name="T8" fmla="*/ 482 w 715"/>
                    <a:gd name="T9" fmla="*/ 0 h 384"/>
                    <a:gd name="T10" fmla="*/ 38 w 715"/>
                    <a:gd name="T11" fmla="*/ 0 h 384"/>
                    <a:gd name="T12" fmla="*/ 0 w 715"/>
                    <a:gd name="T13" fmla="*/ 38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15" h="384">
                      <a:moveTo>
                        <a:pt x="0" y="38"/>
                      </a:move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715" y="384"/>
                        <a:pt x="715" y="384"/>
                        <a:pt x="715" y="384"/>
                      </a:cubicBezTo>
                      <a:cubicBezTo>
                        <a:pt x="660" y="242"/>
                        <a:pt x="581" y="113"/>
                        <a:pt x="482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2" name="Freeform 11">
                  <a:extLst>
                    <a:ext uri="{FF2B5EF4-FFF2-40B4-BE49-F238E27FC236}">
                      <a16:creationId xmlns:a16="http://schemas.microsoft.com/office/drawing/2014/main" xmlns="" id="{AA27CA49-0144-47AE-8CE2-6E2B2E2D19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1" y="1110"/>
                  <a:ext cx="507" cy="480"/>
                </a:xfrm>
                <a:custGeom>
                  <a:avLst/>
                  <a:gdLst>
                    <a:gd name="T0" fmla="*/ 368 w 406"/>
                    <a:gd name="T1" fmla="*/ 384 h 384"/>
                    <a:gd name="T2" fmla="*/ 406 w 406"/>
                    <a:gd name="T3" fmla="*/ 346 h 384"/>
                    <a:gd name="T4" fmla="*/ 406 w 406"/>
                    <a:gd name="T5" fmla="*/ 38 h 384"/>
                    <a:gd name="T6" fmla="*/ 368 w 406"/>
                    <a:gd name="T7" fmla="*/ 0 h 384"/>
                    <a:gd name="T8" fmla="*/ 66 w 406"/>
                    <a:gd name="T9" fmla="*/ 0 h 384"/>
                    <a:gd name="T10" fmla="*/ 0 w 406"/>
                    <a:gd name="T11" fmla="*/ 384 h 384"/>
                    <a:gd name="T12" fmla="*/ 368 w 406"/>
                    <a:gd name="T13" fmla="*/ 384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06" h="384">
                      <a:moveTo>
                        <a:pt x="368" y="384"/>
                      </a:moveTo>
                      <a:cubicBezTo>
                        <a:pt x="389" y="384"/>
                        <a:pt x="406" y="367"/>
                        <a:pt x="406" y="346"/>
                      </a:cubicBezTo>
                      <a:cubicBezTo>
                        <a:pt x="406" y="38"/>
                        <a:pt x="406" y="38"/>
                        <a:pt x="406" y="38"/>
                      </a:cubicBezTo>
                      <a:cubicBezTo>
                        <a:pt x="406" y="17"/>
                        <a:pt x="389" y="0"/>
                        <a:pt x="368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25" y="121"/>
                        <a:pt x="3" y="250"/>
                        <a:pt x="0" y="384"/>
                      </a:cubicBezTo>
                      <a:lnTo>
                        <a:pt x="368" y="38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3" name="Freeform 12">
                  <a:extLst>
                    <a:ext uri="{FF2B5EF4-FFF2-40B4-BE49-F238E27FC236}">
                      <a16:creationId xmlns:a16="http://schemas.microsoft.com/office/drawing/2014/main" xmlns="" id="{07D84343-FAF4-45A7-9567-FA86D4B50F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3" y="1110"/>
                  <a:ext cx="1056" cy="480"/>
                </a:xfrm>
                <a:custGeom>
                  <a:avLst/>
                  <a:gdLst>
                    <a:gd name="T0" fmla="*/ 0 w 845"/>
                    <a:gd name="T1" fmla="*/ 38 h 384"/>
                    <a:gd name="T2" fmla="*/ 0 w 845"/>
                    <a:gd name="T3" fmla="*/ 346 h 384"/>
                    <a:gd name="T4" fmla="*/ 38 w 845"/>
                    <a:gd name="T5" fmla="*/ 384 h 384"/>
                    <a:gd name="T6" fmla="*/ 807 w 845"/>
                    <a:gd name="T7" fmla="*/ 384 h 384"/>
                    <a:gd name="T8" fmla="*/ 845 w 845"/>
                    <a:gd name="T9" fmla="*/ 346 h 384"/>
                    <a:gd name="T10" fmla="*/ 845 w 845"/>
                    <a:gd name="T11" fmla="*/ 38 h 384"/>
                    <a:gd name="T12" fmla="*/ 807 w 845"/>
                    <a:gd name="T13" fmla="*/ 0 h 384"/>
                    <a:gd name="T14" fmla="*/ 38 w 845"/>
                    <a:gd name="T15" fmla="*/ 0 h 384"/>
                    <a:gd name="T16" fmla="*/ 0 w 845"/>
                    <a:gd name="T17" fmla="*/ 38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0" y="38"/>
                      </a:move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4" name="Freeform 13">
                  <a:extLst>
                    <a:ext uri="{FF2B5EF4-FFF2-40B4-BE49-F238E27FC236}">
                      <a16:creationId xmlns:a16="http://schemas.microsoft.com/office/drawing/2014/main" xmlns="" id="{09DC78C6-0E28-41DE-84B4-B1C35E1039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" y="1110"/>
                  <a:ext cx="1056" cy="480"/>
                </a:xfrm>
                <a:custGeom>
                  <a:avLst/>
                  <a:gdLst>
                    <a:gd name="T0" fmla="*/ 0 w 845"/>
                    <a:gd name="T1" fmla="*/ 38 h 384"/>
                    <a:gd name="T2" fmla="*/ 0 w 845"/>
                    <a:gd name="T3" fmla="*/ 346 h 384"/>
                    <a:gd name="T4" fmla="*/ 38 w 845"/>
                    <a:gd name="T5" fmla="*/ 384 h 384"/>
                    <a:gd name="T6" fmla="*/ 807 w 845"/>
                    <a:gd name="T7" fmla="*/ 384 h 384"/>
                    <a:gd name="T8" fmla="*/ 845 w 845"/>
                    <a:gd name="T9" fmla="*/ 346 h 384"/>
                    <a:gd name="T10" fmla="*/ 845 w 845"/>
                    <a:gd name="T11" fmla="*/ 38 h 384"/>
                    <a:gd name="T12" fmla="*/ 807 w 845"/>
                    <a:gd name="T13" fmla="*/ 0 h 384"/>
                    <a:gd name="T14" fmla="*/ 38 w 845"/>
                    <a:gd name="T15" fmla="*/ 0 h 384"/>
                    <a:gd name="T16" fmla="*/ 0 w 845"/>
                    <a:gd name="T17" fmla="*/ 38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0" y="38"/>
                      </a:move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5" name="Freeform 14">
                  <a:extLst>
                    <a:ext uri="{FF2B5EF4-FFF2-40B4-BE49-F238E27FC236}">
                      <a16:creationId xmlns:a16="http://schemas.microsoft.com/office/drawing/2014/main" xmlns="" id="{0F7CB764-7762-4962-BEB3-20EF397D24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73" y="1110"/>
                  <a:ext cx="426" cy="480"/>
                </a:xfrm>
                <a:custGeom>
                  <a:avLst/>
                  <a:gdLst>
                    <a:gd name="T0" fmla="*/ 38 w 341"/>
                    <a:gd name="T1" fmla="*/ 0 h 384"/>
                    <a:gd name="T2" fmla="*/ 0 w 341"/>
                    <a:gd name="T3" fmla="*/ 38 h 384"/>
                    <a:gd name="T4" fmla="*/ 0 w 341"/>
                    <a:gd name="T5" fmla="*/ 346 h 384"/>
                    <a:gd name="T6" fmla="*/ 38 w 341"/>
                    <a:gd name="T7" fmla="*/ 384 h 384"/>
                    <a:gd name="T8" fmla="*/ 341 w 341"/>
                    <a:gd name="T9" fmla="*/ 384 h 384"/>
                    <a:gd name="T10" fmla="*/ 275 w 341"/>
                    <a:gd name="T11" fmla="*/ 0 h 384"/>
                    <a:gd name="T12" fmla="*/ 38 w 341"/>
                    <a:gd name="T13" fmla="*/ 0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1" h="384">
                      <a:moveTo>
                        <a:pt x="38" y="0"/>
                      </a:move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341" y="384"/>
                        <a:pt x="341" y="384"/>
                        <a:pt x="341" y="384"/>
                      </a:cubicBezTo>
                      <a:cubicBezTo>
                        <a:pt x="338" y="250"/>
                        <a:pt x="316" y="121"/>
                        <a:pt x="275" y="0"/>
                      </a:cubicBezTo>
                      <a:lnTo>
                        <a:pt x="3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7" name="Freeform 15">
                  <a:extLst>
                    <a:ext uri="{FF2B5EF4-FFF2-40B4-BE49-F238E27FC236}">
                      <a16:creationId xmlns:a16="http://schemas.microsoft.com/office/drawing/2014/main" xmlns="" id="{D8CA4B6B-8239-4ECA-91CD-8407A77866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2" y="1665"/>
                  <a:ext cx="1051" cy="480"/>
                </a:xfrm>
                <a:custGeom>
                  <a:avLst/>
                  <a:gdLst>
                    <a:gd name="T0" fmla="*/ 841 w 841"/>
                    <a:gd name="T1" fmla="*/ 346 h 384"/>
                    <a:gd name="T2" fmla="*/ 841 w 841"/>
                    <a:gd name="T3" fmla="*/ 38 h 384"/>
                    <a:gd name="T4" fmla="*/ 803 w 841"/>
                    <a:gd name="T5" fmla="*/ 0 h 384"/>
                    <a:gd name="T6" fmla="*/ 34 w 841"/>
                    <a:gd name="T7" fmla="*/ 0 h 384"/>
                    <a:gd name="T8" fmla="*/ 0 w 841"/>
                    <a:gd name="T9" fmla="*/ 19 h 384"/>
                    <a:gd name="T10" fmla="*/ 69 w 841"/>
                    <a:gd name="T11" fmla="*/ 384 h 384"/>
                    <a:gd name="T12" fmla="*/ 803 w 841"/>
                    <a:gd name="T13" fmla="*/ 384 h 384"/>
                    <a:gd name="T14" fmla="*/ 841 w 841"/>
                    <a:gd name="T15" fmla="*/ 346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41" h="384">
                      <a:moveTo>
                        <a:pt x="841" y="346"/>
                      </a:moveTo>
                      <a:cubicBezTo>
                        <a:pt x="841" y="38"/>
                        <a:pt x="841" y="38"/>
                        <a:pt x="841" y="38"/>
                      </a:cubicBezTo>
                      <a:cubicBezTo>
                        <a:pt x="841" y="17"/>
                        <a:pt x="824" y="0"/>
                        <a:pt x="803" y="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19" y="0"/>
                        <a:pt x="7" y="8"/>
                        <a:pt x="0" y="19"/>
                      </a:cubicBezTo>
                      <a:cubicBezTo>
                        <a:pt x="6" y="147"/>
                        <a:pt x="29" y="269"/>
                        <a:pt x="69" y="384"/>
                      </a:cubicBezTo>
                      <a:cubicBezTo>
                        <a:pt x="803" y="384"/>
                        <a:pt x="803" y="384"/>
                        <a:pt x="803" y="384"/>
                      </a:cubicBezTo>
                      <a:cubicBezTo>
                        <a:pt x="824" y="384"/>
                        <a:pt x="841" y="367"/>
                        <a:pt x="841" y="34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8" name="Freeform 16">
                  <a:extLst>
                    <a:ext uri="{FF2B5EF4-FFF2-40B4-BE49-F238E27FC236}">
                      <a16:creationId xmlns:a16="http://schemas.microsoft.com/office/drawing/2014/main" xmlns="" id="{7C20135C-ED50-40BA-A78F-20F03BC416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7" y="1665"/>
                  <a:ext cx="1055" cy="480"/>
                </a:xfrm>
                <a:custGeom>
                  <a:avLst/>
                  <a:gdLst>
                    <a:gd name="T0" fmla="*/ 845 w 845"/>
                    <a:gd name="T1" fmla="*/ 346 h 384"/>
                    <a:gd name="T2" fmla="*/ 845 w 845"/>
                    <a:gd name="T3" fmla="*/ 38 h 384"/>
                    <a:gd name="T4" fmla="*/ 807 w 845"/>
                    <a:gd name="T5" fmla="*/ 0 h 384"/>
                    <a:gd name="T6" fmla="*/ 38 w 845"/>
                    <a:gd name="T7" fmla="*/ 0 h 384"/>
                    <a:gd name="T8" fmla="*/ 0 w 845"/>
                    <a:gd name="T9" fmla="*/ 38 h 384"/>
                    <a:gd name="T10" fmla="*/ 0 w 845"/>
                    <a:gd name="T11" fmla="*/ 346 h 384"/>
                    <a:gd name="T12" fmla="*/ 38 w 845"/>
                    <a:gd name="T13" fmla="*/ 384 h 384"/>
                    <a:gd name="T14" fmla="*/ 807 w 845"/>
                    <a:gd name="T15" fmla="*/ 384 h 384"/>
                    <a:gd name="T16" fmla="*/ 845 w 845"/>
                    <a:gd name="T17" fmla="*/ 346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845" y="346"/>
                      </a:move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29" name="Freeform 17">
                  <a:extLst>
                    <a:ext uri="{FF2B5EF4-FFF2-40B4-BE49-F238E27FC236}">
                      <a16:creationId xmlns:a16="http://schemas.microsoft.com/office/drawing/2014/main" xmlns="" id="{C89A5BB6-F0D3-4D52-BC11-160CA8590F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7" y="1665"/>
                  <a:ext cx="1001" cy="480"/>
                </a:xfrm>
                <a:custGeom>
                  <a:avLst/>
                  <a:gdLst>
                    <a:gd name="T0" fmla="*/ 801 w 801"/>
                    <a:gd name="T1" fmla="*/ 0 h 384"/>
                    <a:gd name="T2" fmla="*/ 38 w 801"/>
                    <a:gd name="T3" fmla="*/ 0 h 384"/>
                    <a:gd name="T4" fmla="*/ 0 w 801"/>
                    <a:gd name="T5" fmla="*/ 38 h 384"/>
                    <a:gd name="T6" fmla="*/ 0 w 801"/>
                    <a:gd name="T7" fmla="*/ 346 h 384"/>
                    <a:gd name="T8" fmla="*/ 38 w 801"/>
                    <a:gd name="T9" fmla="*/ 384 h 384"/>
                    <a:gd name="T10" fmla="*/ 732 w 801"/>
                    <a:gd name="T11" fmla="*/ 384 h 384"/>
                    <a:gd name="T12" fmla="*/ 801 w 801"/>
                    <a:gd name="T13" fmla="*/ 0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1" h="384">
                      <a:moveTo>
                        <a:pt x="801" y="0"/>
                      </a:move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ubicBezTo>
                        <a:pt x="732" y="384"/>
                        <a:pt x="732" y="384"/>
                        <a:pt x="732" y="384"/>
                      </a:cubicBezTo>
                      <a:cubicBezTo>
                        <a:pt x="774" y="263"/>
                        <a:pt x="798" y="134"/>
                        <a:pt x="80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0" name="Freeform 18">
                  <a:extLst>
                    <a:ext uri="{FF2B5EF4-FFF2-40B4-BE49-F238E27FC236}">
                      <a16:creationId xmlns:a16="http://schemas.microsoft.com/office/drawing/2014/main" xmlns="" id="{5065BFE7-3349-4DED-87AB-645B907E95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6" y="2220"/>
                  <a:ext cx="392" cy="480"/>
                </a:xfrm>
                <a:custGeom>
                  <a:avLst/>
                  <a:gdLst>
                    <a:gd name="T0" fmla="*/ 314 w 314"/>
                    <a:gd name="T1" fmla="*/ 346 h 384"/>
                    <a:gd name="T2" fmla="*/ 314 w 314"/>
                    <a:gd name="T3" fmla="*/ 38 h 384"/>
                    <a:gd name="T4" fmla="*/ 276 w 314"/>
                    <a:gd name="T5" fmla="*/ 0 h 384"/>
                    <a:gd name="T6" fmla="*/ 0 w 314"/>
                    <a:gd name="T7" fmla="*/ 0 h 384"/>
                    <a:gd name="T8" fmla="*/ 238 w 314"/>
                    <a:gd name="T9" fmla="*/ 384 h 384"/>
                    <a:gd name="T10" fmla="*/ 276 w 314"/>
                    <a:gd name="T11" fmla="*/ 384 h 384"/>
                    <a:gd name="T12" fmla="*/ 314 w 314"/>
                    <a:gd name="T13" fmla="*/ 346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14" h="384">
                      <a:moveTo>
                        <a:pt x="314" y="346"/>
                      </a:moveTo>
                      <a:cubicBezTo>
                        <a:pt x="314" y="38"/>
                        <a:pt x="314" y="38"/>
                        <a:pt x="314" y="38"/>
                      </a:cubicBezTo>
                      <a:cubicBezTo>
                        <a:pt x="314" y="17"/>
                        <a:pt x="297" y="0"/>
                        <a:pt x="276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6" y="142"/>
                        <a:pt x="138" y="272"/>
                        <a:pt x="238" y="384"/>
                      </a:cubicBezTo>
                      <a:cubicBezTo>
                        <a:pt x="276" y="384"/>
                        <a:pt x="276" y="384"/>
                        <a:pt x="276" y="384"/>
                      </a:cubicBezTo>
                      <a:cubicBezTo>
                        <a:pt x="297" y="384"/>
                        <a:pt x="314" y="367"/>
                        <a:pt x="314" y="34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1" name="Freeform 19">
                  <a:extLst>
                    <a:ext uri="{FF2B5EF4-FFF2-40B4-BE49-F238E27FC236}">
                      <a16:creationId xmlns:a16="http://schemas.microsoft.com/office/drawing/2014/main" xmlns="" id="{F7C56A12-2039-4F51-B8D5-A35477FAAA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3" y="2220"/>
                  <a:ext cx="1056" cy="480"/>
                </a:xfrm>
                <a:custGeom>
                  <a:avLst/>
                  <a:gdLst>
                    <a:gd name="T0" fmla="*/ 38 w 845"/>
                    <a:gd name="T1" fmla="*/ 384 h 384"/>
                    <a:gd name="T2" fmla="*/ 807 w 845"/>
                    <a:gd name="T3" fmla="*/ 384 h 384"/>
                    <a:gd name="T4" fmla="*/ 845 w 845"/>
                    <a:gd name="T5" fmla="*/ 346 h 384"/>
                    <a:gd name="T6" fmla="*/ 845 w 845"/>
                    <a:gd name="T7" fmla="*/ 38 h 384"/>
                    <a:gd name="T8" fmla="*/ 807 w 845"/>
                    <a:gd name="T9" fmla="*/ 0 h 384"/>
                    <a:gd name="T10" fmla="*/ 38 w 845"/>
                    <a:gd name="T11" fmla="*/ 0 h 384"/>
                    <a:gd name="T12" fmla="*/ 0 w 845"/>
                    <a:gd name="T13" fmla="*/ 38 h 384"/>
                    <a:gd name="T14" fmla="*/ 0 w 845"/>
                    <a:gd name="T15" fmla="*/ 346 h 384"/>
                    <a:gd name="T16" fmla="*/ 38 w 845"/>
                    <a:gd name="T17" fmla="*/ 384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38" y="384"/>
                      </a:move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2" name="Freeform 20">
                  <a:extLst>
                    <a:ext uri="{FF2B5EF4-FFF2-40B4-BE49-F238E27FC236}">
                      <a16:creationId xmlns:a16="http://schemas.microsoft.com/office/drawing/2014/main" xmlns="" id="{FFD01620-B0F5-433F-AFA7-ACC25A2C6E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" y="2220"/>
                  <a:ext cx="1056" cy="480"/>
                </a:xfrm>
                <a:custGeom>
                  <a:avLst/>
                  <a:gdLst>
                    <a:gd name="T0" fmla="*/ 38 w 845"/>
                    <a:gd name="T1" fmla="*/ 384 h 384"/>
                    <a:gd name="T2" fmla="*/ 807 w 845"/>
                    <a:gd name="T3" fmla="*/ 384 h 384"/>
                    <a:gd name="T4" fmla="*/ 845 w 845"/>
                    <a:gd name="T5" fmla="*/ 346 h 384"/>
                    <a:gd name="T6" fmla="*/ 845 w 845"/>
                    <a:gd name="T7" fmla="*/ 38 h 384"/>
                    <a:gd name="T8" fmla="*/ 807 w 845"/>
                    <a:gd name="T9" fmla="*/ 0 h 384"/>
                    <a:gd name="T10" fmla="*/ 38 w 845"/>
                    <a:gd name="T11" fmla="*/ 0 h 384"/>
                    <a:gd name="T12" fmla="*/ 0 w 845"/>
                    <a:gd name="T13" fmla="*/ 38 h 384"/>
                    <a:gd name="T14" fmla="*/ 0 w 845"/>
                    <a:gd name="T15" fmla="*/ 346 h 384"/>
                    <a:gd name="T16" fmla="*/ 38 w 845"/>
                    <a:gd name="T17" fmla="*/ 384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45" h="384">
                      <a:moveTo>
                        <a:pt x="38" y="384"/>
                      </a:moveTo>
                      <a:cubicBezTo>
                        <a:pt x="807" y="384"/>
                        <a:pt x="807" y="384"/>
                        <a:pt x="807" y="384"/>
                      </a:cubicBezTo>
                      <a:cubicBezTo>
                        <a:pt x="828" y="384"/>
                        <a:pt x="845" y="367"/>
                        <a:pt x="845" y="346"/>
                      </a:cubicBez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7"/>
                        <a:pt x="17" y="384"/>
                        <a:pt x="38" y="38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3" name="Freeform 21">
                  <a:extLst>
                    <a:ext uri="{FF2B5EF4-FFF2-40B4-BE49-F238E27FC236}">
                      <a16:creationId xmlns:a16="http://schemas.microsoft.com/office/drawing/2014/main" xmlns="" id="{A7D72572-85B8-4F89-B3E8-54C9C64E1C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73" y="2220"/>
                  <a:ext cx="311" cy="473"/>
                </a:xfrm>
                <a:custGeom>
                  <a:avLst/>
                  <a:gdLst>
                    <a:gd name="T0" fmla="*/ 38 w 249"/>
                    <a:gd name="T1" fmla="*/ 0 h 378"/>
                    <a:gd name="T2" fmla="*/ 0 w 249"/>
                    <a:gd name="T3" fmla="*/ 38 h 378"/>
                    <a:gd name="T4" fmla="*/ 0 w 249"/>
                    <a:gd name="T5" fmla="*/ 346 h 378"/>
                    <a:gd name="T6" fmla="*/ 17 w 249"/>
                    <a:gd name="T7" fmla="*/ 378 h 378"/>
                    <a:gd name="T8" fmla="*/ 249 w 249"/>
                    <a:gd name="T9" fmla="*/ 0 h 378"/>
                    <a:gd name="T10" fmla="*/ 38 w 249"/>
                    <a:gd name="T11" fmla="*/ 0 h 3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49" h="378">
                      <a:moveTo>
                        <a:pt x="38" y="0"/>
                      </a:move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59"/>
                        <a:pt x="6" y="371"/>
                        <a:pt x="17" y="378"/>
                      </a:cubicBezTo>
                      <a:cubicBezTo>
                        <a:pt x="114" y="267"/>
                        <a:pt x="194" y="139"/>
                        <a:pt x="249" y="0"/>
                      </a:cubicBezTo>
                      <a:lnTo>
                        <a:pt x="3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4" name="Freeform 22">
                  <a:extLst>
                    <a:ext uri="{FF2B5EF4-FFF2-40B4-BE49-F238E27FC236}">
                      <a16:creationId xmlns:a16="http://schemas.microsoft.com/office/drawing/2014/main" xmlns="" id="{498EE5B2-1736-4277-9EBC-89978FB767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44" y="2775"/>
                  <a:ext cx="569" cy="363"/>
                </a:xfrm>
                <a:custGeom>
                  <a:avLst/>
                  <a:gdLst>
                    <a:gd name="T0" fmla="*/ 455 w 455"/>
                    <a:gd name="T1" fmla="*/ 38 h 290"/>
                    <a:gd name="T2" fmla="*/ 417 w 455"/>
                    <a:gd name="T3" fmla="*/ 0 h 290"/>
                    <a:gd name="T4" fmla="*/ 0 w 455"/>
                    <a:gd name="T5" fmla="*/ 0 h 290"/>
                    <a:gd name="T6" fmla="*/ 455 w 455"/>
                    <a:gd name="T7" fmla="*/ 290 h 290"/>
                    <a:gd name="T8" fmla="*/ 455 w 455"/>
                    <a:gd name="T9" fmla="*/ 38 h 2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55" h="290">
                      <a:moveTo>
                        <a:pt x="455" y="38"/>
                      </a:moveTo>
                      <a:cubicBezTo>
                        <a:pt x="455" y="17"/>
                        <a:pt x="438" y="0"/>
                        <a:pt x="41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28" y="126"/>
                        <a:pt x="283" y="226"/>
                        <a:pt x="455" y="290"/>
                      </a:cubicBezTo>
                      <a:lnTo>
                        <a:pt x="455" y="3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5" name="Freeform 23">
                  <a:extLst>
                    <a:ext uri="{FF2B5EF4-FFF2-40B4-BE49-F238E27FC236}">
                      <a16:creationId xmlns:a16="http://schemas.microsoft.com/office/drawing/2014/main" xmlns="" id="{2619DF93-26F1-4D5D-99EF-CCCC39AB6C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7" y="2775"/>
                  <a:ext cx="1055" cy="465"/>
                </a:xfrm>
                <a:custGeom>
                  <a:avLst/>
                  <a:gdLst>
                    <a:gd name="T0" fmla="*/ 845 w 845"/>
                    <a:gd name="T1" fmla="*/ 294 h 372"/>
                    <a:gd name="T2" fmla="*/ 845 w 845"/>
                    <a:gd name="T3" fmla="*/ 38 h 372"/>
                    <a:gd name="T4" fmla="*/ 807 w 845"/>
                    <a:gd name="T5" fmla="*/ 0 h 372"/>
                    <a:gd name="T6" fmla="*/ 38 w 845"/>
                    <a:gd name="T7" fmla="*/ 0 h 372"/>
                    <a:gd name="T8" fmla="*/ 0 w 845"/>
                    <a:gd name="T9" fmla="*/ 38 h 372"/>
                    <a:gd name="T10" fmla="*/ 0 w 845"/>
                    <a:gd name="T11" fmla="*/ 308 h 372"/>
                    <a:gd name="T12" fmla="*/ 403 w 845"/>
                    <a:gd name="T13" fmla="*/ 372 h 372"/>
                    <a:gd name="T14" fmla="*/ 845 w 845"/>
                    <a:gd name="T15" fmla="*/ 294 h 3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45" h="372">
                      <a:moveTo>
                        <a:pt x="845" y="294"/>
                      </a:moveTo>
                      <a:cubicBezTo>
                        <a:pt x="845" y="38"/>
                        <a:pt x="845" y="38"/>
                        <a:pt x="845" y="38"/>
                      </a:cubicBezTo>
                      <a:cubicBezTo>
                        <a:pt x="845" y="17"/>
                        <a:pt x="828" y="0"/>
                        <a:pt x="807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308"/>
                        <a:pt x="0" y="308"/>
                        <a:pt x="0" y="308"/>
                      </a:cubicBezTo>
                      <a:cubicBezTo>
                        <a:pt x="127" y="349"/>
                        <a:pt x="262" y="372"/>
                        <a:pt x="403" y="372"/>
                      </a:cubicBezTo>
                      <a:cubicBezTo>
                        <a:pt x="558" y="372"/>
                        <a:pt x="707" y="345"/>
                        <a:pt x="845" y="29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36" name="Freeform 24">
                  <a:extLst>
                    <a:ext uri="{FF2B5EF4-FFF2-40B4-BE49-F238E27FC236}">
                      <a16:creationId xmlns:a16="http://schemas.microsoft.com/office/drawing/2014/main" xmlns="" id="{FB0532E2-F087-407D-8899-7E720FEA83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7" y="2775"/>
                  <a:ext cx="519" cy="344"/>
                </a:xfrm>
                <a:custGeom>
                  <a:avLst/>
                  <a:gdLst>
                    <a:gd name="T0" fmla="*/ 38 w 415"/>
                    <a:gd name="T1" fmla="*/ 0 h 275"/>
                    <a:gd name="T2" fmla="*/ 0 w 415"/>
                    <a:gd name="T3" fmla="*/ 38 h 275"/>
                    <a:gd name="T4" fmla="*/ 0 w 415"/>
                    <a:gd name="T5" fmla="*/ 275 h 275"/>
                    <a:gd name="T6" fmla="*/ 415 w 415"/>
                    <a:gd name="T7" fmla="*/ 0 h 275"/>
                    <a:gd name="T8" fmla="*/ 38 w 415"/>
                    <a:gd name="T9" fmla="*/ 0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15" h="275">
                      <a:moveTo>
                        <a:pt x="38" y="0"/>
                      </a:moveTo>
                      <a:cubicBezTo>
                        <a:pt x="17" y="0"/>
                        <a:pt x="0" y="17"/>
                        <a:pt x="0" y="38"/>
                      </a:cubicBezTo>
                      <a:cubicBezTo>
                        <a:pt x="0" y="275"/>
                        <a:pt x="0" y="275"/>
                        <a:pt x="0" y="275"/>
                      </a:cubicBezTo>
                      <a:cubicBezTo>
                        <a:pt x="156" y="210"/>
                        <a:pt x="297" y="116"/>
                        <a:pt x="415" y="0"/>
                      </a:cubicBezTo>
                      <a:lnTo>
                        <a:pt x="3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cxnSp>
          <p:nvCxnSpPr>
            <p:cNvPr id="1221" name="Straight Connector 1220">
              <a:extLst>
                <a:ext uri="{FF2B5EF4-FFF2-40B4-BE49-F238E27FC236}">
                  <a16:creationId xmlns:a16="http://schemas.microsoft.com/office/drawing/2014/main" xmlns="" id="{B5E5B48C-62AF-4932-BACF-F2720BA95F81}"/>
                </a:ext>
              </a:extLst>
            </p:cNvPr>
            <p:cNvCxnSpPr>
              <a:cxnSpLocks/>
            </p:cNvCxnSpPr>
            <p:nvPr/>
          </p:nvCxnSpPr>
          <p:spPr>
            <a:xfrm>
              <a:off x="4398696" y="2686563"/>
              <a:ext cx="1235996" cy="0"/>
            </a:xfrm>
            <a:prstGeom prst="line">
              <a:avLst/>
            </a:prstGeom>
            <a:ln cap="rnd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3" name="Rectangle 1222">
              <a:extLst>
                <a:ext uri="{FF2B5EF4-FFF2-40B4-BE49-F238E27FC236}">
                  <a16:creationId xmlns:a16="http://schemas.microsoft.com/office/drawing/2014/main" xmlns="" id="{3A7B0B67-2D3C-4279-802E-F084D1962A23}"/>
                </a:ext>
              </a:extLst>
            </p:cNvPr>
            <p:cNvSpPr/>
            <p:nvPr/>
          </p:nvSpPr>
          <p:spPr>
            <a:xfrm>
              <a:off x="4057123" y="813489"/>
              <a:ext cx="8477739" cy="355649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24" name="Oval 1223">
              <a:extLst>
                <a:ext uri="{FF2B5EF4-FFF2-40B4-BE49-F238E27FC236}">
                  <a16:creationId xmlns:a16="http://schemas.microsoft.com/office/drawing/2014/main" xmlns="" id="{2C9323D3-5D24-4343-AA13-01EA8F671ABE}"/>
                </a:ext>
              </a:extLst>
            </p:cNvPr>
            <p:cNvSpPr/>
            <p:nvPr/>
          </p:nvSpPr>
          <p:spPr>
            <a:xfrm>
              <a:off x="4461447" y="2647354"/>
              <a:ext cx="76744" cy="767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25" name="Oval 1224">
              <a:extLst>
                <a:ext uri="{FF2B5EF4-FFF2-40B4-BE49-F238E27FC236}">
                  <a16:creationId xmlns:a16="http://schemas.microsoft.com/office/drawing/2014/main" xmlns="" id="{B933B722-B429-4BE4-A59A-34A5FD13AF86}"/>
                </a:ext>
              </a:extLst>
            </p:cNvPr>
            <p:cNvSpPr/>
            <p:nvPr/>
          </p:nvSpPr>
          <p:spPr>
            <a:xfrm>
              <a:off x="4461447" y="2647354"/>
              <a:ext cx="76744" cy="767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26" name="Oval 1225">
              <a:extLst>
                <a:ext uri="{FF2B5EF4-FFF2-40B4-BE49-F238E27FC236}">
                  <a16:creationId xmlns:a16="http://schemas.microsoft.com/office/drawing/2014/main" xmlns="" id="{1E20DED5-26FD-4EF8-B50B-06693BEB4CD4}"/>
                </a:ext>
              </a:extLst>
            </p:cNvPr>
            <p:cNvSpPr/>
            <p:nvPr/>
          </p:nvSpPr>
          <p:spPr>
            <a:xfrm>
              <a:off x="4461447" y="2647354"/>
              <a:ext cx="76744" cy="767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27" name="Oval 1226">
              <a:extLst>
                <a:ext uri="{FF2B5EF4-FFF2-40B4-BE49-F238E27FC236}">
                  <a16:creationId xmlns:a16="http://schemas.microsoft.com/office/drawing/2014/main" xmlns="" id="{2282D699-F22D-45FD-8132-9CE5B35354C0}"/>
                </a:ext>
              </a:extLst>
            </p:cNvPr>
            <p:cNvSpPr/>
            <p:nvPr/>
          </p:nvSpPr>
          <p:spPr>
            <a:xfrm>
              <a:off x="4461447" y="2647354"/>
              <a:ext cx="76744" cy="767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28" name="Oval 1227">
              <a:extLst>
                <a:ext uri="{FF2B5EF4-FFF2-40B4-BE49-F238E27FC236}">
                  <a16:creationId xmlns:a16="http://schemas.microsoft.com/office/drawing/2014/main" xmlns="" id="{654F74CF-24F2-445D-B001-5385330A4322}"/>
                </a:ext>
              </a:extLst>
            </p:cNvPr>
            <p:cNvSpPr/>
            <p:nvPr/>
          </p:nvSpPr>
          <p:spPr>
            <a:xfrm>
              <a:off x="4461447" y="2647354"/>
              <a:ext cx="76744" cy="767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29" name="Oval 1228">
              <a:extLst>
                <a:ext uri="{FF2B5EF4-FFF2-40B4-BE49-F238E27FC236}">
                  <a16:creationId xmlns:a16="http://schemas.microsoft.com/office/drawing/2014/main" xmlns="" id="{C420A35E-5F52-40E2-B75C-32757BC923D2}"/>
                </a:ext>
              </a:extLst>
            </p:cNvPr>
            <p:cNvSpPr/>
            <p:nvPr/>
          </p:nvSpPr>
          <p:spPr>
            <a:xfrm>
              <a:off x="4461447" y="2647354"/>
              <a:ext cx="76744" cy="7674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30" name="Freeform: Shape 1229">
              <a:extLst>
                <a:ext uri="{FF2B5EF4-FFF2-40B4-BE49-F238E27FC236}">
                  <a16:creationId xmlns:a16="http://schemas.microsoft.com/office/drawing/2014/main" xmlns="" id="{0B0CA047-6540-4E26-8FAD-F2030123EF4E}"/>
                </a:ext>
              </a:extLst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4057123" y="813489"/>
              <a:ext cx="8477739" cy="3556492"/>
            </a:xfrm>
            <a:custGeom>
              <a:avLst/>
              <a:gdLst>
                <a:gd name="connsiteX0" fmla="*/ 4794585 w 6374240"/>
                <a:gd name="connsiteY0" fmla="*/ 259675 h 2674054"/>
                <a:gd name="connsiteX1" fmla="*/ 3655701 w 6374240"/>
                <a:gd name="connsiteY1" fmla="*/ 1395157 h 2674054"/>
                <a:gd name="connsiteX2" fmla="*/ 4794585 w 6374240"/>
                <a:gd name="connsiteY2" fmla="*/ 2530639 h 2674054"/>
                <a:gd name="connsiteX3" fmla="*/ 5933469 w 6374240"/>
                <a:gd name="connsiteY3" fmla="*/ 1395157 h 2674054"/>
                <a:gd name="connsiteX4" fmla="*/ 4794585 w 6374240"/>
                <a:gd name="connsiteY4" fmla="*/ 259675 h 2674054"/>
                <a:gd name="connsiteX5" fmla="*/ 1574605 w 6374240"/>
                <a:gd name="connsiteY5" fmla="*/ 259673 h 2674054"/>
                <a:gd name="connsiteX6" fmla="*/ 428923 w 6374240"/>
                <a:gd name="connsiteY6" fmla="*/ 1395156 h 2674054"/>
                <a:gd name="connsiteX7" fmla="*/ 1574605 w 6374240"/>
                <a:gd name="connsiteY7" fmla="*/ 2530639 h 2674054"/>
                <a:gd name="connsiteX8" fmla="*/ 2720287 w 6374240"/>
                <a:gd name="connsiteY8" fmla="*/ 1395156 h 2674054"/>
                <a:gd name="connsiteX9" fmla="*/ 1574605 w 6374240"/>
                <a:gd name="connsiteY9" fmla="*/ 259673 h 2674054"/>
                <a:gd name="connsiteX10" fmla="*/ 3181118 w 6374240"/>
                <a:gd name="connsiteY10" fmla="*/ 0 h 2674054"/>
                <a:gd name="connsiteX11" fmla="*/ 3925380 w 6374240"/>
                <a:gd name="connsiteY11" fmla="*/ 455668 h 2674054"/>
                <a:gd name="connsiteX12" fmla="*/ 4789683 w 6374240"/>
                <a:gd name="connsiteY12" fmla="*/ 119913 h 2674054"/>
                <a:gd name="connsiteX13" fmla="*/ 5822046 w 6374240"/>
                <a:gd name="connsiteY13" fmla="*/ 635538 h 2674054"/>
                <a:gd name="connsiteX14" fmla="*/ 6374240 w 6374240"/>
                <a:gd name="connsiteY14" fmla="*/ 1390988 h 2674054"/>
                <a:gd name="connsiteX15" fmla="*/ 5822046 w 6374240"/>
                <a:gd name="connsiteY15" fmla="*/ 2158429 h 2674054"/>
                <a:gd name="connsiteX16" fmla="*/ 4789683 w 6374240"/>
                <a:gd name="connsiteY16" fmla="*/ 2674054 h 2674054"/>
                <a:gd name="connsiteX17" fmla="*/ 3529240 w 6374240"/>
                <a:gd name="connsiteY17" fmla="*/ 1606831 h 2674054"/>
                <a:gd name="connsiteX18" fmla="*/ 3181118 w 6374240"/>
                <a:gd name="connsiteY18" fmla="*/ 1678778 h 2674054"/>
                <a:gd name="connsiteX19" fmla="*/ 2832996 w 6374240"/>
                <a:gd name="connsiteY19" fmla="*/ 1606831 h 2674054"/>
                <a:gd name="connsiteX20" fmla="*/ 1572553 w 6374240"/>
                <a:gd name="connsiteY20" fmla="*/ 2674054 h 2674054"/>
                <a:gd name="connsiteX21" fmla="*/ 540190 w 6374240"/>
                <a:gd name="connsiteY21" fmla="*/ 2158429 h 2674054"/>
                <a:gd name="connsiteX22" fmla="*/ 0 w 6374240"/>
                <a:gd name="connsiteY22" fmla="*/ 1390988 h 2674054"/>
                <a:gd name="connsiteX23" fmla="*/ 540190 w 6374240"/>
                <a:gd name="connsiteY23" fmla="*/ 635538 h 2674054"/>
                <a:gd name="connsiteX24" fmla="*/ 1572553 w 6374240"/>
                <a:gd name="connsiteY24" fmla="*/ 119913 h 2674054"/>
                <a:gd name="connsiteX25" fmla="*/ 2436856 w 6374240"/>
                <a:gd name="connsiteY25" fmla="*/ 455668 h 2674054"/>
                <a:gd name="connsiteX26" fmla="*/ 3181118 w 6374240"/>
                <a:gd name="connsiteY26" fmla="*/ 0 h 2674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374240" h="2674054">
                  <a:moveTo>
                    <a:pt x="4794585" y="259675"/>
                  </a:moveTo>
                  <a:cubicBezTo>
                    <a:pt x="4165597" y="259675"/>
                    <a:pt x="3655701" y="768048"/>
                    <a:pt x="3655701" y="1395157"/>
                  </a:cubicBezTo>
                  <a:cubicBezTo>
                    <a:pt x="3655701" y="2022266"/>
                    <a:pt x="4165597" y="2530639"/>
                    <a:pt x="4794585" y="2530639"/>
                  </a:cubicBezTo>
                  <a:cubicBezTo>
                    <a:pt x="5423573" y="2530639"/>
                    <a:pt x="5933469" y="2022266"/>
                    <a:pt x="5933469" y="1395157"/>
                  </a:cubicBezTo>
                  <a:cubicBezTo>
                    <a:pt x="5933469" y="768048"/>
                    <a:pt x="5423573" y="259675"/>
                    <a:pt x="4794585" y="259675"/>
                  </a:cubicBezTo>
                  <a:close/>
                  <a:moveTo>
                    <a:pt x="1574605" y="259673"/>
                  </a:moveTo>
                  <a:cubicBezTo>
                    <a:pt x="941862" y="259673"/>
                    <a:pt x="428923" y="768046"/>
                    <a:pt x="428923" y="1395156"/>
                  </a:cubicBezTo>
                  <a:cubicBezTo>
                    <a:pt x="428923" y="2022266"/>
                    <a:pt x="941862" y="2530639"/>
                    <a:pt x="1574605" y="2530639"/>
                  </a:cubicBezTo>
                  <a:cubicBezTo>
                    <a:pt x="2207348" y="2530639"/>
                    <a:pt x="2720287" y="2022266"/>
                    <a:pt x="2720287" y="1395156"/>
                  </a:cubicBezTo>
                  <a:cubicBezTo>
                    <a:pt x="2720287" y="768046"/>
                    <a:pt x="2207348" y="259673"/>
                    <a:pt x="1574605" y="259673"/>
                  </a:cubicBezTo>
                  <a:close/>
                  <a:moveTo>
                    <a:pt x="3181118" y="0"/>
                  </a:moveTo>
                  <a:cubicBezTo>
                    <a:pt x="3505232" y="0"/>
                    <a:pt x="3793333" y="179869"/>
                    <a:pt x="3925380" y="455668"/>
                  </a:cubicBezTo>
                  <a:cubicBezTo>
                    <a:pt x="4153460" y="239825"/>
                    <a:pt x="4465570" y="119913"/>
                    <a:pt x="4789683" y="119913"/>
                  </a:cubicBezTo>
                  <a:cubicBezTo>
                    <a:pt x="5209831" y="119913"/>
                    <a:pt x="5593966" y="323764"/>
                    <a:pt x="5822046" y="635538"/>
                  </a:cubicBezTo>
                  <a:cubicBezTo>
                    <a:pt x="6146160" y="743459"/>
                    <a:pt x="6374240" y="1043241"/>
                    <a:pt x="6374240" y="1390988"/>
                  </a:cubicBezTo>
                  <a:cubicBezTo>
                    <a:pt x="6374240" y="1750726"/>
                    <a:pt x="6146160" y="2050508"/>
                    <a:pt x="5822046" y="2158429"/>
                  </a:cubicBezTo>
                  <a:cubicBezTo>
                    <a:pt x="5593966" y="2470202"/>
                    <a:pt x="5209831" y="2674054"/>
                    <a:pt x="4789683" y="2674054"/>
                  </a:cubicBezTo>
                  <a:cubicBezTo>
                    <a:pt x="4153460" y="2674054"/>
                    <a:pt x="3625274" y="2206394"/>
                    <a:pt x="3529240" y="1606831"/>
                  </a:cubicBezTo>
                  <a:cubicBezTo>
                    <a:pt x="3421202" y="1654796"/>
                    <a:pt x="3313164" y="1678778"/>
                    <a:pt x="3181118" y="1678778"/>
                  </a:cubicBezTo>
                  <a:cubicBezTo>
                    <a:pt x="3061076" y="1678778"/>
                    <a:pt x="2941034" y="1654796"/>
                    <a:pt x="2832996" y="1606831"/>
                  </a:cubicBezTo>
                  <a:cubicBezTo>
                    <a:pt x="2736962" y="2206394"/>
                    <a:pt x="2208776" y="2674054"/>
                    <a:pt x="1572553" y="2674054"/>
                  </a:cubicBezTo>
                  <a:cubicBezTo>
                    <a:pt x="1152405" y="2674054"/>
                    <a:pt x="780274" y="2470202"/>
                    <a:pt x="540190" y="2158429"/>
                  </a:cubicBezTo>
                  <a:cubicBezTo>
                    <a:pt x="228080" y="2050508"/>
                    <a:pt x="0" y="1750726"/>
                    <a:pt x="0" y="1390988"/>
                  </a:cubicBezTo>
                  <a:cubicBezTo>
                    <a:pt x="0" y="1043241"/>
                    <a:pt x="228080" y="743459"/>
                    <a:pt x="540190" y="635538"/>
                  </a:cubicBezTo>
                  <a:cubicBezTo>
                    <a:pt x="780274" y="323764"/>
                    <a:pt x="1152405" y="119913"/>
                    <a:pt x="1572553" y="119913"/>
                  </a:cubicBezTo>
                  <a:cubicBezTo>
                    <a:pt x="1908671" y="119913"/>
                    <a:pt x="2208776" y="239825"/>
                    <a:pt x="2436856" y="455668"/>
                  </a:cubicBezTo>
                  <a:cubicBezTo>
                    <a:pt x="2580907" y="179869"/>
                    <a:pt x="2857004" y="0"/>
                    <a:pt x="3181118" y="0"/>
                  </a:cubicBezTo>
                  <a:close/>
                </a:path>
              </a:pathLst>
            </a:custGeom>
            <a:solidFill>
              <a:schemeClr val="tx2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grpSp>
          <p:nvGrpSpPr>
            <p:cNvPr id="1231" name="Group 1230">
              <a:extLst>
                <a:ext uri="{FF2B5EF4-FFF2-40B4-BE49-F238E27FC236}">
                  <a16:creationId xmlns:a16="http://schemas.microsoft.com/office/drawing/2014/main" xmlns="" id="{352EE1ED-FF5D-4671-9153-3BFC563E1D21}"/>
                </a:ext>
              </a:extLst>
            </p:cNvPr>
            <p:cNvGrpSpPr/>
            <p:nvPr/>
          </p:nvGrpSpPr>
          <p:grpSpPr>
            <a:xfrm>
              <a:off x="4476347" y="2076545"/>
              <a:ext cx="447954" cy="664476"/>
              <a:chOff x="4507478" y="2076545"/>
              <a:chExt cx="447954" cy="664476"/>
            </a:xfrm>
          </p:grpSpPr>
          <p:sp>
            <p:nvSpPr>
              <p:cNvPr id="1602" name="Oval 1601">
                <a:extLst>
                  <a:ext uri="{FF2B5EF4-FFF2-40B4-BE49-F238E27FC236}">
                    <a16:creationId xmlns:a16="http://schemas.microsoft.com/office/drawing/2014/main" xmlns="" id="{C4CA72B3-145A-4CCD-8036-D490084B9FD6}"/>
                  </a:ext>
                </a:extLst>
              </p:cNvPr>
              <p:cNvSpPr/>
              <p:nvPr/>
            </p:nvSpPr>
            <p:spPr>
              <a:xfrm>
                <a:off x="4676997" y="2632105"/>
                <a:ext cx="108916" cy="108916"/>
              </a:xfrm>
              <a:prstGeom prst="ellipse">
                <a:avLst/>
              </a:prstGeom>
              <a:solidFill>
                <a:schemeClr val="accent6"/>
              </a:solidFill>
              <a:ln>
                <a:solidFill>
                  <a:schemeClr val="bg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1603" name="Group 1602">
                <a:extLst>
                  <a:ext uri="{FF2B5EF4-FFF2-40B4-BE49-F238E27FC236}">
                    <a16:creationId xmlns:a16="http://schemas.microsoft.com/office/drawing/2014/main" xmlns="" id="{E00CC077-9438-48F7-9A95-A010F333E2C6}"/>
                  </a:ext>
                </a:extLst>
              </p:cNvPr>
              <p:cNvGrpSpPr/>
              <p:nvPr/>
            </p:nvGrpSpPr>
            <p:grpSpPr>
              <a:xfrm>
                <a:off x="4507478" y="2076545"/>
                <a:ext cx="447954" cy="534751"/>
                <a:chOff x="4507478" y="2076545"/>
                <a:chExt cx="447954" cy="534751"/>
              </a:xfrm>
            </p:grpSpPr>
            <p:grpSp>
              <p:nvGrpSpPr>
                <p:cNvPr id="1605" name="Group 1604">
                  <a:extLst>
                    <a:ext uri="{FF2B5EF4-FFF2-40B4-BE49-F238E27FC236}">
                      <a16:creationId xmlns:a16="http://schemas.microsoft.com/office/drawing/2014/main" xmlns="" id="{D52124DA-0BDD-46C8-A3E5-CC913DA32C6D}"/>
                    </a:ext>
                  </a:extLst>
                </p:cNvPr>
                <p:cNvGrpSpPr/>
                <p:nvPr/>
              </p:nvGrpSpPr>
              <p:grpSpPr>
                <a:xfrm>
                  <a:off x="4507478" y="2076545"/>
                  <a:ext cx="447954" cy="534751"/>
                  <a:chOff x="4501128" y="1906926"/>
                  <a:chExt cx="447954" cy="534751"/>
                </a:xfrm>
              </p:grpSpPr>
              <p:sp>
                <p:nvSpPr>
                  <p:cNvPr id="1611" name="Isosceles Triangle 1610">
                    <a:extLst>
                      <a:ext uri="{FF2B5EF4-FFF2-40B4-BE49-F238E27FC236}">
                        <a16:creationId xmlns:a16="http://schemas.microsoft.com/office/drawing/2014/main" xmlns="" id="{F4EB0CBE-7874-42C1-8179-609070ED6D22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4576322" y="2187276"/>
                    <a:ext cx="295105" cy="254401"/>
                  </a:xfrm>
                  <a:prstGeom prst="triangle">
                    <a:avLst/>
                  </a:prstGeom>
                  <a:solidFill>
                    <a:schemeClr val="accent6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612" name="Oval 1611">
                    <a:extLst>
                      <a:ext uri="{FF2B5EF4-FFF2-40B4-BE49-F238E27FC236}">
                        <a16:creationId xmlns:a16="http://schemas.microsoft.com/office/drawing/2014/main" xmlns="" id="{71DD1AA2-0549-407B-883D-6D5A0CEBE23B}"/>
                      </a:ext>
                    </a:extLst>
                  </p:cNvPr>
                  <p:cNvSpPr/>
                  <p:nvPr/>
                </p:nvSpPr>
                <p:spPr>
                  <a:xfrm>
                    <a:off x="4501128" y="1906926"/>
                    <a:ext cx="447954" cy="447954"/>
                  </a:xfrm>
                  <a:prstGeom prst="ellipse">
                    <a:avLst/>
                  </a:prstGeom>
                  <a:solidFill>
                    <a:schemeClr val="accent6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</p:grpSp>
            <p:grpSp>
              <p:nvGrpSpPr>
                <p:cNvPr id="1606" name="Group 4">
                  <a:extLst>
                    <a:ext uri="{FF2B5EF4-FFF2-40B4-BE49-F238E27FC236}">
                      <a16:creationId xmlns:a16="http://schemas.microsoft.com/office/drawing/2014/main" xmlns="" id="{6831CAB5-E739-4FAE-BD6B-F03BFB20B9C5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4620142" y="2165010"/>
                  <a:ext cx="211726" cy="243171"/>
                  <a:chOff x="2778" y="1504"/>
                  <a:chExt cx="202" cy="232"/>
                </a:xfrm>
                <a:solidFill>
                  <a:schemeClr val="bg2"/>
                </a:solidFill>
              </p:grpSpPr>
              <p:sp>
                <p:nvSpPr>
                  <p:cNvPr id="1607" name="Freeform 5">
                    <a:extLst>
                      <a:ext uri="{FF2B5EF4-FFF2-40B4-BE49-F238E27FC236}">
                        <a16:creationId xmlns:a16="http://schemas.microsoft.com/office/drawing/2014/main" xmlns="" id="{53F6413B-A1EC-4FA9-881A-956C00B056DB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823" y="1504"/>
                    <a:ext cx="110" cy="136"/>
                  </a:xfrm>
                  <a:custGeom>
                    <a:avLst/>
                    <a:gdLst>
                      <a:gd name="T0" fmla="*/ 8 w 53"/>
                      <a:gd name="T1" fmla="*/ 60 h 66"/>
                      <a:gd name="T2" fmla="*/ 14 w 53"/>
                      <a:gd name="T3" fmla="*/ 66 h 66"/>
                      <a:gd name="T4" fmla="*/ 39 w 53"/>
                      <a:gd name="T5" fmla="*/ 66 h 66"/>
                      <a:gd name="T6" fmla="*/ 45 w 53"/>
                      <a:gd name="T7" fmla="*/ 60 h 66"/>
                      <a:gd name="T8" fmla="*/ 45 w 53"/>
                      <a:gd name="T9" fmla="*/ 50 h 66"/>
                      <a:gd name="T10" fmla="*/ 53 w 53"/>
                      <a:gd name="T11" fmla="*/ 29 h 66"/>
                      <a:gd name="T12" fmla="*/ 27 w 53"/>
                      <a:gd name="T13" fmla="*/ 0 h 66"/>
                      <a:gd name="T14" fmla="*/ 0 w 53"/>
                      <a:gd name="T15" fmla="*/ 29 h 66"/>
                      <a:gd name="T16" fmla="*/ 8 w 53"/>
                      <a:gd name="T17" fmla="*/ 49 h 66"/>
                      <a:gd name="T18" fmla="*/ 8 w 53"/>
                      <a:gd name="T19" fmla="*/ 60 h 66"/>
                      <a:gd name="T20" fmla="*/ 27 w 53"/>
                      <a:gd name="T21" fmla="*/ 12 h 66"/>
                      <a:gd name="T22" fmla="*/ 41 w 53"/>
                      <a:gd name="T23" fmla="*/ 29 h 66"/>
                      <a:gd name="T24" fmla="*/ 35 w 53"/>
                      <a:gd name="T25" fmla="*/ 42 h 66"/>
                      <a:gd name="T26" fmla="*/ 33 w 53"/>
                      <a:gd name="T27" fmla="*/ 47 h 66"/>
                      <a:gd name="T28" fmla="*/ 33 w 53"/>
                      <a:gd name="T29" fmla="*/ 54 h 66"/>
                      <a:gd name="T30" fmla="*/ 20 w 53"/>
                      <a:gd name="T31" fmla="*/ 54 h 66"/>
                      <a:gd name="T32" fmla="*/ 20 w 53"/>
                      <a:gd name="T33" fmla="*/ 46 h 66"/>
                      <a:gd name="T34" fmla="*/ 18 w 53"/>
                      <a:gd name="T35" fmla="*/ 42 h 66"/>
                      <a:gd name="T36" fmla="*/ 12 w 53"/>
                      <a:gd name="T37" fmla="*/ 29 h 66"/>
                      <a:gd name="T38" fmla="*/ 27 w 53"/>
                      <a:gd name="T39" fmla="*/ 12 h 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53" h="66">
                        <a:moveTo>
                          <a:pt x="8" y="60"/>
                        </a:moveTo>
                        <a:cubicBezTo>
                          <a:pt x="8" y="64"/>
                          <a:pt x="10" y="66"/>
                          <a:pt x="14" y="66"/>
                        </a:cubicBezTo>
                        <a:cubicBezTo>
                          <a:pt x="39" y="66"/>
                          <a:pt x="39" y="66"/>
                          <a:pt x="39" y="66"/>
                        </a:cubicBezTo>
                        <a:cubicBezTo>
                          <a:pt x="42" y="66"/>
                          <a:pt x="45" y="64"/>
                          <a:pt x="45" y="60"/>
                        </a:cubicBezTo>
                        <a:cubicBezTo>
                          <a:pt x="45" y="50"/>
                          <a:pt x="45" y="50"/>
                          <a:pt x="45" y="50"/>
                        </a:cubicBezTo>
                        <a:cubicBezTo>
                          <a:pt x="50" y="44"/>
                          <a:pt x="53" y="37"/>
                          <a:pt x="53" y="29"/>
                        </a:cubicBezTo>
                        <a:cubicBezTo>
                          <a:pt x="53" y="13"/>
                          <a:pt x="41" y="0"/>
                          <a:pt x="27" y="0"/>
                        </a:cubicBezTo>
                        <a:cubicBezTo>
                          <a:pt x="12" y="0"/>
                          <a:pt x="0" y="13"/>
                          <a:pt x="0" y="29"/>
                        </a:cubicBezTo>
                        <a:cubicBezTo>
                          <a:pt x="0" y="36"/>
                          <a:pt x="3" y="43"/>
                          <a:pt x="8" y="49"/>
                        </a:cubicBezTo>
                        <a:lnTo>
                          <a:pt x="8" y="60"/>
                        </a:lnTo>
                        <a:close/>
                        <a:moveTo>
                          <a:pt x="27" y="12"/>
                        </a:moveTo>
                        <a:cubicBezTo>
                          <a:pt x="35" y="12"/>
                          <a:pt x="41" y="20"/>
                          <a:pt x="41" y="29"/>
                        </a:cubicBezTo>
                        <a:cubicBezTo>
                          <a:pt x="41" y="34"/>
                          <a:pt x="39" y="39"/>
                          <a:pt x="35" y="42"/>
                        </a:cubicBezTo>
                        <a:cubicBezTo>
                          <a:pt x="34" y="43"/>
                          <a:pt x="33" y="45"/>
                          <a:pt x="33" y="47"/>
                        </a:cubicBezTo>
                        <a:cubicBezTo>
                          <a:pt x="33" y="54"/>
                          <a:pt x="33" y="54"/>
                          <a:pt x="33" y="54"/>
                        </a:cubicBezTo>
                        <a:cubicBezTo>
                          <a:pt x="20" y="54"/>
                          <a:pt x="20" y="54"/>
                          <a:pt x="20" y="54"/>
                        </a:cubicBezTo>
                        <a:cubicBezTo>
                          <a:pt x="20" y="46"/>
                          <a:pt x="20" y="46"/>
                          <a:pt x="20" y="46"/>
                        </a:cubicBezTo>
                        <a:cubicBezTo>
                          <a:pt x="20" y="44"/>
                          <a:pt x="19" y="43"/>
                          <a:pt x="18" y="42"/>
                        </a:cubicBezTo>
                        <a:cubicBezTo>
                          <a:pt x="14" y="38"/>
                          <a:pt x="12" y="34"/>
                          <a:pt x="12" y="29"/>
                        </a:cubicBezTo>
                        <a:cubicBezTo>
                          <a:pt x="12" y="20"/>
                          <a:pt x="19" y="12"/>
                          <a:pt x="27" y="1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08" name="Oval 6">
                    <a:extLst>
                      <a:ext uri="{FF2B5EF4-FFF2-40B4-BE49-F238E27FC236}">
                        <a16:creationId xmlns:a16="http://schemas.microsoft.com/office/drawing/2014/main" xmlns="" id="{9A40C6F9-74FA-46D7-8FB9-59724FDBB93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852" y="1555"/>
                    <a:ext cx="21" cy="21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09" name="Oval 7">
                    <a:extLst>
                      <a:ext uri="{FF2B5EF4-FFF2-40B4-BE49-F238E27FC236}">
                        <a16:creationId xmlns:a16="http://schemas.microsoft.com/office/drawing/2014/main" xmlns="" id="{4D4BA5FF-712D-42AD-8A8C-F474F0721AB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883" y="1555"/>
                    <a:ext cx="21" cy="21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610" name="Freeform 8">
                    <a:extLst>
                      <a:ext uri="{FF2B5EF4-FFF2-40B4-BE49-F238E27FC236}">
                        <a16:creationId xmlns:a16="http://schemas.microsoft.com/office/drawing/2014/main" xmlns="" id="{6389E38A-9C91-481A-9DE2-B15A41B54EB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778" y="1617"/>
                    <a:ext cx="202" cy="119"/>
                  </a:xfrm>
                  <a:custGeom>
                    <a:avLst/>
                    <a:gdLst>
                      <a:gd name="T0" fmla="*/ 91 w 98"/>
                      <a:gd name="T1" fmla="*/ 22 h 58"/>
                      <a:gd name="T2" fmla="*/ 98 w 98"/>
                      <a:gd name="T3" fmla="*/ 15 h 58"/>
                      <a:gd name="T4" fmla="*/ 92 w 98"/>
                      <a:gd name="T5" fmla="*/ 9 h 58"/>
                      <a:gd name="T6" fmla="*/ 92 w 98"/>
                      <a:gd name="T7" fmla="*/ 6 h 58"/>
                      <a:gd name="T8" fmla="*/ 86 w 98"/>
                      <a:gd name="T9" fmla="*/ 0 h 58"/>
                      <a:gd name="T10" fmla="*/ 79 w 98"/>
                      <a:gd name="T11" fmla="*/ 6 h 58"/>
                      <a:gd name="T12" fmla="*/ 81 w 98"/>
                      <a:gd name="T13" fmla="*/ 10 h 58"/>
                      <a:gd name="T14" fmla="*/ 49 w 98"/>
                      <a:gd name="T15" fmla="*/ 24 h 58"/>
                      <a:gd name="T16" fmla="*/ 17 w 98"/>
                      <a:gd name="T17" fmla="*/ 10 h 58"/>
                      <a:gd name="T18" fmla="*/ 18 w 98"/>
                      <a:gd name="T19" fmla="*/ 6 h 58"/>
                      <a:gd name="T20" fmla="*/ 11 w 98"/>
                      <a:gd name="T21" fmla="*/ 0 h 58"/>
                      <a:gd name="T22" fmla="*/ 5 w 98"/>
                      <a:gd name="T23" fmla="*/ 6 h 58"/>
                      <a:gd name="T24" fmla="*/ 6 w 98"/>
                      <a:gd name="T25" fmla="*/ 9 h 58"/>
                      <a:gd name="T26" fmla="*/ 0 w 98"/>
                      <a:gd name="T27" fmla="*/ 15 h 58"/>
                      <a:gd name="T28" fmla="*/ 6 w 98"/>
                      <a:gd name="T29" fmla="*/ 22 h 58"/>
                      <a:gd name="T30" fmla="*/ 12 w 98"/>
                      <a:gd name="T31" fmla="*/ 19 h 58"/>
                      <a:gd name="T32" fmla="*/ 37 w 98"/>
                      <a:gd name="T33" fmla="*/ 29 h 58"/>
                      <a:gd name="T34" fmla="*/ 12 w 98"/>
                      <a:gd name="T35" fmla="*/ 40 h 58"/>
                      <a:gd name="T36" fmla="*/ 6 w 98"/>
                      <a:gd name="T37" fmla="*/ 36 h 58"/>
                      <a:gd name="T38" fmla="*/ 0 w 98"/>
                      <a:gd name="T39" fmla="*/ 42 h 58"/>
                      <a:gd name="T40" fmla="*/ 6 w 98"/>
                      <a:gd name="T41" fmla="*/ 48 h 58"/>
                      <a:gd name="T42" fmla="*/ 5 w 98"/>
                      <a:gd name="T43" fmla="*/ 51 h 58"/>
                      <a:gd name="T44" fmla="*/ 11 w 98"/>
                      <a:gd name="T45" fmla="*/ 58 h 58"/>
                      <a:gd name="T46" fmla="*/ 18 w 98"/>
                      <a:gd name="T47" fmla="*/ 51 h 58"/>
                      <a:gd name="T48" fmla="*/ 17 w 98"/>
                      <a:gd name="T49" fmla="*/ 48 h 58"/>
                      <a:gd name="T50" fmla="*/ 17 w 98"/>
                      <a:gd name="T51" fmla="*/ 48 h 58"/>
                      <a:gd name="T52" fmla="*/ 17 w 98"/>
                      <a:gd name="T53" fmla="*/ 48 h 58"/>
                      <a:gd name="T54" fmla="*/ 49 w 98"/>
                      <a:gd name="T55" fmla="*/ 34 h 58"/>
                      <a:gd name="T56" fmla="*/ 80 w 98"/>
                      <a:gd name="T57" fmla="*/ 48 h 58"/>
                      <a:gd name="T58" fmla="*/ 80 w 98"/>
                      <a:gd name="T59" fmla="*/ 48 h 58"/>
                      <a:gd name="T60" fmla="*/ 80 w 98"/>
                      <a:gd name="T61" fmla="*/ 48 h 58"/>
                      <a:gd name="T62" fmla="*/ 79 w 98"/>
                      <a:gd name="T63" fmla="*/ 51 h 58"/>
                      <a:gd name="T64" fmla="*/ 86 w 98"/>
                      <a:gd name="T65" fmla="*/ 58 h 58"/>
                      <a:gd name="T66" fmla="*/ 92 w 98"/>
                      <a:gd name="T67" fmla="*/ 51 h 58"/>
                      <a:gd name="T68" fmla="*/ 92 w 98"/>
                      <a:gd name="T69" fmla="*/ 48 h 58"/>
                      <a:gd name="T70" fmla="*/ 98 w 98"/>
                      <a:gd name="T71" fmla="*/ 42 h 58"/>
                      <a:gd name="T72" fmla="*/ 91 w 98"/>
                      <a:gd name="T73" fmla="*/ 36 h 58"/>
                      <a:gd name="T74" fmla="*/ 85 w 98"/>
                      <a:gd name="T75" fmla="*/ 40 h 58"/>
                      <a:gd name="T76" fmla="*/ 60 w 98"/>
                      <a:gd name="T77" fmla="*/ 29 h 58"/>
                      <a:gd name="T78" fmla="*/ 85 w 98"/>
                      <a:gd name="T79" fmla="*/ 19 h 58"/>
                      <a:gd name="T80" fmla="*/ 91 w 98"/>
                      <a:gd name="T81" fmla="*/ 22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</a:cxnLst>
                    <a:rect l="0" t="0" r="r" b="b"/>
                    <a:pathLst>
                      <a:path w="98" h="58">
                        <a:moveTo>
                          <a:pt x="91" y="22"/>
                        </a:moveTo>
                        <a:cubicBezTo>
                          <a:pt x="95" y="22"/>
                          <a:pt x="98" y="19"/>
                          <a:pt x="98" y="15"/>
                        </a:cubicBezTo>
                        <a:cubicBezTo>
                          <a:pt x="98" y="12"/>
                          <a:pt x="95" y="9"/>
                          <a:pt x="92" y="9"/>
                        </a:cubicBezTo>
                        <a:cubicBezTo>
                          <a:pt x="92" y="8"/>
                          <a:pt x="92" y="7"/>
                          <a:pt x="92" y="6"/>
                        </a:cubicBezTo>
                        <a:cubicBezTo>
                          <a:pt x="92" y="3"/>
                          <a:pt x="90" y="0"/>
                          <a:pt x="86" y="0"/>
                        </a:cubicBezTo>
                        <a:cubicBezTo>
                          <a:pt x="82" y="0"/>
                          <a:pt x="79" y="3"/>
                          <a:pt x="79" y="6"/>
                        </a:cubicBezTo>
                        <a:cubicBezTo>
                          <a:pt x="79" y="8"/>
                          <a:pt x="80" y="9"/>
                          <a:pt x="81" y="10"/>
                        </a:cubicBezTo>
                        <a:cubicBezTo>
                          <a:pt x="49" y="24"/>
                          <a:pt x="49" y="24"/>
                          <a:pt x="49" y="24"/>
                        </a:cubicBezTo>
                        <a:cubicBezTo>
                          <a:pt x="17" y="10"/>
                          <a:pt x="17" y="10"/>
                          <a:pt x="17" y="10"/>
                        </a:cubicBezTo>
                        <a:cubicBezTo>
                          <a:pt x="17" y="9"/>
                          <a:pt x="18" y="8"/>
                          <a:pt x="18" y="6"/>
                        </a:cubicBezTo>
                        <a:cubicBezTo>
                          <a:pt x="18" y="3"/>
                          <a:pt x="15" y="0"/>
                          <a:pt x="11" y="0"/>
                        </a:cubicBezTo>
                        <a:cubicBezTo>
                          <a:pt x="8" y="0"/>
                          <a:pt x="5" y="3"/>
                          <a:pt x="5" y="6"/>
                        </a:cubicBezTo>
                        <a:cubicBezTo>
                          <a:pt x="5" y="7"/>
                          <a:pt x="5" y="8"/>
                          <a:pt x="6" y="9"/>
                        </a:cubicBezTo>
                        <a:cubicBezTo>
                          <a:pt x="2" y="9"/>
                          <a:pt x="0" y="12"/>
                          <a:pt x="0" y="15"/>
                        </a:cubicBezTo>
                        <a:cubicBezTo>
                          <a:pt x="0" y="19"/>
                          <a:pt x="3" y="22"/>
                          <a:pt x="6" y="22"/>
                        </a:cubicBezTo>
                        <a:cubicBezTo>
                          <a:pt x="9" y="22"/>
                          <a:pt x="11" y="21"/>
                          <a:pt x="12" y="19"/>
                        </a:cubicBezTo>
                        <a:cubicBezTo>
                          <a:pt x="37" y="29"/>
                          <a:pt x="37" y="29"/>
                          <a:pt x="37" y="29"/>
                        </a:cubicBezTo>
                        <a:cubicBezTo>
                          <a:pt x="12" y="40"/>
                          <a:pt x="12" y="40"/>
                          <a:pt x="12" y="40"/>
                        </a:cubicBezTo>
                        <a:cubicBezTo>
                          <a:pt x="12" y="37"/>
                          <a:pt x="9" y="36"/>
                          <a:pt x="6" y="36"/>
                        </a:cubicBezTo>
                        <a:cubicBezTo>
                          <a:pt x="3" y="36"/>
                          <a:pt x="0" y="38"/>
                          <a:pt x="0" y="42"/>
                        </a:cubicBezTo>
                        <a:cubicBezTo>
                          <a:pt x="0" y="45"/>
                          <a:pt x="2" y="48"/>
                          <a:pt x="6" y="48"/>
                        </a:cubicBezTo>
                        <a:cubicBezTo>
                          <a:pt x="5" y="49"/>
                          <a:pt x="5" y="50"/>
                          <a:pt x="5" y="51"/>
                        </a:cubicBezTo>
                        <a:cubicBezTo>
                          <a:pt x="5" y="55"/>
                          <a:pt x="8" y="58"/>
                          <a:pt x="11" y="58"/>
                        </a:cubicBezTo>
                        <a:cubicBezTo>
                          <a:pt x="15" y="58"/>
                          <a:pt x="18" y="55"/>
                          <a:pt x="18" y="51"/>
                        </a:cubicBezTo>
                        <a:cubicBezTo>
                          <a:pt x="18" y="50"/>
                          <a:pt x="18" y="49"/>
                          <a:pt x="17" y="48"/>
                        </a:cubicBezTo>
                        <a:cubicBezTo>
                          <a:pt x="17" y="48"/>
                          <a:pt x="17" y="48"/>
                          <a:pt x="17" y="48"/>
                        </a:cubicBezTo>
                        <a:cubicBezTo>
                          <a:pt x="17" y="48"/>
                          <a:pt x="17" y="48"/>
                          <a:pt x="17" y="48"/>
                        </a:cubicBezTo>
                        <a:cubicBezTo>
                          <a:pt x="49" y="34"/>
                          <a:pt x="49" y="34"/>
                          <a:pt x="49" y="34"/>
                        </a:cubicBezTo>
                        <a:cubicBezTo>
                          <a:pt x="80" y="48"/>
                          <a:pt x="80" y="48"/>
                          <a:pt x="80" y="48"/>
                        </a:cubicBezTo>
                        <a:cubicBezTo>
                          <a:pt x="80" y="48"/>
                          <a:pt x="80" y="48"/>
                          <a:pt x="80" y="48"/>
                        </a:cubicBezTo>
                        <a:cubicBezTo>
                          <a:pt x="80" y="48"/>
                          <a:pt x="80" y="48"/>
                          <a:pt x="80" y="48"/>
                        </a:cubicBezTo>
                        <a:cubicBezTo>
                          <a:pt x="80" y="49"/>
                          <a:pt x="79" y="50"/>
                          <a:pt x="79" y="51"/>
                        </a:cubicBezTo>
                        <a:cubicBezTo>
                          <a:pt x="79" y="55"/>
                          <a:pt x="82" y="58"/>
                          <a:pt x="86" y="58"/>
                        </a:cubicBezTo>
                        <a:cubicBezTo>
                          <a:pt x="90" y="58"/>
                          <a:pt x="92" y="55"/>
                          <a:pt x="92" y="51"/>
                        </a:cubicBezTo>
                        <a:cubicBezTo>
                          <a:pt x="92" y="50"/>
                          <a:pt x="92" y="49"/>
                          <a:pt x="92" y="48"/>
                        </a:cubicBezTo>
                        <a:cubicBezTo>
                          <a:pt x="95" y="48"/>
                          <a:pt x="98" y="45"/>
                          <a:pt x="98" y="42"/>
                        </a:cubicBezTo>
                        <a:cubicBezTo>
                          <a:pt x="98" y="38"/>
                          <a:pt x="95" y="36"/>
                          <a:pt x="91" y="36"/>
                        </a:cubicBezTo>
                        <a:cubicBezTo>
                          <a:pt x="88" y="36"/>
                          <a:pt x="86" y="37"/>
                          <a:pt x="85" y="40"/>
                        </a:cubicBezTo>
                        <a:cubicBezTo>
                          <a:pt x="60" y="29"/>
                          <a:pt x="60" y="29"/>
                          <a:pt x="60" y="29"/>
                        </a:cubicBezTo>
                        <a:cubicBezTo>
                          <a:pt x="85" y="19"/>
                          <a:pt x="85" y="19"/>
                          <a:pt x="85" y="19"/>
                        </a:cubicBezTo>
                        <a:cubicBezTo>
                          <a:pt x="87" y="21"/>
                          <a:pt x="89" y="22"/>
                          <a:pt x="91" y="2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1232" name="Rectangle: Rounded Corners 1231">
              <a:extLst>
                <a:ext uri="{FF2B5EF4-FFF2-40B4-BE49-F238E27FC236}">
                  <a16:creationId xmlns:a16="http://schemas.microsoft.com/office/drawing/2014/main" xmlns="" id="{30B6A597-0AB1-4AD4-8C66-9703E728775D}"/>
                </a:ext>
              </a:extLst>
            </p:cNvPr>
            <p:cNvSpPr/>
            <p:nvPr/>
          </p:nvSpPr>
          <p:spPr>
            <a:xfrm>
              <a:off x="5782923" y="2044203"/>
              <a:ext cx="708253" cy="527547"/>
            </a:xfrm>
            <a:prstGeom prst="roundRect">
              <a:avLst>
                <a:gd name="adj" fmla="val 14134"/>
              </a:avLst>
            </a:prstGeom>
            <a:noFill/>
            <a:ln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33" name="Rectangle: Rounded Corners 1232">
              <a:extLst>
                <a:ext uri="{FF2B5EF4-FFF2-40B4-BE49-F238E27FC236}">
                  <a16:creationId xmlns:a16="http://schemas.microsoft.com/office/drawing/2014/main" xmlns="" id="{80EF5650-1649-44BD-AE18-56C1110E6E03}"/>
                </a:ext>
              </a:extLst>
            </p:cNvPr>
            <p:cNvSpPr/>
            <p:nvPr/>
          </p:nvSpPr>
          <p:spPr>
            <a:xfrm>
              <a:off x="5782923" y="2790238"/>
              <a:ext cx="708253" cy="527547"/>
            </a:xfrm>
            <a:prstGeom prst="roundRect">
              <a:avLst>
                <a:gd name="adj" fmla="val 14134"/>
              </a:avLst>
            </a:prstGeom>
            <a:noFill/>
            <a:ln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34" name="Rectangle: Rounded Corners 1233">
              <a:extLst>
                <a:ext uri="{FF2B5EF4-FFF2-40B4-BE49-F238E27FC236}">
                  <a16:creationId xmlns:a16="http://schemas.microsoft.com/office/drawing/2014/main" xmlns="" id="{FF254B3A-88D7-4944-BCC2-F8F2DB926E6C}"/>
                </a:ext>
              </a:extLst>
            </p:cNvPr>
            <p:cNvSpPr/>
            <p:nvPr/>
          </p:nvSpPr>
          <p:spPr>
            <a:xfrm>
              <a:off x="5487816" y="2914850"/>
              <a:ext cx="293138" cy="303808"/>
            </a:xfrm>
            <a:prstGeom prst="roundRect">
              <a:avLst>
                <a:gd name="adj" fmla="val 14134"/>
              </a:avLst>
            </a:prstGeom>
            <a:noFill/>
            <a:ln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35" name="Rectangle: Rounded Corners 1234">
              <a:extLst>
                <a:ext uri="{FF2B5EF4-FFF2-40B4-BE49-F238E27FC236}">
                  <a16:creationId xmlns:a16="http://schemas.microsoft.com/office/drawing/2014/main" xmlns="" id="{94E73837-DA50-4640-87CD-389091ABBFD9}"/>
                </a:ext>
              </a:extLst>
            </p:cNvPr>
            <p:cNvSpPr/>
            <p:nvPr/>
          </p:nvSpPr>
          <p:spPr>
            <a:xfrm>
              <a:off x="5487816" y="2169141"/>
              <a:ext cx="293138" cy="303808"/>
            </a:xfrm>
            <a:prstGeom prst="roundRect">
              <a:avLst>
                <a:gd name="adj" fmla="val 14134"/>
              </a:avLst>
            </a:prstGeom>
            <a:noFill/>
            <a:ln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236" name="Straight Connector 1235">
              <a:extLst>
                <a:ext uri="{FF2B5EF4-FFF2-40B4-BE49-F238E27FC236}">
                  <a16:creationId xmlns:a16="http://schemas.microsoft.com/office/drawing/2014/main" xmlns="" id="{438E0F33-B3D2-4D0B-B967-0A6071837E82}"/>
                </a:ext>
              </a:extLst>
            </p:cNvPr>
            <p:cNvCxnSpPr>
              <a:stCxn id="1232" idx="2"/>
              <a:endCxn id="1233" idx="0"/>
            </p:cNvCxnSpPr>
            <p:nvPr/>
          </p:nvCxnSpPr>
          <p:spPr>
            <a:xfrm>
              <a:off x="6137050" y="2571750"/>
              <a:ext cx="0" cy="218488"/>
            </a:xfrm>
            <a:prstGeom prst="line">
              <a:avLst/>
            </a:prstGeom>
            <a:noFill/>
            <a:ln cap="rnd">
              <a:solidFill>
                <a:schemeClr val="accent5"/>
              </a:soli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237" name="TextBox 1236">
              <a:extLst>
                <a:ext uri="{FF2B5EF4-FFF2-40B4-BE49-F238E27FC236}">
                  <a16:creationId xmlns:a16="http://schemas.microsoft.com/office/drawing/2014/main" xmlns="" id="{05FF13BF-46D7-4CD5-8A5F-8F16C1271509}"/>
                </a:ext>
              </a:extLst>
            </p:cNvPr>
            <p:cNvSpPr txBox="1"/>
            <p:nvPr/>
          </p:nvSpPr>
          <p:spPr>
            <a:xfrm>
              <a:off x="4856883" y="2425448"/>
              <a:ext cx="526416" cy="519728"/>
            </a:xfrm>
            <a:prstGeom prst="ellipse">
              <a:avLst/>
            </a:prstGeom>
            <a:noFill/>
            <a:ln>
              <a:solidFill>
                <a:schemeClr val="accent5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/>
            </a:lstStyle>
            <a:p>
              <a:endParaRPr lang="en-US" dirty="0"/>
            </a:p>
          </p:txBody>
        </p:sp>
        <p:sp>
          <p:nvSpPr>
            <p:cNvPr id="1238" name="Oval 1237">
              <a:extLst>
                <a:ext uri="{FF2B5EF4-FFF2-40B4-BE49-F238E27FC236}">
                  <a16:creationId xmlns:a16="http://schemas.microsoft.com/office/drawing/2014/main" xmlns="" id="{6CD41E1F-DBCF-406A-B5A1-3F36656AEFAA}"/>
                </a:ext>
              </a:extLst>
            </p:cNvPr>
            <p:cNvSpPr/>
            <p:nvPr/>
          </p:nvSpPr>
          <p:spPr>
            <a:xfrm>
              <a:off x="4861357" y="2427829"/>
              <a:ext cx="517468" cy="517468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grpSp>
          <p:nvGrpSpPr>
            <p:cNvPr id="1239" name="Group 1238">
              <a:extLst>
                <a:ext uri="{FF2B5EF4-FFF2-40B4-BE49-F238E27FC236}">
                  <a16:creationId xmlns:a16="http://schemas.microsoft.com/office/drawing/2014/main" xmlns="" id="{A4CDA4B1-7E87-4D15-A0F3-56ED17C5A580}"/>
                </a:ext>
              </a:extLst>
            </p:cNvPr>
            <p:cNvGrpSpPr/>
            <p:nvPr/>
          </p:nvGrpSpPr>
          <p:grpSpPr>
            <a:xfrm>
              <a:off x="5555760" y="1912187"/>
              <a:ext cx="666253" cy="1036712"/>
              <a:chOff x="5555760" y="1912187"/>
              <a:chExt cx="666253" cy="1036712"/>
            </a:xfrm>
          </p:grpSpPr>
          <p:pic>
            <p:nvPicPr>
              <p:cNvPr id="1598" name="Picture 1597">
                <a:extLst>
                  <a:ext uri="{FF2B5EF4-FFF2-40B4-BE49-F238E27FC236}">
                    <a16:creationId xmlns:a16="http://schemas.microsoft.com/office/drawing/2014/main" xmlns="" id="{058913C1-486D-4CB9-B6C2-122C3C9AFA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/>
              <a:stretch>
                <a:fillRect/>
              </a:stretch>
            </p:blipFill>
            <p:spPr>
              <a:xfrm>
                <a:off x="5555760" y="2040179"/>
                <a:ext cx="157900" cy="155766"/>
              </a:xfrm>
              <a:prstGeom prst="rect">
                <a:avLst/>
              </a:prstGeom>
            </p:spPr>
          </p:pic>
          <p:pic>
            <p:nvPicPr>
              <p:cNvPr id="1599" name="Picture 1598">
                <a:extLst>
                  <a:ext uri="{FF2B5EF4-FFF2-40B4-BE49-F238E27FC236}">
                    <a16:creationId xmlns:a16="http://schemas.microsoft.com/office/drawing/2014/main" xmlns="" id="{38C8D9C5-ED0D-40F7-B635-8C20515E47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0"/>
              <a:stretch>
                <a:fillRect/>
              </a:stretch>
            </p:blipFill>
            <p:spPr>
              <a:xfrm>
                <a:off x="6063827" y="1912187"/>
                <a:ext cx="157900" cy="157900"/>
              </a:xfrm>
              <a:prstGeom prst="rect">
                <a:avLst/>
              </a:prstGeom>
            </p:spPr>
          </p:pic>
          <p:pic>
            <p:nvPicPr>
              <p:cNvPr id="1600" name="Picture 1599">
                <a:extLst>
                  <a:ext uri="{FF2B5EF4-FFF2-40B4-BE49-F238E27FC236}">
                    <a16:creationId xmlns:a16="http://schemas.microsoft.com/office/drawing/2014/main" xmlns="" id="{9D93DE75-6797-4B03-B842-51FA91D58B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/>
              <a:stretch>
                <a:fillRect/>
              </a:stretch>
            </p:blipFill>
            <p:spPr>
              <a:xfrm>
                <a:off x="5558141" y="2793133"/>
                <a:ext cx="157900" cy="155766"/>
              </a:xfrm>
              <a:prstGeom prst="rect">
                <a:avLst/>
              </a:prstGeom>
            </p:spPr>
          </p:pic>
          <p:pic>
            <p:nvPicPr>
              <p:cNvPr id="1601" name="Picture 1600">
                <a:extLst>
                  <a:ext uri="{FF2B5EF4-FFF2-40B4-BE49-F238E27FC236}">
                    <a16:creationId xmlns:a16="http://schemas.microsoft.com/office/drawing/2014/main" xmlns="" id="{DCCC0417-93DD-4813-8768-17722DCD5E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0"/>
              <a:stretch>
                <a:fillRect/>
              </a:stretch>
            </p:blipFill>
            <p:spPr>
              <a:xfrm>
                <a:off x="6064113" y="2655490"/>
                <a:ext cx="157900" cy="157900"/>
              </a:xfrm>
              <a:prstGeom prst="rect">
                <a:avLst/>
              </a:prstGeom>
            </p:spPr>
          </p:pic>
        </p:grpSp>
        <p:grpSp>
          <p:nvGrpSpPr>
            <p:cNvPr id="1240" name="Group 1239">
              <a:extLst>
                <a:ext uri="{FF2B5EF4-FFF2-40B4-BE49-F238E27FC236}">
                  <a16:creationId xmlns:a16="http://schemas.microsoft.com/office/drawing/2014/main" xmlns="" id="{444B6138-6F01-496E-9090-AEE31DCE23BA}"/>
                </a:ext>
              </a:extLst>
            </p:cNvPr>
            <p:cNvGrpSpPr/>
            <p:nvPr/>
          </p:nvGrpSpPr>
          <p:grpSpPr>
            <a:xfrm>
              <a:off x="5204220" y="1560778"/>
              <a:ext cx="531191" cy="465927"/>
              <a:chOff x="3719147" y="303257"/>
              <a:chExt cx="531191" cy="465927"/>
            </a:xfrm>
          </p:grpSpPr>
          <p:sp>
            <p:nvSpPr>
              <p:cNvPr id="1596" name="Isosceles Triangle 1595">
                <a:extLst>
                  <a:ext uri="{FF2B5EF4-FFF2-40B4-BE49-F238E27FC236}">
                    <a16:creationId xmlns:a16="http://schemas.microsoft.com/office/drawing/2014/main" xmlns="" id="{8472AB5B-35A2-4B98-B92A-C2627A2969F4}"/>
                  </a:ext>
                </a:extLst>
              </p:cNvPr>
              <p:cNvSpPr/>
              <p:nvPr/>
            </p:nvSpPr>
            <p:spPr>
              <a:xfrm flipV="1">
                <a:off x="3995204" y="600121"/>
                <a:ext cx="196113" cy="169063"/>
              </a:xfrm>
              <a:prstGeom prst="triangl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597" name="Rectangle: Rounded Corners 1596">
                <a:extLst>
                  <a:ext uri="{FF2B5EF4-FFF2-40B4-BE49-F238E27FC236}">
                    <a16:creationId xmlns:a16="http://schemas.microsoft.com/office/drawing/2014/main" xmlns="" id="{F35E13A7-A1A9-49A9-990E-88F35C945D39}"/>
                  </a:ext>
                </a:extLst>
              </p:cNvPr>
              <p:cNvSpPr/>
              <p:nvPr/>
            </p:nvSpPr>
            <p:spPr>
              <a:xfrm>
                <a:off x="3719147" y="303257"/>
                <a:ext cx="531191" cy="379815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dirty="0">
                    <a:solidFill>
                      <a:schemeClr val="bg2"/>
                    </a:solidFill>
                  </a:rPr>
                  <a:t>ACI</a:t>
                </a:r>
              </a:p>
            </p:txBody>
          </p:sp>
        </p:grpSp>
        <p:grpSp>
          <p:nvGrpSpPr>
            <p:cNvPr id="1241" name="Group 1240">
              <a:extLst>
                <a:ext uri="{FF2B5EF4-FFF2-40B4-BE49-F238E27FC236}">
                  <a16:creationId xmlns:a16="http://schemas.microsoft.com/office/drawing/2014/main" xmlns="" id="{D2A0EDF5-1337-400A-BE75-7AD7FB819FB7}"/>
                </a:ext>
              </a:extLst>
            </p:cNvPr>
            <p:cNvGrpSpPr/>
            <p:nvPr/>
          </p:nvGrpSpPr>
          <p:grpSpPr>
            <a:xfrm flipH="1">
              <a:off x="6300162" y="1743106"/>
              <a:ext cx="988102" cy="379815"/>
              <a:chOff x="3719147" y="303257"/>
              <a:chExt cx="604759" cy="379815"/>
            </a:xfrm>
            <a:solidFill>
              <a:schemeClr val="accent5"/>
            </a:solidFill>
          </p:grpSpPr>
          <p:sp>
            <p:nvSpPr>
              <p:cNvPr id="1594" name="Isosceles Triangle 1593">
                <a:extLst>
                  <a:ext uri="{FF2B5EF4-FFF2-40B4-BE49-F238E27FC236}">
                    <a16:creationId xmlns:a16="http://schemas.microsoft.com/office/drawing/2014/main" xmlns="" id="{5FEE5786-898D-4798-AC61-B412F1D2CF0C}"/>
                  </a:ext>
                </a:extLst>
              </p:cNvPr>
              <p:cNvSpPr/>
              <p:nvPr/>
            </p:nvSpPr>
            <p:spPr>
              <a:xfrm rot="16200000" flipV="1">
                <a:off x="4151235" y="445280"/>
                <a:ext cx="212595" cy="132747"/>
              </a:xfrm>
              <a:prstGeom prst="triangl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595" name="Rectangle: Rounded Corners 1594">
                <a:extLst>
                  <a:ext uri="{FF2B5EF4-FFF2-40B4-BE49-F238E27FC236}">
                    <a16:creationId xmlns:a16="http://schemas.microsoft.com/office/drawing/2014/main" xmlns="" id="{C7CBAB78-8464-4A97-856A-A70AEFCFC164}"/>
                  </a:ext>
                </a:extLst>
              </p:cNvPr>
              <p:cNvSpPr/>
              <p:nvPr/>
            </p:nvSpPr>
            <p:spPr>
              <a:xfrm>
                <a:off x="3719147" y="303257"/>
                <a:ext cx="531191" cy="379815"/>
              </a:xfrm>
              <a:prstGeom prst="round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dirty="0" err="1">
                    <a:solidFill>
                      <a:schemeClr val="bg2"/>
                    </a:solidFill>
                  </a:rPr>
                  <a:t>Tetration</a:t>
                </a:r>
                <a:endParaRPr lang="en-US" sz="1200" dirty="0">
                  <a:solidFill>
                    <a:schemeClr val="bg2"/>
                  </a:solidFill>
                </a:endParaRPr>
              </a:p>
            </p:txBody>
          </p:sp>
        </p:grpSp>
        <p:grpSp>
          <p:nvGrpSpPr>
            <p:cNvPr id="1242" name="Group 1241">
              <a:extLst>
                <a:ext uri="{FF2B5EF4-FFF2-40B4-BE49-F238E27FC236}">
                  <a16:creationId xmlns:a16="http://schemas.microsoft.com/office/drawing/2014/main" xmlns="" id="{F6AA2D10-AC11-4E9E-B7EC-5A21EC8D95E3}"/>
                </a:ext>
              </a:extLst>
            </p:cNvPr>
            <p:cNvGrpSpPr/>
            <p:nvPr/>
          </p:nvGrpSpPr>
          <p:grpSpPr>
            <a:xfrm>
              <a:off x="4191318" y="2974615"/>
              <a:ext cx="1038940" cy="547377"/>
              <a:chOff x="3211398" y="200071"/>
              <a:chExt cx="1038940" cy="547377"/>
            </a:xfrm>
          </p:grpSpPr>
          <p:sp>
            <p:nvSpPr>
              <p:cNvPr id="1592" name="Isosceles Triangle 1591">
                <a:extLst>
                  <a:ext uri="{FF2B5EF4-FFF2-40B4-BE49-F238E27FC236}">
                    <a16:creationId xmlns:a16="http://schemas.microsoft.com/office/drawing/2014/main" xmlns="" id="{CD446350-1919-4223-A3E8-46D18E0AFDD1}"/>
                  </a:ext>
                </a:extLst>
              </p:cNvPr>
              <p:cNvSpPr/>
              <p:nvPr/>
            </p:nvSpPr>
            <p:spPr>
              <a:xfrm>
                <a:off x="3995204" y="200071"/>
                <a:ext cx="196113" cy="169063"/>
              </a:xfrm>
              <a:prstGeom prst="triangl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593" name="Rectangle: Rounded Corners 1592">
                <a:extLst>
                  <a:ext uri="{FF2B5EF4-FFF2-40B4-BE49-F238E27FC236}">
                    <a16:creationId xmlns:a16="http://schemas.microsoft.com/office/drawing/2014/main" xmlns="" id="{A912515A-4B64-4521-850C-342EF35DA9FB}"/>
                  </a:ext>
                </a:extLst>
              </p:cNvPr>
              <p:cNvSpPr/>
              <p:nvPr/>
            </p:nvSpPr>
            <p:spPr>
              <a:xfrm>
                <a:off x="3211398" y="303257"/>
                <a:ext cx="1038940" cy="444191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dirty="0">
                    <a:solidFill>
                      <a:schemeClr val="bg2"/>
                    </a:solidFill>
                  </a:rPr>
                  <a:t>Next-gen Firewall</a:t>
                </a:r>
              </a:p>
            </p:txBody>
          </p:sp>
        </p:grpSp>
        <p:pic>
          <p:nvPicPr>
            <p:cNvPr id="1243" name="Picture 1242">
              <a:extLst>
                <a:ext uri="{FF2B5EF4-FFF2-40B4-BE49-F238E27FC236}">
                  <a16:creationId xmlns:a16="http://schemas.microsoft.com/office/drawing/2014/main" xmlns="" id="{CFDBB106-3D66-4E41-BFB7-02CFFAEC96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66844" y="1305933"/>
              <a:ext cx="571661" cy="571661"/>
            </a:xfrm>
            <a:prstGeom prst="rect">
              <a:avLst/>
            </a:prstGeom>
          </p:spPr>
        </p:pic>
        <p:pic>
          <p:nvPicPr>
            <p:cNvPr id="1244" name="Picture 1243">
              <a:extLst>
                <a:ext uri="{FF2B5EF4-FFF2-40B4-BE49-F238E27FC236}">
                  <a16:creationId xmlns:a16="http://schemas.microsoft.com/office/drawing/2014/main" xmlns="" id="{C8052361-BC6F-4513-9C8B-1D43CC4C2F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10166620" y="3503871"/>
              <a:ext cx="571661" cy="571661"/>
            </a:xfrm>
            <a:prstGeom prst="rect">
              <a:avLst/>
            </a:prstGeom>
          </p:spPr>
        </p:pic>
        <p:grpSp>
          <p:nvGrpSpPr>
            <p:cNvPr id="1245" name="Group 1244">
              <a:extLst>
                <a:ext uri="{FF2B5EF4-FFF2-40B4-BE49-F238E27FC236}">
                  <a16:creationId xmlns:a16="http://schemas.microsoft.com/office/drawing/2014/main" xmlns="" id="{B36A7E8B-57E9-494B-93B6-71176649D0FD}"/>
                </a:ext>
              </a:extLst>
            </p:cNvPr>
            <p:cNvGrpSpPr/>
            <p:nvPr/>
          </p:nvGrpSpPr>
          <p:grpSpPr>
            <a:xfrm>
              <a:off x="9174195" y="2044203"/>
              <a:ext cx="1634293" cy="1273582"/>
              <a:chOff x="13792568" y="2044203"/>
              <a:chExt cx="1634293" cy="1273582"/>
            </a:xfrm>
          </p:grpSpPr>
          <p:grpSp>
            <p:nvGrpSpPr>
              <p:cNvPr id="1246" name="Group 1245">
                <a:extLst>
                  <a:ext uri="{FF2B5EF4-FFF2-40B4-BE49-F238E27FC236}">
                    <a16:creationId xmlns:a16="http://schemas.microsoft.com/office/drawing/2014/main" xmlns="" id="{4A79F6EB-95DB-42B7-A2D4-5FD53FA2B389}"/>
                  </a:ext>
                </a:extLst>
              </p:cNvPr>
              <p:cNvGrpSpPr/>
              <p:nvPr/>
            </p:nvGrpSpPr>
            <p:grpSpPr>
              <a:xfrm>
                <a:off x="14760091" y="2082895"/>
                <a:ext cx="618697" cy="448449"/>
                <a:chOff x="4207537" y="2273730"/>
                <a:chExt cx="598923" cy="434116"/>
              </a:xfrm>
            </p:grpSpPr>
            <p:grpSp>
              <p:nvGrpSpPr>
                <p:cNvPr id="1570" name="Group 1569">
                  <a:extLst>
                    <a:ext uri="{FF2B5EF4-FFF2-40B4-BE49-F238E27FC236}">
                      <a16:creationId xmlns:a16="http://schemas.microsoft.com/office/drawing/2014/main" xmlns="" id="{29CEBAF8-DDEC-4195-BB81-49433D66FAF4}"/>
                    </a:ext>
                  </a:extLst>
                </p:cNvPr>
                <p:cNvGrpSpPr/>
                <p:nvPr/>
              </p:nvGrpSpPr>
              <p:grpSpPr>
                <a:xfrm>
                  <a:off x="4207537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586" name="Freeform 201">
                    <a:extLst>
                      <a:ext uri="{FF2B5EF4-FFF2-40B4-BE49-F238E27FC236}">
                        <a16:creationId xmlns:a16="http://schemas.microsoft.com/office/drawing/2014/main" xmlns="" id="{1FB661F5-025A-4329-9F6A-EE4AC1A5F0D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87" name="Line 202">
                    <a:extLst>
                      <a:ext uri="{FF2B5EF4-FFF2-40B4-BE49-F238E27FC236}">
                        <a16:creationId xmlns:a16="http://schemas.microsoft.com/office/drawing/2014/main" xmlns="" id="{7A2085DC-81A5-410B-9682-41BBCD36A82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88" name="Line 203">
                    <a:extLst>
                      <a:ext uri="{FF2B5EF4-FFF2-40B4-BE49-F238E27FC236}">
                        <a16:creationId xmlns:a16="http://schemas.microsoft.com/office/drawing/2014/main" xmlns="" id="{F889EC51-11AF-4BD3-AAA9-6E86BE59683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89" name="Line 204">
                    <a:extLst>
                      <a:ext uri="{FF2B5EF4-FFF2-40B4-BE49-F238E27FC236}">
                        <a16:creationId xmlns:a16="http://schemas.microsoft.com/office/drawing/2014/main" xmlns="" id="{204E980B-F85F-4B39-B71D-CD4A3BB1862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90" name="Line 205">
                    <a:extLst>
                      <a:ext uri="{FF2B5EF4-FFF2-40B4-BE49-F238E27FC236}">
                        <a16:creationId xmlns:a16="http://schemas.microsoft.com/office/drawing/2014/main" xmlns="" id="{6DAA45F0-907E-4F34-95EF-4356018D928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91" name="Line 206">
                    <a:extLst>
                      <a:ext uri="{FF2B5EF4-FFF2-40B4-BE49-F238E27FC236}">
                        <a16:creationId xmlns:a16="http://schemas.microsoft.com/office/drawing/2014/main" xmlns="" id="{57D925C9-EF83-417D-AD9E-740E972B666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571" name="Group 1570">
                  <a:extLst>
                    <a:ext uri="{FF2B5EF4-FFF2-40B4-BE49-F238E27FC236}">
                      <a16:creationId xmlns:a16="http://schemas.microsoft.com/office/drawing/2014/main" xmlns="" id="{73092EE1-3835-471A-B2B8-8136933FEBD1}"/>
                    </a:ext>
                  </a:extLst>
                </p:cNvPr>
                <p:cNvGrpSpPr/>
                <p:nvPr/>
              </p:nvGrpSpPr>
              <p:grpSpPr>
                <a:xfrm>
                  <a:off x="4417305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579" name="Freeform 201">
                    <a:extLst>
                      <a:ext uri="{FF2B5EF4-FFF2-40B4-BE49-F238E27FC236}">
                        <a16:creationId xmlns:a16="http://schemas.microsoft.com/office/drawing/2014/main" xmlns="" id="{8DEFA2D3-9E6A-4D47-8382-13CE99B672F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80" name="Line 202">
                    <a:extLst>
                      <a:ext uri="{FF2B5EF4-FFF2-40B4-BE49-F238E27FC236}">
                        <a16:creationId xmlns:a16="http://schemas.microsoft.com/office/drawing/2014/main" xmlns="" id="{E0B7C1AF-D777-488D-BD69-017BDBEA4A3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81" name="Line 203">
                    <a:extLst>
                      <a:ext uri="{FF2B5EF4-FFF2-40B4-BE49-F238E27FC236}">
                        <a16:creationId xmlns:a16="http://schemas.microsoft.com/office/drawing/2014/main" xmlns="" id="{2290C4BE-AF3D-4B61-9159-1526FFFB811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83" name="Line 204">
                    <a:extLst>
                      <a:ext uri="{FF2B5EF4-FFF2-40B4-BE49-F238E27FC236}">
                        <a16:creationId xmlns:a16="http://schemas.microsoft.com/office/drawing/2014/main" xmlns="" id="{AE953B7E-DE29-4A61-AA61-A9304F60A06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84" name="Line 205">
                    <a:extLst>
                      <a:ext uri="{FF2B5EF4-FFF2-40B4-BE49-F238E27FC236}">
                        <a16:creationId xmlns:a16="http://schemas.microsoft.com/office/drawing/2014/main" xmlns="" id="{234404E5-661B-4FEE-9FDC-7441080C275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85" name="Line 206">
                    <a:extLst>
                      <a:ext uri="{FF2B5EF4-FFF2-40B4-BE49-F238E27FC236}">
                        <a16:creationId xmlns:a16="http://schemas.microsoft.com/office/drawing/2014/main" xmlns="" id="{C7EEFCFD-9ADF-4188-A5C6-A0513E753EC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572" name="Group 1571">
                  <a:extLst>
                    <a:ext uri="{FF2B5EF4-FFF2-40B4-BE49-F238E27FC236}">
                      <a16:creationId xmlns:a16="http://schemas.microsoft.com/office/drawing/2014/main" xmlns="" id="{9AE47CC8-77F0-4F09-A4D3-CAEB04ED8779}"/>
                    </a:ext>
                  </a:extLst>
                </p:cNvPr>
                <p:cNvGrpSpPr/>
                <p:nvPr/>
              </p:nvGrpSpPr>
              <p:grpSpPr>
                <a:xfrm>
                  <a:off x="4627073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573" name="Freeform 201">
                    <a:extLst>
                      <a:ext uri="{FF2B5EF4-FFF2-40B4-BE49-F238E27FC236}">
                        <a16:creationId xmlns:a16="http://schemas.microsoft.com/office/drawing/2014/main" xmlns="" id="{A10483D0-9191-43EC-B755-74CB0CF70BB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74" name="Line 202">
                    <a:extLst>
                      <a:ext uri="{FF2B5EF4-FFF2-40B4-BE49-F238E27FC236}">
                        <a16:creationId xmlns:a16="http://schemas.microsoft.com/office/drawing/2014/main" xmlns="" id="{E35C8692-1665-4694-8E55-22EDCBE0242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75" name="Line 203">
                    <a:extLst>
                      <a:ext uri="{FF2B5EF4-FFF2-40B4-BE49-F238E27FC236}">
                        <a16:creationId xmlns:a16="http://schemas.microsoft.com/office/drawing/2014/main" xmlns="" id="{F6ED8672-2256-42DF-BE09-B2A2128E0FA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76" name="Line 204">
                    <a:extLst>
                      <a:ext uri="{FF2B5EF4-FFF2-40B4-BE49-F238E27FC236}">
                        <a16:creationId xmlns:a16="http://schemas.microsoft.com/office/drawing/2014/main" xmlns="" id="{689B48D1-C2FC-4BFD-B688-948853EC2C9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77" name="Line 205">
                    <a:extLst>
                      <a:ext uri="{FF2B5EF4-FFF2-40B4-BE49-F238E27FC236}">
                        <a16:creationId xmlns:a16="http://schemas.microsoft.com/office/drawing/2014/main" xmlns="" id="{4AC3F6E8-6544-457A-9676-C057EAADFE5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78" name="Line 206">
                    <a:extLst>
                      <a:ext uri="{FF2B5EF4-FFF2-40B4-BE49-F238E27FC236}">
                        <a16:creationId xmlns:a16="http://schemas.microsoft.com/office/drawing/2014/main" xmlns="" id="{CE795CC9-B35D-4112-9C63-132E5B94B25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247" name="Group 1246">
                <a:extLst>
                  <a:ext uri="{FF2B5EF4-FFF2-40B4-BE49-F238E27FC236}">
                    <a16:creationId xmlns:a16="http://schemas.microsoft.com/office/drawing/2014/main" xmlns="" id="{19A26E19-2453-4BD8-8F1A-6BE9688A625E}"/>
                  </a:ext>
                </a:extLst>
              </p:cNvPr>
              <p:cNvGrpSpPr/>
              <p:nvPr/>
            </p:nvGrpSpPr>
            <p:grpSpPr>
              <a:xfrm>
                <a:off x="14760091" y="2835347"/>
                <a:ext cx="618697" cy="448449"/>
                <a:chOff x="4207537" y="2273730"/>
                <a:chExt cx="598923" cy="434116"/>
              </a:xfrm>
            </p:grpSpPr>
            <p:grpSp>
              <p:nvGrpSpPr>
                <p:cNvPr id="1549" name="Group 1548">
                  <a:extLst>
                    <a:ext uri="{FF2B5EF4-FFF2-40B4-BE49-F238E27FC236}">
                      <a16:creationId xmlns:a16="http://schemas.microsoft.com/office/drawing/2014/main" xmlns="" id="{C1C6FA4A-701B-44CE-9323-BEA12E1AE31A}"/>
                    </a:ext>
                  </a:extLst>
                </p:cNvPr>
                <p:cNvGrpSpPr/>
                <p:nvPr/>
              </p:nvGrpSpPr>
              <p:grpSpPr>
                <a:xfrm>
                  <a:off x="4207537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564" name="Freeform 201">
                    <a:extLst>
                      <a:ext uri="{FF2B5EF4-FFF2-40B4-BE49-F238E27FC236}">
                        <a16:creationId xmlns:a16="http://schemas.microsoft.com/office/drawing/2014/main" xmlns="" id="{99C103C8-B6B5-4843-9620-4D417A55A05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65" name="Line 202">
                    <a:extLst>
                      <a:ext uri="{FF2B5EF4-FFF2-40B4-BE49-F238E27FC236}">
                        <a16:creationId xmlns:a16="http://schemas.microsoft.com/office/drawing/2014/main" xmlns="" id="{425D771B-C919-4462-8BD3-230291587F5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66" name="Line 203">
                    <a:extLst>
                      <a:ext uri="{FF2B5EF4-FFF2-40B4-BE49-F238E27FC236}">
                        <a16:creationId xmlns:a16="http://schemas.microsoft.com/office/drawing/2014/main" xmlns="" id="{CF3EF8C3-4134-4031-A484-DEF331686BC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67" name="Line 204">
                    <a:extLst>
                      <a:ext uri="{FF2B5EF4-FFF2-40B4-BE49-F238E27FC236}">
                        <a16:creationId xmlns:a16="http://schemas.microsoft.com/office/drawing/2014/main" xmlns="" id="{52A1FD76-5B72-4E38-A557-10E9828739C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68" name="Line 205">
                    <a:extLst>
                      <a:ext uri="{FF2B5EF4-FFF2-40B4-BE49-F238E27FC236}">
                        <a16:creationId xmlns:a16="http://schemas.microsoft.com/office/drawing/2014/main" xmlns="" id="{3094CABE-D2F9-4E76-9153-48486ED604B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69" name="Line 206">
                    <a:extLst>
                      <a:ext uri="{FF2B5EF4-FFF2-40B4-BE49-F238E27FC236}">
                        <a16:creationId xmlns:a16="http://schemas.microsoft.com/office/drawing/2014/main" xmlns="" id="{DBF682A2-4C61-4019-8A11-C90F1DD7097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550" name="Group 1549">
                  <a:extLst>
                    <a:ext uri="{FF2B5EF4-FFF2-40B4-BE49-F238E27FC236}">
                      <a16:creationId xmlns:a16="http://schemas.microsoft.com/office/drawing/2014/main" xmlns="" id="{2767DD8E-351F-41FB-BC57-73BA1474F0E0}"/>
                    </a:ext>
                  </a:extLst>
                </p:cNvPr>
                <p:cNvGrpSpPr/>
                <p:nvPr/>
              </p:nvGrpSpPr>
              <p:grpSpPr>
                <a:xfrm>
                  <a:off x="4417305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558" name="Freeform 201">
                    <a:extLst>
                      <a:ext uri="{FF2B5EF4-FFF2-40B4-BE49-F238E27FC236}">
                        <a16:creationId xmlns:a16="http://schemas.microsoft.com/office/drawing/2014/main" xmlns="" id="{322923AA-BD90-444B-B4EE-4C2AB7062D6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59" name="Line 202">
                    <a:extLst>
                      <a:ext uri="{FF2B5EF4-FFF2-40B4-BE49-F238E27FC236}">
                        <a16:creationId xmlns:a16="http://schemas.microsoft.com/office/drawing/2014/main" xmlns="" id="{002BDF41-81CE-48CD-B066-891F0854AE5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60" name="Line 203">
                    <a:extLst>
                      <a:ext uri="{FF2B5EF4-FFF2-40B4-BE49-F238E27FC236}">
                        <a16:creationId xmlns:a16="http://schemas.microsoft.com/office/drawing/2014/main" xmlns="" id="{65D8CF1A-9E39-428A-A7E6-9728666A956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61" name="Line 204">
                    <a:extLst>
                      <a:ext uri="{FF2B5EF4-FFF2-40B4-BE49-F238E27FC236}">
                        <a16:creationId xmlns:a16="http://schemas.microsoft.com/office/drawing/2014/main" xmlns="" id="{DF712DEB-FFA3-4DE7-A876-8C4E2A8AABA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62" name="Line 205">
                    <a:extLst>
                      <a:ext uri="{FF2B5EF4-FFF2-40B4-BE49-F238E27FC236}">
                        <a16:creationId xmlns:a16="http://schemas.microsoft.com/office/drawing/2014/main" xmlns="" id="{DDAA4BE6-B40F-4FCD-87FE-837DF813987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63" name="Line 206">
                    <a:extLst>
                      <a:ext uri="{FF2B5EF4-FFF2-40B4-BE49-F238E27FC236}">
                        <a16:creationId xmlns:a16="http://schemas.microsoft.com/office/drawing/2014/main" xmlns="" id="{4C12B1A6-5E9A-4B58-BE83-4F1114E15B1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551" name="Group 1550">
                  <a:extLst>
                    <a:ext uri="{FF2B5EF4-FFF2-40B4-BE49-F238E27FC236}">
                      <a16:creationId xmlns:a16="http://schemas.microsoft.com/office/drawing/2014/main" xmlns="" id="{DF3D2823-B99A-4278-B9B7-6D0548799372}"/>
                    </a:ext>
                  </a:extLst>
                </p:cNvPr>
                <p:cNvGrpSpPr/>
                <p:nvPr/>
              </p:nvGrpSpPr>
              <p:grpSpPr>
                <a:xfrm>
                  <a:off x="4627073" y="2273730"/>
                  <a:ext cx="179387" cy="434116"/>
                  <a:chOff x="2330274" y="3840316"/>
                  <a:chExt cx="238125" cy="576262"/>
                </a:xfrm>
              </p:grpSpPr>
              <p:sp>
                <p:nvSpPr>
                  <p:cNvPr id="1552" name="Freeform 201">
                    <a:extLst>
                      <a:ext uri="{FF2B5EF4-FFF2-40B4-BE49-F238E27FC236}">
                        <a16:creationId xmlns:a16="http://schemas.microsoft.com/office/drawing/2014/main" xmlns="" id="{787F6FB8-4F7E-4BAA-B068-55C7DFC1AEE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30274" y="3840316"/>
                    <a:ext cx="238125" cy="576262"/>
                  </a:xfrm>
                  <a:custGeom>
                    <a:avLst/>
                    <a:gdLst>
                      <a:gd name="T0" fmla="*/ 84 w 101"/>
                      <a:gd name="T1" fmla="*/ 243 h 243"/>
                      <a:gd name="T2" fmla="*/ 17 w 101"/>
                      <a:gd name="T3" fmla="*/ 243 h 243"/>
                      <a:gd name="T4" fmla="*/ 0 w 101"/>
                      <a:gd name="T5" fmla="*/ 226 h 243"/>
                      <a:gd name="T6" fmla="*/ 0 w 101"/>
                      <a:gd name="T7" fmla="*/ 17 h 243"/>
                      <a:gd name="T8" fmla="*/ 17 w 101"/>
                      <a:gd name="T9" fmla="*/ 0 h 243"/>
                      <a:gd name="T10" fmla="*/ 84 w 101"/>
                      <a:gd name="T11" fmla="*/ 0 h 243"/>
                      <a:gd name="T12" fmla="*/ 101 w 101"/>
                      <a:gd name="T13" fmla="*/ 17 h 243"/>
                      <a:gd name="T14" fmla="*/ 101 w 101"/>
                      <a:gd name="T15" fmla="*/ 226 h 243"/>
                      <a:gd name="T16" fmla="*/ 84 w 101"/>
                      <a:gd name="T17" fmla="*/ 243 h 24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01" h="243">
                        <a:moveTo>
                          <a:pt x="84" y="243"/>
                        </a:moveTo>
                        <a:cubicBezTo>
                          <a:pt x="17" y="243"/>
                          <a:pt x="17" y="243"/>
                          <a:pt x="17" y="243"/>
                        </a:cubicBezTo>
                        <a:cubicBezTo>
                          <a:pt x="8" y="243"/>
                          <a:pt x="0" y="235"/>
                          <a:pt x="0" y="226"/>
                        </a:cubicBezTo>
                        <a:cubicBezTo>
                          <a:pt x="0" y="17"/>
                          <a:pt x="0" y="17"/>
                          <a:pt x="0" y="17"/>
                        </a:cubicBezTo>
                        <a:cubicBezTo>
                          <a:pt x="0" y="8"/>
                          <a:pt x="8" y="0"/>
                          <a:pt x="17" y="0"/>
                        </a:cubicBezTo>
                        <a:cubicBezTo>
                          <a:pt x="84" y="0"/>
                          <a:pt x="84" y="0"/>
                          <a:pt x="84" y="0"/>
                        </a:cubicBezTo>
                        <a:cubicBezTo>
                          <a:pt x="93" y="0"/>
                          <a:pt x="101" y="8"/>
                          <a:pt x="101" y="17"/>
                        </a:cubicBezTo>
                        <a:cubicBezTo>
                          <a:pt x="101" y="226"/>
                          <a:pt x="101" y="226"/>
                          <a:pt x="101" y="226"/>
                        </a:cubicBezTo>
                        <a:cubicBezTo>
                          <a:pt x="101" y="235"/>
                          <a:pt x="93" y="243"/>
                          <a:pt x="84" y="24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53" name="Line 202">
                    <a:extLst>
                      <a:ext uri="{FF2B5EF4-FFF2-40B4-BE49-F238E27FC236}">
                        <a16:creationId xmlns:a16="http://schemas.microsoft.com/office/drawing/2014/main" xmlns="" id="{9E398001-83F5-4B33-8CE7-39D6E5FE202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10166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54" name="Line 203">
                    <a:extLst>
                      <a:ext uri="{FF2B5EF4-FFF2-40B4-BE49-F238E27FC236}">
                        <a16:creationId xmlns:a16="http://schemas.microsoft.com/office/drawing/2014/main" xmlns="" id="{AF1BE8B6-9CED-4776-82D3-8E759DFD84C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39816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55" name="Line 204">
                    <a:extLst>
                      <a:ext uri="{FF2B5EF4-FFF2-40B4-BE49-F238E27FC236}">
                        <a16:creationId xmlns:a16="http://schemas.microsoft.com/office/drawing/2014/main" xmlns="" id="{B451633F-9CA9-48B6-88E4-08F62EEB5D0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05145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56" name="Line 205">
                    <a:extLst>
                      <a:ext uri="{FF2B5EF4-FFF2-40B4-BE49-F238E27FC236}">
                        <a16:creationId xmlns:a16="http://schemas.microsoft.com/office/drawing/2014/main" xmlns="" id="{1DC0E0DB-08B2-477D-AA76-AE50EDC929E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21303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557" name="Line 206">
                    <a:extLst>
                      <a:ext uri="{FF2B5EF4-FFF2-40B4-BE49-F238E27FC236}">
                        <a16:creationId xmlns:a16="http://schemas.microsoft.com/office/drawing/2014/main" xmlns="" id="{F8924845-0B09-4880-9D89-9892F155FCD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389011" y="4192741"/>
                    <a:ext cx="120650" cy="0"/>
                  </a:xfrm>
                  <a:prstGeom prst="line">
                    <a:avLst/>
                  </a:prstGeom>
                  <a:noFill/>
                  <a:ln w="20638" cap="rnd">
                    <a:solidFill>
                      <a:srgbClr val="005073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  <p:cxnSp>
            <p:nvCxnSpPr>
              <p:cNvPr id="1248" name="Connector: Elbow 1247">
                <a:extLst>
                  <a:ext uri="{FF2B5EF4-FFF2-40B4-BE49-F238E27FC236}">
                    <a16:creationId xmlns:a16="http://schemas.microsoft.com/office/drawing/2014/main" xmlns="" id="{80FEDD75-7F1B-4B6E-9DC6-B83370670EE6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4479062" y="2405535"/>
                <a:ext cx="372347" cy="189715"/>
              </a:xfrm>
              <a:prstGeom prst="bentConnector3">
                <a:avLst>
                  <a:gd name="adj1" fmla="val -184"/>
                </a:avLst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9" name="Connector: Elbow 1248">
                <a:extLst>
                  <a:ext uri="{FF2B5EF4-FFF2-40B4-BE49-F238E27FC236}">
                    <a16:creationId xmlns:a16="http://schemas.microsoft.com/office/drawing/2014/main" xmlns="" id="{AB6722A9-D2EE-4A25-93B7-F488BB8563F0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V="1">
                <a:off x="14479062" y="2785822"/>
                <a:ext cx="372347" cy="189715"/>
              </a:xfrm>
              <a:prstGeom prst="bentConnector3">
                <a:avLst>
                  <a:gd name="adj1" fmla="val -184"/>
                </a:avLst>
              </a:prstGeom>
              <a:ln cap="rnd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250" name="Group 1249">
                <a:extLst>
                  <a:ext uri="{FF2B5EF4-FFF2-40B4-BE49-F238E27FC236}">
                    <a16:creationId xmlns:a16="http://schemas.microsoft.com/office/drawing/2014/main" xmlns="" id="{8603E312-DC55-4577-AF7B-7D0B864C869F}"/>
                  </a:ext>
                </a:extLst>
              </p:cNvPr>
              <p:cNvGrpSpPr/>
              <p:nvPr/>
            </p:nvGrpSpPr>
            <p:grpSpPr>
              <a:xfrm>
                <a:off x="14459054" y="2953858"/>
                <a:ext cx="226628" cy="226628"/>
                <a:chOff x="1358899" y="2193925"/>
                <a:chExt cx="390525" cy="390525"/>
              </a:xfrm>
            </p:grpSpPr>
            <p:sp>
              <p:nvSpPr>
                <p:cNvPr id="1408" name="Rectangle: Rounded Corners 1407">
                  <a:extLst>
                    <a:ext uri="{FF2B5EF4-FFF2-40B4-BE49-F238E27FC236}">
                      <a16:creationId xmlns:a16="http://schemas.microsoft.com/office/drawing/2014/main" xmlns="" id="{50DB810F-02B7-41E0-9B29-CBF3202AC570}"/>
                    </a:ext>
                  </a:extLst>
                </p:cNvPr>
                <p:cNvSpPr/>
                <p:nvPr/>
              </p:nvSpPr>
              <p:spPr>
                <a:xfrm>
                  <a:off x="1358899" y="2193925"/>
                  <a:ext cx="390525" cy="390525"/>
                </a:xfrm>
                <a:prstGeom prst="roundRect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grpSp>
              <p:nvGrpSpPr>
                <p:cNvPr id="1409" name="Group 1408">
                  <a:extLst>
                    <a:ext uri="{FF2B5EF4-FFF2-40B4-BE49-F238E27FC236}">
                      <a16:creationId xmlns:a16="http://schemas.microsoft.com/office/drawing/2014/main" xmlns="" id="{8B042A2B-FBF2-421D-9B32-EC269D376B17}"/>
                    </a:ext>
                  </a:extLst>
                </p:cNvPr>
                <p:cNvGrpSpPr/>
                <p:nvPr/>
              </p:nvGrpSpPr>
              <p:grpSpPr>
                <a:xfrm>
                  <a:off x="1420588" y="2248963"/>
                  <a:ext cx="267146" cy="280448"/>
                  <a:chOff x="1401763" y="2228851"/>
                  <a:chExt cx="307974" cy="323308"/>
                </a:xfrm>
              </p:grpSpPr>
              <p:grpSp>
                <p:nvGrpSpPr>
                  <p:cNvPr id="1410" name="Group 1409">
                    <a:extLst>
                      <a:ext uri="{FF2B5EF4-FFF2-40B4-BE49-F238E27FC236}">
                        <a16:creationId xmlns:a16="http://schemas.microsoft.com/office/drawing/2014/main" xmlns="" id="{0274B9FE-3CD8-4F6F-8D46-A30497F6ABA5}"/>
                      </a:ext>
                    </a:extLst>
                  </p:cNvPr>
                  <p:cNvGrpSpPr/>
                  <p:nvPr/>
                </p:nvGrpSpPr>
                <p:grpSpPr>
                  <a:xfrm>
                    <a:off x="1482725" y="2295526"/>
                    <a:ext cx="227012" cy="256633"/>
                    <a:chOff x="1482725" y="2276476"/>
                    <a:chExt cx="227012" cy="256633"/>
                  </a:xfrm>
                  <a:solidFill>
                    <a:schemeClr val="bg2"/>
                  </a:solidFill>
                </p:grpSpPr>
                <p:sp>
                  <p:nvSpPr>
                    <p:cNvPr id="1414" name="Freeform 33">
                      <a:extLst>
                        <a:ext uri="{FF2B5EF4-FFF2-40B4-BE49-F238E27FC236}">
                          <a16:creationId xmlns:a16="http://schemas.microsoft.com/office/drawing/2014/main" xmlns="" id="{C147031E-4880-446F-AFB5-50CCF0062A8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433639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48" name="Freeform 33">
                      <a:extLst>
                        <a:ext uri="{FF2B5EF4-FFF2-40B4-BE49-F238E27FC236}">
                          <a16:creationId xmlns:a16="http://schemas.microsoft.com/office/drawing/2014/main" xmlns="" id="{650C2650-5797-49CF-B8A7-651F8EBE1DFD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276476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411" name="Group 1410">
                    <a:extLst>
                      <a:ext uri="{FF2B5EF4-FFF2-40B4-BE49-F238E27FC236}">
                        <a16:creationId xmlns:a16="http://schemas.microsoft.com/office/drawing/2014/main" xmlns="" id="{05A81FD5-E050-4674-9DB7-770FEA132F35}"/>
                      </a:ext>
                    </a:extLst>
                  </p:cNvPr>
                  <p:cNvGrpSpPr/>
                  <p:nvPr/>
                </p:nvGrpSpPr>
                <p:grpSpPr>
                  <a:xfrm flipH="1">
                    <a:off x="1401763" y="2228851"/>
                    <a:ext cx="227012" cy="256633"/>
                    <a:chOff x="1482725" y="2276476"/>
                    <a:chExt cx="227012" cy="256633"/>
                  </a:xfrm>
                </p:grpSpPr>
                <p:sp>
                  <p:nvSpPr>
                    <p:cNvPr id="1412" name="Freeform 33">
                      <a:extLst>
                        <a:ext uri="{FF2B5EF4-FFF2-40B4-BE49-F238E27FC236}">
                          <a16:creationId xmlns:a16="http://schemas.microsoft.com/office/drawing/2014/main" xmlns="" id="{0E5A692A-30A9-45BB-B310-E6B9E84C9033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433639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solidFill>
                      <a:srgbClr val="0050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13" name="Freeform 33">
                      <a:extLst>
                        <a:ext uri="{FF2B5EF4-FFF2-40B4-BE49-F238E27FC236}">
                          <a16:creationId xmlns:a16="http://schemas.microsoft.com/office/drawing/2014/main" xmlns="" id="{F77B9FD7-1F29-4986-A7F8-3345FE059ADD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276476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solidFill>
                      <a:srgbClr val="0050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</p:grpSp>
          </p:grpSp>
          <p:grpSp>
            <p:nvGrpSpPr>
              <p:cNvPr id="1251" name="Group 1250">
                <a:extLst>
                  <a:ext uri="{FF2B5EF4-FFF2-40B4-BE49-F238E27FC236}">
                    <a16:creationId xmlns:a16="http://schemas.microsoft.com/office/drawing/2014/main" xmlns="" id="{AA9944A0-9DB5-4F45-9190-3EFA46D8BD9A}"/>
                  </a:ext>
                </a:extLst>
              </p:cNvPr>
              <p:cNvGrpSpPr/>
              <p:nvPr/>
            </p:nvGrpSpPr>
            <p:grpSpPr>
              <a:xfrm>
                <a:off x="14459054" y="2210215"/>
                <a:ext cx="226628" cy="226628"/>
                <a:chOff x="1358899" y="2193925"/>
                <a:chExt cx="390525" cy="390525"/>
              </a:xfrm>
            </p:grpSpPr>
            <p:sp>
              <p:nvSpPr>
                <p:cNvPr id="1384" name="Rectangle: Rounded Corners 1383">
                  <a:extLst>
                    <a:ext uri="{FF2B5EF4-FFF2-40B4-BE49-F238E27FC236}">
                      <a16:creationId xmlns:a16="http://schemas.microsoft.com/office/drawing/2014/main" xmlns="" id="{8B8F3D56-CFA3-4547-BC1D-D9D3EF641F8C}"/>
                    </a:ext>
                  </a:extLst>
                </p:cNvPr>
                <p:cNvSpPr/>
                <p:nvPr/>
              </p:nvSpPr>
              <p:spPr>
                <a:xfrm>
                  <a:off x="1358899" y="2193925"/>
                  <a:ext cx="390525" cy="390525"/>
                </a:xfrm>
                <a:prstGeom prst="roundRect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grpSp>
              <p:nvGrpSpPr>
                <p:cNvPr id="1385" name="Group 1384">
                  <a:extLst>
                    <a:ext uri="{FF2B5EF4-FFF2-40B4-BE49-F238E27FC236}">
                      <a16:creationId xmlns:a16="http://schemas.microsoft.com/office/drawing/2014/main" xmlns="" id="{1140312E-711A-4ABA-B82B-D2BF95F92411}"/>
                    </a:ext>
                  </a:extLst>
                </p:cNvPr>
                <p:cNvGrpSpPr/>
                <p:nvPr/>
              </p:nvGrpSpPr>
              <p:grpSpPr>
                <a:xfrm>
                  <a:off x="1420588" y="2248963"/>
                  <a:ext cx="267146" cy="280448"/>
                  <a:chOff x="1401763" y="2228851"/>
                  <a:chExt cx="307974" cy="323308"/>
                </a:xfrm>
              </p:grpSpPr>
              <p:grpSp>
                <p:nvGrpSpPr>
                  <p:cNvPr id="1386" name="Group 1385">
                    <a:extLst>
                      <a:ext uri="{FF2B5EF4-FFF2-40B4-BE49-F238E27FC236}">
                        <a16:creationId xmlns:a16="http://schemas.microsoft.com/office/drawing/2014/main" xmlns="" id="{D847D6DD-6122-4A52-8BCC-59B38DE722B2}"/>
                      </a:ext>
                    </a:extLst>
                  </p:cNvPr>
                  <p:cNvGrpSpPr/>
                  <p:nvPr/>
                </p:nvGrpSpPr>
                <p:grpSpPr>
                  <a:xfrm>
                    <a:off x="1482725" y="2295526"/>
                    <a:ext cx="227012" cy="256633"/>
                    <a:chOff x="1482725" y="2276476"/>
                    <a:chExt cx="227012" cy="256633"/>
                  </a:xfrm>
                  <a:solidFill>
                    <a:schemeClr val="bg2"/>
                  </a:solidFill>
                </p:grpSpPr>
                <p:sp>
                  <p:nvSpPr>
                    <p:cNvPr id="1390" name="Freeform 33">
                      <a:extLst>
                        <a:ext uri="{FF2B5EF4-FFF2-40B4-BE49-F238E27FC236}">
                          <a16:creationId xmlns:a16="http://schemas.microsoft.com/office/drawing/2014/main" xmlns="" id="{E7AF0FDF-0095-47A3-879B-602CC2659A5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433639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07" name="Freeform 33">
                      <a:extLst>
                        <a:ext uri="{FF2B5EF4-FFF2-40B4-BE49-F238E27FC236}">
                          <a16:creationId xmlns:a16="http://schemas.microsoft.com/office/drawing/2014/main" xmlns="" id="{211CD1A7-C3E1-4EF9-8577-673DF61F3691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276476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387" name="Group 1386">
                    <a:extLst>
                      <a:ext uri="{FF2B5EF4-FFF2-40B4-BE49-F238E27FC236}">
                        <a16:creationId xmlns:a16="http://schemas.microsoft.com/office/drawing/2014/main" xmlns="" id="{6BFEDBFC-92C8-459B-B0A0-A2D25270E3AA}"/>
                      </a:ext>
                    </a:extLst>
                  </p:cNvPr>
                  <p:cNvGrpSpPr/>
                  <p:nvPr/>
                </p:nvGrpSpPr>
                <p:grpSpPr>
                  <a:xfrm flipH="1">
                    <a:off x="1401763" y="2228851"/>
                    <a:ext cx="227012" cy="256633"/>
                    <a:chOff x="1482725" y="2276476"/>
                    <a:chExt cx="227012" cy="256633"/>
                  </a:xfrm>
                </p:grpSpPr>
                <p:sp>
                  <p:nvSpPr>
                    <p:cNvPr id="1388" name="Freeform 33">
                      <a:extLst>
                        <a:ext uri="{FF2B5EF4-FFF2-40B4-BE49-F238E27FC236}">
                          <a16:creationId xmlns:a16="http://schemas.microsoft.com/office/drawing/2014/main" xmlns="" id="{496B13B4-2530-4A4D-A14D-1900F4F612E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433639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solidFill>
                      <a:srgbClr val="0050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89" name="Freeform 33">
                      <a:extLst>
                        <a:ext uri="{FF2B5EF4-FFF2-40B4-BE49-F238E27FC236}">
                          <a16:creationId xmlns:a16="http://schemas.microsoft.com/office/drawing/2014/main" xmlns="" id="{5C7EE8EA-A20C-4365-BC1A-758FCFE134C5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482725" y="2276476"/>
                      <a:ext cx="227012" cy="99470"/>
                    </a:xfrm>
                    <a:custGeom>
                      <a:avLst/>
                      <a:gdLst>
                        <a:gd name="T0" fmla="*/ 362 w 368"/>
                        <a:gd name="T1" fmla="*/ 65 h 159"/>
                        <a:gd name="T2" fmla="*/ 305 w 368"/>
                        <a:gd name="T3" fmla="*/ 8 h 159"/>
                        <a:gd name="T4" fmla="*/ 277 w 368"/>
                        <a:gd name="T5" fmla="*/ 8 h 159"/>
                        <a:gd name="T6" fmla="*/ 277 w 368"/>
                        <a:gd name="T7" fmla="*/ 35 h 159"/>
                        <a:gd name="T8" fmla="*/ 302 w 368"/>
                        <a:gd name="T9" fmla="*/ 60 h 159"/>
                        <a:gd name="T10" fmla="*/ 20 w 368"/>
                        <a:gd name="T11" fmla="*/ 60 h 159"/>
                        <a:gd name="T12" fmla="*/ 0 w 368"/>
                        <a:gd name="T13" fmla="*/ 80 h 159"/>
                        <a:gd name="T14" fmla="*/ 20 w 368"/>
                        <a:gd name="T15" fmla="*/ 100 h 159"/>
                        <a:gd name="T16" fmla="*/ 301 w 368"/>
                        <a:gd name="T17" fmla="*/ 100 h 159"/>
                        <a:gd name="T18" fmla="*/ 277 w 368"/>
                        <a:gd name="T19" fmla="*/ 124 h 159"/>
                        <a:gd name="T20" fmla="*/ 277 w 368"/>
                        <a:gd name="T21" fmla="*/ 151 h 159"/>
                        <a:gd name="T22" fmla="*/ 305 w 368"/>
                        <a:gd name="T23" fmla="*/ 151 h 159"/>
                        <a:gd name="T24" fmla="*/ 362 w 368"/>
                        <a:gd name="T25" fmla="*/ 94 h 159"/>
                        <a:gd name="T26" fmla="*/ 368 w 368"/>
                        <a:gd name="T27" fmla="*/ 79 h 159"/>
                        <a:gd name="T28" fmla="*/ 362 w 368"/>
                        <a:gd name="T29" fmla="*/ 65 h 1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368" h="159">
                          <a:moveTo>
                            <a:pt x="362" y="65"/>
                          </a:moveTo>
                          <a:cubicBezTo>
                            <a:pt x="305" y="8"/>
                            <a:pt x="305" y="8"/>
                            <a:pt x="305" y="8"/>
                          </a:cubicBezTo>
                          <a:cubicBezTo>
                            <a:pt x="297" y="0"/>
                            <a:pt x="285" y="0"/>
                            <a:pt x="277" y="8"/>
                          </a:cubicBezTo>
                          <a:cubicBezTo>
                            <a:pt x="269" y="15"/>
                            <a:pt x="269" y="28"/>
                            <a:pt x="277" y="35"/>
                          </a:cubicBezTo>
                          <a:cubicBezTo>
                            <a:pt x="302" y="60"/>
                            <a:pt x="302" y="60"/>
                            <a:pt x="302" y="60"/>
                          </a:cubicBezTo>
                          <a:cubicBezTo>
                            <a:pt x="20" y="60"/>
                            <a:pt x="20" y="60"/>
                            <a:pt x="20" y="60"/>
                          </a:cubicBezTo>
                          <a:cubicBezTo>
                            <a:pt x="9" y="60"/>
                            <a:pt x="0" y="69"/>
                            <a:pt x="0" y="80"/>
                          </a:cubicBezTo>
                          <a:cubicBezTo>
                            <a:pt x="0" y="91"/>
                            <a:pt x="9" y="100"/>
                            <a:pt x="20" y="100"/>
                          </a:cubicBezTo>
                          <a:cubicBezTo>
                            <a:pt x="301" y="100"/>
                            <a:pt x="301" y="100"/>
                            <a:pt x="301" y="100"/>
                          </a:cubicBezTo>
                          <a:cubicBezTo>
                            <a:pt x="277" y="124"/>
                            <a:pt x="277" y="124"/>
                            <a:pt x="277" y="124"/>
                          </a:cubicBezTo>
                          <a:cubicBezTo>
                            <a:pt x="269" y="131"/>
                            <a:pt x="269" y="144"/>
                            <a:pt x="277" y="151"/>
                          </a:cubicBezTo>
                          <a:cubicBezTo>
                            <a:pt x="285" y="159"/>
                            <a:pt x="297" y="159"/>
                            <a:pt x="305" y="151"/>
                          </a:cubicBezTo>
                          <a:cubicBezTo>
                            <a:pt x="362" y="94"/>
                            <a:pt x="362" y="94"/>
                            <a:pt x="362" y="94"/>
                          </a:cubicBezTo>
                          <a:cubicBezTo>
                            <a:pt x="366" y="90"/>
                            <a:pt x="368" y="85"/>
                            <a:pt x="368" y="79"/>
                          </a:cubicBezTo>
                          <a:cubicBezTo>
                            <a:pt x="368" y="74"/>
                            <a:pt x="366" y="69"/>
                            <a:pt x="362" y="65"/>
                          </a:cubicBezTo>
                          <a:close/>
                        </a:path>
                      </a:pathLst>
                    </a:custGeom>
                    <a:solidFill>
                      <a:srgbClr val="005073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/>
                    </a:p>
                  </p:txBody>
                </p:sp>
              </p:grpSp>
            </p:grpSp>
          </p:grpSp>
          <p:grpSp>
            <p:nvGrpSpPr>
              <p:cNvPr id="1252" name="Group 1251">
                <a:extLst>
                  <a:ext uri="{FF2B5EF4-FFF2-40B4-BE49-F238E27FC236}">
                    <a16:creationId xmlns:a16="http://schemas.microsoft.com/office/drawing/2014/main" xmlns="" id="{00150455-ED0B-41D1-A41F-6617F3506D8C}"/>
                  </a:ext>
                </a:extLst>
              </p:cNvPr>
              <p:cNvGrpSpPr/>
              <p:nvPr/>
            </p:nvGrpSpPr>
            <p:grpSpPr>
              <a:xfrm>
                <a:off x="13832728" y="2465614"/>
                <a:ext cx="443632" cy="443680"/>
                <a:chOff x="542940" y="1857375"/>
                <a:chExt cx="914400" cy="914494"/>
              </a:xfrm>
            </p:grpSpPr>
            <p:sp>
              <p:nvSpPr>
                <p:cNvPr id="1274" name="Oval 1273">
                  <a:extLst>
                    <a:ext uri="{FF2B5EF4-FFF2-40B4-BE49-F238E27FC236}">
                      <a16:creationId xmlns:a16="http://schemas.microsoft.com/office/drawing/2014/main" xmlns="" id="{97C5143B-CFA2-4D7F-AFE8-C14A5C18496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42940" y="1857422"/>
                  <a:ext cx="914400" cy="91440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grpSp>
              <p:nvGrpSpPr>
                <p:cNvPr id="1275" name="Group 4">
                  <a:extLst>
                    <a:ext uri="{FF2B5EF4-FFF2-40B4-BE49-F238E27FC236}">
                      <a16:creationId xmlns:a16="http://schemas.microsoft.com/office/drawing/2014/main" xmlns="" id="{05E5D744-B7B3-4B1C-AC2B-3767F37533E4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43174" y="1857375"/>
                  <a:ext cx="913932" cy="914494"/>
                  <a:chOff x="1261" y="0"/>
                  <a:chExt cx="3238" cy="3240"/>
                </a:xfrm>
                <a:solidFill>
                  <a:schemeClr val="tx2"/>
                </a:solidFill>
              </p:grpSpPr>
              <p:sp>
                <p:nvSpPr>
                  <p:cNvPr id="1276" name="Freeform 5">
                    <a:extLst>
                      <a:ext uri="{FF2B5EF4-FFF2-40B4-BE49-F238E27FC236}">
                        <a16:creationId xmlns:a16="http://schemas.microsoft.com/office/drawing/2014/main" xmlns="" id="{C039C7AA-2B4A-4ED2-9FCC-32E4D385E1D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31" y="443"/>
                    <a:ext cx="36" cy="37"/>
                  </a:xfrm>
                  <a:custGeom>
                    <a:avLst/>
                    <a:gdLst>
                      <a:gd name="T0" fmla="*/ 0 w 29"/>
                      <a:gd name="T1" fmla="*/ 30 h 30"/>
                      <a:gd name="T2" fmla="*/ 29 w 29"/>
                      <a:gd name="T3" fmla="*/ 0 h 30"/>
                      <a:gd name="T4" fmla="*/ 0 w 29"/>
                      <a:gd name="T5" fmla="*/ 3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9" h="30">
                        <a:moveTo>
                          <a:pt x="0" y="30"/>
                        </a:moveTo>
                        <a:cubicBezTo>
                          <a:pt x="15" y="27"/>
                          <a:pt x="26" y="15"/>
                          <a:pt x="29" y="0"/>
                        </a:cubicBezTo>
                        <a:cubicBezTo>
                          <a:pt x="19" y="10"/>
                          <a:pt x="10" y="20"/>
                          <a:pt x="0" y="3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77" name="Freeform 6">
                    <a:extLst>
                      <a:ext uri="{FF2B5EF4-FFF2-40B4-BE49-F238E27FC236}">
                        <a16:creationId xmlns:a16="http://schemas.microsoft.com/office/drawing/2014/main" xmlns="" id="{D76E2D53-9454-4A34-8908-49E78336034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833" y="0"/>
                    <a:ext cx="1056" cy="480"/>
                  </a:xfrm>
                  <a:custGeom>
                    <a:avLst/>
                    <a:gdLst>
                      <a:gd name="T0" fmla="*/ 0 w 845"/>
                      <a:gd name="T1" fmla="*/ 346 h 384"/>
                      <a:gd name="T2" fmla="*/ 38 w 845"/>
                      <a:gd name="T3" fmla="*/ 384 h 384"/>
                      <a:gd name="T4" fmla="*/ 807 w 845"/>
                      <a:gd name="T5" fmla="*/ 384 h 384"/>
                      <a:gd name="T6" fmla="*/ 845 w 845"/>
                      <a:gd name="T7" fmla="*/ 346 h 384"/>
                      <a:gd name="T8" fmla="*/ 845 w 845"/>
                      <a:gd name="T9" fmla="*/ 38 h 384"/>
                      <a:gd name="T10" fmla="*/ 812 w 845"/>
                      <a:gd name="T11" fmla="*/ 0 h 384"/>
                      <a:gd name="T12" fmla="*/ 0 w 845"/>
                      <a:gd name="T13" fmla="*/ 308 h 384"/>
                      <a:gd name="T14" fmla="*/ 0 w 845"/>
                      <a:gd name="T15" fmla="*/ 346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45" h="384">
                        <a:moveTo>
                          <a:pt x="0" y="346"/>
                        </a:move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9"/>
                          <a:pt x="830" y="3"/>
                          <a:pt x="812" y="0"/>
                        </a:cubicBezTo>
                        <a:cubicBezTo>
                          <a:pt x="502" y="6"/>
                          <a:pt x="219" y="121"/>
                          <a:pt x="0" y="308"/>
                        </a:cubicBezTo>
                        <a:lnTo>
                          <a:pt x="0" y="34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61" name="Freeform 7">
                    <a:extLst>
                      <a:ext uri="{FF2B5EF4-FFF2-40B4-BE49-F238E27FC236}">
                        <a16:creationId xmlns:a16="http://schemas.microsoft.com/office/drawing/2014/main" xmlns="" id="{CC8E2DB6-FA08-479C-AF79-023ACA9565F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52" y="4"/>
                    <a:ext cx="1051" cy="476"/>
                  </a:xfrm>
                  <a:custGeom>
                    <a:avLst/>
                    <a:gdLst>
                      <a:gd name="T0" fmla="*/ 24 w 841"/>
                      <a:gd name="T1" fmla="*/ 0 h 381"/>
                      <a:gd name="T2" fmla="*/ 0 w 841"/>
                      <a:gd name="T3" fmla="*/ 35 h 381"/>
                      <a:gd name="T4" fmla="*/ 0 w 841"/>
                      <a:gd name="T5" fmla="*/ 343 h 381"/>
                      <a:gd name="T6" fmla="*/ 38 w 841"/>
                      <a:gd name="T7" fmla="*/ 381 h 381"/>
                      <a:gd name="T8" fmla="*/ 807 w 841"/>
                      <a:gd name="T9" fmla="*/ 381 h 381"/>
                      <a:gd name="T10" fmla="*/ 841 w 841"/>
                      <a:gd name="T11" fmla="*/ 360 h 381"/>
                      <a:gd name="T12" fmla="*/ 24 w 841"/>
                      <a:gd name="T13" fmla="*/ 0 h 38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41" h="381">
                        <a:moveTo>
                          <a:pt x="24" y="0"/>
                        </a:moveTo>
                        <a:cubicBezTo>
                          <a:pt x="10" y="5"/>
                          <a:pt x="0" y="19"/>
                          <a:pt x="0" y="35"/>
                        </a:cubicBezTo>
                        <a:cubicBezTo>
                          <a:pt x="0" y="343"/>
                          <a:pt x="0" y="343"/>
                          <a:pt x="0" y="343"/>
                        </a:cubicBezTo>
                        <a:cubicBezTo>
                          <a:pt x="0" y="364"/>
                          <a:pt x="17" y="381"/>
                          <a:pt x="38" y="381"/>
                        </a:cubicBezTo>
                        <a:cubicBezTo>
                          <a:pt x="807" y="381"/>
                          <a:pt x="807" y="381"/>
                          <a:pt x="807" y="381"/>
                        </a:cubicBezTo>
                        <a:cubicBezTo>
                          <a:pt x="822" y="381"/>
                          <a:pt x="835" y="373"/>
                          <a:pt x="841" y="360"/>
                        </a:cubicBezTo>
                        <a:cubicBezTo>
                          <a:pt x="627" y="153"/>
                          <a:pt x="341" y="20"/>
                          <a:pt x="2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62" name="Freeform 8">
                    <a:extLst>
                      <a:ext uri="{FF2B5EF4-FFF2-40B4-BE49-F238E27FC236}">
                        <a16:creationId xmlns:a16="http://schemas.microsoft.com/office/drawing/2014/main" xmlns="" id="{6F550DBC-86F5-4091-ADCB-B4EBC4A5F96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70" y="555"/>
                    <a:ext cx="943" cy="480"/>
                  </a:xfrm>
                  <a:custGeom>
                    <a:avLst/>
                    <a:gdLst>
                      <a:gd name="T0" fmla="*/ 717 w 755"/>
                      <a:gd name="T1" fmla="*/ 0 h 384"/>
                      <a:gd name="T2" fmla="*/ 233 w 755"/>
                      <a:gd name="T3" fmla="*/ 0 h 384"/>
                      <a:gd name="T4" fmla="*/ 0 w 755"/>
                      <a:gd name="T5" fmla="*/ 384 h 384"/>
                      <a:gd name="T6" fmla="*/ 717 w 755"/>
                      <a:gd name="T7" fmla="*/ 384 h 384"/>
                      <a:gd name="T8" fmla="*/ 755 w 755"/>
                      <a:gd name="T9" fmla="*/ 346 h 384"/>
                      <a:gd name="T10" fmla="*/ 755 w 755"/>
                      <a:gd name="T11" fmla="*/ 38 h 384"/>
                      <a:gd name="T12" fmla="*/ 717 w 755"/>
                      <a:gd name="T13" fmla="*/ 0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55" h="384">
                        <a:moveTo>
                          <a:pt x="717" y="0"/>
                        </a:moveTo>
                        <a:cubicBezTo>
                          <a:pt x="233" y="0"/>
                          <a:pt x="233" y="0"/>
                          <a:pt x="233" y="0"/>
                        </a:cubicBezTo>
                        <a:cubicBezTo>
                          <a:pt x="134" y="113"/>
                          <a:pt x="55" y="242"/>
                          <a:pt x="0" y="384"/>
                        </a:cubicBezTo>
                        <a:cubicBezTo>
                          <a:pt x="717" y="384"/>
                          <a:pt x="717" y="384"/>
                          <a:pt x="717" y="384"/>
                        </a:cubicBezTo>
                        <a:cubicBezTo>
                          <a:pt x="738" y="384"/>
                          <a:pt x="755" y="367"/>
                          <a:pt x="755" y="346"/>
                        </a:cubicBezTo>
                        <a:cubicBezTo>
                          <a:pt x="755" y="38"/>
                          <a:pt x="755" y="38"/>
                          <a:pt x="755" y="38"/>
                        </a:cubicBezTo>
                        <a:cubicBezTo>
                          <a:pt x="755" y="17"/>
                          <a:pt x="738" y="0"/>
                          <a:pt x="71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65" name="Freeform 9">
                    <a:extLst>
                      <a:ext uri="{FF2B5EF4-FFF2-40B4-BE49-F238E27FC236}">
                        <a16:creationId xmlns:a16="http://schemas.microsoft.com/office/drawing/2014/main" xmlns="" id="{13534B18-6CD8-4CB6-B7DA-9180C706053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77" y="555"/>
                    <a:ext cx="1055" cy="480"/>
                  </a:xfrm>
                  <a:custGeom>
                    <a:avLst/>
                    <a:gdLst>
                      <a:gd name="T0" fmla="*/ 807 w 845"/>
                      <a:gd name="T1" fmla="*/ 0 h 384"/>
                      <a:gd name="T2" fmla="*/ 38 w 845"/>
                      <a:gd name="T3" fmla="*/ 0 h 384"/>
                      <a:gd name="T4" fmla="*/ 0 w 845"/>
                      <a:gd name="T5" fmla="*/ 38 h 384"/>
                      <a:gd name="T6" fmla="*/ 0 w 845"/>
                      <a:gd name="T7" fmla="*/ 346 h 384"/>
                      <a:gd name="T8" fmla="*/ 38 w 845"/>
                      <a:gd name="T9" fmla="*/ 384 h 384"/>
                      <a:gd name="T10" fmla="*/ 807 w 845"/>
                      <a:gd name="T11" fmla="*/ 384 h 384"/>
                      <a:gd name="T12" fmla="*/ 845 w 845"/>
                      <a:gd name="T13" fmla="*/ 346 h 384"/>
                      <a:gd name="T14" fmla="*/ 845 w 845"/>
                      <a:gd name="T15" fmla="*/ 38 h 384"/>
                      <a:gd name="T16" fmla="*/ 807 w 845"/>
                      <a:gd name="T17" fmla="*/ 0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807" y="0"/>
                        </a:move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66" name="Freeform 10">
                    <a:extLst>
                      <a:ext uri="{FF2B5EF4-FFF2-40B4-BE49-F238E27FC236}">
                        <a16:creationId xmlns:a16="http://schemas.microsoft.com/office/drawing/2014/main" xmlns="" id="{5C9841D6-7B3C-4FB6-9B50-604F18D18D4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97" y="555"/>
                    <a:ext cx="893" cy="480"/>
                  </a:xfrm>
                  <a:custGeom>
                    <a:avLst/>
                    <a:gdLst>
                      <a:gd name="T0" fmla="*/ 0 w 715"/>
                      <a:gd name="T1" fmla="*/ 38 h 384"/>
                      <a:gd name="T2" fmla="*/ 0 w 715"/>
                      <a:gd name="T3" fmla="*/ 346 h 384"/>
                      <a:gd name="T4" fmla="*/ 38 w 715"/>
                      <a:gd name="T5" fmla="*/ 384 h 384"/>
                      <a:gd name="T6" fmla="*/ 715 w 715"/>
                      <a:gd name="T7" fmla="*/ 384 h 384"/>
                      <a:gd name="T8" fmla="*/ 482 w 715"/>
                      <a:gd name="T9" fmla="*/ 0 h 384"/>
                      <a:gd name="T10" fmla="*/ 38 w 715"/>
                      <a:gd name="T11" fmla="*/ 0 h 384"/>
                      <a:gd name="T12" fmla="*/ 0 w 715"/>
                      <a:gd name="T13" fmla="*/ 38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15" h="384">
                        <a:moveTo>
                          <a:pt x="0" y="38"/>
                        </a:move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715" y="384"/>
                          <a:pt x="715" y="384"/>
                          <a:pt x="715" y="384"/>
                        </a:cubicBezTo>
                        <a:cubicBezTo>
                          <a:pt x="660" y="242"/>
                          <a:pt x="581" y="113"/>
                          <a:pt x="482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68" name="Freeform 11">
                    <a:extLst>
                      <a:ext uri="{FF2B5EF4-FFF2-40B4-BE49-F238E27FC236}">
                        <a16:creationId xmlns:a16="http://schemas.microsoft.com/office/drawing/2014/main" xmlns="" id="{D1F5E1E6-4E48-4FFB-A304-121C46EFFAC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61" y="1110"/>
                    <a:ext cx="507" cy="480"/>
                  </a:xfrm>
                  <a:custGeom>
                    <a:avLst/>
                    <a:gdLst>
                      <a:gd name="T0" fmla="*/ 368 w 406"/>
                      <a:gd name="T1" fmla="*/ 384 h 384"/>
                      <a:gd name="T2" fmla="*/ 406 w 406"/>
                      <a:gd name="T3" fmla="*/ 346 h 384"/>
                      <a:gd name="T4" fmla="*/ 406 w 406"/>
                      <a:gd name="T5" fmla="*/ 38 h 384"/>
                      <a:gd name="T6" fmla="*/ 368 w 406"/>
                      <a:gd name="T7" fmla="*/ 0 h 384"/>
                      <a:gd name="T8" fmla="*/ 66 w 406"/>
                      <a:gd name="T9" fmla="*/ 0 h 384"/>
                      <a:gd name="T10" fmla="*/ 0 w 406"/>
                      <a:gd name="T11" fmla="*/ 384 h 384"/>
                      <a:gd name="T12" fmla="*/ 368 w 406"/>
                      <a:gd name="T13" fmla="*/ 384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06" h="384">
                        <a:moveTo>
                          <a:pt x="368" y="384"/>
                        </a:moveTo>
                        <a:cubicBezTo>
                          <a:pt x="389" y="384"/>
                          <a:pt x="406" y="367"/>
                          <a:pt x="406" y="346"/>
                        </a:cubicBezTo>
                        <a:cubicBezTo>
                          <a:pt x="406" y="38"/>
                          <a:pt x="406" y="38"/>
                          <a:pt x="406" y="38"/>
                        </a:cubicBezTo>
                        <a:cubicBezTo>
                          <a:pt x="406" y="17"/>
                          <a:pt x="389" y="0"/>
                          <a:pt x="368" y="0"/>
                        </a:cubicBezTo>
                        <a:cubicBezTo>
                          <a:pt x="66" y="0"/>
                          <a:pt x="66" y="0"/>
                          <a:pt x="66" y="0"/>
                        </a:cubicBezTo>
                        <a:cubicBezTo>
                          <a:pt x="25" y="121"/>
                          <a:pt x="3" y="250"/>
                          <a:pt x="0" y="384"/>
                        </a:cubicBezTo>
                        <a:lnTo>
                          <a:pt x="368" y="38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69" name="Freeform 12">
                    <a:extLst>
                      <a:ext uri="{FF2B5EF4-FFF2-40B4-BE49-F238E27FC236}">
                        <a16:creationId xmlns:a16="http://schemas.microsoft.com/office/drawing/2014/main" xmlns="" id="{AC916D9C-D57E-4C5B-8411-AF0ABF1CC4C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833" y="1110"/>
                    <a:ext cx="1056" cy="480"/>
                  </a:xfrm>
                  <a:custGeom>
                    <a:avLst/>
                    <a:gdLst>
                      <a:gd name="T0" fmla="*/ 0 w 845"/>
                      <a:gd name="T1" fmla="*/ 38 h 384"/>
                      <a:gd name="T2" fmla="*/ 0 w 845"/>
                      <a:gd name="T3" fmla="*/ 346 h 384"/>
                      <a:gd name="T4" fmla="*/ 38 w 845"/>
                      <a:gd name="T5" fmla="*/ 384 h 384"/>
                      <a:gd name="T6" fmla="*/ 807 w 845"/>
                      <a:gd name="T7" fmla="*/ 384 h 384"/>
                      <a:gd name="T8" fmla="*/ 845 w 845"/>
                      <a:gd name="T9" fmla="*/ 346 h 384"/>
                      <a:gd name="T10" fmla="*/ 845 w 845"/>
                      <a:gd name="T11" fmla="*/ 38 h 384"/>
                      <a:gd name="T12" fmla="*/ 807 w 845"/>
                      <a:gd name="T13" fmla="*/ 0 h 384"/>
                      <a:gd name="T14" fmla="*/ 38 w 845"/>
                      <a:gd name="T15" fmla="*/ 0 h 384"/>
                      <a:gd name="T16" fmla="*/ 0 w 845"/>
                      <a:gd name="T17" fmla="*/ 38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0" y="38"/>
                        </a:move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70" name="Freeform 13">
                    <a:extLst>
                      <a:ext uri="{FF2B5EF4-FFF2-40B4-BE49-F238E27FC236}">
                        <a16:creationId xmlns:a16="http://schemas.microsoft.com/office/drawing/2014/main" xmlns="" id="{E652BD88-B2CC-4906-98B6-236A4D06B01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52" y="1110"/>
                    <a:ext cx="1056" cy="480"/>
                  </a:xfrm>
                  <a:custGeom>
                    <a:avLst/>
                    <a:gdLst>
                      <a:gd name="T0" fmla="*/ 0 w 845"/>
                      <a:gd name="T1" fmla="*/ 38 h 384"/>
                      <a:gd name="T2" fmla="*/ 0 w 845"/>
                      <a:gd name="T3" fmla="*/ 346 h 384"/>
                      <a:gd name="T4" fmla="*/ 38 w 845"/>
                      <a:gd name="T5" fmla="*/ 384 h 384"/>
                      <a:gd name="T6" fmla="*/ 807 w 845"/>
                      <a:gd name="T7" fmla="*/ 384 h 384"/>
                      <a:gd name="T8" fmla="*/ 845 w 845"/>
                      <a:gd name="T9" fmla="*/ 346 h 384"/>
                      <a:gd name="T10" fmla="*/ 845 w 845"/>
                      <a:gd name="T11" fmla="*/ 38 h 384"/>
                      <a:gd name="T12" fmla="*/ 807 w 845"/>
                      <a:gd name="T13" fmla="*/ 0 h 384"/>
                      <a:gd name="T14" fmla="*/ 38 w 845"/>
                      <a:gd name="T15" fmla="*/ 0 h 384"/>
                      <a:gd name="T16" fmla="*/ 0 w 845"/>
                      <a:gd name="T17" fmla="*/ 38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0" y="38"/>
                        </a:move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73" name="Freeform 14">
                    <a:extLst>
                      <a:ext uri="{FF2B5EF4-FFF2-40B4-BE49-F238E27FC236}">
                        <a16:creationId xmlns:a16="http://schemas.microsoft.com/office/drawing/2014/main" xmlns="" id="{E6F165F0-F301-467B-9415-F82A564F176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73" y="1110"/>
                    <a:ext cx="426" cy="480"/>
                  </a:xfrm>
                  <a:custGeom>
                    <a:avLst/>
                    <a:gdLst>
                      <a:gd name="T0" fmla="*/ 38 w 341"/>
                      <a:gd name="T1" fmla="*/ 0 h 384"/>
                      <a:gd name="T2" fmla="*/ 0 w 341"/>
                      <a:gd name="T3" fmla="*/ 38 h 384"/>
                      <a:gd name="T4" fmla="*/ 0 w 341"/>
                      <a:gd name="T5" fmla="*/ 346 h 384"/>
                      <a:gd name="T6" fmla="*/ 38 w 341"/>
                      <a:gd name="T7" fmla="*/ 384 h 384"/>
                      <a:gd name="T8" fmla="*/ 341 w 341"/>
                      <a:gd name="T9" fmla="*/ 384 h 384"/>
                      <a:gd name="T10" fmla="*/ 275 w 341"/>
                      <a:gd name="T11" fmla="*/ 0 h 384"/>
                      <a:gd name="T12" fmla="*/ 38 w 341"/>
                      <a:gd name="T13" fmla="*/ 0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1" h="384">
                        <a:moveTo>
                          <a:pt x="38" y="0"/>
                        </a:move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341" y="384"/>
                          <a:pt x="341" y="384"/>
                          <a:pt x="341" y="384"/>
                        </a:cubicBezTo>
                        <a:cubicBezTo>
                          <a:pt x="338" y="250"/>
                          <a:pt x="316" y="121"/>
                          <a:pt x="275" y="0"/>
                        </a:cubicBezTo>
                        <a:lnTo>
                          <a:pt x="3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74" name="Freeform 15">
                    <a:extLst>
                      <a:ext uri="{FF2B5EF4-FFF2-40B4-BE49-F238E27FC236}">
                        <a16:creationId xmlns:a16="http://schemas.microsoft.com/office/drawing/2014/main" xmlns="" id="{383E183B-E2AD-499C-8FD1-B6BCA6AFB98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62" y="1665"/>
                    <a:ext cx="1051" cy="480"/>
                  </a:xfrm>
                  <a:custGeom>
                    <a:avLst/>
                    <a:gdLst>
                      <a:gd name="T0" fmla="*/ 841 w 841"/>
                      <a:gd name="T1" fmla="*/ 346 h 384"/>
                      <a:gd name="T2" fmla="*/ 841 w 841"/>
                      <a:gd name="T3" fmla="*/ 38 h 384"/>
                      <a:gd name="T4" fmla="*/ 803 w 841"/>
                      <a:gd name="T5" fmla="*/ 0 h 384"/>
                      <a:gd name="T6" fmla="*/ 34 w 841"/>
                      <a:gd name="T7" fmla="*/ 0 h 384"/>
                      <a:gd name="T8" fmla="*/ 0 w 841"/>
                      <a:gd name="T9" fmla="*/ 19 h 384"/>
                      <a:gd name="T10" fmla="*/ 69 w 841"/>
                      <a:gd name="T11" fmla="*/ 384 h 384"/>
                      <a:gd name="T12" fmla="*/ 803 w 841"/>
                      <a:gd name="T13" fmla="*/ 384 h 384"/>
                      <a:gd name="T14" fmla="*/ 841 w 841"/>
                      <a:gd name="T15" fmla="*/ 346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41" h="384">
                        <a:moveTo>
                          <a:pt x="841" y="346"/>
                        </a:moveTo>
                        <a:cubicBezTo>
                          <a:pt x="841" y="38"/>
                          <a:pt x="841" y="38"/>
                          <a:pt x="841" y="38"/>
                        </a:cubicBezTo>
                        <a:cubicBezTo>
                          <a:pt x="841" y="17"/>
                          <a:pt x="824" y="0"/>
                          <a:pt x="803" y="0"/>
                        </a:cubicBezTo>
                        <a:cubicBezTo>
                          <a:pt x="34" y="0"/>
                          <a:pt x="34" y="0"/>
                          <a:pt x="34" y="0"/>
                        </a:cubicBezTo>
                        <a:cubicBezTo>
                          <a:pt x="19" y="0"/>
                          <a:pt x="7" y="8"/>
                          <a:pt x="0" y="19"/>
                        </a:cubicBezTo>
                        <a:cubicBezTo>
                          <a:pt x="6" y="147"/>
                          <a:pt x="29" y="269"/>
                          <a:pt x="69" y="384"/>
                        </a:cubicBezTo>
                        <a:cubicBezTo>
                          <a:pt x="803" y="384"/>
                          <a:pt x="803" y="384"/>
                          <a:pt x="803" y="384"/>
                        </a:cubicBezTo>
                        <a:cubicBezTo>
                          <a:pt x="824" y="384"/>
                          <a:pt x="841" y="367"/>
                          <a:pt x="841" y="34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75" name="Freeform 16">
                    <a:extLst>
                      <a:ext uri="{FF2B5EF4-FFF2-40B4-BE49-F238E27FC236}">
                        <a16:creationId xmlns:a16="http://schemas.microsoft.com/office/drawing/2014/main" xmlns="" id="{4780FD82-45B7-482C-8719-3214B3AB5D7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77" y="1665"/>
                    <a:ext cx="1055" cy="480"/>
                  </a:xfrm>
                  <a:custGeom>
                    <a:avLst/>
                    <a:gdLst>
                      <a:gd name="T0" fmla="*/ 845 w 845"/>
                      <a:gd name="T1" fmla="*/ 346 h 384"/>
                      <a:gd name="T2" fmla="*/ 845 w 845"/>
                      <a:gd name="T3" fmla="*/ 38 h 384"/>
                      <a:gd name="T4" fmla="*/ 807 w 845"/>
                      <a:gd name="T5" fmla="*/ 0 h 384"/>
                      <a:gd name="T6" fmla="*/ 38 w 845"/>
                      <a:gd name="T7" fmla="*/ 0 h 384"/>
                      <a:gd name="T8" fmla="*/ 0 w 845"/>
                      <a:gd name="T9" fmla="*/ 38 h 384"/>
                      <a:gd name="T10" fmla="*/ 0 w 845"/>
                      <a:gd name="T11" fmla="*/ 346 h 384"/>
                      <a:gd name="T12" fmla="*/ 38 w 845"/>
                      <a:gd name="T13" fmla="*/ 384 h 384"/>
                      <a:gd name="T14" fmla="*/ 807 w 845"/>
                      <a:gd name="T15" fmla="*/ 384 h 384"/>
                      <a:gd name="T16" fmla="*/ 845 w 845"/>
                      <a:gd name="T17" fmla="*/ 346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845" y="346"/>
                        </a:move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76" name="Freeform 17">
                    <a:extLst>
                      <a:ext uri="{FF2B5EF4-FFF2-40B4-BE49-F238E27FC236}">
                        <a16:creationId xmlns:a16="http://schemas.microsoft.com/office/drawing/2014/main" xmlns="" id="{DC8B97AA-A09E-4444-8E8F-5E3BBE6AD68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97" y="1665"/>
                    <a:ext cx="1001" cy="480"/>
                  </a:xfrm>
                  <a:custGeom>
                    <a:avLst/>
                    <a:gdLst>
                      <a:gd name="T0" fmla="*/ 801 w 801"/>
                      <a:gd name="T1" fmla="*/ 0 h 384"/>
                      <a:gd name="T2" fmla="*/ 38 w 801"/>
                      <a:gd name="T3" fmla="*/ 0 h 384"/>
                      <a:gd name="T4" fmla="*/ 0 w 801"/>
                      <a:gd name="T5" fmla="*/ 38 h 384"/>
                      <a:gd name="T6" fmla="*/ 0 w 801"/>
                      <a:gd name="T7" fmla="*/ 346 h 384"/>
                      <a:gd name="T8" fmla="*/ 38 w 801"/>
                      <a:gd name="T9" fmla="*/ 384 h 384"/>
                      <a:gd name="T10" fmla="*/ 732 w 801"/>
                      <a:gd name="T11" fmla="*/ 384 h 384"/>
                      <a:gd name="T12" fmla="*/ 801 w 801"/>
                      <a:gd name="T13" fmla="*/ 0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1" h="384">
                        <a:moveTo>
                          <a:pt x="801" y="0"/>
                        </a:move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ubicBezTo>
                          <a:pt x="732" y="384"/>
                          <a:pt x="732" y="384"/>
                          <a:pt x="732" y="384"/>
                        </a:cubicBezTo>
                        <a:cubicBezTo>
                          <a:pt x="774" y="263"/>
                          <a:pt x="798" y="134"/>
                          <a:pt x="801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77" name="Freeform 18">
                    <a:extLst>
                      <a:ext uri="{FF2B5EF4-FFF2-40B4-BE49-F238E27FC236}">
                        <a16:creationId xmlns:a16="http://schemas.microsoft.com/office/drawing/2014/main" xmlns="" id="{BDA6B067-B3D4-4052-8F52-926C4920982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76" y="2220"/>
                    <a:ext cx="392" cy="480"/>
                  </a:xfrm>
                  <a:custGeom>
                    <a:avLst/>
                    <a:gdLst>
                      <a:gd name="T0" fmla="*/ 314 w 314"/>
                      <a:gd name="T1" fmla="*/ 346 h 384"/>
                      <a:gd name="T2" fmla="*/ 314 w 314"/>
                      <a:gd name="T3" fmla="*/ 38 h 384"/>
                      <a:gd name="T4" fmla="*/ 276 w 314"/>
                      <a:gd name="T5" fmla="*/ 0 h 384"/>
                      <a:gd name="T6" fmla="*/ 0 w 314"/>
                      <a:gd name="T7" fmla="*/ 0 h 384"/>
                      <a:gd name="T8" fmla="*/ 238 w 314"/>
                      <a:gd name="T9" fmla="*/ 384 h 384"/>
                      <a:gd name="T10" fmla="*/ 276 w 314"/>
                      <a:gd name="T11" fmla="*/ 384 h 384"/>
                      <a:gd name="T12" fmla="*/ 314 w 314"/>
                      <a:gd name="T13" fmla="*/ 346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14" h="384">
                        <a:moveTo>
                          <a:pt x="314" y="346"/>
                        </a:moveTo>
                        <a:cubicBezTo>
                          <a:pt x="314" y="38"/>
                          <a:pt x="314" y="38"/>
                          <a:pt x="314" y="38"/>
                        </a:cubicBezTo>
                        <a:cubicBezTo>
                          <a:pt x="314" y="17"/>
                          <a:pt x="297" y="0"/>
                          <a:pt x="276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56" y="142"/>
                          <a:pt x="138" y="272"/>
                          <a:pt x="238" y="384"/>
                        </a:cubicBezTo>
                        <a:cubicBezTo>
                          <a:pt x="276" y="384"/>
                          <a:pt x="276" y="384"/>
                          <a:pt x="276" y="384"/>
                        </a:cubicBezTo>
                        <a:cubicBezTo>
                          <a:pt x="297" y="384"/>
                          <a:pt x="314" y="367"/>
                          <a:pt x="314" y="34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78" name="Freeform 19">
                    <a:extLst>
                      <a:ext uri="{FF2B5EF4-FFF2-40B4-BE49-F238E27FC236}">
                        <a16:creationId xmlns:a16="http://schemas.microsoft.com/office/drawing/2014/main" xmlns="" id="{97A9295D-E432-489E-B20E-F45EA571BA1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833" y="2220"/>
                    <a:ext cx="1056" cy="480"/>
                  </a:xfrm>
                  <a:custGeom>
                    <a:avLst/>
                    <a:gdLst>
                      <a:gd name="T0" fmla="*/ 38 w 845"/>
                      <a:gd name="T1" fmla="*/ 384 h 384"/>
                      <a:gd name="T2" fmla="*/ 807 w 845"/>
                      <a:gd name="T3" fmla="*/ 384 h 384"/>
                      <a:gd name="T4" fmla="*/ 845 w 845"/>
                      <a:gd name="T5" fmla="*/ 346 h 384"/>
                      <a:gd name="T6" fmla="*/ 845 w 845"/>
                      <a:gd name="T7" fmla="*/ 38 h 384"/>
                      <a:gd name="T8" fmla="*/ 807 w 845"/>
                      <a:gd name="T9" fmla="*/ 0 h 384"/>
                      <a:gd name="T10" fmla="*/ 38 w 845"/>
                      <a:gd name="T11" fmla="*/ 0 h 384"/>
                      <a:gd name="T12" fmla="*/ 0 w 845"/>
                      <a:gd name="T13" fmla="*/ 38 h 384"/>
                      <a:gd name="T14" fmla="*/ 0 w 845"/>
                      <a:gd name="T15" fmla="*/ 346 h 384"/>
                      <a:gd name="T16" fmla="*/ 38 w 845"/>
                      <a:gd name="T17" fmla="*/ 384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38" y="384"/>
                        </a:move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79" name="Freeform 20">
                    <a:extLst>
                      <a:ext uri="{FF2B5EF4-FFF2-40B4-BE49-F238E27FC236}">
                        <a16:creationId xmlns:a16="http://schemas.microsoft.com/office/drawing/2014/main" xmlns="" id="{3847FEAF-C773-42BD-A883-E174277A335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52" y="2220"/>
                    <a:ext cx="1056" cy="480"/>
                  </a:xfrm>
                  <a:custGeom>
                    <a:avLst/>
                    <a:gdLst>
                      <a:gd name="T0" fmla="*/ 38 w 845"/>
                      <a:gd name="T1" fmla="*/ 384 h 384"/>
                      <a:gd name="T2" fmla="*/ 807 w 845"/>
                      <a:gd name="T3" fmla="*/ 384 h 384"/>
                      <a:gd name="T4" fmla="*/ 845 w 845"/>
                      <a:gd name="T5" fmla="*/ 346 h 384"/>
                      <a:gd name="T6" fmla="*/ 845 w 845"/>
                      <a:gd name="T7" fmla="*/ 38 h 384"/>
                      <a:gd name="T8" fmla="*/ 807 w 845"/>
                      <a:gd name="T9" fmla="*/ 0 h 384"/>
                      <a:gd name="T10" fmla="*/ 38 w 845"/>
                      <a:gd name="T11" fmla="*/ 0 h 384"/>
                      <a:gd name="T12" fmla="*/ 0 w 845"/>
                      <a:gd name="T13" fmla="*/ 38 h 384"/>
                      <a:gd name="T14" fmla="*/ 0 w 845"/>
                      <a:gd name="T15" fmla="*/ 346 h 384"/>
                      <a:gd name="T16" fmla="*/ 38 w 845"/>
                      <a:gd name="T17" fmla="*/ 384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845" h="384">
                        <a:moveTo>
                          <a:pt x="38" y="384"/>
                        </a:moveTo>
                        <a:cubicBezTo>
                          <a:pt x="807" y="384"/>
                          <a:pt x="807" y="384"/>
                          <a:pt x="807" y="384"/>
                        </a:cubicBezTo>
                        <a:cubicBezTo>
                          <a:pt x="828" y="384"/>
                          <a:pt x="845" y="367"/>
                          <a:pt x="845" y="346"/>
                        </a:cubicBez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67"/>
                          <a:pt x="17" y="384"/>
                          <a:pt x="38" y="38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80" name="Freeform 21">
                    <a:extLst>
                      <a:ext uri="{FF2B5EF4-FFF2-40B4-BE49-F238E27FC236}">
                        <a16:creationId xmlns:a16="http://schemas.microsoft.com/office/drawing/2014/main" xmlns="" id="{31AB7440-B3A7-4A67-AA17-D5747F02B27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073" y="2220"/>
                    <a:ext cx="311" cy="473"/>
                  </a:xfrm>
                  <a:custGeom>
                    <a:avLst/>
                    <a:gdLst>
                      <a:gd name="T0" fmla="*/ 38 w 249"/>
                      <a:gd name="T1" fmla="*/ 0 h 378"/>
                      <a:gd name="T2" fmla="*/ 0 w 249"/>
                      <a:gd name="T3" fmla="*/ 38 h 378"/>
                      <a:gd name="T4" fmla="*/ 0 w 249"/>
                      <a:gd name="T5" fmla="*/ 346 h 378"/>
                      <a:gd name="T6" fmla="*/ 17 w 249"/>
                      <a:gd name="T7" fmla="*/ 378 h 378"/>
                      <a:gd name="T8" fmla="*/ 249 w 249"/>
                      <a:gd name="T9" fmla="*/ 0 h 378"/>
                      <a:gd name="T10" fmla="*/ 38 w 249"/>
                      <a:gd name="T11" fmla="*/ 0 h 37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49" h="378">
                        <a:moveTo>
                          <a:pt x="38" y="0"/>
                        </a:move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46"/>
                          <a:pt x="0" y="346"/>
                          <a:pt x="0" y="346"/>
                        </a:cubicBezTo>
                        <a:cubicBezTo>
                          <a:pt x="0" y="359"/>
                          <a:pt x="6" y="371"/>
                          <a:pt x="17" y="378"/>
                        </a:cubicBezTo>
                        <a:cubicBezTo>
                          <a:pt x="114" y="267"/>
                          <a:pt x="194" y="139"/>
                          <a:pt x="249" y="0"/>
                        </a:cubicBezTo>
                        <a:lnTo>
                          <a:pt x="3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81" name="Freeform 22">
                    <a:extLst>
                      <a:ext uri="{FF2B5EF4-FFF2-40B4-BE49-F238E27FC236}">
                        <a16:creationId xmlns:a16="http://schemas.microsoft.com/office/drawing/2014/main" xmlns="" id="{E5BB765F-092F-42C3-A9AC-93900F9815E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44" y="2775"/>
                    <a:ext cx="569" cy="363"/>
                  </a:xfrm>
                  <a:custGeom>
                    <a:avLst/>
                    <a:gdLst>
                      <a:gd name="T0" fmla="*/ 455 w 455"/>
                      <a:gd name="T1" fmla="*/ 38 h 290"/>
                      <a:gd name="T2" fmla="*/ 417 w 455"/>
                      <a:gd name="T3" fmla="*/ 0 h 290"/>
                      <a:gd name="T4" fmla="*/ 0 w 455"/>
                      <a:gd name="T5" fmla="*/ 0 h 290"/>
                      <a:gd name="T6" fmla="*/ 455 w 455"/>
                      <a:gd name="T7" fmla="*/ 290 h 290"/>
                      <a:gd name="T8" fmla="*/ 455 w 455"/>
                      <a:gd name="T9" fmla="*/ 38 h 2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5" h="290">
                        <a:moveTo>
                          <a:pt x="455" y="38"/>
                        </a:moveTo>
                        <a:cubicBezTo>
                          <a:pt x="455" y="17"/>
                          <a:pt x="438" y="0"/>
                          <a:pt x="41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28" y="126"/>
                          <a:pt x="283" y="226"/>
                          <a:pt x="455" y="290"/>
                        </a:cubicBezTo>
                        <a:lnTo>
                          <a:pt x="455" y="3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82" name="Freeform 23">
                    <a:extLst>
                      <a:ext uri="{FF2B5EF4-FFF2-40B4-BE49-F238E27FC236}">
                        <a16:creationId xmlns:a16="http://schemas.microsoft.com/office/drawing/2014/main" xmlns="" id="{A629694C-0F6B-4B49-B2A8-6E7BED44193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77" y="2775"/>
                    <a:ext cx="1055" cy="465"/>
                  </a:xfrm>
                  <a:custGeom>
                    <a:avLst/>
                    <a:gdLst>
                      <a:gd name="T0" fmla="*/ 845 w 845"/>
                      <a:gd name="T1" fmla="*/ 294 h 372"/>
                      <a:gd name="T2" fmla="*/ 845 w 845"/>
                      <a:gd name="T3" fmla="*/ 38 h 372"/>
                      <a:gd name="T4" fmla="*/ 807 w 845"/>
                      <a:gd name="T5" fmla="*/ 0 h 372"/>
                      <a:gd name="T6" fmla="*/ 38 w 845"/>
                      <a:gd name="T7" fmla="*/ 0 h 372"/>
                      <a:gd name="T8" fmla="*/ 0 w 845"/>
                      <a:gd name="T9" fmla="*/ 38 h 372"/>
                      <a:gd name="T10" fmla="*/ 0 w 845"/>
                      <a:gd name="T11" fmla="*/ 308 h 372"/>
                      <a:gd name="T12" fmla="*/ 403 w 845"/>
                      <a:gd name="T13" fmla="*/ 372 h 372"/>
                      <a:gd name="T14" fmla="*/ 845 w 845"/>
                      <a:gd name="T15" fmla="*/ 294 h 3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45" h="372">
                        <a:moveTo>
                          <a:pt x="845" y="294"/>
                        </a:moveTo>
                        <a:cubicBezTo>
                          <a:pt x="845" y="38"/>
                          <a:pt x="845" y="38"/>
                          <a:pt x="845" y="38"/>
                        </a:cubicBezTo>
                        <a:cubicBezTo>
                          <a:pt x="845" y="17"/>
                          <a:pt x="828" y="0"/>
                          <a:pt x="807" y="0"/>
                        </a:cubicBezTo>
                        <a:cubicBezTo>
                          <a:pt x="38" y="0"/>
                          <a:pt x="38" y="0"/>
                          <a:pt x="38" y="0"/>
                        </a:cubicBez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308"/>
                          <a:pt x="0" y="308"/>
                          <a:pt x="0" y="308"/>
                        </a:cubicBezTo>
                        <a:cubicBezTo>
                          <a:pt x="127" y="349"/>
                          <a:pt x="262" y="372"/>
                          <a:pt x="403" y="372"/>
                        </a:cubicBezTo>
                        <a:cubicBezTo>
                          <a:pt x="558" y="372"/>
                          <a:pt x="707" y="345"/>
                          <a:pt x="845" y="29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383" name="Freeform 24">
                    <a:extLst>
                      <a:ext uri="{FF2B5EF4-FFF2-40B4-BE49-F238E27FC236}">
                        <a16:creationId xmlns:a16="http://schemas.microsoft.com/office/drawing/2014/main" xmlns="" id="{FAA11577-46BD-4C4C-9C23-791DA91DA2B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97" y="2775"/>
                    <a:ext cx="519" cy="344"/>
                  </a:xfrm>
                  <a:custGeom>
                    <a:avLst/>
                    <a:gdLst>
                      <a:gd name="T0" fmla="*/ 38 w 415"/>
                      <a:gd name="T1" fmla="*/ 0 h 275"/>
                      <a:gd name="T2" fmla="*/ 0 w 415"/>
                      <a:gd name="T3" fmla="*/ 38 h 275"/>
                      <a:gd name="T4" fmla="*/ 0 w 415"/>
                      <a:gd name="T5" fmla="*/ 275 h 275"/>
                      <a:gd name="T6" fmla="*/ 415 w 415"/>
                      <a:gd name="T7" fmla="*/ 0 h 275"/>
                      <a:gd name="T8" fmla="*/ 38 w 415"/>
                      <a:gd name="T9" fmla="*/ 0 h 2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15" h="275">
                        <a:moveTo>
                          <a:pt x="38" y="0"/>
                        </a:moveTo>
                        <a:cubicBezTo>
                          <a:pt x="17" y="0"/>
                          <a:pt x="0" y="17"/>
                          <a:pt x="0" y="38"/>
                        </a:cubicBezTo>
                        <a:cubicBezTo>
                          <a:pt x="0" y="275"/>
                          <a:pt x="0" y="275"/>
                          <a:pt x="0" y="275"/>
                        </a:cubicBezTo>
                        <a:cubicBezTo>
                          <a:pt x="156" y="210"/>
                          <a:pt x="297" y="116"/>
                          <a:pt x="415" y="0"/>
                        </a:cubicBezTo>
                        <a:lnTo>
                          <a:pt x="38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  <p:sp>
            <p:nvSpPr>
              <p:cNvPr id="1253" name="Rectangle: Rounded Corners 1252">
                <a:extLst>
                  <a:ext uri="{FF2B5EF4-FFF2-40B4-BE49-F238E27FC236}">
                    <a16:creationId xmlns:a16="http://schemas.microsoft.com/office/drawing/2014/main" xmlns="" id="{4081F893-47AA-42BA-8692-82099B83781A}"/>
                  </a:ext>
                </a:extLst>
              </p:cNvPr>
              <p:cNvSpPr/>
              <p:nvPr/>
            </p:nvSpPr>
            <p:spPr>
              <a:xfrm>
                <a:off x="14718608" y="2044203"/>
                <a:ext cx="708253" cy="527547"/>
              </a:xfrm>
              <a:prstGeom prst="roundRect">
                <a:avLst>
                  <a:gd name="adj" fmla="val 14134"/>
                </a:avLst>
              </a:prstGeom>
              <a:noFill/>
              <a:ln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254" name="Rectangle: Rounded Corners 1253">
                <a:extLst>
                  <a:ext uri="{FF2B5EF4-FFF2-40B4-BE49-F238E27FC236}">
                    <a16:creationId xmlns:a16="http://schemas.microsoft.com/office/drawing/2014/main" xmlns="" id="{B2AFD5C1-7013-447E-93CB-C722B22C5D79}"/>
                  </a:ext>
                </a:extLst>
              </p:cNvPr>
              <p:cNvSpPr/>
              <p:nvPr/>
            </p:nvSpPr>
            <p:spPr>
              <a:xfrm>
                <a:off x="14718608" y="2790238"/>
                <a:ext cx="708253" cy="527547"/>
              </a:xfrm>
              <a:prstGeom prst="roundRect">
                <a:avLst>
                  <a:gd name="adj" fmla="val 14134"/>
                </a:avLst>
              </a:prstGeom>
              <a:noFill/>
              <a:ln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255" name="Rectangle: Rounded Corners 1254">
                <a:extLst>
                  <a:ext uri="{FF2B5EF4-FFF2-40B4-BE49-F238E27FC236}">
                    <a16:creationId xmlns:a16="http://schemas.microsoft.com/office/drawing/2014/main" xmlns="" id="{71C7BA8D-792B-4DAF-812D-00DFEDEEAE4C}"/>
                  </a:ext>
                </a:extLst>
              </p:cNvPr>
              <p:cNvSpPr/>
              <p:nvPr/>
            </p:nvSpPr>
            <p:spPr>
              <a:xfrm>
                <a:off x="14423501" y="2914850"/>
                <a:ext cx="293138" cy="303808"/>
              </a:xfrm>
              <a:prstGeom prst="roundRect">
                <a:avLst>
                  <a:gd name="adj" fmla="val 14134"/>
                </a:avLst>
              </a:prstGeom>
              <a:noFill/>
              <a:ln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256" name="Rectangle: Rounded Corners 1255">
                <a:extLst>
                  <a:ext uri="{FF2B5EF4-FFF2-40B4-BE49-F238E27FC236}">
                    <a16:creationId xmlns:a16="http://schemas.microsoft.com/office/drawing/2014/main" xmlns="" id="{2B61F69B-5985-4763-A78E-72600848F801}"/>
                  </a:ext>
                </a:extLst>
              </p:cNvPr>
              <p:cNvSpPr/>
              <p:nvPr/>
            </p:nvSpPr>
            <p:spPr>
              <a:xfrm>
                <a:off x="14423501" y="2169141"/>
                <a:ext cx="293138" cy="303808"/>
              </a:xfrm>
              <a:prstGeom prst="roundRect">
                <a:avLst>
                  <a:gd name="adj" fmla="val 14134"/>
                </a:avLst>
              </a:prstGeom>
              <a:noFill/>
              <a:ln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cxnSp>
            <p:nvCxnSpPr>
              <p:cNvPr id="1257" name="Straight Connector 1256">
                <a:extLst>
                  <a:ext uri="{FF2B5EF4-FFF2-40B4-BE49-F238E27FC236}">
                    <a16:creationId xmlns:a16="http://schemas.microsoft.com/office/drawing/2014/main" xmlns="" id="{D7ACE246-E1C3-4574-803B-AB7DA3A2ECA8}"/>
                  </a:ext>
                </a:extLst>
              </p:cNvPr>
              <p:cNvCxnSpPr>
                <a:stCxn id="1253" idx="2"/>
                <a:endCxn id="1254" idx="0"/>
              </p:cNvCxnSpPr>
              <p:nvPr/>
            </p:nvCxnSpPr>
            <p:spPr>
              <a:xfrm>
                <a:off x="15072735" y="2571750"/>
                <a:ext cx="0" cy="218488"/>
              </a:xfrm>
              <a:prstGeom prst="line">
                <a:avLst/>
              </a:prstGeom>
              <a:noFill/>
              <a:ln cap="rnd">
                <a:solidFill>
                  <a:schemeClr val="accent5"/>
                </a:solidFill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1258" name="TextBox 1257">
                <a:extLst>
                  <a:ext uri="{FF2B5EF4-FFF2-40B4-BE49-F238E27FC236}">
                    <a16:creationId xmlns:a16="http://schemas.microsoft.com/office/drawing/2014/main" xmlns="" id="{0DA43480-121F-485D-BF40-07D81CD3CF04}"/>
                  </a:ext>
                </a:extLst>
              </p:cNvPr>
              <p:cNvSpPr txBox="1"/>
              <p:nvPr/>
            </p:nvSpPr>
            <p:spPr>
              <a:xfrm>
                <a:off x="13792568" y="2425448"/>
                <a:ext cx="526416" cy="519728"/>
              </a:xfrm>
              <a:prstGeom prst="ellipse">
                <a:avLst/>
              </a:prstGeom>
              <a:noFill/>
              <a:ln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algn="ctr"/>
              </a:lstStyle>
              <a:p>
                <a:endParaRPr lang="en-US" dirty="0"/>
              </a:p>
            </p:txBody>
          </p:sp>
          <p:sp>
            <p:nvSpPr>
              <p:cNvPr id="1259" name="Oval 1258">
                <a:extLst>
                  <a:ext uri="{FF2B5EF4-FFF2-40B4-BE49-F238E27FC236}">
                    <a16:creationId xmlns:a16="http://schemas.microsoft.com/office/drawing/2014/main" xmlns="" id="{9C24F530-12F6-4B97-B688-DE13ACAD37DD}"/>
                  </a:ext>
                </a:extLst>
              </p:cNvPr>
              <p:cNvSpPr/>
              <p:nvPr/>
            </p:nvSpPr>
            <p:spPr>
              <a:xfrm>
                <a:off x="13797042" y="2427829"/>
                <a:ext cx="517468" cy="517468"/>
              </a:xfrm>
              <a:prstGeom prst="ellipse">
                <a:avLst/>
              </a:prstGeom>
              <a:noFill/>
              <a:ln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941A42D-75B0-47CC-BB9B-14DCA7FBC5D0}"/>
              </a:ext>
            </a:extLst>
          </p:cNvPr>
          <p:cNvSpPr/>
          <p:nvPr/>
        </p:nvSpPr>
        <p:spPr>
          <a:xfrm>
            <a:off x="0" y="0"/>
            <a:ext cx="3048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CF3393CF-03E8-4CF0-A5FC-11D4DD9F6333}"/>
              </a:ext>
            </a:extLst>
          </p:cNvPr>
          <p:cNvSpPr txBox="1"/>
          <p:nvPr/>
        </p:nvSpPr>
        <p:spPr>
          <a:xfrm>
            <a:off x="386201" y="1341444"/>
            <a:ext cx="2614809" cy="291310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685783">
              <a:lnSpc>
                <a:spcPct val="90000"/>
              </a:lnSpc>
              <a:spcBef>
                <a:spcPts val="600"/>
              </a:spcBef>
            </a:pPr>
            <a:r>
              <a:rPr lang="en-US" sz="2400" dirty="0">
                <a:solidFill>
                  <a:schemeClr val="bg1"/>
                </a:solidFill>
                <a:latin typeface="+mj-lt"/>
                <a:ea typeface="Apple LiGothic Medium"/>
                <a:cs typeface="Apple LiGothic Medium"/>
              </a:rPr>
              <a:t>Threat </a:t>
            </a:r>
            <a:br>
              <a:rPr lang="en-US" sz="2400" dirty="0">
                <a:solidFill>
                  <a:schemeClr val="bg1"/>
                </a:solidFill>
                <a:latin typeface="+mj-lt"/>
                <a:ea typeface="Apple LiGothic Medium"/>
                <a:cs typeface="Apple LiGothic Medium"/>
              </a:rPr>
            </a:br>
            <a:r>
              <a:rPr lang="en-US" sz="2400" dirty="0">
                <a:solidFill>
                  <a:schemeClr val="bg1"/>
                </a:solidFill>
                <a:latin typeface="+mj-lt"/>
                <a:ea typeface="Apple LiGothic Medium"/>
                <a:cs typeface="Apple LiGothic Medium"/>
              </a:rPr>
              <a:t>Protection: </a:t>
            </a:r>
            <a:br>
              <a:rPr lang="en-US" sz="2400" dirty="0">
                <a:solidFill>
                  <a:schemeClr val="bg1"/>
                </a:solidFill>
                <a:latin typeface="+mj-lt"/>
                <a:ea typeface="Apple LiGothic Medium"/>
                <a:cs typeface="Apple LiGothic Medium"/>
              </a:rPr>
            </a:br>
            <a:r>
              <a:rPr lang="en-US" sz="2400" dirty="0">
                <a:solidFill>
                  <a:schemeClr val="bg2"/>
                </a:solidFill>
                <a:latin typeface="+mj-lt"/>
                <a:ea typeface="Apple LiGothic Medium"/>
                <a:cs typeface="Apple LiGothic Medium"/>
              </a:rPr>
              <a:t>Stop the </a:t>
            </a:r>
            <a:r>
              <a:rPr lang="en-US" sz="2400" dirty="0" smtClean="0">
                <a:solidFill>
                  <a:schemeClr val="bg2"/>
                </a:solidFill>
                <a:latin typeface="+mj-lt"/>
                <a:ea typeface="Apple LiGothic Medium"/>
                <a:cs typeface="Apple LiGothic Medium"/>
              </a:rPr>
              <a:t>Breach</a:t>
            </a:r>
          </a:p>
          <a:p>
            <a:pPr defTabSz="685783">
              <a:lnSpc>
                <a:spcPct val="90000"/>
              </a:lnSpc>
              <a:spcBef>
                <a:spcPts val="600"/>
              </a:spcBef>
            </a:pPr>
            <a:endParaRPr lang="en-US" sz="800" dirty="0" smtClean="0">
              <a:solidFill>
                <a:schemeClr val="bg2"/>
              </a:solidFill>
              <a:latin typeface="+mj-lt"/>
              <a:ea typeface="Apple LiGothic Medium"/>
              <a:cs typeface="Apple LiGothic Medium"/>
            </a:endParaRPr>
          </a:p>
          <a:p>
            <a:pPr defTabSz="685783">
              <a:lnSpc>
                <a:spcPct val="90000"/>
              </a:lnSpc>
              <a:spcBef>
                <a:spcPts val="600"/>
              </a:spcBef>
            </a:pPr>
            <a:r>
              <a:rPr lang="en-US" sz="2000" dirty="0" smtClean="0">
                <a:solidFill>
                  <a:schemeClr val="bg2"/>
                </a:solidFill>
                <a:latin typeface="+mj-lt"/>
                <a:ea typeface="Apple LiGothic Medium"/>
                <a:cs typeface="Apple LiGothic Medium"/>
              </a:rPr>
              <a:t>By strategically deploying threat sensors north-south, east-west</a:t>
            </a:r>
          </a:p>
          <a:p>
            <a:pPr defTabSz="685783">
              <a:lnSpc>
                <a:spcPct val="90000"/>
              </a:lnSpc>
              <a:spcBef>
                <a:spcPts val="600"/>
              </a:spcBef>
            </a:pPr>
            <a:endParaRPr lang="en-US" sz="2400" dirty="0">
              <a:solidFill>
                <a:schemeClr val="bg2"/>
              </a:solidFill>
              <a:latin typeface="+mj-lt"/>
              <a:ea typeface="Apple LiGothic Medium"/>
              <a:cs typeface="Apple LiGothic Medium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FCC2024E-4C1C-491C-89B0-E218DD07924A}"/>
              </a:ext>
            </a:extLst>
          </p:cNvPr>
          <p:cNvSpPr txBox="1"/>
          <p:nvPr/>
        </p:nvSpPr>
        <p:spPr>
          <a:xfrm>
            <a:off x="470129" y="439837"/>
            <a:ext cx="485546" cy="2585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+mj-lt"/>
                <a:ea typeface="Apple LiGothic Medium"/>
                <a:cs typeface="Apple LiGothic Medium"/>
              </a:rPr>
              <a:t>0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66B1CDC2-09F5-46B2-8C85-49C88B6107BE}"/>
              </a:ext>
            </a:extLst>
          </p:cNvPr>
          <p:cNvSpPr txBox="1"/>
          <p:nvPr/>
        </p:nvSpPr>
        <p:spPr>
          <a:xfrm>
            <a:off x="1624281" y="439837"/>
            <a:ext cx="485546" cy="2585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bg2"/>
                </a:solidFill>
                <a:latin typeface="+mj-lt"/>
                <a:ea typeface="Apple LiGothic Medium"/>
                <a:cs typeface="Apple LiGothic Medium"/>
              </a:rPr>
              <a:t>03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D509A774-3AF6-49E0-B164-3495FD8AB9F8}"/>
              </a:ext>
            </a:extLst>
          </p:cNvPr>
          <p:cNvGrpSpPr/>
          <p:nvPr/>
        </p:nvGrpSpPr>
        <p:grpSpPr>
          <a:xfrm>
            <a:off x="485585" y="710972"/>
            <a:ext cx="457390" cy="457390"/>
            <a:chOff x="485585" y="485585"/>
            <a:chExt cx="457390" cy="45739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xmlns="" id="{61C01907-C391-464F-908A-D62C0216549E}"/>
                </a:ext>
              </a:extLst>
            </p:cNvPr>
            <p:cNvSpPr/>
            <p:nvPr/>
          </p:nvSpPr>
          <p:spPr>
            <a:xfrm>
              <a:off x="485585" y="485585"/>
              <a:ext cx="457390" cy="45739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grpSp>
          <p:nvGrpSpPr>
            <p:cNvPr id="56" name="Group 55"/>
            <p:cNvGrpSpPr>
              <a:grpSpLocks noChangeAspect="1"/>
            </p:cNvGrpSpPr>
            <p:nvPr/>
          </p:nvGrpSpPr>
          <p:grpSpPr>
            <a:xfrm>
              <a:off x="549267" y="560453"/>
              <a:ext cx="318407" cy="318194"/>
              <a:chOff x="2439988" y="-1801813"/>
              <a:chExt cx="2363788" cy="2362200"/>
            </a:xfrm>
          </p:grpSpPr>
          <p:sp>
            <p:nvSpPr>
              <p:cNvPr id="52" name="Oval 36"/>
              <p:cNvSpPr>
                <a:spLocks noChangeArrowheads="1"/>
              </p:cNvSpPr>
              <p:nvPr/>
            </p:nvSpPr>
            <p:spPr bwMode="auto">
              <a:xfrm>
                <a:off x="2439988" y="-1801813"/>
                <a:ext cx="2363788" cy="2362200"/>
              </a:xfrm>
              <a:prstGeom prst="ellipse">
                <a:avLst/>
              </a:pr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35"/>
              <p:cNvSpPr>
                <a:spLocks/>
              </p:cNvSpPr>
              <p:nvPr/>
            </p:nvSpPr>
            <p:spPr bwMode="auto">
              <a:xfrm>
                <a:off x="2624138" y="-979488"/>
                <a:ext cx="2163763" cy="1539875"/>
              </a:xfrm>
              <a:custGeom>
                <a:avLst/>
                <a:gdLst>
                  <a:gd name="T0" fmla="*/ 574 w 574"/>
                  <a:gd name="T1" fmla="*/ 141 h 409"/>
                  <a:gd name="T2" fmla="*/ 527 w 574"/>
                  <a:gd name="T3" fmla="*/ 94 h 409"/>
                  <a:gd name="T4" fmla="*/ 507 w 574"/>
                  <a:gd name="T5" fmla="*/ 66 h 409"/>
                  <a:gd name="T6" fmla="*/ 505 w 574"/>
                  <a:gd name="T7" fmla="*/ 63 h 409"/>
                  <a:gd name="T8" fmla="*/ 501 w 574"/>
                  <a:gd name="T9" fmla="*/ 61 h 409"/>
                  <a:gd name="T10" fmla="*/ 499 w 574"/>
                  <a:gd name="T11" fmla="*/ 59 h 409"/>
                  <a:gd name="T12" fmla="*/ 494 w 574"/>
                  <a:gd name="T13" fmla="*/ 57 h 409"/>
                  <a:gd name="T14" fmla="*/ 493 w 574"/>
                  <a:gd name="T15" fmla="*/ 56 h 409"/>
                  <a:gd name="T16" fmla="*/ 487 w 574"/>
                  <a:gd name="T17" fmla="*/ 54 h 409"/>
                  <a:gd name="T18" fmla="*/ 485 w 574"/>
                  <a:gd name="T19" fmla="*/ 53 h 409"/>
                  <a:gd name="T20" fmla="*/ 482 w 574"/>
                  <a:gd name="T21" fmla="*/ 49 h 409"/>
                  <a:gd name="T22" fmla="*/ 479 w 574"/>
                  <a:gd name="T23" fmla="*/ 45 h 409"/>
                  <a:gd name="T24" fmla="*/ 479 w 574"/>
                  <a:gd name="T25" fmla="*/ 45 h 409"/>
                  <a:gd name="T26" fmla="*/ 475 w 574"/>
                  <a:gd name="T27" fmla="*/ 41 h 409"/>
                  <a:gd name="T28" fmla="*/ 475 w 574"/>
                  <a:gd name="T29" fmla="*/ 41 h 409"/>
                  <a:gd name="T30" fmla="*/ 471 w 574"/>
                  <a:gd name="T31" fmla="*/ 37 h 409"/>
                  <a:gd name="T32" fmla="*/ 471 w 574"/>
                  <a:gd name="T33" fmla="*/ 37 h 409"/>
                  <a:gd name="T34" fmla="*/ 466 w 574"/>
                  <a:gd name="T35" fmla="*/ 33 h 409"/>
                  <a:gd name="T36" fmla="*/ 399 w 574"/>
                  <a:gd name="T37" fmla="*/ 10 h 409"/>
                  <a:gd name="T38" fmla="*/ 327 w 574"/>
                  <a:gd name="T39" fmla="*/ 38 h 409"/>
                  <a:gd name="T40" fmla="*/ 265 w 574"/>
                  <a:gd name="T41" fmla="*/ 0 h 409"/>
                  <a:gd name="T42" fmla="*/ 256 w 574"/>
                  <a:gd name="T43" fmla="*/ 1 h 409"/>
                  <a:gd name="T44" fmla="*/ 253 w 574"/>
                  <a:gd name="T45" fmla="*/ 1 h 409"/>
                  <a:gd name="T46" fmla="*/ 251 w 574"/>
                  <a:gd name="T47" fmla="*/ 1 h 409"/>
                  <a:gd name="T48" fmla="*/ 249 w 574"/>
                  <a:gd name="T49" fmla="*/ 2 h 409"/>
                  <a:gd name="T50" fmla="*/ 247 w 574"/>
                  <a:gd name="T51" fmla="*/ 3 h 409"/>
                  <a:gd name="T52" fmla="*/ 244 w 574"/>
                  <a:gd name="T53" fmla="*/ 3 h 409"/>
                  <a:gd name="T54" fmla="*/ 242 w 574"/>
                  <a:gd name="T55" fmla="*/ 4 h 409"/>
                  <a:gd name="T56" fmla="*/ 240 w 574"/>
                  <a:gd name="T57" fmla="*/ 5 h 409"/>
                  <a:gd name="T58" fmla="*/ 238 w 574"/>
                  <a:gd name="T59" fmla="*/ 5 h 409"/>
                  <a:gd name="T60" fmla="*/ 236 w 574"/>
                  <a:gd name="T61" fmla="*/ 6 h 409"/>
                  <a:gd name="T62" fmla="*/ 234 w 574"/>
                  <a:gd name="T63" fmla="*/ 7 h 409"/>
                  <a:gd name="T64" fmla="*/ 232 w 574"/>
                  <a:gd name="T65" fmla="*/ 8 h 409"/>
                  <a:gd name="T66" fmla="*/ 230 w 574"/>
                  <a:gd name="T67" fmla="*/ 10 h 409"/>
                  <a:gd name="T68" fmla="*/ 228 w 574"/>
                  <a:gd name="T69" fmla="*/ 11 h 409"/>
                  <a:gd name="T70" fmla="*/ 225 w 574"/>
                  <a:gd name="T71" fmla="*/ 13 h 409"/>
                  <a:gd name="T72" fmla="*/ 223 w 574"/>
                  <a:gd name="T73" fmla="*/ 14 h 409"/>
                  <a:gd name="T74" fmla="*/ 221 w 574"/>
                  <a:gd name="T75" fmla="*/ 16 h 409"/>
                  <a:gd name="T76" fmla="*/ 220 w 574"/>
                  <a:gd name="T77" fmla="*/ 17 h 409"/>
                  <a:gd name="T78" fmla="*/ 218 w 574"/>
                  <a:gd name="T79" fmla="*/ 19 h 409"/>
                  <a:gd name="T80" fmla="*/ 216 w 574"/>
                  <a:gd name="T81" fmla="*/ 20 h 409"/>
                  <a:gd name="T82" fmla="*/ 215 w 574"/>
                  <a:gd name="T83" fmla="*/ 22 h 409"/>
                  <a:gd name="T84" fmla="*/ 213 w 574"/>
                  <a:gd name="T85" fmla="*/ 23 h 409"/>
                  <a:gd name="T86" fmla="*/ 212 w 574"/>
                  <a:gd name="T87" fmla="*/ 25 h 409"/>
                  <a:gd name="T88" fmla="*/ 210 w 574"/>
                  <a:gd name="T89" fmla="*/ 26 h 409"/>
                  <a:gd name="T90" fmla="*/ 209 w 574"/>
                  <a:gd name="T91" fmla="*/ 29 h 409"/>
                  <a:gd name="T92" fmla="*/ 208 w 574"/>
                  <a:gd name="T93" fmla="*/ 30 h 409"/>
                  <a:gd name="T94" fmla="*/ 206 w 574"/>
                  <a:gd name="T95" fmla="*/ 33 h 409"/>
                  <a:gd name="T96" fmla="*/ 205 w 574"/>
                  <a:gd name="T97" fmla="*/ 34 h 409"/>
                  <a:gd name="T98" fmla="*/ 203 w 574"/>
                  <a:gd name="T99" fmla="*/ 38 h 409"/>
                  <a:gd name="T100" fmla="*/ 131 w 574"/>
                  <a:gd name="T101" fmla="*/ 10 h 409"/>
                  <a:gd name="T102" fmla="*/ 45 w 574"/>
                  <a:gd name="T103" fmla="*/ 53 h 409"/>
                  <a:gd name="T104" fmla="*/ 39 w 574"/>
                  <a:gd name="T105" fmla="*/ 55 h 409"/>
                  <a:gd name="T106" fmla="*/ 38 w 574"/>
                  <a:gd name="T107" fmla="*/ 56 h 409"/>
                  <a:gd name="T108" fmla="*/ 33 w 574"/>
                  <a:gd name="T109" fmla="*/ 58 h 409"/>
                  <a:gd name="T110" fmla="*/ 32 w 574"/>
                  <a:gd name="T111" fmla="*/ 59 h 409"/>
                  <a:gd name="T112" fmla="*/ 21 w 574"/>
                  <a:gd name="T113" fmla="*/ 67 h 409"/>
                  <a:gd name="T114" fmla="*/ 0 w 574"/>
                  <a:gd name="T115" fmla="*/ 116 h 409"/>
                  <a:gd name="T116" fmla="*/ 45 w 574"/>
                  <a:gd name="T117" fmla="*/ 180 h 409"/>
                  <a:gd name="T118" fmla="*/ 75 w 574"/>
                  <a:gd name="T119" fmla="*/ 207 h 409"/>
                  <a:gd name="T120" fmla="*/ 277 w 574"/>
                  <a:gd name="T121" fmla="*/ 409 h 409"/>
                  <a:gd name="T122" fmla="*/ 574 w 574"/>
                  <a:gd name="T123" fmla="*/ 141 h 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74" h="409">
                    <a:moveTo>
                      <a:pt x="574" y="141"/>
                    </a:moveTo>
                    <a:cubicBezTo>
                      <a:pt x="527" y="94"/>
                      <a:pt x="527" y="94"/>
                      <a:pt x="527" y="94"/>
                    </a:cubicBezTo>
                    <a:cubicBezTo>
                      <a:pt x="523" y="83"/>
                      <a:pt x="516" y="73"/>
                      <a:pt x="507" y="66"/>
                    </a:cubicBezTo>
                    <a:cubicBezTo>
                      <a:pt x="506" y="65"/>
                      <a:pt x="505" y="64"/>
                      <a:pt x="505" y="63"/>
                    </a:cubicBezTo>
                    <a:cubicBezTo>
                      <a:pt x="504" y="63"/>
                      <a:pt x="502" y="62"/>
                      <a:pt x="501" y="61"/>
                    </a:cubicBezTo>
                    <a:cubicBezTo>
                      <a:pt x="500" y="60"/>
                      <a:pt x="500" y="60"/>
                      <a:pt x="499" y="59"/>
                    </a:cubicBezTo>
                    <a:cubicBezTo>
                      <a:pt x="497" y="58"/>
                      <a:pt x="496" y="58"/>
                      <a:pt x="494" y="57"/>
                    </a:cubicBezTo>
                    <a:cubicBezTo>
                      <a:pt x="494" y="57"/>
                      <a:pt x="493" y="56"/>
                      <a:pt x="493" y="56"/>
                    </a:cubicBezTo>
                    <a:cubicBezTo>
                      <a:pt x="491" y="55"/>
                      <a:pt x="489" y="54"/>
                      <a:pt x="487" y="54"/>
                    </a:cubicBezTo>
                    <a:cubicBezTo>
                      <a:pt x="486" y="53"/>
                      <a:pt x="486" y="53"/>
                      <a:pt x="485" y="53"/>
                    </a:cubicBezTo>
                    <a:cubicBezTo>
                      <a:pt x="484" y="52"/>
                      <a:pt x="483" y="51"/>
                      <a:pt x="482" y="49"/>
                    </a:cubicBezTo>
                    <a:cubicBezTo>
                      <a:pt x="481" y="48"/>
                      <a:pt x="480" y="47"/>
                      <a:pt x="479" y="45"/>
                    </a:cubicBezTo>
                    <a:cubicBezTo>
                      <a:pt x="479" y="45"/>
                      <a:pt x="479" y="45"/>
                      <a:pt x="479" y="45"/>
                    </a:cubicBezTo>
                    <a:cubicBezTo>
                      <a:pt x="477" y="44"/>
                      <a:pt x="476" y="42"/>
                      <a:pt x="475" y="41"/>
                    </a:cubicBezTo>
                    <a:cubicBezTo>
                      <a:pt x="475" y="41"/>
                      <a:pt x="475" y="41"/>
                      <a:pt x="475" y="41"/>
                    </a:cubicBezTo>
                    <a:cubicBezTo>
                      <a:pt x="473" y="39"/>
                      <a:pt x="472" y="38"/>
                      <a:pt x="471" y="37"/>
                    </a:cubicBezTo>
                    <a:cubicBezTo>
                      <a:pt x="471" y="37"/>
                      <a:pt x="471" y="37"/>
                      <a:pt x="471" y="37"/>
                    </a:cubicBezTo>
                    <a:cubicBezTo>
                      <a:pt x="469" y="36"/>
                      <a:pt x="468" y="34"/>
                      <a:pt x="466" y="33"/>
                    </a:cubicBezTo>
                    <a:cubicBezTo>
                      <a:pt x="448" y="18"/>
                      <a:pt x="425" y="10"/>
                      <a:pt x="399" y="10"/>
                    </a:cubicBezTo>
                    <a:cubicBezTo>
                      <a:pt x="372" y="10"/>
                      <a:pt x="346" y="20"/>
                      <a:pt x="327" y="38"/>
                    </a:cubicBezTo>
                    <a:cubicBezTo>
                      <a:pt x="316" y="15"/>
                      <a:pt x="292" y="0"/>
                      <a:pt x="265" y="0"/>
                    </a:cubicBezTo>
                    <a:cubicBezTo>
                      <a:pt x="262" y="0"/>
                      <a:pt x="259" y="0"/>
                      <a:pt x="256" y="1"/>
                    </a:cubicBezTo>
                    <a:cubicBezTo>
                      <a:pt x="255" y="1"/>
                      <a:pt x="254" y="1"/>
                      <a:pt x="253" y="1"/>
                    </a:cubicBezTo>
                    <a:cubicBezTo>
                      <a:pt x="252" y="1"/>
                      <a:pt x="252" y="1"/>
                      <a:pt x="251" y="1"/>
                    </a:cubicBezTo>
                    <a:cubicBezTo>
                      <a:pt x="250" y="2"/>
                      <a:pt x="249" y="2"/>
                      <a:pt x="249" y="2"/>
                    </a:cubicBezTo>
                    <a:cubicBezTo>
                      <a:pt x="248" y="2"/>
                      <a:pt x="247" y="2"/>
                      <a:pt x="247" y="3"/>
                    </a:cubicBezTo>
                    <a:cubicBezTo>
                      <a:pt x="246" y="3"/>
                      <a:pt x="245" y="3"/>
                      <a:pt x="244" y="3"/>
                    </a:cubicBezTo>
                    <a:cubicBezTo>
                      <a:pt x="244" y="3"/>
                      <a:pt x="243" y="4"/>
                      <a:pt x="242" y="4"/>
                    </a:cubicBezTo>
                    <a:cubicBezTo>
                      <a:pt x="242" y="4"/>
                      <a:pt x="241" y="4"/>
                      <a:pt x="240" y="5"/>
                    </a:cubicBezTo>
                    <a:cubicBezTo>
                      <a:pt x="239" y="5"/>
                      <a:pt x="239" y="5"/>
                      <a:pt x="238" y="5"/>
                    </a:cubicBezTo>
                    <a:cubicBezTo>
                      <a:pt x="237" y="6"/>
                      <a:pt x="237" y="6"/>
                      <a:pt x="236" y="6"/>
                    </a:cubicBezTo>
                    <a:cubicBezTo>
                      <a:pt x="235" y="7"/>
                      <a:pt x="235" y="7"/>
                      <a:pt x="234" y="7"/>
                    </a:cubicBezTo>
                    <a:cubicBezTo>
                      <a:pt x="233" y="8"/>
                      <a:pt x="233" y="8"/>
                      <a:pt x="232" y="8"/>
                    </a:cubicBezTo>
                    <a:cubicBezTo>
                      <a:pt x="231" y="9"/>
                      <a:pt x="231" y="9"/>
                      <a:pt x="230" y="10"/>
                    </a:cubicBezTo>
                    <a:cubicBezTo>
                      <a:pt x="229" y="10"/>
                      <a:pt x="229" y="10"/>
                      <a:pt x="228" y="11"/>
                    </a:cubicBezTo>
                    <a:cubicBezTo>
                      <a:pt x="227" y="11"/>
                      <a:pt x="226" y="12"/>
                      <a:pt x="225" y="13"/>
                    </a:cubicBezTo>
                    <a:cubicBezTo>
                      <a:pt x="224" y="13"/>
                      <a:pt x="224" y="14"/>
                      <a:pt x="223" y="14"/>
                    </a:cubicBezTo>
                    <a:cubicBezTo>
                      <a:pt x="223" y="15"/>
                      <a:pt x="222" y="15"/>
                      <a:pt x="221" y="16"/>
                    </a:cubicBezTo>
                    <a:cubicBezTo>
                      <a:pt x="221" y="16"/>
                      <a:pt x="220" y="16"/>
                      <a:pt x="220" y="17"/>
                    </a:cubicBezTo>
                    <a:cubicBezTo>
                      <a:pt x="219" y="17"/>
                      <a:pt x="218" y="18"/>
                      <a:pt x="218" y="19"/>
                    </a:cubicBezTo>
                    <a:cubicBezTo>
                      <a:pt x="217" y="19"/>
                      <a:pt x="217" y="19"/>
                      <a:pt x="216" y="20"/>
                    </a:cubicBezTo>
                    <a:cubicBezTo>
                      <a:pt x="216" y="21"/>
                      <a:pt x="215" y="21"/>
                      <a:pt x="215" y="22"/>
                    </a:cubicBezTo>
                    <a:cubicBezTo>
                      <a:pt x="214" y="22"/>
                      <a:pt x="214" y="23"/>
                      <a:pt x="213" y="23"/>
                    </a:cubicBezTo>
                    <a:cubicBezTo>
                      <a:pt x="213" y="24"/>
                      <a:pt x="212" y="24"/>
                      <a:pt x="212" y="25"/>
                    </a:cubicBezTo>
                    <a:cubicBezTo>
                      <a:pt x="211" y="26"/>
                      <a:pt x="211" y="26"/>
                      <a:pt x="210" y="26"/>
                    </a:cubicBezTo>
                    <a:cubicBezTo>
                      <a:pt x="210" y="27"/>
                      <a:pt x="209" y="28"/>
                      <a:pt x="209" y="29"/>
                    </a:cubicBezTo>
                    <a:cubicBezTo>
                      <a:pt x="208" y="29"/>
                      <a:pt x="208" y="30"/>
                      <a:pt x="208" y="30"/>
                    </a:cubicBezTo>
                    <a:cubicBezTo>
                      <a:pt x="207" y="31"/>
                      <a:pt x="207" y="32"/>
                      <a:pt x="206" y="33"/>
                    </a:cubicBezTo>
                    <a:cubicBezTo>
                      <a:pt x="206" y="33"/>
                      <a:pt x="206" y="33"/>
                      <a:pt x="205" y="34"/>
                    </a:cubicBezTo>
                    <a:cubicBezTo>
                      <a:pt x="205" y="35"/>
                      <a:pt x="204" y="36"/>
                      <a:pt x="203" y="38"/>
                    </a:cubicBezTo>
                    <a:cubicBezTo>
                      <a:pt x="184" y="20"/>
                      <a:pt x="159" y="10"/>
                      <a:pt x="131" y="10"/>
                    </a:cubicBezTo>
                    <a:cubicBezTo>
                      <a:pt x="96" y="10"/>
                      <a:pt x="65" y="27"/>
                      <a:pt x="45" y="53"/>
                    </a:cubicBezTo>
                    <a:cubicBezTo>
                      <a:pt x="43" y="53"/>
                      <a:pt x="41" y="54"/>
                      <a:pt x="39" y="55"/>
                    </a:cubicBezTo>
                    <a:cubicBezTo>
                      <a:pt x="39" y="55"/>
                      <a:pt x="38" y="56"/>
                      <a:pt x="38" y="56"/>
                    </a:cubicBezTo>
                    <a:cubicBezTo>
                      <a:pt x="36" y="57"/>
                      <a:pt x="35" y="57"/>
                      <a:pt x="33" y="58"/>
                    </a:cubicBezTo>
                    <a:cubicBezTo>
                      <a:pt x="33" y="59"/>
                      <a:pt x="33" y="59"/>
                      <a:pt x="32" y="59"/>
                    </a:cubicBezTo>
                    <a:cubicBezTo>
                      <a:pt x="28" y="61"/>
                      <a:pt x="25" y="64"/>
                      <a:pt x="21" y="67"/>
                    </a:cubicBezTo>
                    <a:cubicBezTo>
                      <a:pt x="8" y="79"/>
                      <a:pt x="0" y="97"/>
                      <a:pt x="0" y="116"/>
                    </a:cubicBezTo>
                    <a:cubicBezTo>
                      <a:pt x="0" y="146"/>
                      <a:pt x="19" y="171"/>
                      <a:pt x="45" y="180"/>
                    </a:cubicBezTo>
                    <a:cubicBezTo>
                      <a:pt x="53" y="191"/>
                      <a:pt x="63" y="200"/>
                      <a:pt x="75" y="207"/>
                    </a:cubicBezTo>
                    <a:cubicBezTo>
                      <a:pt x="277" y="409"/>
                      <a:pt x="277" y="409"/>
                      <a:pt x="277" y="409"/>
                    </a:cubicBezTo>
                    <a:cubicBezTo>
                      <a:pt x="429" y="403"/>
                      <a:pt x="553" y="289"/>
                      <a:pt x="574" y="141"/>
                    </a:cubicBezTo>
                    <a:close/>
                  </a:path>
                </a:pathLst>
              </a:custGeom>
              <a:solidFill>
                <a:srgbClr val="00B6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34"/>
              <p:cNvSpPr>
                <a:spLocks/>
              </p:cNvSpPr>
              <p:nvPr/>
            </p:nvSpPr>
            <p:spPr bwMode="auto">
              <a:xfrm>
                <a:off x="2624138" y="-979488"/>
                <a:ext cx="2001838" cy="839788"/>
              </a:xfrm>
              <a:custGeom>
                <a:avLst/>
                <a:gdLst>
                  <a:gd name="T0" fmla="*/ 485 w 531"/>
                  <a:gd name="T1" fmla="*/ 53 h 223"/>
                  <a:gd name="T2" fmla="*/ 399 w 531"/>
                  <a:gd name="T3" fmla="*/ 10 h 223"/>
                  <a:gd name="T4" fmla="*/ 327 w 531"/>
                  <a:gd name="T5" fmla="*/ 38 h 223"/>
                  <a:gd name="T6" fmla="*/ 265 w 531"/>
                  <a:gd name="T7" fmla="*/ 0 h 223"/>
                  <a:gd name="T8" fmla="*/ 203 w 531"/>
                  <a:gd name="T9" fmla="*/ 38 h 223"/>
                  <a:gd name="T10" fmla="*/ 131 w 531"/>
                  <a:gd name="T11" fmla="*/ 10 h 223"/>
                  <a:gd name="T12" fmla="*/ 45 w 531"/>
                  <a:gd name="T13" fmla="*/ 53 h 223"/>
                  <a:gd name="T14" fmla="*/ 0 w 531"/>
                  <a:gd name="T15" fmla="*/ 116 h 223"/>
                  <a:gd name="T16" fmla="*/ 45 w 531"/>
                  <a:gd name="T17" fmla="*/ 180 h 223"/>
                  <a:gd name="T18" fmla="*/ 131 w 531"/>
                  <a:gd name="T19" fmla="*/ 223 h 223"/>
                  <a:gd name="T20" fmla="*/ 236 w 531"/>
                  <a:gd name="T21" fmla="*/ 134 h 223"/>
                  <a:gd name="T22" fmla="*/ 265 w 531"/>
                  <a:gd name="T23" fmla="*/ 140 h 223"/>
                  <a:gd name="T24" fmla="*/ 294 w 531"/>
                  <a:gd name="T25" fmla="*/ 134 h 223"/>
                  <a:gd name="T26" fmla="*/ 399 w 531"/>
                  <a:gd name="T27" fmla="*/ 223 h 223"/>
                  <a:gd name="T28" fmla="*/ 485 w 531"/>
                  <a:gd name="T29" fmla="*/ 180 h 223"/>
                  <a:gd name="T30" fmla="*/ 531 w 531"/>
                  <a:gd name="T31" fmla="*/ 116 h 223"/>
                  <a:gd name="T32" fmla="*/ 485 w 531"/>
                  <a:gd name="T33" fmla="*/ 5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1" h="223">
                    <a:moveTo>
                      <a:pt x="485" y="53"/>
                    </a:moveTo>
                    <a:cubicBezTo>
                      <a:pt x="466" y="27"/>
                      <a:pt x="434" y="10"/>
                      <a:pt x="399" y="10"/>
                    </a:cubicBezTo>
                    <a:cubicBezTo>
                      <a:pt x="372" y="10"/>
                      <a:pt x="346" y="20"/>
                      <a:pt x="327" y="38"/>
                    </a:cubicBezTo>
                    <a:cubicBezTo>
                      <a:pt x="316" y="15"/>
                      <a:pt x="292" y="0"/>
                      <a:pt x="265" y="0"/>
                    </a:cubicBezTo>
                    <a:cubicBezTo>
                      <a:pt x="238" y="0"/>
                      <a:pt x="215" y="15"/>
                      <a:pt x="203" y="38"/>
                    </a:cubicBezTo>
                    <a:cubicBezTo>
                      <a:pt x="184" y="20"/>
                      <a:pt x="159" y="10"/>
                      <a:pt x="131" y="10"/>
                    </a:cubicBezTo>
                    <a:cubicBezTo>
                      <a:pt x="96" y="10"/>
                      <a:pt x="65" y="27"/>
                      <a:pt x="45" y="53"/>
                    </a:cubicBezTo>
                    <a:cubicBezTo>
                      <a:pt x="19" y="62"/>
                      <a:pt x="0" y="87"/>
                      <a:pt x="0" y="116"/>
                    </a:cubicBezTo>
                    <a:cubicBezTo>
                      <a:pt x="0" y="146"/>
                      <a:pt x="19" y="171"/>
                      <a:pt x="45" y="180"/>
                    </a:cubicBezTo>
                    <a:cubicBezTo>
                      <a:pt x="65" y="206"/>
                      <a:pt x="96" y="223"/>
                      <a:pt x="131" y="223"/>
                    </a:cubicBezTo>
                    <a:cubicBezTo>
                      <a:pt x="184" y="223"/>
                      <a:pt x="228" y="184"/>
                      <a:pt x="236" y="134"/>
                    </a:cubicBezTo>
                    <a:cubicBezTo>
                      <a:pt x="245" y="138"/>
                      <a:pt x="255" y="140"/>
                      <a:pt x="265" y="140"/>
                    </a:cubicBezTo>
                    <a:cubicBezTo>
                      <a:pt x="276" y="140"/>
                      <a:pt x="285" y="138"/>
                      <a:pt x="294" y="134"/>
                    </a:cubicBezTo>
                    <a:cubicBezTo>
                      <a:pt x="302" y="184"/>
                      <a:pt x="346" y="223"/>
                      <a:pt x="399" y="223"/>
                    </a:cubicBezTo>
                    <a:cubicBezTo>
                      <a:pt x="434" y="223"/>
                      <a:pt x="466" y="206"/>
                      <a:pt x="485" y="180"/>
                    </a:cubicBezTo>
                    <a:cubicBezTo>
                      <a:pt x="512" y="171"/>
                      <a:pt x="531" y="146"/>
                      <a:pt x="531" y="116"/>
                    </a:cubicBezTo>
                    <a:cubicBezTo>
                      <a:pt x="531" y="87"/>
                      <a:pt x="512" y="62"/>
                      <a:pt x="485" y="53"/>
                    </a:cubicBezTo>
                    <a:close/>
                  </a:path>
                </a:pathLst>
              </a:custGeom>
              <a:solidFill>
                <a:srgbClr val="00A3CC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Oval 32"/>
              <p:cNvSpPr>
                <a:spLocks noChangeArrowheads="1"/>
              </p:cNvSpPr>
              <p:nvPr/>
            </p:nvSpPr>
            <p:spPr bwMode="auto">
              <a:xfrm>
                <a:off x="2851151" y="-806451"/>
                <a:ext cx="534988" cy="530225"/>
              </a:xfrm>
              <a:prstGeom prst="ellipse">
                <a:avLst/>
              </a:prstGeom>
              <a:solidFill>
                <a:srgbClr val="00BCEB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Oval 33"/>
              <p:cNvSpPr>
                <a:spLocks noChangeArrowheads="1"/>
              </p:cNvSpPr>
              <p:nvPr/>
            </p:nvSpPr>
            <p:spPr bwMode="auto">
              <a:xfrm>
                <a:off x="3863976" y="-806451"/>
                <a:ext cx="531813" cy="530225"/>
              </a:xfrm>
              <a:prstGeom prst="ellipse">
                <a:avLst/>
              </a:prstGeom>
              <a:solidFill>
                <a:srgbClr val="00BCEB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00C164E4-AA47-44D6-A4CF-A840F3257CAD}"/>
              </a:ext>
            </a:extLst>
          </p:cNvPr>
          <p:cNvGrpSpPr/>
          <p:nvPr/>
        </p:nvGrpSpPr>
        <p:grpSpPr>
          <a:xfrm>
            <a:off x="1643331" y="710972"/>
            <a:ext cx="457390" cy="457390"/>
            <a:chOff x="1866501" y="485585"/>
            <a:chExt cx="457390" cy="457390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xmlns="" id="{E7BA089C-A271-4556-8CB7-A3D326590ACE}"/>
                </a:ext>
              </a:extLst>
            </p:cNvPr>
            <p:cNvSpPr/>
            <p:nvPr/>
          </p:nvSpPr>
          <p:spPr>
            <a:xfrm>
              <a:off x="1866501" y="485585"/>
              <a:ext cx="457390" cy="45739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64" name="Group 63"/>
            <p:cNvGrpSpPr/>
            <p:nvPr/>
          </p:nvGrpSpPr>
          <p:grpSpPr>
            <a:xfrm>
              <a:off x="1925765" y="544915"/>
              <a:ext cx="349271" cy="349271"/>
              <a:chOff x="2581275" y="3149114"/>
              <a:chExt cx="933450" cy="933450"/>
            </a:xfrm>
          </p:grpSpPr>
          <p:sp>
            <p:nvSpPr>
              <p:cNvPr id="30" name="Freeform 25"/>
              <p:cNvSpPr>
                <a:spLocks/>
              </p:cNvSpPr>
              <p:nvPr/>
            </p:nvSpPr>
            <p:spPr bwMode="auto">
              <a:xfrm>
                <a:off x="2581275" y="3149114"/>
                <a:ext cx="933450" cy="933450"/>
              </a:xfrm>
              <a:custGeom>
                <a:avLst/>
                <a:gdLst>
                  <a:gd name="T0" fmla="*/ 1039 w 1264"/>
                  <a:gd name="T1" fmla="*/ 1039 h 1264"/>
                  <a:gd name="T2" fmla="*/ 225 w 1264"/>
                  <a:gd name="T3" fmla="*/ 1039 h 1264"/>
                  <a:gd name="T4" fmla="*/ 225 w 1264"/>
                  <a:gd name="T5" fmla="*/ 225 h 1264"/>
                  <a:gd name="T6" fmla="*/ 1039 w 1264"/>
                  <a:gd name="T7" fmla="*/ 225 h 1264"/>
                  <a:gd name="T8" fmla="*/ 1039 w 1264"/>
                  <a:gd name="T9" fmla="*/ 1039 h 1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4" h="1264">
                    <a:moveTo>
                      <a:pt x="1039" y="1039"/>
                    </a:moveTo>
                    <a:cubicBezTo>
                      <a:pt x="814" y="1264"/>
                      <a:pt x="450" y="1264"/>
                      <a:pt x="225" y="1039"/>
                    </a:cubicBezTo>
                    <a:cubicBezTo>
                      <a:pt x="0" y="814"/>
                      <a:pt x="0" y="450"/>
                      <a:pt x="225" y="225"/>
                    </a:cubicBezTo>
                    <a:cubicBezTo>
                      <a:pt x="450" y="0"/>
                      <a:pt x="814" y="0"/>
                      <a:pt x="1039" y="225"/>
                    </a:cubicBezTo>
                    <a:cubicBezTo>
                      <a:pt x="1264" y="450"/>
                      <a:pt x="1264" y="814"/>
                      <a:pt x="1039" y="1039"/>
                    </a:cubicBezTo>
                    <a:close/>
                  </a:path>
                </a:pathLst>
              </a:cu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59"/>
              <p:cNvSpPr>
                <a:spLocks/>
              </p:cNvSpPr>
              <p:nvPr/>
            </p:nvSpPr>
            <p:spPr bwMode="auto">
              <a:xfrm>
                <a:off x="2912865" y="3411052"/>
                <a:ext cx="560585" cy="619125"/>
              </a:xfrm>
              <a:custGeom>
                <a:avLst/>
                <a:gdLst>
                  <a:gd name="connsiteX0" fmla="*/ 343475 w 560585"/>
                  <a:gd name="connsiteY0" fmla="*/ 0 h 619125"/>
                  <a:gd name="connsiteX1" fmla="*/ 560585 w 560585"/>
                  <a:gd name="connsiteY1" fmla="*/ 219427 h 619125"/>
                  <a:gd name="connsiteX2" fmla="*/ 435784 w 560585"/>
                  <a:gd name="connsiteY2" fmla="*/ 506087 h 619125"/>
                  <a:gd name="connsiteX3" fmla="*/ 236397 w 560585"/>
                  <a:gd name="connsiteY3" fmla="*/ 619125 h 619125"/>
                  <a:gd name="connsiteX4" fmla="*/ 87 w 560585"/>
                  <a:gd name="connsiteY4" fmla="*/ 393048 h 619125"/>
                  <a:gd name="connsiteX5" fmla="*/ 64 w 560585"/>
                  <a:gd name="connsiteY5" fmla="*/ 391571 h 619125"/>
                  <a:gd name="connsiteX6" fmla="*/ 0 w 560585"/>
                  <a:gd name="connsiteY6" fmla="*/ 387488 h 619125"/>
                  <a:gd name="connsiteX7" fmla="*/ 49858 w 560585"/>
                  <a:gd name="connsiteY7" fmla="*/ 430601 h 619125"/>
                  <a:gd name="connsiteX8" fmla="*/ 135135 w 560585"/>
                  <a:gd name="connsiteY8" fmla="*/ 463550 h 619125"/>
                  <a:gd name="connsiteX9" fmla="*/ 347860 w 560585"/>
                  <a:gd name="connsiteY9" fmla="*/ 204928 h 619125"/>
                  <a:gd name="connsiteX10" fmla="*/ 347860 w 560585"/>
                  <a:gd name="connsiteY10" fmla="*/ 14093 h 619125"/>
                  <a:gd name="connsiteX11" fmla="*/ 342392 w 560585"/>
                  <a:gd name="connsiteY11" fmla="*/ 938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60585" h="619125">
                    <a:moveTo>
                      <a:pt x="343475" y="0"/>
                    </a:moveTo>
                    <a:cubicBezTo>
                      <a:pt x="343475" y="0"/>
                      <a:pt x="343475" y="0"/>
                      <a:pt x="560585" y="219427"/>
                    </a:cubicBezTo>
                    <a:cubicBezTo>
                      <a:pt x="556893" y="323600"/>
                      <a:pt x="515539" y="427034"/>
                      <a:pt x="435784" y="506087"/>
                    </a:cubicBezTo>
                    <a:cubicBezTo>
                      <a:pt x="378922" y="563714"/>
                      <a:pt x="309506" y="601394"/>
                      <a:pt x="236397" y="619125"/>
                    </a:cubicBezTo>
                    <a:cubicBezTo>
                      <a:pt x="236397" y="619125"/>
                      <a:pt x="236397" y="619125"/>
                      <a:pt x="87" y="393048"/>
                    </a:cubicBezTo>
                    <a:cubicBezTo>
                      <a:pt x="87" y="393048"/>
                      <a:pt x="87" y="393048"/>
                      <a:pt x="64" y="391571"/>
                    </a:cubicBezTo>
                    <a:lnTo>
                      <a:pt x="0" y="387488"/>
                    </a:lnTo>
                    <a:lnTo>
                      <a:pt x="49858" y="430601"/>
                    </a:lnTo>
                    <a:cubicBezTo>
                      <a:pt x="75583" y="446143"/>
                      <a:pt x="104297" y="457471"/>
                      <a:pt x="135135" y="463550"/>
                    </a:cubicBezTo>
                    <a:cubicBezTo>
                      <a:pt x="258486" y="439235"/>
                      <a:pt x="347860" y="330924"/>
                      <a:pt x="347860" y="204928"/>
                    </a:cubicBezTo>
                    <a:cubicBezTo>
                      <a:pt x="347860" y="14093"/>
                      <a:pt x="347860" y="14093"/>
                      <a:pt x="347860" y="14093"/>
                    </a:cubicBezTo>
                    <a:lnTo>
                      <a:pt x="342392" y="938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grpSp>
            <p:nvGrpSpPr>
              <p:cNvPr id="63" name="Group 62"/>
              <p:cNvGrpSpPr/>
              <p:nvPr/>
            </p:nvGrpSpPr>
            <p:grpSpPr>
              <a:xfrm>
                <a:off x="2835275" y="3350727"/>
                <a:ext cx="425450" cy="523875"/>
                <a:chOff x="2835275" y="3350727"/>
                <a:chExt cx="425450" cy="523875"/>
              </a:xfrm>
              <a:solidFill>
                <a:schemeClr val="accent1">
                  <a:lumMod val="75000"/>
                  <a:alpha val="40000"/>
                </a:schemeClr>
              </a:solidFill>
            </p:grpSpPr>
            <p:sp>
              <p:nvSpPr>
                <p:cNvPr id="61" name="Freeform 27"/>
                <p:cNvSpPr>
                  <a:spLocks/>
                </p:cNvSpPr>
                <p:nvPr/>
              </p:nvSpPr>
              <p:spPr bwMode="auto">
                <a:xfrm>
                  <a:off x="2835275" y="3350727"/>
                  <a:ext cx="425450" cy="523875"/>
                </a:xfrm>
                <a:custGeom>
                  <a:avLst/>
                  <a:gdLst>
                    <a:gd name="T0" fmla="*/ 0 w 576"/>
                    <a:gd name="T1" fmla="*/ 101 h 711"/>
                    <a:gd name="T2" fmla="*/ 0 w 576"/>
                    <a:gd name="T3" fmla="*/ 360 h 711"/>
                    <a:gd name="T4" fmla="*/ 288 w 576"/>
                    <a:gd name="T5" fmla="*/ 711 h 711"/>
                    <a:gd name="T6" fmla="*/ 288 w 576"/>
                    <a:gd name="T7" fmla="*/ 711 h 711"/>
                    <a:gd name="T8" fmla="*/ 288 w 576"/>
                    <a:gd name="T9" fmla="*/ 711 h 711"/>
                    <a:gd name="T10" fmla="*/ 576 w 576"/>
                    <a:gd name="T11" fmla="*/ 360 h 711"/>
                    <a:gd name="T12" fmla="*/ 576 w 576"/>
                    <a:gd name="T13" fmla="*/ 101 h 711"/>
                    <a:gd name="T14" fmla="*/ 547 w 576"/>
                    <a:gd name="T15" fmla="*/ 72 h 711"/>
                    <a:gd name="T16" fmla="*/ 513 w 576"/>
                    <a:gd name="T17" fmla="*/ 72 h 711"/>
                    <a:gd name="T18" fmla="*/ 288 w 576"/>
                    <a:gd name="T19" fmla="*/ 0 h 711"/>
                    <a:gd name="T20" fmla="*/ 288 w 576"/>
                    <a:gd name="T21" fmla="*/ 0 h 711"/>
                    <a:gd name="T22" fmla="*/ 288 w 576"/>
                    <a:gd name="T23" fmla="*/ 0 h 711"/>
                    <a:gd name="T24" fmla="*/ 63 w 576"/>
                    <a:gd name="T25" fmla="*/ 72 h 711"/>
                    <a:gd name="T26" fmla="*/ 29 w 576"/>
                    <a:gd name="T27" fmla="*/ 72 h 711"/>
                    <a:gd name="T28" fmla="*/ 0 w 576"/>
                    <a:gd name="T29" fmla="*/ 101 h 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76" h="711">
                      <a:moveTo>
                        <a:pt x="0" y="101"/>
                      </a:moveTo>
                      <a:cubicBezTo>
                        <a:pt x="0" y="360"/>
                        <a:pt x="0" y="360"/>
                        <a:pt x="0" y="360"/>
                      </a:cubicBezTo>
                      <a:cubicBezTo>
                        <a:pt x="0" y="531"/>
                        <a:pt x="121" y="678"/>
                        <a:pt x="288" y="711"/>
                      </a:cubicBezTo>
                      <a:cubicBezTo>
                        <a:pt x="288" y="711"/>
                        <a:pt x="288" y="711"/>
                        <a:pt x="288" y="711"/>
                      </a:cubicBezTo>
                      <a:cubicBezTo>
                        <a:pt x="288" y="711"/>
                        <a:pt x="288" y="711"/>
                        <a:pt x="288" y="711"/>
                      </a:cubicBezTo>
                      <a:cubicBezTo>
                        <a:pt x="455" y="678"/>
                        <a:pt x="576" y="531"/>
                        <a:pt x="576" y="360"/>
                      </a:cubicBezTo>
                      <a:cubicBezTo>
                        <a:pt x="576" y="101"/>
                        <a:pt x="576" y="101"/>
                        <a:pt x="576" y="101"/>
                      </a:cubicBezTo>
                      <a:cubicBezTo>
                        <a:pt x="576" y="85"/>
                        <a:pt x="563" y="72"/>
                        <a:pt x="547" y="72"/>
                      </a:cubicBezTo>
                      <a:cubicBezTo>
                        <a:pt x="513" y="72"/>
                        <a:pt x="513" y="72"/>
                        <a:pt x="513" y="72"/>
                      </a:cubicBezTo>
                      <a:cubicBezTo>
                        <a:pt x="432" y="72"/>
                        <a:pt x="354" y="47"/>
                        <a:pt x="288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22" y="47"/>
                        <a:pt x="144" y="72"/>
                        <a:pt x="63" y="72"/>
                      </a:cubicBezTo>
                      <a:cubicBezTo>
                        <a:pt x="29" y="72"/>
                        <a:pt x="29" y="72"/>
                        <a:pt x="29" y="72"/>
                      </a:cubicBezTo>
                      <a:cubicBezTo>
                        <a:pt x="13" y="72"/>
                        <a:pt x="0" y="85"/>
                        <a:pt x="0" y="101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" name="Freeform 28"/>
                <p:cNvSpPr>
                  <a:spLocks/>
                </p:cNvSpPr>
                <p:nvPr/>
              </p:nvSpPr>
              <p:spPr bwMode="auto">
                <a:xfrm>
                  <a:off x="3048000" y="3350727"/>
                  <a:ext cx="212725" cy="523875"/>
                </a:xfrm>
                <a:custGeom>
                  <a:avLst/>
                  <a:gdLst>
                    <a:gd name="T0" fmla="*/ 0 w 288"/>
                    <a:gd name="T1" fmla="*/ 0 h 711"/>
                    <a:gd name="T2" fmla="*/ 225 w 288"/>
                    <a:gd name="T3" fmla="*/ 72 h 711"/>
                    <a:gd name="T4" fmla="*/ 259 w 288"/>
                    <a:gd name="T5" fmla="*/ 72 h 711"/>
                    <a:gd name="T6" fmla="*/ 288 w 288"/>
                    <a:gd name="T7" fmla="*/ 101 h 711"/>
                    <a:gd name="T8" fmla="*/ 288 w 288"/>
                    <a:gd name="T9" fmla="*/ 360 h 711"/>
                    <a:gd name="T10" fmla="*/ 0 w 288"/>
                    <a:gd name="T11" fmla="*/ 711 h 711"/>
                    <a:gd name="T12" fmla="*/ 0 w 288"/>
                    <a:gd name="T13" fmla="*/ 0 h 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8" h="711">
                      <a:moveTo>
                        <a:pt x="0" y="0"/>
                      </a:moveTo>
                      <a:cubicBezTo>
                        <a:pt x="66" y="47"/>
                        <a:pt x="144" y="72"/>
                        <a:pt x="225" y="72"/>
                      </a:cubicBezTo>
                      <a:cubicBezTo>
                        <a:pt x="259" y="72"/>
                        <a:pt x="259" y="72"/>
                        <a:pt x="259" y="72"/>
                      </a:cubicBezTo>
                      <a:cubicBezTo>
                        <a:pt x="275" y="72"/>
                        <a:pt x="288" y="85"/>
                        <a:pt x="288" y="101"/>
                      </a:cubicBezTo>
                      <a:cubicBezTo>
                        <a:pt x="288" y="360"/>
                        <a:pt x="288" y="360"/>
                        <a:pt x="288" y="360"/>
                      </a:cubicBezTo>
                      <a:cubicBezTo>
                        <a:pt x="288" y="531"/>
                        <a:pt x="167" y="678"/>
                        <a:pt x="0" y="711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  <a:alpha val="2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6" name="MALWARE">
            <a:extLst>
              <a:ext uri="{FF2B5EF4-FFF2-40B4-BE49-F238E27FC236}">
                <a16:creationId xmlns:a16="http://schemas.microsoft.com/office/drawing/2014/main" xmlns="" id="{9B0F8751-7401-43E3-A5B3-779324B59586}"/>
              </a:ext>
            </a:extLst>
          </p:cNvPr>
          <p:cNvGrpSpPr/>
          <p:nvPr/>
        </p:nvGrpSpPr>
        <p:grpSpPr>
          <a:xfrm>
            <a:off x="6021254" y="1832085"/>
            <a:ext cx="445717" cy="669888"/>
            <a:chOff x="5249961" y="1926547"/>
            <a:chExt cx="445717" cy="669888"/>
          </a:xfrm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xmlns="" id="{3FEA872F-608E-4472-968D-D1D2151397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xmlns="" r:embed="rId34"/>
                </a:ext>
              </a:extLst>
            </a:blip>
            <a:stretch>
              <a:fillRect/>
            </a:stretch>
          </p:blipFill>
          <p:spPr>
            <a:xfrm>
              <a:off x="5249961" y="1926547"/>
              <a:ext cx="445717" cy="531985"/>
            </a:xfrm>
            <a:prstGeom prst="rect">
              <a:avLst/>
            </a:prstGeom>
          </p:spPr>
        </p:pic>
        <p:sp>
          <p:nvSpPr>
            <p:cNvPr id="1222" name="Oval 1221">
              <a:extLst>
                <a:ext uri="{FF2B5EF4-FFF2-40B4-BE49-F238E27FC236}">
                  <a16:creationId xmlns:a16="http://schemas.microsoft.com/office/drawing/2014/main" xmlns="" id="{40820A33-35C6-4CD5-851D-D9468B612FFF}"/>
                </a:ext>
              </a:extLst>
            </p:cNvPr>
            <p:cNvSpPr/>
            <p:nvPr/>
          </p:nvSpPr>
          <p:spPr>
            <a:xfrm>
              <a:off x="5415587" y="2487519"/>
              <a:ext cx="108916" cy="108916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rgbClr val="FFFFF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9" name="FLOOD DATA">
            <a:extLst>
              <a:ext uri="{FF2B5EF4-FFF2-40B4-BE49-F238E27FC236}">
                <a16:creationId xmlns:a16="http://schemas.microsoft.com/office/drawing/2014/main" xmlns="" id="{7302BCD8-15ED-486E-82F5-638EDE459B1B}"/>
              </a:ext>
            </a:extLst>
          </p:cNvPr>
          <p:cNvGrpSpPr/>
          <p:nvPr/>
        </p:nvGrpSpPr>
        <p:grpSpPr>
          <a:xfrm>
            <a:off x="6684395" y="844862"/>
            <a:ext cx="456138" cy="676233"/>
            <a:chOff x="6697095" y="819462"/>
            <a:chExt cx="456138" cy="676233"/>
          </a:xfrm>
        </p:grpSpPr>
        <p:sp>
          <p:nvSpPr>
            <p:cNvPr id="1626" name="Oval 1625">
              <a:extLst>
                <a:ext uri="{FF2B5EF4-FFF2-40B4-BE49-F238E27FC236}">
                  <a16:creationId xmlns:a16="http://schemas.microsoft.com/office/drawing/2014/main" xmlns="" id="{F82A7F92-EA8A-453D-84F8-067634590176}"/>
                </a:ext>
              </a:extLst>
            </p:cNvPr>
            <p:cNvSpPr/>
            <p:nvPr/>
          </p:nvSpPr>
          <p:spPr>
            <a:xfrm>
              <a:off x="6870706" y="1386779"/>
              <a:ext cx="108916" cy="108916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xmlns="" id="{C34C8741-D09F-4432-80E4-0039E13F63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xmlns="" r:embed="rId36"/>
                </a:ext>
              </a:extLst>
            </a:blip>
            <a:stretch>
              <a:fillRect/>
            </a:stretch>
          </p:blipFill>
          <p:spPr>
            <a:xfrm>
              <a:off x="6697095" y="819462"/>
              <a:ext cx="456138" cy="544423"/>
            </a:xfrm>
            <a:prstGeom prst="rect">
              <a:avLst/>
            </a:prstGeom>
          </p:spPr>
        </p:pic>
      </p:grpSp>
      <p:grpSp>
        <p:nvGrpSpPr>
          <p:cNvPr id="45" name="SEVER ATTACK">
            <a:extLst>
              <a:ext uri="{FF2B5EF4-FFF2-40B4-BE49-F238E27FC236}">
                <a16:creationId xmlns:a16="http://schemas.microsoft.com/office/drawing/2014/main" xmlns="" id="{69F145E5-7259-438A-B4F4-23AC2CCC32A6}"/>
              </a:ext>
            </a:extLst>
          </p:cNvPr>
          <p:cNvGrpSpPr/>
          <p:nvPr/>
        </p:nvGrpSpPr>
        <p:grpSpPr>
          <a:xfrm>
            <a:off x="5045932" y="2056664"/>
            <a:ext cx="447946" cy="671657"/>
            <a:chOff x="4474432" y="2069364"/>
            <a:chExt cx="447946" cy="671657"/>
          </a:xfrm>
        </p:grpSpPr>
        <p:sp>
          <p:nvSpPr>
            <p:cNvPr id="1582" name="Oval 1581">
              <a:extLst>
                <a:ext uri="{FF2B5EF4-FFF2-40B4-BE49-F238E27FC236}">
                  <a16:creationId xmlns:a16="http://schemas.microsoft.com/office/drawing/2014/main" xmlns="" id="{8D09734D-BD3B-4B1E-B455-3A8202E425F8}"/>
                </a:ext>
              </a:extLst>
            </p:cNvPr>
            <p:cNvSpPr/>
            <p:nvPr/>
          </p:nvSpPr>
          <p:spPr>
            <a:xfrm>
              <a:off x="4645866" y="2632105"/>
              <a:ext cx="108916" cy="108916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xmlns="" id="{D913D976-14A7-48E0-9C3F-FBDE496A12AF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xmlns="" r:embed="rId40"/>
                </a:ext>
              </a:extLst>
            </a:blip>
            <a:stretch>
              <a:fillRect/>
            </a:stretch>
          </p:blipFill>
          <p:spPr>
            <a:xfrm>
              <a:off x="4474432" y="2069364"/>
              <a:ext cx="447946" cy="534645"/>
            </a:xfrm>
            <a:prstGeom prst="rect">
              <a:avLst/>
            </a:prstGeom>
          </p:spPr>
        </p:pic>
      </p:grpSp>
      <p:sp>
        <p:nvSpPr>
          <p:cNvPr id="1666" name="TextBox 1665">
            <a:extLst>
              <a:ext uri="{FF2B5EF4-FFF2-40B4-BE49-F238E27FC236}">
                <a16:creationId xmlns:a16="http://schemas.microsoft.com/office/drawing/2014/main" xmlns="" id="{C6AC4B76-D0A4-4E70-AD40-3EAE59D3BB8D}"/>
              </a:ext>
            </a:extLst>
          </p:cNvPr>
          <p:cNvSpPr txBox="1"/>
          <p:nvPr/>
        </p:nvSpPr>
        <p:spPr>
          <a:xfrm>
            <a:off x="5418639" y="2544448"/>
            <a:ext cx="266984" cy="263592"/>
          </a:xfrm>
          <a:prstGeom prst="ellipse">
            <a:avLst/>
          </a:prstGeom>
          <a:noFill/>
          <a:ln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/>
          </a:lstStyle>
          <a:p>
            <a:endParaRPr lang="en-US" dirty="0"/>
          </a:p>
        </p:txBody>
      </p:sp>
      <p:sp>
        <p:nvSpPr>
          <p:cNvPr id="1668" name="TextBox 1667">
            <a:extLst>
              <a:ext uri="{FF2B5EF4-FFF2-40B4-BE49-F238E27FC236}">
                <a16:creationId xmlns:a16="http://schemas.microsoft.com/office/drawing/2014/main" xmlns="" id="{EEF7A7A9-248A-48C8-83A8-03A036D67C22}"/>
              </a:ext>
            </a:extLst>
          </p:cNvPr>
          <p:cNvSpPr txBox="1"/>
          <p:nvPr/>
        </p:nvSpPr>
        <p:spPr>
          <a:xfrm>
            <a:off x="6108148" y="2544448"/>
            <a:ext cx="266984" cy="263592"/>
          </a:xfrm>
          <a:prstGeom prst="ellipse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/>
          </a:lstStyle>
          <a:p>
            <a:endParaRPr lang="en-US" dirty="0"/>
          </a:p>
        </p:txBody>
      </p:sp>
      <p:sp>
        <p:nvSpPr>
          <p:cNvPr id="1669" name="TextBox 1668">
            <a:extLst>
              <a:ext uri="{FF2B5EF4-FFF2-40B4-BE49-F238E27FC236}">
                <a16:creationId xmlns:a16="http://schemas.microsoft.com/office/drawing/2014/main" xmlns="" id="{712B7F11-E2BA-43A6-A662-642A3E465192}"/>
              </a:ext>
            </a:extLst>
          </p:cNvPr>
          <p:cNvSpPr txBox="1"/>
          <p:nvPr/>
        </p:nvSpPr>
        <p:spPr>
          <a:xfrm>
            <a:off x="6264763" y="3503390"/>
            <a:ext cx="266984" cy="263592"/>
          </a:xfrm>
          <a:prstGeom prst="ellipse">
            <a:avLst/>
          </a:prstGeom>
          <a:noFill/>
          <a:ln>
            <a:solidFill>
              <a:schemeClr val="accent3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/>
          </a:lstStyle>
          <a:p>
            <a:endParaRPr lang="en-US" dirty="0"/>
          </a:p>
        </p:txBody>
      </p:sp>
      <p:sp>
        <p:nvSpPr>
          <p:cNvPr id="1670" name="TextBox 1669">
            <a:extLst>
              <a:ext uri="{FF2B5EF4-FFF2-40B4-BE49-F238E27FC236}">
                <a16:creationId xmlns:a16="http://schemas.microsoft.com/office/drawing/2014/main" xmlns="" id="{075E0E23-24B6-4EB1-BE0F-7167766936E0}"/>
              </a:ext>
            </a:extLst>
          </p:cNvPr>
          <p:cNvSpPr txBox="1"/>
          <p:nvPr/>
        </p:nvSpPr>
        <p:spPr>
          <a:xfrm>
            <a:off x="6940168" y="1535144"/>
            <a:ext cx="266984" cy="263592"/>
          </a:xfrm>
          <a:prstGeom prst="ellipse">
            <a:avLst/>
          </a:prstGeom>
          <a:noFill/>
          <a:ln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/>
          </a:lstStyle>
          <a:p>
            <a:endParaRPr lang="en-US" dirty="0"/>
          </a:p>
        </p:txBody>
      </p:sp>
      <p:grpSp>
        <p:nvGrpSpPr>
          <p:cNvPr id="1641" name="Group 24">
            <a:extLst>
              <a:ext uri="{FF2B5EF4-FFF2-40B4-BE49-F238E27FC236}">
                <a16:creationId xmlns:a16="http://schemas.microsoft.com/office/drawing/2014/main" xmlns="" id="{388C8A8C-DCD7-48C3-BCCF-B57E414534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73844" y="2509633"/>
            <a:ext cx="336674" cy="336674"/>
            <a:chOff x="1626" y="-1079"/>
            <a:chExt cx="588" cy="588"/>
          </a:xfrm>
        </p:grpSpPr>
        <p:sp>
          <p:nvSpPr>
            <p:cNvPr id="1642" name="Freeform 25">
              <a:extLst>
                <a:ext uri="{FF2B5EF4-FFF2-40B4-BE49-F238E27FC236}">
                  <a16:creationId xmlns:a16="http://schemas.microsoft.com/office/drawing/2014/main" xmlns="" id="{5B34DDA2-C982-49BF-8287-48F012859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6" y="-1079"/>
              <a:ext cx="588" cy="588"/>
            </a:xfrm>
            <a:custGeom>
              <a:avLst/>
              <a:gdLst>
                <a:gd name="T0" fmla="*/ 1039 w 1264"/>
                <a:gd name="T1" fmla="*/ 1039 h 1264"/>
                <a:gd name="T2" fmla="*/ 225 w 1264"/>
                <a:gd name="T3" fmla="*/ 1039 h 1264"/>
                <a:gd name="T4" fmla="*/ 225 w 1264"/>
                <a:gd name="T5" fmla="*/ 225 h 1264"/>
                <a:gd name="T6" fmla="*/ 1039 w 1264"/>
                <a:gd name="T7" fmla="*/ 225 h 1264"/>
                <a:gd name="T8" fmla="*/ 1039 w 1264"/>
                <a:gd name="T9" fmla="*/ 1039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4" h="1264">
                  <a:moveTo>
                    <a:pt x="1039" y="1039"/>
                  </a:moveTo>
                  <a:cubicBezTo>
                    <a:pt x="814" y="1264"/>
                    <a:pt x="450" y="1264"/>
                    <a:pt x="225" y="1039"/>
                  </a:cubicBezTo>
                  <a:cubicBezTo>
                    <a:pt x="0" y="814"/>
                    <a:pt x="0" y="450"/>
                    <a:pt x="225" y="225"/>
                  </a:cubicBezTo>
                  <a:cubicBezTo>
                    <a:pt x="450" y="0"/>
                    <a:pt x="814" y="0"/>
                    <a:pt x="1039" y="225"/>
                  </a:cubicBezTo>
                  <a:cubicBezTo>
                    <a:pt x="1264" y="450"/>
                    <a:pt x="1264" y="814"/>
                    <a:pt x="1039" y="1039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3" name="Freeform 26">
              <a:extLst>
                <a:ext uri="{FF2B5EF4-FFF2-40B4-BE49-F238E27FC236}">
                  <a16:creationId xmlns:a16="http://schemas.microsoft.com/office/drawing/2014/main" xmlns="" id="{B8693185-159A-4510-8D85-5B200511E2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-914"/>
              <a:ext cx="354" cy="390"/>
            </a:xfrm>
            <a:custGeom>
              <a:avLst/>
              <a:gdLst>
                <a:gd name="T0" fmla="*/ 592 w 761"/>
                <a:gd name="T1" fmla="*/ 685 h 838"/>
                <a:gd name="T2" fmla="*/ 761 w 761"/>
                <a:gd name="T3" fmla="*/ 297 h 838"/>
                <a:gd name="T4" fmla="*/ 467 w 761"/>
                <a:gd name="T5" fmla="*/ 0 h 838"/>
                <a:gd name="T6" fmla="*/ 0 w 761"/>
                <a:gd name="T7" fmla="*/ 404 h 838"/>
                <a:gd name="T8" fmla="*/ 2 w 761"/>
                <a:gd name="T9" fmla="*/ 532 h 838"/>
                <a:gd name="T10" fmla="*/ 322 w 761"/>
                <a:gd name="T11" fmla="*/ 838 h 838"/>
                <a:gd name="T12" fmla="*/ 592 w 761"/>
                <a:gd name="T13" fmla="*/ 685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1" h="838">
                  <a:moveTo>
                    <a:pt x="592" y="685"/>
                  </a:moveTo>
                  <a:cubicBezTo>
                    <a:pt x="700" y="578"/>
                    <a:pt x="756" y="438"/>
                    <a:pt x="761" y="297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0" y="404"/>
                    <a:pt x="0" y="404"/>
                    <a:pt x="0" y="404"/>
                  </a:cubicBezTo>
                  <a:cubicBezTo>
                    <a:pt x="2" y="532"/>
                    <a:pt x="2" y="532"/>
                    <a:pt x="2" y="532"/>
                  </a:cubicBezTo>
                  <a:cubicBezTo>
                    <a:pt x="322" y="838"/>
                    <a:pt x="322" y="838"/>
                    <a:pt x="322" y="838"/>
                  </a:cubicBezTo>
                  <a:cubicBezTo>
                    <a:pt x="421" y="814"/>
                    <a:pt x="515" y="763"/>
                    <a:pt x="592" y="6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4" name="Freeform 27">
              <a:extLst>
                <a:ext uri="{FF2B5EF4-FFF2-40B4-BE49-F238E27FC236}">
                  <a16:creationId xmlns:a16="http://schemas.microsoft.com/office/drawing/2014/main" xmlns="" id="{C135B616-D78D-4D56-9A92-390AADA17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6" y="-952"/>
              <a:ext cx="268" cy="330"/>
            </a:xfrm>
            <a:custGeom>
              <a:avLst/>
              <a:gdLst>
                <a:gd name="T0" fmla="*/ 0 w 576"/>
                <a:gd name="T1" fmla="*/ 101 h 711"/>
                <a:gd name="T2" fmla="*/ 0 w 576"/>
                <a:gd name="T3" fmla="*/ 360 h 711"/>
                <a:gd name="T4" fmla="*/ 288 w 576"/>
                <a:gd name="T5" fmla="*/ 711 h 711"/>
                <a:gd name="T6" fmla="*/ 288 w 576"/>
                <a:gd name="T7" fmla="*/ 711 h 711"/>
                <a:gd name="T8" fmla="*/ 288 w 576"/>
                <a:gd name="T9" fmla="*/ 711 h 711"/>
                <a:gd name="T10" fmla="*/ 576 w 576"/>
                <a:gd name="T11" fmla="*/ 360 h 711"/>
                <a:gd name="T12" fmla="*/ 576 w 576"/>
                <a:gd name="T13" fmla="*/ 101 h 711"/>
                <a:gd name="T14" fmla="*/ 547 w 576"/>
                <a:gd name="T15" fmla="*/ 72 h 711"/>
                <a:gd name="T16" fmla="*/ 513 w 576"/>
                <a:gd name="T17" fmla="*/ 72 h 711"/>
                <a:gd name="T18" fmla="*/ 288 w 576"/>
                <a:gd name="T19" fmla="*/ 0 h 711"/>
                <a:gd name="T20" fmla="*/ 288 w 576"/>
                <a:gd name="T21" fmla="*/ 0 h 711"/>
                <a:gd name="T22" fmla="*/ 288 w 576"/>
                <a:gd name="T23" fmla="*/ 0 h 711"/>
                <a:gd name="T24" fmla="*/ 63 w 576"/>
                <a:gd name="T25" fmla="*/ 72 h 711"/>
                <a:gd name="T26" fmla="*/ 29 w 576"/>
                <a:gd name="T27" fmla="*/ 72 h 711"/>
                <a:gd name="T28" fmla="*/ 0 w 576"/>
                <a:gd name="T29" fmla="*/ 10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6" h="711">
                  <a:moveTo>
                    <a:pt x="0" y="101"/>
                  </a:moveTo>
                  <a:cubicBezTo>
                    <a:pt x="0" y="360"/>
                    <a:pt x="0" y="360"/>
                    <a:pt x="0" y="360"/>
                  </a:cubicBezTo>
                  <a:cubicBezTo>
                    <a:pt x="0" y="531"/>
                    <a:pt x="121" y="678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455" y="678"/>
                    <a:pt x="576" y="531"/>
                    <a:pt x="576" y="360"/>
                  </a:cubicBezTo>
                  <a:cubicBezTo>
                    <a:pt x="576" y="101"/>
                    <a:pt x="576" y="101"/>
                    <a:pt x="576" y="101"/>
                  </a:cubicBezTo>
                  <a:cubicBezTo>
                    <a:pt x="576" y="85"/>
                    <a:pt x="563" y="72"/>
                    <a:pt x="547" y="72"/>
                  </a:cubicBezTo>
                  <a:cubicBezTo>
                    <a:pt x="513" y="72"/>
                    <a:pt x="513" y="72"/>
                    <a:pt x="513" y="72"/>
                  </a:cubicBezTo>
                  <a:cubicBezTo>
                    <a:pt x="432" y="72"/>
                    <a:pt x="354" y="47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22" y="47"/>
                    <a:pt x="144" y="72"/>
                    <a:pt x="63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13" y="72"/>
                    <a:pt x="0" y="85"/>
                    <a:pt x="0" y="10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5" name="Freeform 28">
              <a:extLst>
                <a:ext uri="{FF2B5EF4-FFF2-40B4-BE49-F238E27FC236}">
                  <a16:creationId xmlns:a16="http://schemas.microsoft.com/office/drawing/2014/main" xmlns="" id="{CE18B1D8-9F4B-4F52-9FCD-F1344C979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" y="-952"/>
              <a:ext cx="134" cy="330"/>
            </a:xfrm>
            <a:custGeom>
              <a:avLst/>
              <a:gdLst>
                <a:gd name="T0" fmla="*/ 0 w 288"/>
                <a:gd name="T1" fmla="*/ 0 h 711"/>
                <a:gd name="T2" fmla="*/ 225 w 288"/>
                <a:gd name="T3" fmla="*/ 72 h 711"/>
                <a:gd name="T4" fmla="*/ 259 w 288"/>
                <a:gd name="T5" fmla="*/ 72 h 711"/>
                <a:gd name="T6" fmla="*/ 288 w 288"/>
                <a:gd name="T7" fmla="*/ 101 h 711"/>
                <a:gd name="T8" fmla="*/ 288 w 288"/>
                <a:gd name="T9" fmla="*/ 360 h 711"/>
                <a:gd name="T10" fmla="*/ 0 w 288"/>
                <a:gd name="T11" fmla="*/ 711 h 711"/>
                <a:gd name="T12" fmla="*/ 0 w 288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711">
                  <a:moveTo>
                    <a:pt x="0" y="0"/>
                  </a:moveTo>
                  <a:cubicBezTo>
                    <a:pt x="66" y="47"/>
                    <a:pt x="144" y="72"/>
                    <a:pt x="225" y="72"/>
                  </a:cubicBezTo>
                  <a:cubicBezTo>
                    <a:pt x="259" y="72"/>
                    <a:pt x="259" y="72"/>
                    <a:pt x="259" y="72"/>
                  </a:cubicBezTo>
                  <a:cubicBezTo>
                    <a:pt x="275" y="72"/>
                    <a:pt x="288" y="85"/>
                    <a:pt x="288" y="101"/>
                  </a:cubicBezTo>
                  <a:cubicBezTo>
                    <a:pt x="288" y="360"/>
                    <a:pt x="288" y="360"/>
                    <a:pt x="288" y="360"/>
                  </a:cubicBezTo>
                  <a:cubicBezTo>
                    <a:pt x="288" y="531"/>
                    <a:pt x="167" y="678"/>
                    <a:pt x="0" y="7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46" name="Group 24">
            <a:extLst>
              <a:ext uri="{FF2B5EF4-FFF2-40B4-BE49-F238E27FC236}">
                <a16:creationId xmlns:a16="http://schemas.microsoft.com/office/drawing/2014/main" xmlns="" id="{272DD05A-C0C3-4BAF-A39C-0B38EB7D8F5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86594" y="2509633"/>
            <a:ext cx="336674" cy="336674"/>
            <a:chOff x="1626" y="-1079"/>
            <a:chExt cx="588" cy="588"/>
          </a:xfrm>
        </p:grpSpPr>
        <p:sp>
          <p:nvSpPr>
            <p:cNvPr id="1647" name="Freeform 25">
              <a:extLst>
                <a:ext uri="{FF2B5EF4-FFF2-40B4-BE49-F238E27FC236}">
                  <a16:creationId xmlns:a16="http://schemas.microsoft.com/office/drawing/2014/main" xmlns="" id="{69180CE4-027F-4217-A96A-FA486F80E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6" y="-1079"/>
              <a:ext cx="588" cy="588"/>
            </a:xfrm>
            <a:custGeom>
              <a:avLst/>
              <a:gdLst>
                <a:gd name="T0" fmla="*/ 1039 w 1264"/>
                <a:gd name="T1" fmla="*/ 1039 h 1264"/>
                <a:gd name="T2" fmla="*/ 225 w 1264"/>
                <a:gd name="T3" fmla="*/ 1039 h 1264"/>
                <a:gd name="T4" fmla="*/ 225 w 1264"/>
                <a:gd name="T5" fmla="*/ 225 h 1264"/>
                <a:gd name="T6" fmla="*/ 1039 w 1264"/>
                <a:gd name="T7" fmla="*/ 225 h 1264"/>
                <a:gd name="T8" fmla="*/ 1039 w 1264"/>
                <a:gd name="T9" fmla="*/ 1039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4" h="1264">
                  <a:moveTo>
                    <a:pt x="1039" y="1039"/>
                  </a:moveTo>
                  <a:cubicBezTo>
                    <a:pt x="814" y="1264"/>
                    <a:pt x="450" y="1264"/>
                    <a:pt x="225" y="1039"/>
                  </a:cubicBezTo>
                  <a:cubicBezTo>
                    <a:pt x="0" y="814"/>
                    <a:pt x="0" y="450"/>
                    <a:pt x="225" y="225"/>
                  </a:cubicBezTo>
                  <a:cubicBezTo>
                    <a:pt x="450" y="0"/>
                    <a:pt x="814" y="0"/>
                    <a:pt x="1039" y="225"/>
                  </a:cubicBezTo>
                  <a:cubicBezTo>
                    <a:pt x="1264" y="450"/>
                    <a:pt x="1264" y="814"/>
                    <a:pt x="1039" y="1039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8" name="Freeform 26">
              <a:extLst>
                <a:ext uri="{FF2B5EF4-FFF2-40B4-BE49-F238E27FC236}">
                  <a16:creationId xmlns:a16="http://schemas.microsoft.com/office/drawing/2014/main" xmlns="" id="{33578B95-BC36-4904-9CF9-592780170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-914"/>
              <a:ext cx="354" cy="390"/>
            </a:xfrm>
            <a:custGeom>
              <a:avLst/>
              <a:gdLst>
                <a:gd name="T0" fmla="*/ 592 w 761"/>
                <a:gd name="T1" fmla="*/ 685 h 838"/>
                <a:gd name="T2" fmla="*/ 761 w 761"/>
                <a:gd name="T3" fmla="*/ 297 h 838"/>
                <a:gd name="T4" fmla="*/ 467 w 761"/>
                <a:gd name="T5" fmla="*/ 0 h 838"/>
                <a:gd name="T6" fmla="*/ 0 w 761"/>
                <a:gd name="T7" fmla="*/ 404 h 838"/>
                <a:gd name="T8" fmla="*/ 2 w 761"/>
                <a:gd name="T9" fmla="*/ 532 h 838"/>
                <a:gd name="T10" fmla="*/ 322 w 761"/>
                <a:gd name="T11" fmla="*/ 838 h 838"/>
                <a:gd name="T12" fmla="*/ 592 w 761"/>
                <a:gd name="T13" fmla="*/ 685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1" h="838">
                  <a:moveTo>
                    <a:pt x="592" y="685"/>
                  </a:moveTo>
                  <a:cubicBezTo>
                    <a:pt x="700" y="578"/>
                    <a:pt x="756" y="438"/>
                    <a:pt x="761" y="297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0" y="404"/>
                    <a:pt x="0" y="404"/>
                    <a:pt x="0" y="404"/>
                  </a:cubicBezTo>
                  <a:cubicBezTo>
                    <a:pt x="2" y="532"/>
                    <a:pt x="2" y="532"/>
                    <a:pt x="2" y="532"/>
                  </a:cubicBezTo>
                  <a:cubicBezTo>
                    <a:pt x="322" y="838"/>
                    <a:pt x="322" y="838"/>
                    <a:pt x="322" y="838"/>
                  </a:cubicBezTo>
                  <a:cubicBezTo>
                    <a:pt x="421" y="814"/>
                    <a:pt x="515" y="763"/>
                    <a:pt x="592" y="685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9" name="Freeform 27">
              <a:extLst>
                <a:ext uri="{FF2B5EF4-FFF2-40B4-BE49-F238E27FC236}">
                  <a16:creationId xmlns:a16="http://schemas.microsoft.com/office/drawing/2014/main" xmlns="" id="{156BEADE-5D4C-476E-9E13-A4CBB9748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6" y="-952"/>
              <a:ext cx="268" cy="330"/>
            </a:xfrm>
            <a:custGeom>
              <a:avLst/>
              <a:gdLst>
                <a:gd name="T0" fmla="*/ 0 w 576"/>
                <a:gd name="T1" fmla="*/ 101 h 711"/>
                <a:gd name="T2" fmla="*/ 0 w 576"/>
                <a:gd name="T3" fmla="*/ 360 h 711"/>
                <a:gd name="T4" fmla="*/ 288 w 576"/>
                <a:gd name="T5" fmla="*/ 711 h 711"/>
                <a:gd name="T6" fmla="*/ 288 w 576"/>
                <a:gd name="T7" fmla="*/ 711 h 711"/>
                <a:gd name="T8" fmla="*/ 288 w 576"/>
                <a:gd name="T9" fmla="*/ 711 h 711"/>
                <a:gd name="T10" fmla="*/ 576 w 576"/>
                <a:gd name="T11" fmla="*/ 360 h 711"/>
                <a:gd name="T12" fmla="*/ 576 w 576"/>
                <a:gd name="T13" fmla="*/ 101 h 711"/>
                <a:gd name="T14" fmla="*/ 547 w 576"/>
                <a:gd name="T15" fmla="*/ 72 h 711"/>
                <a:gd name="T16" fmla="*/ 513 w 576"/>
                <a:gd name="T17" fmla="*/ 72 h 711"/>
                <a:gd name="T18" fmla="*/ 288 w 576"/>
                <a:gd name="T19" fmla="*/ 0 h 711"/>
                <a:gd name="T20" fmla="*/ 288 w 576"/>
                <a:gd name="T21" fmla="*/ 0 h 711"/>
                <a:gd name="T22" fmla="*/ 288 w 576"/>
                <a:gd name="T23" fmla="*/ 0 h 711"/>
                <a:gd name="T24" fmla="*/ 63 w 576"/>
                <a:gd name="T25" fmla="*/ 72 h 711"/>
                <a:gd name="T26" fmla="*/ 29 w 576"/>
                <a:gd name="T27" fmla="*/ 72 h 711"/>
                <a:gd name="T28" fmla="*/ 0 w 576"/>
                <a:gd name="T29" fmla="*/ 10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6" h="711">
                  <a:moveTo>
                    <a:pt x="0" y="101"/>
                  </a:moveTo>
                  <a:cubicBezTo>
                    <a:pt x="0" y="360"/>
                    <a:pt x="0" y="360"/>
                    <a:pt x="0" y="360"/>
                  </a:cubicBezTo>
                  <a:cubicBezTo>
                    <a:pt x="0" y="531"/>
                    <a:pt x="121" y="678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455" y="678"/>
                    <a:pt x="576" y="531"/>
                    <a:pt x="576" y="360"/>
                  </a:cubicBezTo>
                  <a:cubicBezTo>
                    <a:pt x="576" y="101"/>
                    <a:pt x="576" y="101"/>
                    <a:pt x="576" y="101"/>
                  </a:cubicBezTo>
                  <a:cubicBezTo>
                    <a:pt x="576" y="85"/>
                    <a:pt x="563" y="72"/>
                    <a:pt x="547" y="72"/>
                  </a:cubicBezTo>
                  <a:cubicBezTo>
                    <a:pt x="513" y="72"/>
                    <a:pt x="513" y="72"/>
                    <a:pt x="513" y="72"/>
                  </a:cubicBezTo>
                  <a:cubicBezTo>
                    <a:pt x="432" y="72"/>
                    <a:pt x="354" y="47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22" y="47"/>
                    <a:pt x="144" y="72"/>
                    <a:pt x="63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13" y="72"/>
                    <a:pt x="0" y="85"/>
                    <a:pt x="0" y="10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0" name="Freeform 28">
              <a:extLst>
                <a:ext uri="{FF2B5EF4-FFF2-40B4-BE49-F238E27FC236}">
                  <a16:creationId xmlns:a16="http://schemas.microsoft.com/office/drawing/2014/main" xmlns="" id="{5E6D0392-F692-4695-9F0F-383CD97FB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" y="-952"/>
              <a:ext cx="134" cy="330"/>
            </a:xfrm>
            <a:custGeom>
              <a:avLst/>
              <a:gdLst>
                <a:gd name="T0" fmla="*/ 0 w 288"/>
                <a:gd name="T1" fmla="*/ 0 h 711"/>
                <a:gd name="T2" fmla="*/ 225 w 288"/>
                <a:gd name="T3" fmla="*/ 72 h 711"/>
                <a:gd name="T4" fmla="*/ 259 w 288"/>
                <a:gd name="T5" fmla="*/ 72 h 711"/>
                <a:gd name="T6" fmla="*/ 288 w 288"/>
                <a:gd name="T7" fmla="*/ 101 h 711"/>
                <a:gd name="T8" fmla="*/ 288 w 288"/>
                <a:gd name="T9" fmla="*/ 360 h 711"/>
                <a:gd name="T10" fmla="*/ 0 w 288"/>
                <a:gd name="T11" fmla="*/ 711 h 711"/>
                <a:gd name="T12" fmla="*/ 0 w 288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711">
                  <a:moveTo>
                    <a:pt x="0" y="0"/>
                  </a:moveTo>
                  <a:cubicBezTo>
                    <a:pt x="66" y="47"/>
                    <a:pt x="144" y="72"/>
                    <a:pt x="225" y="72"/>
                  </a:cubicBezTo>
                  <a:cubicBezTo>
                    <a:pt x="259" y="72"/>
                    <a:pt x="259" y="72"/>
                    <a:pt x="259" y="72"/>
                  </a:cubicBezTo>
                  <a:cubicBezTo>
                    <a:pt x="275" y="72"/>
                    <a:pt x="288" y="85"/>
                    <a:pt x="288" y="101"/>
                  </a:cubicBezTo>
                  <a:cubicBezTo>
                    <a:pt x="288" y="360"/>
                    <a:pt x="288" y="360"/>
                    <a:pt x="288" y="360"/>
                  </a:cubicBezTo>
                  <a:cubicBezTo>
                    <a:pt x="288" y="531"/>
                    <a:pt x="167" y="678"/>
                    <a:pt x="0" y="7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51" name="Group 24">
            <a:extLst>
              <a:ext uri="{FF2B5EF4-FFF2-40B4-BE49-F238E27FC236}">
                <a16:creationId xmlns:a16="http://schemas.microsoft.com/office/drawing/2014/main" xmlns="" id="{D200D014-EE4D-4F9F-9DC4-33C019012A1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915161" y="1505834"/>
            <a:ext cx="336674" cy="336674"/>
            <a:chOff x="1626" y="-1079"/>
            <a:chExt cx="588" cy="588"/>
          </a:xfrm>
        </p:grpSpPr>
        <p:sp>
          <p:nvSpPr>
            <p:cNvPr id="1652" name="Freeform 25">
              <a:extLst>
                <a:ext uri="{FF2B5EF4-FFF2-40B4-BE49-F238E27FC236}">
                  <a16:creationId xmlns:a16="http://schemas.microsoft.com/office/drawing/2014/main" xmlns="" id="{D2F98928-F859-4A01-A48F-3B5A9D6CB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6" y="-1079"/>
              <a:ext cx="588" cy="588"/>
            </a:xfrm>
            <a:custGeom>
              <a:avLst/>
              <a:gdLst>
                <a:gd name="T0" fmla="*/ 1039 w 1264"/>
                <a:gd name="T1" fmla="*/ 1039 h 1264"/>
                <a:gd name="T2" fmla="*/ 225 w 1264"/>
                <a:gd name="T3" fmla="*/ 1039 h 1264"/>
                <a:gd name="T4" fmla="*/ 225 w 1264"/>
                <a:gd name="T5" fmla="*/ 225 h 1264"/>
                <a:gd name="T6" fmla="*/ 1039 w 1264"/>
                <a:gd name="T7" fmla="*/ 225 h 1264"/>
                <a:gd name="T8" fmla="*/ 1039 w 1264"/>
                <a:gd name="T9" fmla="*/ 1039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4" h="1264">
                  <a:moveTo>
                    <a:pt x="1039" y="1039"/>
                  </a:moveTo>
                  <a:cubicBezTo>
                    <a:pt x="814" y="1264"/>
                    <a:pt x="450" y="1264"/>
                    <a:pt x="225" y="1039"/>
                  </a:cubicBezTo>
                  <a:cubicBezTo>
                    <a:pt x="0" y="814"/>
                    <a:pt x="0" y="450"/>
                    <a:pt x="225" y="225"/>
                  </a:cubicBezTo>
                  <a:cubicBezTo>
                    <a:pt x="450" y="0"/>
                    <a:pt x="814" y="0"/>
                    <a:pt x="1039" y="225"/>
                  </a:cubicBezTo>
                  <a:cubicBezTo>
                    <a:pt x="1264" y="450"/>
                    <a:pt x="1264" y="814"/>
                    <a:pt x="1039" y="103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3" name="Freeform 26">
              <a:extLst>
                <a:ext uri="{FF2B5EF4-FFF2-40B4-BE49-F238E27FC236}">
                  <a16:creationId xmlns:a16="http://schemas.microsoft.com/office/drawing/2014/main" xmlns="" id="{97ABB089-25A5-46EB-BDF4-7B1C137C0B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-914"/>
              <a:ext cx="354" cy="390"/>
            </a:xfrm>
            <a:custGeom>
              <a:avLst/>
              <a:gdLst>
                <a:gd name="T0" fmla="*/ 592 w 761"/>
                <a:gd name="T1" fmla="*/ 685 h 838"/>
                <a:gd name="T2" fmla="*/ 761 w 761"/>
                <a:gd name="T3" fmla="*/ 297 h 838"/>
                <a:gd name="T4" fmla="*/ 467 w 761"/>
                <a:gd name="T5" fmla="*/ 0 h 838"/>
                <a:gd name="T6" fmla="*/ 0 w 761"/>
                <a:gd name="T7" fmla="*/ 404 h 838"/>
                <a:gd name="T8" fmla="*/ 2 w 761"/>
                <a:gd name="T9" fmla="*/ 532 h 838"/>
                <a:gd name="T10" fmla="*/ 322 w 761"/>
                <a:gd name="T11" fmla="*/ 838 h 838"/>
                <a:gd name="T12" fmla="*/ 592 w 761"/>
                <a:gd name="T13" fmla="*/ 685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1" h="838">
                  <a:moveTo>
                    <a:pt x="592" y="685"/>
                  </a:moveTo>
                  <a:cubicBezTo>
                    <a:pt x="700" y="578"/>
                    <a:pt x="756" y="438"/>
                    <a:pt x="761" y="297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0" y="404"/>
                    <a:pt x="0" y="404"/>
                    <a:pt x="0" y="404"/>
                  </a:cubicBezTo>
                  <a:cubicBezTo>
                    <a:pt x="2" y="532"/>
                    <a:pt x="2" y="532"/>
                    <a:pt x="2" y="532"/>
                  </a:cubicBezTo>
                  <a:cubicBezTo>
                    <a:pt x="322" y="838"/>
                    <a:pt x="322" y="838"/>
                    <a:pt x="322" y="838"/>
                  </a:cubicBezTo>
                  <a:cubicBezTo>
                    <a:pt x="421" y="814"/>
                    <a:pt x="515" y="763"/>
                    <a:pt x="592" y="685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4" name="Freeform 27">
              <a:extLst>
                <a:ext uri="{FF2B5EF4-FFF2-40B4-BE49-F238E27FC236}">
                  <a16:creationId xmlns:a16="http://schemas.microsoft.com/office/drawing/2014/main" xmlns="" id="{4AA88657-C7E2-43FF-BD5F-D4C80541B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6" y="-952"/>
              <a:ext cx="268" cy="330"/>
            </a:xfrm>
            <a:custGeom>
              <a:avLst/>
              <a:gdLst>
                <a:gd name="T0" fmla="*/ 0 w 576"/>
                <a:gd name="T1" fmla="*/ 101 h 711"/>
                <a:gd name="T2" fmla="*/ 0 w 576"/>
                <a:gd name="T3" fmla="*/ 360 h 711"/>
                <a:gd name="T4" fmla="*/ 288 w 576"/>
                <a:gd name="T5" fmla="*/ 711 h 711"/>
                <a:gd name="T6" fmla="*/ 288 w 576"/>
                <a:gd name="T7" fmla="*/ 711 h 711"/>
                <a:gd name="T8" fmla="*/ 288 w 576"/>
                <a:gd name="T9" fmla="*/ 711 h 711"/>
                <a:gd name="T10" fmla="*/ 576 w 576"/>
                <a:gd name="T11" fmla="*/ 360 h 711"/>
                <a:gd name="T12" fmla="*/ 576 w 576"/>
                <a:gd name="T13" fmla="*/ 101 h 711"/>
                <a:gd name="T14" fmla="*/ 547 w 576"/>
                <a:gd name="T15" fmla="*/ 72 h 711"/>
                <a:gd name="T16" fmla="*/ 513 w 576"/>
                <a:gd name="T17" fmla="*/ 72 h 711"/>
                <a:gd name="T18" fmla="*/ 288 w 576"/>
                <a:gd name="T19" fmla="*/ 0 h 711"/>
                <a:gd name="T20" fmla="*/ 288 w 576"/>
                <a:gd name="T21" fmla="*/ 0 h 711"/>
                <a:gd name="T22" fmla="*/ 288 w 576"/>
                <a:gd name="T23" fmla="*/ 0 h 711"/>
                <a:gd name="T24" fmla="*/ 63 w 576"/>
                <a:gd name="T25" fmla="*/ 72 h 711"/>
                <a:gd name="T26" fmla="*/ 29 w 576"/>
                <a:gd name="T27" fmla="*/ 72 h 711"/>
                <a:gd name="T28" fmla="*/ 0 w 576"/>
                <a:gd name="T29" fmla="*/ 10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6" h="711">
                  <a:moveTo>
                    <a:pt x="0" y="101"/>
                  </a:moveTo>
                  <a:cubicBezTo>
                    <a:pt x="0" y="360"/>
                    <a:pt x="0" y="360"/>
                    <a:pt x="0" y="360"/>
                  </a:cubicBezTo>
                  <a:cubicBezTo>
                    <a:pt x="0" y="531"/>
                    <a:pt x="121" y="678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455" y="678"/>
                    <a:pt x="576" y="531"/>
                    <a:pt x="576" y="360"/>
                  </a:cubicBezTo>
                  <a:cubicBezTo>
                    <a:pt x="576" y="101"/>
                    <a:pt x="576" y="101"/>
                    <a:pt x="576" y="101"/>
                  </a:cubicBezTo>
                  <a:cubicBezTo>
                    <a:pt x="576" y="85"/>
                    <a:pt x="563" y="72"/>
                    <a:pt x="547" y="72"/>
                  </a:cubicBezTo>
                  <a:cubicBezTo>
                    <a:pt x="513" y="72"/>
                    <a:pt x="513" y="72"/>
                    <a:pt x="513" y="72"/>
                  </a:cubicBezTo>
                  <a:cubicBezTo>
                    <a:pt x="432" y="72"/>
                    <a:pt x="354" y="47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22" y="47"/>
                    <a:pt x="144" y="72"/>
                    <a:pt x="63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13" y="72"/>
                    <a:pt x="0" y="85"/>
                    <a:pt x="0" y="10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5" name="Freeform 28">
              <a:extLst>
                <a:ext uri="{FF2B5EF4-FFF2-40B4-BE49-F238E27FC236}">
                  <a16:creationId xmlns:a16="http://schemas.microsoft.com/office/drawing/2014/main" xmlns="" id="{B37D1A9C-6A9D-40DE-B4C2-7BBB2C45A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" y="-952"/>
              <a:ext cx="134" cy="330"/>
            </a:xfrm>
            <a:custGeom>
              <a:avLst/>
              <a:gdLst>
                <a:gd name="T0" fmla="*/ 0 w 288"/>
                <a:gd name="T1" fmla="*/ 0 h 711"/>
                <a:gd name="T2" fmla="*/ 225 w 288"/>
                <a:gd name="T3" fmla="*/ 72 h 711"/>
                <a:gd name="T4" fmla="*/ 259 w 288"/>
                <a:gd name="T5" fmla="*/ 72 h 711"/>
                <a:gd name="T6" fmla="*/ 288 w 288"/>
                <a:gd name="T7" fmla="*/ 101 h 711"/>
                <a:gd name="T8" fmla="*/ 288 w 288"/>
                <a:gd name="T9" fmla="*/ 360 h 711"/>
                <a:gd name="T10" fmla="*/ 0 w 288"/>
                <a:gd name="T11" fmla="*/ 711 h 711"/>
                <a:gd name="T12" fmla="*/ 0 w 288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711">
                  <a:moveTo>
                    <a:pt x="0" y="0"/>
                  </a:moveTo>
                  <a:cubicBezTo>
                    <a:pt x="66" y="47"/>
                    <a:pt x="144" y="72"/>
                    <a:pt x="225" y="72"/>
                  </a:cubicBezTo>
                  <a:cubicBezTo>
                    <a:pt x="259" y="72"/>
                    <a:pt x="259" y="72"/>
                    <a:pt x="259" y="72"/>
                  </a:cubicBezTo>
                  <a:cubicBezTo>
                    <a:pt x="275" y="72"/>
                    <a:pt x="288" y="85"/>
                    <a:pt x="288" y="101"/>
                  </a:cubicBezTo>
                  <a:cubicBezTo>
                    <a:pt x="288" y="360"/>
                    <a:pt x="288" y="360"/>
                    <a:pt x="288" y="360"/>
                  </a:cubicBezTo>
                  <a:cubicBezTo>
                    <a:pt x="288" y="531"/>
                    <a:pt x="167" y="678"/>
                    <a:pt x="0" y="7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1" name="INFECTED">
            <a:extLst>
              <a:ext uri="{FF2B5EF4-FFF2-40B4-BE49-F238E27FC236}">
                <a16:creationId xmlns:a16="http://schemas.microsoft.com/office/drawing/2014/main" xmlns="" id="{D8A5491D-2DDC-43BD-8AFB-E34C25FD9424}"/>
              </a:ext>
            </a:extLst>
          </p:cNvPr>
          <p:cNvGrpSpPr/>
          <p:nvPr/>
        </p:nvGrpSpPr>
        <p:grpSpPr>
          <a:xfrm>
            <a:off x="5949501" y="3356525"/>
            <a:ext cx="460498" cy="678055"/>
            <a:chOff x="5520823" y="3408139"/>
            <a:chExt cx="460498" cy="678055"/>
          </a:xfrm>
        </p:grpSpPr>
        <p:sp>
          <p:nvSpPr>
            <p:cNvPr id="1615" name="Oval 1614">
              <a:extLst>
                <a:ext uri="{FF2B5EF4-FFF2-40B4-BE49-F238E27FC236}">
                  <a16:creationId xmlns:a16="http://schemas.microsoft.com/office/drawing/2014/main" xmlns="" id="{CC622075-8CFC-4CF3-AAE9-3148EFE7FE32}"/>
                </a:ext>
              </a:extLst>
            </p:cNvPr>
            <p:cNvSpPr/>
            <p:nvPr/>
          </p:nvSpPr>
          <p:spPr>
            <a:xfrm>
              <a:off x="5696614" y="3977278"/>
              <a:ext cx="108916" cy="108916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34" name="Group 10">
              <a:extLst>
                <a:ext uri="{FF2B5EF4-FFF2-40B4-BE49-F238E27FC236}">
                  <a16:creationId xmlns:a16="http://schemas.microsoft.com/office/drawing/2014/main" xmlns="" id="{769AA907-6E12-49E4-8605-36BDBEBCB55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520823" y="3408139"/>
              <a:ext cx="460498" cy="541287"/>
              <a:chOff x="2768" y="1485"/>
              <a:chExt cx="228" cy="268"/>
            </a:xfrm>
          </p:grpSpPr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xmlns="" id="{AB681F1A-4EFE-42B4-B80B-CAAAEE67F8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8" y="1485"/>
                <a:ext cx="228" cy="268"/>
              </a:xfrm>
              <a:custGeom>
                <a:avLst/>
                <a:gdLst>
                  <a:gd name="T0" fmla="*/ 124 w 126"/>
                  <a:gd name="T1" fmla="*/ 61 h 149"/>
                  <a:gd name="T2" fmla="*/ 65 w 126"/>
                  <a:gd name="T3" fmla="*/ 1 h 149"/>
                  <a:gd name="T4" fmla="*/ 0 w 126"/>
                  <a:gd name="T5" fmla="*/ 64 h 149"/>
                  <a:gd name="T6" fmla="*/ 47 w 126"/>
                  <a:gd name="T7" fmla="*/ 124 h 149"/>
                  <a:gd name="T8" fmla="*/ 62 w 126"/>
                  <a:gd name="T9" fmla="*/ 149 h 149"/>
                  <a:gd name="T10" fmla="*/ 78 w 126"/>
                  <a:gd name="T11" fmla="*/ 124 h 149"/>
                  <a:gd name="T12" fmla="*/ 124 w 126"/>
                  <a:gd name="T13" fmla="*/ 61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149">
                    <a:moveTo>
                      <a:pt x="124" y="61"/>
                    </a:moveTo>
                    <a:cubicBezTo>
                      <a:pt x="123" y="29"/>
                      <a:pt x="97" y="3"/>
                      <a:pt x="65" y="1"/>
                    </a:cubicBezTo>
                    <a:cubicBezTo>
                      <a:pt x="30" y="0"/>
                      <a:pt x="0" y="28"/>
                      <a:pt x="0" y="64"/>
                    </a:cubicBezTo>
                    <a:cubicBezTo>
                      <a:pt x="0" y="93"/>
                      <a:pt x="20" y="117"/>
                      <a:pt x="47" y="124"/>
                    </a:cubicBezTo>
                    <a:cubicBezTo>
                      <a:pt x="62" y="149"/>
                      <a:pt x="62" y="149"/>
                      <a:pt x="62" y="149"/>
                    </a:cubicBezTo>
                    <a:cubicBezTo>
                      <a:pt x="78" y="124"/>
                      <a:pt x="78" y="124"/>
                      <a:pt x="78" y="124"/>
                    </a:cubicBezTo>
                    <a:cubicBezTo>
                      <a:pt x="106" y="117"/>
                      <a:pt x="126" y="91"/>
                      <a:pt x="124" y="61"/>
                    </a:cubicBezTo>
                    <a:close/>
                  </a:path>
                </a:pathLst>
              </a:custGeom>
              <a:solidFill>
                <a:srgbClr val="E324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xmlns="" id="{A3D5D0C1-CC83-4575-B08D-50938D831A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71" y="1595"/>
                <a:ext cx="20" cy="21"/>
              </a:xfrm>
              <a:custGeom>
                <a:avLst/>
                <a:gdLst>
                  <a:gd name="T0" fmla="*/ 11 w 11"/>
                  <a:gd name="T1" fmla="*/ 6 h 12"/>
                  <a:gd name="T2" fmla="*/ 5 w 11"/>
                  <a:gd name="T3" fmla="*/ 0 h 12"/>
                  <a:gd name="T4" fmla="*/ 0 w 11"/>
                  <a:gd name="T5" fmla="*/ 6 h 12"/>
                  <a:gd name="T6" fmla="*/ 5 w 11"/>
                  <a:gd name="T7" fmla="*/ 12 h 12"/>
                  <a:gd name="T8" fmla="*/ 11 w 11"/>
                  <a:gd name="T9" fmla="*/ 6 h 12"/>
                  <a:gd name="T10" fmla="*/ 2 w 11"/>
                  <a:gd name="T11" fmla="*/ 6 h 12"/>
                  <a:gd name="T12" fmla="*/ 5 w 11"/>
                  <a:gd name="T13" fmla="*/ 3 h 12"/>
                  <a:gd name="T14" fmla="*/ 8 w 11"/>
                  <a:gd name="T15" fmla="*/ 6 h 12"/>
                  <a:gd name="T16" fmla="*/ 5 w 11"/>
                  <a:gd name="T17" fmla="*/ 9 h 12"/>
                  <a:gd name="T18" fmla="*/ 2 w 11"/>
                  <a:gd name="T1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12">
                    <a:moveTo>
                      <a:pt x="11" y="6"/>
                    </a:moveTo>
                    <a:cubicBezTo>
                      <a:pt x="11" y="3"/>
                      <a:pt x="8" y="0"/>
                      <a:pt x="5" y="0"/>
                    </a:cubicBezTo>
                    <a:cubicBezTo>
                      <a:pt x="2" y="0"/>
                      <a:pt x="0" y="3"/>
                      <a:pt x="0" y="6"/>
                    </a:cubicBezTo>
                    <a:cubicBezTo>
                      <a:pt x="0" y="9"/>
                      <a:pt x="2" y="12"/>
                      <a:pt x="5" y="12"/>
                    </a:cubicBezTo>
                    <a:cubicBezTo>
                      <a:pt x="8" y="12"/>
                      <a:pt x="11" y="9"/>
                      <a:pt x="11" y="6"/>
                    </a:cubicBezTo>
                    <a:close/>
                    <a:moveTo>
                      <a:pt x="2" y="6"/>
                    </a:moveTo>
                    <a:cubicBezTo>
                      <a:pt x="2" y="4"/>
                      <a:pt x="4" y="3"/>
                      <a:pt x="5" y="3"/>
                    </a:cubicBezTo>
                    <a:cubicBezTo>
                      <a:pt x="7" y="3"/>
                      <a:pt x="8" y="4"/>
                      <a:pt x="8" y="6"/>
                    </a:cubicBezTo>
                    <a:cubicBezTo>
                      <a:pt x="8" y="8"/>
                      <a:pt x="7" y="9"/>
                      <a:pt x="5" y="9"/>
                    </a:cubicBezTo>
                    <a:cubicBezTo>
                      <a:pt x="4" y="9"/>
                      <a:pt x="2" y="8"/>
                      <a:pt x="2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xmlns="" id="{AFBA8C37-480E-4EE0-B5C2-CB257EEC43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02" y="1519"/>
                <a:ext cx="158" cy="153"/>
              </a:xfrm>
              <a:custGeom>
                <a:avLst/>
                <a:gdLst>
                  <a:gd name="T0" fmla="*/ 66 w 87"/>
                  <a:gd name="T1" fmla="*/ 36 h 85"/>
                  <a:gd name="T2" fmla="*/ 43 w 87"/>
                  <a:gd name="T3" fmla="*/ 0 h 85"/>
                  <a:gd name="T4" fmla="*/ 21 w 87"/>
                  <a:gd name="T5" fmla="*/ 36 h 85"/>
                  <a:gd name="T6" fmla="*/ 1 w 87"/>
                  <a:gd name="T7" fmla="*/ 59 h 85"/>
                  <a:gd name="T8" fmla="*/ 22 w 87"/>
                  <a:gd name="T9" fmla="*/ 84 h 85"/>
                  <a:gd name="T10" fmla="*/ 46 w 87"/>
                  <a:gd name="T11" fmla="*/ 79 h 85"/>
                  <a:gd name="T12" fmla="*/ 65 w 87"/>
                  <a:gd name="T13" fmla="*/ 84 h 85"/>
                  <a:gd name="T14" fmla="*/ 86 w 87"/>
                  <a:gd name="T15" fmla="*/ 59 h 85"/>
                  <a:gd name="T16" fmla="*/ 35 w 87"/>
                  <a:gd name="T17" fmla="*/ 57 h 85"/>
                  <a:gd name="T18" fmla="*/ 37 w 87"/>
                  <a:gd name="T19" fmla="*/ 63 h 85"/>
                  <a:gd name="T20" fmla="*/ 35 w 87"/>
                  <a:gd name="T21" fmla="*/ 56 h 85"/>
                  <a:gd name="T22" fmla="*/ 23 w 87"/>
                  <a:gd name="T23" fmla="*/ 48 h 85"/>
                  <a:gd name="T24" fmla="*/ 22 w 87"/>
                  <a:gd name="T25" fmla="*/ 81 h 85"/>
                  <a:gd name="T26" fmla="*/ 3 w 87"/>
                  <a:gd name="T27" fmla="*/ 65 h 85"/>
                  <a:gd name="T28" fmla="*/ 38 w 87"/>
                  <a:gd name="T29" fmla="*/ 57 h 85"/>
                  <a:gd name="T30" fmla="*/ 37 w 87"/>
                  <a:gd name="T31" fmla="*/ 54 h 85"/>
                  <a:gd name="T32" fmla="*/ 29 w 87"/>
                  <a:gd name="T33" fmla="*/ 47 h 85"/>
                  <a:gd name="T34" fmla="*/ 24 w 87"/>
                  <a:gd name="T35" fmla="*/ 45 h 85"/>
                  <a:gd name="T36" fmla="*/ 6 w 87"/>
                  <a:gd name="T37" fmla="*/ 50 h 85"/>
                  <a:gd name="T38" fmla="*/ 24 w 87"/>
                  <a:gd name="T39" fmla="*/ 38 h 85"/>
                  <a:gd name="T40" fmla="*/ 24 w 87"/>
                  <a:gd name="T41" fmla="*/ 18 h 85"/>
                  <a:gd name="T42" fmla="*/ 31 w 87"/>
                  <a:gd name="T43" fmla="*/ 35 h 85"/>
                  <a:gd name="T44" fmla="*/ 53 w 87"/>
                  <a:gd name="T45" fmla="*/ 37 h 85"/>
                  <a:gd name="T46" fmla="*/ 57 w 87"/>
                  <a:gd name="T47" fmla="*/ 34 h 85"/>
                  <a:gd name="T48" fmla="*/ 65 w 87"/>
                  <a:gd name="T49" fmla="*/ 27 h 85"/>
                  <a:gd name="T50" fmla="*/ 63 w 87"/>
                  <a:gd name="T51" fmla="*/ 39 h 85"/>
                  <a:gd name="T52" fmla="*/ 79 w 87"/>
                  <a:gd name="T53" fmla="*/ 49 h 85"/>
                  <a:gd name="T54" fmla="*/ 61 w 87"/>
                  <a:gd name="T55" fmla="*/ 45 h 85"/>
                  <a:gd name="T56" fmla="*/ 51 w 87"/>
                  <a:gd name="T57" fmla="*/ 52 h 85"/>
                  <a:gd name="T58" fmla="*/ 47 w 87"/>
                  <a:gd name="T59" fmla="*/ 66 h 85"/>
                  <a:gd name="T60" fmla="*/ 55 w 87"/>
                  <a:gd name="T61" fmla="*/ 81 h 85"/>
                  <a:gd name="T62" fmla="*/ 42 w 87"/>
                  <a:gd name="T63" fmla="*/ 73 h 85"/>
                  <a:gd name="T64" fmla="*/ 40 w 87"/>
                  <a:gd name="T65" fmla="*/ 65 h 85"/>
                  <a:gd name="T66" fmla="*/ 58 w 87"/>
                  <a:gd name="T67" fmla="*/ 10 h 85"/>
                  <a:gd name="T68" fmla="*/ 59 w 87"/>
                  <a:gd name="T69" fmla="*/ 13 h 85"/>
                  <a:gd name="T70" fmla="*/ 60 w 87"/>
                  <a:gd name="T71" fmla="*/ 16 h 85"/>
                  <a:gd name="T72" fmla="*/ 43 w 87"/>
                  <a:gd name="T73" fmla="*/ 28 h 85"/>
                  <a:gd name="T74" fmla="*/ 27 w 87"/>
                  <a:gd name="T75" fmla="*/ 16 h 85"/>
                  <a:gd name="T76" fmla="*/ 28 w 87"/>
                  <a:gd name="T77" fmla="*/ 13 h 85"/>
                  <a:gd name="T78" fmla="*/ 29 w 87"/>
                  <a:gd name="T79" fmla="*/ 10 h 85"/>
                  <a:gd name="T80" fmla="*/ 43 w 87"/>
                  <a:gd name="T81" fmla="*/ 37 h 85"/>
                  <a:gd name="T82" fmla="*/ 61 w 87"/>
                  <a:gd name="T83" fmla="*/ 49 h 85"/>
                  <a:gd name="T84" fmla="*/ 59 w 87"/>
                  <a:gd name="T85" fmla="*/ 80 h 85"/>
                  <a:gd name="T86" fmla="*/ 64 w 87"/>
                  <a:gd name="T87" fmla="*/ 48 h 85"/>
                  <a:gd name="T88" fmla="*/ 83 w 87"/>
                  <a:gd name="T89" fmla="*/ 59 h 85"/>
                  <a:gd name="T90" fmla="*/ 65 w 87"/>
                  <a:gd name="T91" fmla="*/ 81 h 85"/>
                  <a:gd name="T92" fmla="*/ 60 w 87"/>
                  <a:gd name="T93" fmla="*/ 8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7" h="85">
                    <a:moveTo>
                      <a:pt x="86" y="59"/>
                    </a:moveTo>
                    <a:cubicBezTo>
                      <a:pt x="85" y="52"/>
                      <a:pt x="82" y="46"/>
                      <a:pt x="77" y="41"/>
                    </a:cubicBezTo>
                    <a:cubicBezTo>
                      <a:pt x="74" y="39"/>
                      <a:pt x="70" y="37"/>
                      <a:pt x="66" y="36"/>
                    </a:cubicBezTo>
                    <a:cubicBezTo>
                      <a:pt x="67" y="33"/>
                      <a:pt x="68" y="30"/>
                      <a:pt x="68" y="27"/>
                    </a:cubicBezTo>
                    <a:cubicBezTo>
                      <a:pt x="68" y="20"/>
                      <a:pt x="65" y="13"/>
                      <a:pt x="60" y="9"/>
                    </a:cubicBezTo>
                    <a:cubicBezTo>
                      <a:pt x="56" y="3"/>
                      <a:pt x="50" y="0"/>
                      <a:pt x="43" y="0"/>
                    </a:cubicBezTo>
                    <a:cubicBezTo>
                      <a:pt x="37" y="0"/>
                      <a:pt x="30" y="3"/>
                      <a:pt x="27" y="9"/>
                    </a:cubicBezTo>
                    <a:cubicBezTo>
                      <a:pt x="22" y="13"/>
                      <a:pt x="19" y="20"/>
                      <a:pt x="19" y="27"/>
                    </a:cubicBezTo>
                    <a:cubicBezTo>
                      <a:pt x="19" y="30"/>
                      <a:pt x="20" y="33"/>
                      <a:pt x="21" y="36"/>
                    </a:cubicBezTo>
                    <a:cubicBezTo>
                      <a:pt x="17" y="37"/>
                      <a:pt x="13" y="39"/>
                      <a:pt x="10" y="41"/>
                    </a:cubicBezTo>
                    <a:cubicBezTo>
                      <a:pt x="5" y="46"/>
                      <a:pt x="1" y="52"/>
                      <a:pt x="1" y="59"/>
                    </a:cubicBezTo>
                    <a:cubicBezTo>
                      <a:pt x="1" y="59"/>
                      <a:pt x="1" y="59"/>
                      <a:pt x="1" y="59"/>
                    </a:cubicBezTo>
                    <a:cubicBezTo>
                      <a:pt x="1" y="61"/>
                      <a:pt x="0" y="63"/>
                      <a:pt x="0" y="65"/>
                    </a:cubicBezTo>
                    <a:cubicBezTo>
                      <a:pt x="0" y="75"/>
                      <a:pt x="9" y="84"/>
                      <a:pt x="20" y="84"/>
                    </a:cubicBezTo>
                    <a:cubicBezTo>
                      <a:pt x="21" y="84"/>
                      <a:pt x="21" y="84"/>
                      <a:pt x="22" y="84"/>
                    </a:cubicBezTo>
                    <a:cubicBezTo>
                      <a:pt x="29" y="85"/>
                      <a:pt x="36" y="83"/>
                      <a:pt x="41" y="79"/>
                    </a:cubicBezTo>
                    <a:cubicBezTo>
                      <a:pt x="42" y="78"/>
                      <a:pt x="42" y="77"/>
                      <a:pt x="43" y="76"/>
                    </a:cubicBezTo>
                    <a:cubicBezTo>
                      <a:pt x="44" y="77"/>
                      <a:pt x="45" y="78"/>
                      <a:pt x="46" y="79"/>
                    </a:cubicBezTo>
                    <a:cubicBezTo>
                      <a:pt x="50" y="82"/>
                      <a:pt x="56" y="84"/>
                      <a:pt x="61" y="84"/>
                    </a:cubicBezTo>
                    <a:cubicBezTo>
                      <a:pt x="61" y="84"/>
                      <a:pt x="61" y="84"/>
                      <a:pt x="61" y="84"/>
                    </a:cubicBezTo>
                    <a:cubicBezTo>
                      <a:pt x="62" y="84"/>
                      <a:pt x="64" y="84"/>
                      <a:pt x="65" y="84"/>
                    </a:cubicBezTo>
                    <a:cubicBezTo>
                      <a:pt x="65" y="84"/>
                      <a:pt x="66" y="84"/>
                      <a:pt x="67" y="84"/>
                    </a:cubicBezTo>
                    <a:cubicBezTo>
                      <a:pt x="78" y="84"/>
                      <a:pt x="87" y="75"/>
                      <a:pt x="87" y="65"/>
                    </a:cubicBezTo>
                    <a:cubicBezTo>
                      <a:pt x="87" y="63"/>
                      <a:pt x="86" y="61"/>
                      <a:pt x="86" y="59"/>
                    </a:cubicBezTo>
                    <a:close/>
                    <a:moveTo>
                      <a:pt x="35" y="56"/>
                    </a:moveTo>
                    <a:cubicBezTo>
                      <a:pt x="35" y="56"/>
                      <a:pt x="35" y="57"/>
                      <a:pt x="35" y="57"/>
                    </a:cubicBezTo>
                    <a:cubicBezTo>
                      <a:pt x="35" y="57"/>
                      <a:pt x="35" y="57"/>
                      <a:pt x="35" y="57"/>
                    </a:cubicBezTo>
                    <a:cubicBezTo>
                      <a:pt x="35" y="57"/>
                      <a:pt x="35" y="57"/>
                      <a:pt x="36" y="58"/>
                    </a:cubicBezTo>
                    <a:cubicBezTo>
                      <a:pt x="36" y="59"/>
                      <a:pt x="37" y="60"/>
                      <a:pt x="37" y="61"/>
                    </a:cubicBezTo>
                    <a:cubicBezTo>
                      <a:pt x="37" y="62"/>
                      <a:pt x="37" y="63"/>
                      <a:pt x="37" y="63"/>
                    </a:cubicBezTo>
                    <a:cubicBezTo>
                      <a:pt x="37" y="64"/>
                      <a:pt x="37" y="64"/>
                      <a:pt x="37" y="65"/>
                    </a:cubicBezTo>
                    <a:cubicBezTo>
                      <a:pt x="30" y="62"/>
                      <a:pt x="26" y="56"/>
                      <a:pt x="26" y="48"/>
                    </a:cubicBezTo>
                    <a:cubicBezTo>
                      <a:pt x="30" y="50"/>
                      <a:pt x="33" y="53"/>
                      <a:pt x="35" y="56"/>
                    </a:cubicBezTo>
                    <a:close/>
                    <a:moveTo>
                      <a:pt x="20" y="48"/>
                    </a:moveTo>
                    <a:cubicBezTo>
                      <a:pt x="21" y="48"/>
                      <a:pt x="22" y="48"/>
                      <a:pt x="23" y="48"/>
                    </a:cubicBezTo>
                    <a:cubicBezTo>
                      <a:pt x="23" y="48"/>
                      <a:pt x="23" y="48"/>
                      <a:pt x="23" y="48"/>
                    </a:cubicBezTo>
                    <a:cubicBezTo>
                      <a:pt x="23" y="57"/>
                      <a:pt x="28" y="65"/>
                      <a:pt x="37" y="67"/>
                    </a:cubicBezTo>
                    <a:cubicBezTo>
                      <a:pt x="36" y="71"/>
                      <a:pt x="34" y="75"/>
                      <a:pt x="31" y="78"/>
                    </a:cubicBezTo>
                    <a:cubicBezTo>
                      <a:pt x="28" y="80"/>
                      <a:pt x="25" y="81"/>
                      <a:pt x="22" y="81"/>
                    </a:cubicBezTo>
                    <a:cubicBezTo>
                      <a:pt x="22" y="81"/>
                      <a:pt x="22" y="81"/>
                      <a:pt x="22" y="82"/>
                    </a:cubicBezTo>
                    <a:cubicBezTo>
                      <a:pt x="21" y="82"/>
                      <a:pt x="21" y="82"/>
                      <a:pt x="20" y="82"/>
                    </a:cubicBezTo>
                    <a:cubicBezTo>
                      <a:pt x="11" y="82"/>
                      <a:pt x="3" y="74"/>
                      <a:pt x="3" y="65"/>
                    </a:cubicBezTo>
                    <a:cubicBezTo>
                      <a:pt x="3" y="55"/>
                      <a:pt x="11" y="48"/>
                      <a:pt x="20" y="48"/>
                    </a:cubicBezTo>
                    <a:close/>
                    <a:moveTo>
                      <a:pt x="40" y="65"/>
                    </a:moveTo>
                    <a:cubicBezTo>
                      <a:pt x="40" y="62"/>
                      <a:pt x="39" y="59"/>
                      <a:pt x="38" y="57"/>
                    </a:cubicBezTo>
                    <a:cubicBezTo>
                      <a:pt x="38" y="57"/>
                      <a:pt x="38" y="57"/>
                      <a:pt x="38" y="56"/>
                    </a:cubicBezTo>
                    <a:cubicBezTo>
                      <a:pt x="38" y="56"/>
                      <a:pt x="38" y="55"/>
                      <a:pt x="37" y="55"/>
                    </a:cubicBezTo>
                    <a:cubicBezTo>
                      <a:pt x="37" y="54"/>
                      <a:pt x="37" y="54"/>
                      <a:pt x="37" y="54"/>
                    </a:cubicBezTo>
                    <a:cubicBezTo>
                      <a:pt x="36" y="53"/>
                      <a:pt x="36" y="53"/>
                      <a:pt x="36" y="53"/>
                    </a:cubicBezTo>
                    <a:cubicBezTo>
                      <a:pt x="36" y="53"/>
                      <a:pt x="36" y="52"/>
                      <a:pt x="35" y="52"/>
                    </a:cubicBezTo>
                    <a:cubicBezTo>
                      <a:pt x="34" y="50"/>
                      <a:pt x="31" y="48"/>
                      <a:pt x="29" y="47"/>
                    </a:cubicBezTo>
                    <a:cubicBezTo>
                      <a:pt x="28" y="46"/>
                      <a:pt x="28" y="46"/>
                      <a:pt x="27" y="46"/>
                    </a:cubicBezTo>
                    <a:cubicBezTo>
                      <a:pt x="27" y="46"/>
                      <a:pt x="26" y="46"/>
                      <a:pt x="25" y="45"/>
                    </a:cubicBezTo>
                    <a:cubicBezTo>
                      <a:pt x="25" y="45"/>
                      <a:pt x="24" y="45"/>
                      <a:pt x="24" y="45"/>
                    </a:cubicBezTo>
                    <a:cubicBezTo>
                      <a:pt x="23" y="45"/>
                      <a:pt x="22" y="45"/>
                      <a:pt x="22" y="45"/>
                    </a:cubicBezTo>
                    <a:cubicBezTo>
                      <a:pt x="17" y="44"/>
                      <a:pt x="11" y="46"/>
                      <a:pt x="7" y="49"/>
                    </a:cubicBezTo>
                    <a:cubicBezTo>
                      <a:pt x="7" y="50"/>
                      <a:pt x="6" y="50"/>
                      <a:pt x="6" y="50"/>
                    </a:cubicBezTo>
                    <a:cubicBezTo>
                      <a:pt x="7" y="48"/>
                      <a:pt x="9" y="45"/>
                      <a:pt x="12" y="43"/>
                    </a:cubicBezTo>
                    <a:cubicBezTo>
                      <a:pt x="15" y="41"/>
                      <a:pt x="19" y="39"/>
                      <a:pt x="23" y="39"/>
                    </a:cubicBezTo>
                    <a:cubicBezTo>
                      <a:pt x="24" y="39"/>
                      <a:pt x="24" y="38"/>
                      <a:pt x="24" y="38"/>
                    </a:cubicBezTo>
                    <a:cubicBezTo>
                      <a:pt x="24" y="38"/>
                      <a:pt x="24" y="37"/>
                      <a:pt x="24" y="37"/>
                    </a:cubicBezTo>
                    <a:cubicBezTo>
                      <a:pt x="23" y="34"/>
                      <a:pt x="22" y="30"/>
                      <a:pt x="22" y="27"/>
                    </a:cubicBezTo>
                    <a:cubicBezTo>
                      <a:pt x="22" y="24"/>
                      <a:pt x="22" y="21"/>
                      <a:pt x="24" y="18"/>
                    </a:cubicBezTo>
                    <a:cubicBezTo>
                      <a:pt x="24" y="19"/>
                      <a:pt x="23" y="19"/>
                      <a:pt x="23" y="20"/>
                    </a:cubicBezTo>
                    <a:cubicBezTo>
                      <a:pt x="23" y="25"/>
                      <a:pt x="26" y="30"/>
                      <a:pt x="29" y="34"/>
                    </a:cubicBezTo>
                    <a:cubicBezTo>
                      <a:pt x="30" y="34"/>
                      <a:pt x="30" y="35"/>
                      <a:pt x="31" y="35"/>
                    </a:cubicBezTo>
                    <a:cubicBezTo>
                      <a:pt x="31" y="35"/>
                      <a:pt x="32" y="36"/>
                      <a:pt x="32" y="36"/>
                    </a:cubicBezTo>
                    <a:cubicBezTo>
                      <a:pt x="33" y="37"/>
                      <a:pt x="33" y="37"/>
                      <a:pt x="34" y="37"/>
                    </a:cubicBezTo>
                    <a:cubicBezTo>
                      <a:pt x="40" y="40"/>
                      <a:pt x="47" y="40"/>
                      <a:pt x="53" y="37"/>
                    </a:cubicBezTo>
                    <a:cubicBezTo>
                      <a:pt x="53" y="37"/>
                      <a:pt x="54" y="37"/>
                      <a:pt x="54" y="36"/>
                    </a:cubicBezTo>
                    <a:cubicBezTo>
                      <a:pt x="55" y="36"/>
                      <a:pt x="55" y="35"/>
                      <a:pt x="56" y="35"/>
                    </a:cubicBezTo>
                    <a:cubicBezTo>
                      <a:pt x="56" y="35"/>
                      <a:pt x="57" y="34"/>
                      <a:pt x="57" y="34"/>
                    </a:cubicBezTo>
                    <a:cubicBezTo>
                      <a:pt x="61" y="30"/>
                      <a:pt x="63" y="25"/>
                      <a:pt x="63" y="20"/>
                    </a:cubicBezTo>
                    <a:cubicBezTo>
                      <a:pt x="63" y="19"/>
                      <a:pt x="63" y="19"/>
                      <a:pt x="63" y="18"/>
                    </a:cubicBezTo>
                    <a:cubicBezTo>
                      <a:pt x="64" y="21"/>
                      <a:pt x="65" y="24"/>
                      <a:pt x="65" y="27"/>
                    </a:cubicBezTo>
                    <a:cubicBezTo>
                      <a:pt x="65" y="30"/>
                      <a:pt x="64" y="34"/>
                      <a:pt x="62" y="37"/>
                    </a:cubicBezTo>
                    <a:cubicBezTo>
                      <a:pt x="62" y="37"/>
                      <a:pt x="62" y="38"/>
                      <a:pt x="62" y="38"/>
                    </a:cubicBezTo>
                    <a:cubicBezTo>
                      <a:pt x="63" y="38"/>
                      <a:pt x="63" y="39"/>
                      <a:pt x="63" y="39"/>
                    </a:cubicBezTo>
                    <a:cubicBezTo>
                      <a:pt x="68" y="39"/>
                      <a:pt x="72" y="41"/>
                      <a:pt x="75" y="43"/>
                    </a:cubicBezTo>
                    <a:cubicBezTo>
                      <a:pt x="77" y="45"/>
                      <a:pt x="79" y="48"/>
                      <a:pt x="81" y="50"/>
                    </a:cubicBezTo>
                    <a:cubicBezTo>
                      <a:pt x="80" y="50"/>
                      <a:pt x="80" y="50"/>
                      <a:pt x="79" y="49"/>
                    </a:cubicBezTo>
                    <a:cubicBezTo>
                      <a:pt x="75" y="46"/>
                      <a:pt x="70" y="44"/>
                      <a:pt x="65" y="45"/>
                    </a:cubicBezTo>
                    <a:cubicBezTo>
                      <a:pt x="64" y="45"/>
                      <a:pt x="64" y="45"/>
                      <a:pt x="63" y="45"/>
                    </a:cubicBezTo>
                    <a:cubicBezTo>
                      <a:pt x="62" y="45"/>
                      <a:pt x="62" y="45"/>
                      <a:pt x="61" y="45"/>
                    </a:cubicBezTo>
                    <a:cubicBezTo>
                      <a:pt x="61" y="46"/>
                      <a:pt x="60" y="46"/>
                      <a:pt x="59" y="46"/>
                    </a:cubicBezTo>
                    <a:cubicBezTo>
                      <a:pt x="59" y="46"/>
                      <a:pt x="58" y="46"/>
                      <a:pt x="58" y="47"/>
                    </a:cubicBezTo>
                    <a:cubicBezTo>
                      <a:pt x="55" y="48"/>
                      <a:pt x="53" y="50"/>
                      <a:pt x="51" y="52"/>
                    </a:cubicBezTo>
                    <a:cubicBezTo>
                      <a:pt x="49" y="55"/>
                      <a:pt x="47" y="58"/>
                      <a:pt x="47" y="62"/>
                    </a:cubicBezTo>
                    <a:cubicBezTo>
                      <a:pt x="47" y="63"/>
                      <a:pt x="47" y="63"/>
                      <a:pt x="47" y="64"/>
                    </a:cubicBezTo>
                    <a:cubicBezTo>
                      <a:pt x="47" y="65"/>
                      <a:pt x="47" y="65"/>
                      <a:pt x="47" y="66"/>
                    </a:cubicBezTo>
                    <a:cubicBezTo>
                      <a:pt x="47" y="66"/>
                      <a:pt x="47" y="67"/>
                      <a:pt x="47" y="68"/>
                    </a:cubicBezTo>
                    <a:cubicBezTo>
                      <a:pt x="48" y="72"/>
                      <a:pt x="50" y="77"/>
                      <a:pt x="54" y="80"/>
                    </a:cubicBezTo>
                    <a:cubicBezTo>
                      <a:pt x="55" y="80"/>
                      <a:pt x="55" y="80"/>
                      <a:pt x="55" y="81"/>
                    </a:cubicBezTo>
                    <a:cubicBezTo>
                      <a:pt x="53" y="80"/>
                      <a:pt x="50" y="79"/>
                      <a:pt x="48" y="77"/>
                    </a:cubicBezTo>
                    <a:cubicBezTo>
                      <a:pt x="47" y="76"/>
                      <a:pt x="45" y="75"/>
                      <a:pt x="44" y="73"/>
                    </a:cubicBezTo>
                    <a:cubicBezTo>
                      <a:pt x="44" y="73"/>
                      <a:pt x="43" y="73"/>
                      <a:pt x="42" y="73"/>
                    </a:cubicBezTo>
                    <a:cubicBezTo>
                      <a:pt x="41" y="75"/>
                      <a:pt x="40" y="76"/>
                      <a:pt x="39" y="77"/>
                    </a:cubicBezTo>
                    <a:cubicBezTo>
                      <a:pt x="37" y="79"/>
                      <a:pt x="34" y="80"/>
                      <a:pt x="31" y="81"/>
                    </a:cubicBezTo>
                    <a:cubicBezTo>
                      <a:pt x="37" y="77"/>
                      <a:pt x="40" y="71"/>
                      <a:pt x="40" y="65"/>
                    </a:cubicBezTo>
                    <a:close/>
                    <a:moveTo>
                      <a:pt x="29" y="10"/>
                    </a:moveTo>
                    <a:cubicBezTo>
                      <a:pt x="32" y="5"/>
                      <a:pt x="38" y="3"/>
                      <a:pt x="43" y="3"/>
                    </a:cubicBezTo>
                    <a:cubicBezTo>
                      <a:pt x="49" y="3"/>
                      <a:pt x="54" y="5"/>
                      <a:pt x="58" y="10"/>
                    </a:cubicBezTo>
                    <a:cubicBezTo>
                      <a:pt x="58" y="10"/>
                      <a:pt x="58" y="10"/>
                      <a:pt x="58" y="10"/>
                    </a:cubicBezTo>
                    <a:cubicBezTo>
                      <a:pt x="58" y="11"/>
                      <a:pt x="58" y="12"/>
                      <a:pt x="59" y="13"/>
                    </a:cubicBezTo>
                    <a:cubicBezTo>
                      <a:pt x="59" y="13"/>
                      <a:pt x="59" y="13"/>
                      <a:pt x="59" y="13"/>
                    </a:cubicBezTo>
                    <a:cubicBezTo>
                      <a:pt x="59" y="13"/>
                      <a:pt x="59" y="14"/>
                      <a:pt x="60" y="15"/>
                    </a:cubicBezTo>
                    <a:cubicBezTo>
                      <a:pt x="60" y="15"/>
                      <a:pt x="60" y="15"/>
                      <a:pt x="60" y="16"/>
                    </a:cubicBezTo>
                    <a:cubicBezTo>
                      <a:pt x="60" y="16"/>
                      <a:pt x="60" y="16"/>
                      <a:pt x="60" y="16"/>
                    </a:cubicBezTo>
                    <a:cubicBezTo>
                      <a:pt x="60" y="18"/>
                      <a:pt x="60" y="19"/>
                      <a:pt x="60" y="20"/>
                    </a:cubicBezTo>
                    <a:cubicBezTo>
                      <a:pt x="60" y="24"/>
                      <a:pt x="59" y="28"/>
                      <a:pt x="55" y="32"/>
                    </a:cubicBezTo>
                    <a:cubicBezTo>
                      <a:pt x="52" y="29"/>
                      <a:pt x="48" y="28"/>
                      <a:pt x="43" y="28"/>
                    </a:cubicBezTo>
                    <a:cubicBezTo>
                      <a:pt x="39" y="28"/>
                      <a:pt x="35" y="29"/>
                      <a:pt x="31" y="32"/>
                    </a:cubicBezTo>
                    <a:cubicBezTo>
                      <a:pt x="28" y="28"/>
                      <a:pt x="26" y="24"/>
                      <a:pt x="26" y="20"/>
                    </a:cubicBezTo>
                    <a:cubicBezTo>
                      <a:pt x="26" y="19"/>
                      <a:pt x="26" y="18"/>
                      <a:pt x="27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7" y="15"/>
                      <a:pt x="27" y="15"/>
                      <a:pt x="27" y="15"/>
                    </a:cubicBezTo>
                    <a:cubicBezTo>
                      <a:pt x="27" y="14"/>
                      <a:pt x="28" y="13"/>
                      <a:pt x="28" y="13"/>
                    </a:cubicBezTo>
                    <a:cubicBezTo>
                      <a:pt x="28" y="12"/>
                      <a:pt x="29" y="11"/>
                      <a:pt x="29" y="1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29" y="10"/>
                      <a:pt x="29" y="10"/>
                      <a:pt x="29" y="10"/>
                    </a:cubicBezTo>
                    <a:close/>
                    <a:moveTo>
                      <a:pt x="43" y="30"/>
                    </a:moveTo>
                    <a:cubicBezTo>
                      <a:pt x="47" y="30"/>
                      <a:pt x="50" y="31"/>
                      <a:pt x="53" y="33"/>
                    </a:cubicBezTo>
                    <a:cubicBezTo>
                      <a:pt x="50" y="36"/>
                      <a:pt x="47" y="37"/>
                      <a:pt x="43" y="37"/>
                    </a:cubicBezTo>
                    <a:cubicBezTo>
                      <a:pt x="40" y="37"/>
                      <a:pt x="36" y="36"/>
                      <a:pt x="33" y="33"/>
                    </a:cubicBezTo>
                    <a:cubicBezTo>
                      <a:pt x="36" y="31"/>
                      <a:pt x="40" y="30"/>
                      <a:pt x="43" y="30"/>
                    </a:cubicBezTo>
                    <a:close/>
                    <a:moveTo>
                      <a:pt x="61" y="49"/>
                    </a:moveTo>
                    <a:cubicBezTo>
                      <a:pt x="61" y="56"/>
                      <a:pt x="56" y="62"/>
                      <a:pt x="50" y="65"/>
                    </a:cubicBezTo>
                    <a:cubicBezTo>
                      <a:pt x="50" y="57"/>
                      <a:pt x="54" y="51"/>
                      <a:pt x="61" y="49"/>
                    </a:cubicBezTo>
                    <a:close/>
                    <a:moveTo>
                      <a:pt x="59" y="80"/>
                    </a:moveTo>
                    <a:cubicBezTo>
                      <a:pt x="54" y="77"/>
                      <a:pt x="51" y="73"/>
                      <a:pt x="50" y="67"/>
                    </a:cubicBezTo>
                    <a:cubicBezTo>
                      <a:pt x="58" y="65"/>
                      <a:pt x="64" y="57"/>
                      <a:pt x="64" y="48"/>
                    </a:cubicBezTo>
                    <a:cubicBezTo>
                      <a:pt x="64" y="48"/>
                      <a:pt x="64" y="48"/>
                      <a:pt x="64" y="48"/>
                    </a:cubicBezTo>
                    <a:cubicBezTo>
                      <a:pt x="65" y="48"/>
                      <a:pt x="66" y="48"/>
                      <a:pt x="67" y="48"/>
                    </a:cubicBezTo>
                    <a:cubicBezTo>
                      <a:pt x="73" y="48"/>
                      <a:pt x="80" y="52"/>
                      <a:pt x="82" y="58"/>
                    </a:cubicBezTo>
                    <a:cubicBezTo>
                      <a:pt x="82" y="58"/>
                      <a:pt x="83" y="58"/>
                      <a:pt x="83" y="59"/>
                    </a:cubicBezTo>
                    <a:cubicBezTo>
                      <a:pt x="83" y="61"/>
                      <a:pt x="84" y="63"/>
                      <a:pt x="84" y="65"/>
                    </a:cubicBezTo>
                    <a:cubicBezTo>
                      <a:pt x="84" y="74"/>
                      <a:pt x="76" y="82"/>
                      <a:pt x="67" y="82"/>
                    </a:cubicBezTo>
                    <a:cubicBezTo>
                      <a:pt x="66" y="82"/>
                      <a:pt x="66" y="82"/>
                      <a:pt x="65" y="81"/>
                    </a:cubicBezTo>
                    <a:cubicBezTo>
                      <a:pt x="65" y="81"/>
                      <a:pt x="65" y="81"/>
                      <a:pt x="65" y="81"/>
                    </a:cubicBezTo>
                    <a:cubicBezTo>
                      <a:pt x="64" y="81"/>
                      <a:pt x="63" y="81"/>
                      <a:pt x="62" y="81"/>
                    </a:cubicBezTo>
                    <a:cubicBezTo>
                      <a:pt x="62" y="81"/>
                      <a:pt x="61" y="81"/>
                      <a:pt x="60" y="80"/>
                    </a:cubicBezTo>
                    <a:cubicBezTo>
                      <a:pt x="60" y="80"/>
                      <a:pt x="60" y="80"/>
                      <a:pt x="60" y="80"/>
                    </a:cubicBezTo>
                    <a:cubicBezTo>
                      <a:pt x="59" y="80"/>
                      <a:pt x="59" y="80"/>
                      <a:pt x="59" y="8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661" name="Group 24">
            <a:extLst>
              <a:ext uri="{FF2B5EF4-FFF2-40B4-BE49-F238E27FC236}">
                <a16:creationId xmlns:a16="http://schemas.microsoft.com/office/drawing/2014/main" xmlns="" id="{C777F2A3-D748-4575-BCA1-20B62665BEC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30569" y="3467746"/>
            <a:ext cx="336674" cy="336674"/>
            <a:chOff x="1626" y="-1079"/>
            <a:chExt cx="588" cy="588"/>
          </a:xfrm>
        </p:grpSpPr>
        <p:sp>
          <p:nvSpPr>
            <p:cNvPr id="1662" name="Freeform 25">
              <a:extLst>
                <a:ext uri="{FF2B5EF4-FFF2-40B4-BE49-F238E27FC236}">
                  <a16:creationId xmlns:a16="http://schemas.microsoft.com/office/drawing/2014/main" xmlns="" id="{782E25E8-97AE-4417-88A5-D139A234A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6" y="-1079"/>
              <a:ext cx="588" cy="588"/>
            </a:xfrm>
            <a:custGeom>
              <a:avLst/>
              <a:gdLst>
                <a:gd name="T0" fmla="*/ 1039 w 1264"/>
                <a:gd name="T1" fmla="*/ 1039 h 1264"/>
                <a:gd name="T2" fmla="*/ 225 w 1264"/>
                <a:gd name="T3" fmla="*/ 1039 h 1264"/>
                <a:gd name="T4" fmla="*/ 225 w 1264"/>
                <a:gd name="T5" fmla="*/ 225 h 1264"/>
                <a:gd name="T6" fmla="*/ 1039 w 1264"/>
                <a:gd name="T7" fmla="*/ 225 h 1264"/>
                <a:gd name="T8" fmla="*/ 1039 w 1264"/>
                <a:gd name="T9" fmla="*/ 1039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4" h="1264">
                  <a:moveTo>
                    <a:pt x="1039" y="1039"/>
                  </a:moveTo>
                  <a:cubicBezTo>
                    <a:pt x="814" y="1264"/>
                    <a:pt x="450" y="1264"/>
                    <a:pt x="225" y="1039"/>
                  </a:cubicBezTo>
                  <a:cubicBezTo>
                    <a:pt x="0" y="814"/>
                    <a:pt x="0" y="450"/>
                    <a:pt x="225" y="225"/>
                  </a:cubicBezTo>
                  <a:cubicBezTo>
                    <a:pt x="450" y="0"/>
                    <a:pt x="814" y="0"/>
                    <a:pt x="1039" y="225"/>
                  </a:cubicBezTo>
                  <a:cubicBezTo>
                    <a:pt x="1264" y="450"/>
                    <a:pt x="1264" y="814"/>
                    <a:pt x="1039" y="103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3" name="Freeform 26">
              <a:extLst>
                <a:ext uri="{FF2B5EF4-FFF2-40B4-BE49-F238E27FC236}">
                  <a16:creationId xmlns:a16="http://schemas.microsoft.com/office/drawing/2014/main" xmlns="" id="{3C68F4F7-62DB-4F57-8DF7-4257702CC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-914"/>
              <a:ext cx="354" cy="390"/>
            </a:xfrm>
            <a:custGeom>
              <a:avLst/>
              <a:gdLst>
                <a:gd name="T0" fmla="*/ 592 w 761"/>
                <a:gd name="T1" fmla="*/ 685 h 838"/>
                <a:gd name="T2" fmla="*/ 761 w 761"/>
                <a:gd name="T3" fmla="*/ 297 h 838"/>
                <a:gd name="T4" fmla="*/ 467 w 761"/>
                <a:gd name="T5" fmla="*/ 0 h 838"/>
                <a:gd name="T6" fmla="*/ 0 w 761"/>
                <a:gd name="T7" fmla="*/ 404 h 838"/>
                <a:gd name="T8" fmla="*/ 2 w 761"/>
                <a:gd name="T9" fmla="*/ 532 h 838"/>
                <a:gd name="T10" fmla="*/ 322 w 761"/>
                <a:gd name="T11" fmla="*/ 838 h 838"/>
                <a:gd name="T12" fmla="*/ 592 w 761"/>
                <a:gd name="T13" fmla="*/ 685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1" h="838">
                  <a:moveTo>
                    <a:pt x="592" y="685"/>
                  </a:moveTo>
                  <a:cubicBezTo>
                    <a:pt x="700" y="578"/>
                    <a:pt x="756" y="438"/>
                    <a:pt x="761" y="297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0" y="404"/>
                    <a:pt x="0" y="404"/>
                    <a:pt x="0" y="404"/>
                  </a:cubicBezTo>
                  <a:cubicBezTo>
                    <a:pt x="2" y="532"/>
                    <a:pt x="2" y="532"/>
                    <a:pt x="2" y="532"/>
                  </a:cubicBezTo>
                  <a:cubicBezTo>
                    <a:pt x="322" y="838"/>
                    <a:pt x="322" y="838"/>
                    <a:pt x="322" y="838"/>
                  </a:cubicBezTo>
                  <a:cubicBezTo>
                    <a:pt x="421" y="814"/>
                    <a:pt x="515" y="763"/>
                    <a:pt x="592" y="685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4" name="Freeform 27">
              <a:extLst>
                <a:ext uri="{FF2B5EF4-FFF2-40B4-BE49-F238E27FC236}">
                  <a16:creationId xmlns:a16="http://schemas.microsoft.com/office/drawing/2014/main" xmlns="" id="{4ADCB8D7-56D0-4FF3-A529-DAE04BA5C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6" y="-952"/>
              <a:ext cx="268" cy="330"/>
            </a:xfrm>
            <a:custGeom>
              <a:avLst/>
              <a:gdLst>
                <a:gd name="T0" fmla="*/ 0 w 576"/>
                <a:gd name="T1" fmla="*/ 101 h 711"/>
                <a:gd name="T2" fmla="*/ 0 w 576"/>
                <a:gd name="T3" fmla="*/ 360 h 711"/>
                <a:gd name="T4" fmla="*/ 288 w 576"/>
                <a:gd name="T5" fmla="*/ 711 h 711"/>
                <a:gd name="T6" fmla="*/ 288 w 576"/>
                <a:gd name="T7" fmla="*/ 711 h 711"/>
                <a:gd name="T8" fmla="*/ 288 w 576"/>
                <a:gd name="T9" fmla="*/ 711 h 711"/>
                <a:gd name="T10" fmla="*/ 576 w 576"/>
                <a:gd name="T11" fmla="*/ 360 h 711"/>
                <a:gd name="T12" fmla="*/ 576 w 576"/>
                <a:gd name="T13" fmla="*/ 101 h 711"/>
                <a:gd name="T14" fmla="*/ 547 w 576"/>
                <a:gd name="T15" fmla="*/ 72 h 711"/>
                <a:gd name="T16" fmla="*/ 513 w 576"/>
                <a:gd name="T17" fmla="*/ 72 h 711"/>
                <a:gd name="T18" fmla="*/ 288 w 576"/>
                <a:gd name="T19" fmla="*/ 0 h 711"/>
                <a:gd name="T20" fmla="*/ 288 w 576"/>
                <a:gd name="T21" fmla="*/ 0 h 711"/>
                <a:gd name="T22" fmla="*/ 288 w 576"/>
                <a:gd name="T23" fmla="*/ 0 h 711"/>
                <a:gd name="T24" fmla="*/ 63 w 576"/>
                <a:gd name="T25" fmla="*/ 72 h 711"/>
                <a:gd name="T26" fmla="*/ 29 w 576"/>
                <a:gd name="T27" fmla="*/ 72 h 711"/>
                <a:gd name="T28" fmla="*/ 0 w 576"/>
                <a:gd name="T29" fmla="*/ 10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6" h="711">
                  <a:moveTo>
                    <a:pt x="0" y="101"/>
                  </a:moveTo>
                  <a:cubicBezTo>
                    <a:pt x="0" y="360"/>
                    <a:pt x="0" y="360"/>
                    <a:pt x="0" y="360"/>
                  </a:cubicBezTo>
                  <a:cubicBezTo>
                    <a:pt x="0" y="531"/>
                    <a:pt x="121" y="678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455" y="678"/>
                    <a:pt x="576" y="531"/>
                    <a:pt x="576" y="360"/>
                  </a:cubicBezTo>
                  <a:cubicBezTo>
                    <a:pt x="576" y="101"/>
                    <a:pt x="576" y="101"/>
                    <a:pt x="576" y="101"/>
                  </a:cubicBezTo>
                  <a:cubicBezTo>
                    <a:pt x="576" y="85"/>
                    <a:pt x="563" y="72"/>
                    <a:pt x="547" y="72"/>
                  </a:cubicBezTo>
                  <a:cubicBezTo>
                    <a:pt x="513" y="72"/>
                    <a:pt x="513" y="72"/>
                    <a:pt x="513" y="72"/>
                  </a:cubicBezTo>
                  <a:cubicBezTo>
                    <a:pt x="432" y="72"/>
                    <a:pt x="354" y="47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22" y="47"/>
                    <a:pt x="144" y="72"/>
                    <a:pt x="63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13" y="72"/>
                    <a:pt x="0" y="85"/>
                    <a:pt x="0" y="10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5" name="Freeform 28">
              <a:extLst>
                <a:ext uri="{FF2B5EF4-FFF2-40B4-BE49-F238E27FC236}">
                  <a16:creationId xmlns:a16="http://schemas.microsoft.com/office/drawing/2014/main" xmlns="" id="{9D18E39F-6224-4D00-872D-D64E6AE1D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" y="-952"/>
              <a:ext cx="134" cy="330"/>
            </a:xfrm>
            <a:custGeom>
              <a:avLst/>
              <a:gdLst>
                <a:gd name="T0" fmla="*/ 0 w 288"/>
                <a:gd name="T1" fmla="*/ 0 h 711"/>
                <a:gd name="T2" fmla="*/ 225 w 288"/>
                <a:gd name="T3" fmla="*/ 72 h 711"/>
                <a:gd name="T4" fmla="*/ 259 w 288"/>
                <a:gd name="T5" fmla="*/ 72 h 711"/>
                <a:gd name="T6" fmla="*/ 288 w 288"/>
                <a:gd name="T7" fmla="*/ 101 h 711"/>
                <a:gd name="T8" fmla="*/ 288 w 288"/>
                <a:gd name="T9" fmla="*/ 360 h 711"/>
                <a:gd name="T10" fmla="*/ 0 w 288"/>
                <a:gd name="T11" fmla="*/ 711 h 711"/>
                <a:gd name="T12" fmla="*/ 0 w 288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711">
                  <a:moveTo>
                    <a:pt x="0" y="0"/>
                  </a:moveTo>
                  <a:cubicBezTo>
                    <a:pt x="66" y="47"/>
                    <a:pt x="144" y="72"/>
                    <a:pt x="225" y="72"/>
                  </a:cubicBezTo>
                  <a:cubicBezTo>
                    <a:pt x="259" y="72"/>
                    <a:pt x="259" y="72"/>
                    <a:pt x="259" y="72"/>
                  </a:cubicBezTo>
                  <a:cubicBezTo>
                    <a:pt x="275" y="72"/>
                    <a:pt x="288" y="85"/>
                    <a:pt x="288" y="101"/>
                  </a:cubicBezTo>
                  <a:cubicBezTo>
                    <a:pt x="288" y="360"/>
                    <a:pt x="288" y="360"/>
                    <a:pt x="288" y="360"/>
                  </a:cubicBezTo>
                  <a:cubicBezTo>
                    <a:pt x="288" y="531"/>
                    <a:pt x="167" y="678"/>
                    <a:pt x="0" y="7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9E36FE12-C8D0-4728-90A7-FECED26D98A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054977" y="19830"/>
            <a:ext cx="6096000" cy="5143500"/>
          </a:xfrm>
          <a:prstGeom prst="rect">
            <a:avLst/>
          </a:prstGeom>
          <a:solidFill>
            <a:schemeClr val="bg2">
              <a:alpha val="94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27" name="TextBox 1726">
            <a:extLst>
              <a:ext uri="{FF2B5EF4-FFF2-40B4-BE49-F238E27FC236}">
                <a16:creationId xmlns:a16="http://schemas.microsoft.com/office/drawing/2014/main" xmlns="" id="{198AE901-D8B7-4E5F-88D4-68E4CBFC33F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287697" y="2197515"/>
            <a:ext cx="700226" cy="691332"/>
          </a:xfrm>
          <a:prstGeom prst="ellipse">
            <a:avLst/>
          </a:prstGeom>
          <a:noFill/>
          <a:ln>
            <a:solidFill>
              <a:schemeClr val="accent3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/>
          </a:lstStyle>
          <a:p>
            <a:endParaRPr lang="en-US" dirty="0"/>
          </a:p>
        </p:txBody>
      </p:sp>
      <p:sp>
        <p:nvSpPr>
          <p:cNvPr id="1728" name="TextBox 1727">
            <a:extLst>
              <a:ext uri="{FF2B5EF4-FFF2-40B4-BE49-F238E27FC236}">
                <a16:creationId xmlns:a16="http://schemas.microsoft.com/office/drawing/2014/main" xmlns="" id="{C69C558B-F5F5-46D0-AA00-FC1E3364532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240086" y="2197515"/>
            <a:ext cx="700226" cy="691332"/>
          </a:xfrm>
          <a:prstGeom prst="ellipse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/>
          </a:lstStyle>
          <a:p>
            <a:endParaRPr lang="en-US" dirty="0"/>
          </a:p>
        </p:txBody>
      </p:sp>
      <p:sp>
        <p:nvSpPr>
          <p:cNvPr id="1729" name="TextBox 1728">
            <a:extLst>
              <a:ext uri="{FF2B5EF4-FFF2-40B4-BE49-F238E27FC236}">
                <a16:creationId xmlns:a16="http://schemas.microsoft.com/office/drawing/2014/main" xmlns="" id="{AA6E4A55-BDBA-4D07-A335-664738AB863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90709" y="2197515"/>
            <a:ext cx="700226" cy="691332"/>
          </a:xfrm>
          <a:prstGeom prst="ellipse">
            <a:avLst/>
          </a:prstGeom>
          <a:noFill/>
          <a:ln>
            <a:solidFill>
              <a:schemeClr val="accent5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/>
          </a:lstStyle>
          <a:p>
            <a:endParaRPr lang="en-US" dirty="0"/>
          </a:p>
        </p:txBody>
      </p:sp>
      <p:sp>
        <p:nvSpPr>
          <p:cNvPr id="1730" name="TextBox 1729">
            <a:extLst>
              <a:ext uri="{FF2B5EF4-FFF2-40B4-BE49-F238E27FC236}">
                <a16:creationId xmlns:a16="http://schemas.microsoft.com/office/drawing/2014/main" xmlns="" id="{E0D73629-9BAA-4E75-A602-CA0CF782B31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339560" y="2197515"/>
            <a:ext cx="700226" cy="691332"/>
          </a:xfrm>
          <a:prstGeom prst="ellipse">
            <a:avLst/>
          </a:prstGeom>
          <a:noFill/>
          <a:ln>
            <a:solidFill>
              <a:schemeClr val="accent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/>
          </a:lstStyle>
          <a:p>
            <a:endParaRPr lang="en-US" dirty="0"/>
          </a:p>
        </p:txBody>
      </p:sp>
      <p:grpSp>
        <p:nvGrpSpPr>
          <p:cNvPr id="1673" name="Group 24">
            <a:extLst>
              <a:ext uri="{FF2B5EF4-FFF2-40B4-BE49-F238E27FC236}">
                <a16:creationId xmlns:a16="http://schemas.microsoft.com/office/drawing/2014/main" xmlns="" id="{E30313BF-505A-4E82-BCDB-2CB302DA4182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5190882" y="2145902"/>
            <a:ext cx="802054" cy="802054"/>
            <a:chOff x="1626" y="-1079"/>
            <a:chExt cx="588" cy="588"/>
          </a:xfrm>
        </p:grpSpPr>
        <p:sp>
          <p:nvSpPr>
            <p:cNvPr id="1674" name="Freeform 25">
              <a:extLst>
                <a:ext uri="{FF2B5EF4-FFF2-40B4-BE49-F238E27FC236}">
                  <a16:creationId xmlns:a16="http://schemas.microsoft.com/office/drawing/2014/main" xmlns="" id="{74FE4C50-024A-4083-BAE7-98C0019F0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6" y="-1079"/>
              <a:ext cx="588" cy="588"/>
            </a:xfrm>
            <a:custGeom>
              <a:avLst/>
              <a:gdLst>
                <a:gd name="T0" fmla="*/ 1039 w 1264"/>
                <a:gd name="T1" fmla="*/ 1039 h 1264"/>
                <a:gd name="T2" fmla="*/ 225 w 1264"/>
                <a:gd name="T3" fmla="*/ 1039 h 1264"/>
                <a:gd name="T4" fmla="*/ 225 w 1264"/>
                <a:gd name="T5" fmla="*/ 225 h 1264"/>
                <a:gd name="T6" fmla="*/ 1039 w 1264"/>
                <a:gd name="T7" fmla="*/ 225 h 1264"/>
                <a:gd name="T8" fmla="*/ 1039 w 1264"/>
                <a:gd name="T9" fmla="*/ 1039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4" h="1264">
                  <a:moveTo>
                    <a:pt x="1039" y="1039"/>
                  </a:moveTo>
                  <a:cubicBezTo>
                    <a:pt x="814" y="1264"/>
                    <a:pt x="450" y="1264"/>
                    <a:pt x="225" y="1039"/>
                  </a:cubicBezTo>
                  <a:cubicBezTo>
                    <a:pt x="0" y="814"/>
                    <a:pt x="0" y="450"/>
                    <a:pt x="225" y="225"/>
                  </a:cubicBezTo>
                  <a:cubicBezTo>
                    <a:pt x="450" y="0"/>
                    <a:pt x="814" y="0"/>
                    <a:pt x="1039" y="225"/>
                  </a:cubicBezTo>
                  <a:cubicBezTo>
                    <a:pt x="1264" y="450"/>
                    <a:pt x="1264" y="814"/>
                    <a:pt x="1039" y="1039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5" name="Freeform 26">
              <a:extLst>
                <a:ext uri="{FF2B5EF4-FFF2-40B4-BE49-F238E27FC236}">
                  <a16:creationId xmlns:a16="http://schemas.microsoft.com/office/drawing/2014/main" xmlns="" id="{3EFEEB5F-AAF3-4533-AD85-7B431F3DA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-914"/>
              <a:ext cx="354" cy="390"/>
            </a:xfrm>
            <a:custGeom>
              <a:avLst/>
              <a:gdLst>
                <a:gd name="T0" fmla="*/ 592 w 761"/>
                <a:gd name="T1" fmla="*/ 685 h 838"/>
                <a:gd name="T2" fmla="*/ 761 w 761"/>
                <a:gd name="T3" fmla="*/ 297 h 838"/>
                <a:gd name="T4" fmla="*/ 467 w 761"/>
                <a:gd name="T5" fmla="*/ 0 h 838"/>
                <a:gd name="T6" fmla="*/ 0 w 761"/>
                <a:gd name="T7" fmla="*/ 404 h 838"/>
                <a:gd name="T8" fmla="*/ 2 w 761"/>
                <a:gd name="T9" fmla="*/ 532 h 838"/>
                <a:gd name="T10" fmla="*/ 322 w 761"/>
                <a:gd name="T11" fmla="*/ 838 h 838"/>
                <a:gd name="T12" fmla="*/ 592 w 761"/>
                <a:gd name="T13" fmla="*/ 685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1" h="838">
                  <a:moveTo>
                    <a:pt x="592" y="685"/>
                  </a:moveTo>
                  <a:cubicBezTo>
                    <a:pt x="700" y="578"/>
                    <a:pt x="756" y="438"/>
                    <a:pt x="761" y="297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0" y="404"/>
                    <a:pt x="0" y="404"/>
                    <a:pt x="0" y="404"/>
                  </a:cubicBezTo>
                  <a:cubicBezTo>
                    <a:pt x="2" y="532"/>
                    <a:pt x="2" y="532"/>
                    <a:pt x="2" y="532"/>
                  </a:cubicBezTo>
                  <a:cubicBezTo>
                    <a:pt x="322" y="838"/>
                    <a:pt x="322" y="838"/>
                    <a:pt x="322" y="838"/>
                  </a:cubicBezTo>
                  <a:cubicBezTo>
                    <a:pt x="421" y="814"/>
                    <a:pt x="515" y="763"/>
                    <a:pt x="592" y="6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6" name="Freeform 27">
              <a:extLst>
                <a:ext uri="{FF2B5EF4-FFF2-40B4-BE49-F238E27FC236}">
                  <a16:creationId xmlns:a16="http://schemas.microsoft.com/office/drawing/2014/main" xmlns="" id="{6A743E41-07B5-4F93-9A48-36723CDBB9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6" y="-952"/>
              <a:ext cx="268" cy="330"/>
            </a:xfrm>
            <a:custGeom>
              <a:avLst/>
              <a:gdLst>
                <a:gd name="T0" fmla="*/ 0 w 576"/>
                <a:gd name="T1" fmla="*/ 101 h 711"/>
                <a:gd name="T2" fmla="*/ 0 w 576"/>
                <a:gd name="T3" fmla="*/ 360 h 711"/>
                <a:gd name="T4" fmla="*/ 288 w 576"/>
                <a:gd name="T5" fmla="*/ 711 h 711"/>
                <a:gd name="T6" fmla="*/ 288 w 576"/>
                <a:gd name="T7" fmla="*/ 711 h 711"/>
                <a:gd name="T8" fmla="*/ 288 w 576"/>
                <a:gd name="T9" fmla="*/ 711 h 711"/>
                <a:gd name="T10" fmla="*/ 576 w 576"/>
                <a:gd name="T11" fmla="*/ 360 h 711"/>
                <a:gd name="T12" fmla="*/ 576 w 576"/>
                <a:gd name="T13" fmla="*/ 101 h 711"/>
                <a:gd name="T14" fmla="*/ 547 w 576"/>
                <a:gd name="T15" fmla="*/ 72 h 711"/>
                <a:gd name="T16" fmla="*/ 513 w 576"/>
                <a:gd name="T17" fmla="*/ 72 h 711"/>
                <a:gd name="T18" fmla="*/ 288 w 576"/>
                <a:gd name="T19" fmla="*/ 0 h 711"/>
                <a:gd name="T20" fmla="*/ 288 w 576"/>
                <a:gd name="T21" fmla="*/ 0 h 711"/>
                <a:gd name="T22" fmla="*/ 288 w 576"/>
                <a:gd name="T23" fmla="*/ 0 h 711"/>
                <a:gd name="T24" fmla="*/ 63 w 576"/>
                <a:gd name="T25" fmla="*/ 72 h 711"/>
                <a:gd name="T26" fmla="*/ 29 w 576"/>
                <a:gd name="T27" fmla="*/ 72 h 711"/>
                <a:gd name="T28" fmla="*/ 0 w 576"/>
                <a:gd name="T29" fmla="*/ 10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6" h="711">
                  <a:moveTo>
                    <a:pt x="0" y="101"/>
                  </a:moveTo>
                  <a:cubicBezTo>
                    <a:pt x="0" y="360"/>
                    <a:pt x="0" y="360"/>
                    <a:pt x="0" y="360"/>
                  </a:cubicBezTo>
                  <a:cubicBezTo>
                    <a:pt x="0" y="531"/>
                    <a:pt x="121" y="678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455" y="678"/>
                    <a:pt x="576" y="531"/>
                    <a:pt x="576" y="360"/>
                  </a:cubicBezTo>
                  <a:cubicBezTo>
                    <a:pt x="576" y="101"/>
                    <a:pt x="576" y="101"/>
                    <a:pt x="576" y="101"/>
                  </a:cubicBezTo>
                  <a:cubicBezTo>
                    <a:pt x="576" y="85"/>
                    <a:pt x="563" y="72"/>
                    <a:pt x="547" y="72"/>
                  </a:cubicBezTo>
                  <a:cubicBezTo>
                    <a:pt x="513" y="72"/>
                    <a:pt x="513" y="72"/>
                    <a:pt x="513" y="72"/>
                  </a:cubicBezTo>
                  <a:cubicBezTo>
                    <a:pt x="432" y="72"/>
                    <a:pt x="354" y="47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22" y="47"/>
                    <a:pt x="144" y="72"/>
                    <a:pt x="63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13" y="72"/>
                    <a:pt x="0" y="85"/>
                    <a:pt x="0" y="10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7" name="Freeform 28">
              <a:extLst>
                <a:ext uri="{FF2B5EF4-FFF2-40B4-BE49-F238E27FC236}">
                  <a16:creationId xmlns:a16="http://schemas.microsoft.com/office/drawing/2014/main" xmlns="" id="{C93B50B2-C774-4E45-B2E7-EC8D6FC5B2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" y="-952"/>
              <a:ext cx="134" cy="330"/>
            </a:xfrm>
            <a:custGeom>
              <a:avLst/>
              <a:gdLst>
                <a:gd name="T0" fmla="*/ 0 w 288"/>
                <a:gd name="T1" fmla="*/ 0 h 711"/>
                <a:gd name="T2" fmla="*/ 225 w 288"/>
                <a:gd name="T3" fmla="*/ 72 h 711"/>
                <a:gd name="T4" fmla="*/ 259 w 288"/>
                <a:gd name="T5" fmla="*/ 72 h 711"/>
                <a:gd name="T6" fmla="*/ 288 w 288"/>
                <a:gd name="T7" fmla="*/ 101 h 711"/>
                <a:gd name="T8" fmla="*/ 288 w 288"/>
                <a:gd name="T9" fmla="*/ 360 h 711"/>
                <a:gd name="T10" fmla="*/ 0 w 288"/>
                <a:gd name="T11" fmla="*/ 711 h 711"/>
                <a:gd name="T12" fmla="*/ 0 w 288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711">
                  <a:moveTo>
                    <a:pt x="0" y="0"/>
                  </a:moveTo>
                  <a:cubicBezTo>
                    <a:pt x="66" y="47"/>
                    <a:pt x="144" y="72"/>
                    <a:pt x="225" y="72"/>
                  </a:cubicBezTo>
                  <a:cubicBezTo>
                    <a:pt x="259" y="72"/>
                    <a:pt x="259" y="72"/>
                    <a:pt x="259" y="72"/>
                  </a:cubicBezTo>
                  <a:cubicBezTo>
                    <a:pt x="275" y="72"/>
                    <a:pt x="288" y="85"/>
                    <a:pt x="288" y="101"/>
                  </a:cubicBezTo>
                  <a:cubicBezTo>
                    <a:pt x="288" y="360"/>
                    <a:pt x="288" y="360"/>
                    <a:pt x="288" y="360"/>
                  </a:cubicBezTo>
                  <a:cubicBezTo>
                    <a:pt x="288" y="531"/>
                    <a:pt x="167" y="678"/>
                    <a:pt x="0" y="7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78" name="Group 24">
            <a:extLst>
              <a:ext uri="{FF2B5EF4-FFF2-40B4-BE49-F238E27FC236}">
                <a16:creationId xmlns:a16="http://schemas.microsoft.com/office/drawing/2014/main" xmlns="" id="{7587AABA-095D-4AEF-BFB7-04080D669ECA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4139795" y="2145902"/>
            <a:ext cx="802054" cy="802054"/>
            <a:chOff x="1626" y="-1079"/>
            <a:chExt cx="588" cy="588"/>
          </a:xfrm>
        </p:grpSpPr>
        <p:sp>
          <p:nvSpPr>
            <p:cNvPr id="1679" name="Freeform 25">
              <a:extLst>
                <a:ext uri="{FF2B5EF4-FFF2-40B4-BE49-F238E27FC236}">
                  <a16:creationId xmlns:a16="http://schemas.microsoft.com/office/drawing/2014/main" xmlns="" id="{3528DA2C-E5AE-48FF-97CA-F4A78425B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6" y="-1079"/>
              <a:ext cx="588" cy="588"/>
            </a:xfrm>
            <a:custGeom>
              <a:avLst/>
              <a:gdLst>
                <a:gd name="T0" fmla="*/ 1039 w 1264"/>
                <a:gd name="T1" fmla="*/ 1039 h 1264"/>
                <a:gd name="T2" fmla="*/ 225 w 1264"/>
                <a:gd name="T3" fmla="*/ 1039 h 1264"/>
                <a:gd name="T4" fmla="*/ 225 w 1264"/>
                <a:gd name="T5" fmla="*/ 225 h 1264"/>
                <a:gd name="T6" fmla="*/ 1039 w 1264"/>
                <a:gd name="T7" fmla="*/ 225 h 1264"/>
                <a:gd name="T8" fmla="*/ 1039 w 1264"/>
                <a:gd name="T9" fmla="*/ 1039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4" h="1264">
                  <a:moveTo>
                    <a:pt x="1039" y="1039"/>
                  </a:moveTo>
                  <a:cubicBezTo>
                    <a:pt x="814" y="1264"/>
                    <a:pt x="450" y="1264"/>
                    <a:pt x="225" y="1039"/>
                  </a:cubicBezTo>
                  <a:cubicBezTo>
                    <a:pt x="0" y="814"/>
                    <a:pt x="0" y="450"/>
                    <a:pt x="225" y="225"/>
                  </a:cubicBezTo>
                  <a:cubicBezTo>
                    <a:pt x="450" y="0"/>
                    <a:pt x="814" y="0"/>
                    <a:pt x="1039" y="225"/>
                  </a:cubicBezTo>
                  <a:cubicBezTo>
                    <a:pt x="1264" y="450"/>
                    <a:pt x="1264" y="814"/>
                    <a:pt x="1039" y="1039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0" name="Freeform 26">
              <a:extLst>
                <a:ext uri="{FF2B5EF4-FFF2-40B4-BE49-F238E27FC236}">
                  <a16:creationId xmlns:a16="http://schemas.microsoft.com/office/drawing/2014/main" xmlns="" id="{FF1156D9-2941-4F33-ACC9-FFB963019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-914"/>
              <a:ext cx="354" cy="390"/>
            </a:xfrm>
            <a:custGeom>
              <a:avLst/>
              <a:gdLst>
                <a:gd name="T0" fmla="*/ 592 w 761"/>
                <a:gd name="T1" fmla="*/ 685 h 838"/>
                <a:gd name="T2" fmla="*/ 761 w 761"/>
                <a:gd name="T3" fmla="*/ 297 h 838"/>
                <a:gd name="T4" fmla="*/ 467 w 761"/>
                <a:gd name="T5" fmla="*/ 0 h 838"/>
                <a:gd name="T6" fmla="*/ 0 w 761"/>
                <a:gd name="T7" fmla="*/ 404 h 838"/>
                <a:gd name="T8" fmla="*/ 2 w 761"/>
                <a:gd name="T9" fmla="*/ 532 h 838"/>
                <a:gd name="T10" fmla="*/ 322 w 761"/>
                <a:gd name="T11" fmla="*/ 838 h 838"/>
                <a:gd name="T12" fmla="*/ 592 w 761"/>
                <a:gd name="T13" fmla="*/ 685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1" h="838">
                  <a:moveTo>
                    <a:pt x="592" y="685"/>
                  </a:moveTo>
                  <a:cubicBezTo>
                    <a:pt x="700" y="578"/>
                    <a:pt x="756" y="438"/>
                    <a:pt x="761" y="297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0" y="404"/>
                    <a:pt x="0" y="404"/>
                    <a:pt x="0" y="404"/>
                  </a:cubicBezTo>
                  <a:cubicBezTo>
                    <a:pt x="2" y="532"/>
                    <a:pt x="2" y="532"/>
                    <a:pt x="2" y="532"/>
                  </a:cubicBezTo>
                  <a:cubicBezTo>
                    <a:pt x="322" y="838"/>
                    <a:pt x="322" y="838"/>
                    <a:pt x="322" y="838"/>
                  </a:cubicBezTo>
                  <a:cubicBezTo>
                    <a:pt x="421" y="814"/>
                    <a:pt x="515" y="763"/>
                    <a:pt x="592" y="685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1" name="Freeform 27">
              <a:extLst>
                <a:ext uri="{FF2B5EF4-FFF2-40B4-BE49-F238E27FC236}">
                  <a16:creationId xmlns:a16="http://schemas.microsoft.com/office/drawing/2014/main" xmlns="" id="{5C452D0E-2915-4028-98EA-B7145BC80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6" y="-952"/>
              <a:ext cx="268" cy="330"/>
            </a:xfrm>
            <a:custGeom>
              <a:avLst/>
              <a:gdLst>
                <a:gd name="T0" fmla="*/ 0 w 576"/>
                <a:gd name="T1" fmla="*/ 101 h 711"/>
                <a:gd name="T2" fmla="*/ 0 w 576"/>
                <a:gd name="T3" fmla="*/ 360 h 711"/>
                <a:gd name="T4" fmla="*/ 288 w 576"/>
                <a:gd name="T5" fmla="*/ 711 h 711"/>
                <a:gd name="T6" fmla="*/ 288 w 576"/>
                <a:gd name="T7" fmla="*/ 711 h 711"/>
                <a:gd name="T8" fmla="*/ 288 w 576"/>
                <a:gd name="T9" fmla="*/ 711 h 711"/>
                <a:gd name="T10" fmla="*/ 576 w 576"/>
                <a:gd name="T11" fmla="*/ 360 h 711"/>
                <a:gd name="T12" fmla="*/ 576 w 576"/>
                <a:gd name="T13" fmla="*/ 101 h 711"/>
                <a:gd name="T14" fmla="*/ 547 w 576"/>
                <a:gd name="T15" fmla="*/ 72 h 711"/>
                <a:gd name="T16" fmla="*/ 513 w 576"/>
                <a:gd name="T17" fmla="*/ 72 h 711"/>
                <a:gd name="T18" fmla="*/ 288 w 576"/>
                <a:gd name="T19" fmla="*/ 0 h 711"/>
                <a:gd name="T20" fmla="*/ 288 w 576"/>
                <a:gd name="T21" fmla="*/ 0 h 711"/>
                <a:gd name="T22" fmla="*/ 288 w 576"/>
                <a:gd name="T23" fmla="*/ 0 h 711"/>
                <a:gd name="T24" fmla="*/ 63 w 576"/>
                <a:gd name="T25" fmla="*/ 72 h 711"/>
                <a:gd name="T26" fmla="*/ 29 w 576"/>
                <a:gd name="T27" fmla="*/ 72 h 711"/>
                <a:gd name="T28" fmla="*/ 0 w 576"/>
                <a:gd name="T29" fmla="*/ 10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6" h="711">
                  <a:moveTo>
                    <a:pt x="0" y="101"/>
                  </a:moveTo>
                  <a:cubicBezTo>
                    <a:pt x="0" y="360"/>
                    <a:pt x="0" y="360"/>
                    <a:pt x="0" y="360"/>
                  </a:cubicBezTo>
                  <a:cubicBezTo>
                    <a:pt x="0" y="531"/>
                    <a:pt x="121" y="678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455" y="678"/>
                    <a:pt x="576" y="531"/>
                    <a:pt x="576" y="360"/>
                  </a:cubicBezTo>
                  <a:cubicBezTo>
                    <a:pt x="576" y="101"/>
                    <a:pt x="576" y="101"/>
                    <a:pt x="576" y="101"/>
                  </a:cubicBezTo>
                  <a:cubicBezTo>
                    <a:pt x="576" y="85"/>
                    <a:pt x="563" y="72"/>
                    <a:pt x="547" y="72"/>
                  </a:cubicBezTo>
                  <a:cubicBezTo>
                    <a:pt x="513" y="72"/>
                    <a:pt x="513" y="72"/>
                    <a:pt x="513" y="72"/>
                  </a:cubicBezTo>
                  <a:cubicBezTo>
                    <a:pt x="432" y="72"/>
                    <a:pt x="354" y="47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22" y="47"/>
                    <a:pt x="144" y="72"/>
                    <a:pt x="63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13" y="72"/>
                    <a:pt x="0" y="85"/>
                    <a:pt x="0" y="10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2" name="Freeform 28">
              <a:extLst>
                <a:ext uri="{FF2B5EF4-FFF2-40B4-BE49-F238E27FC236}">
                  <a16:creationId xmlns:a16="http://schemas.microsoft.com/office/drawing/2014/main" xmlns="" id="{9BC6F0DD-8E24-44CD-80FD-ED6683395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" y="-952"/>
              <a:ext cx="134" cy="330"/>
            </a:xfrm>
            <a:custGeom>
              <a:avLst/>
              <a:gdLst>
                <a:gd name="T0" fmla="*/ 0 w 288"/>
                <a:gd name="T1" fmla="*/ 0 h 711"/>
                <a:gd name="T2" fmla="*/ 225 w 288"/>
                <a:gd name="T3" fmla="*/ 72 h 711"/>
                <a:gd name="T4" fmla="*/ 259 w 288"/>
                <a:gd name="T5" fmla="*/ 72 h 711"/>
                <a:gd name="T6" fmla="*/ 288 w 288"/>
                <a:gd name="T7" fmla="*/ 101 h 711"/>
                <a:gd name="T8" fmla="*/ 288 w 288"/>
                <a:gd name="T9" fmla="*/ 360 h 711"/>
                <a:gd name="T10" fmla="*/ 0 w 288"/>
                <a:gd name="T11" fmla="*/ 711 h 711"/>
                <a:gd name="T12" fmla="*/ 0 w 288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711">
                  <a:moveTo>
                    <a:pt x="0" y="0"/>
                  </a:moveTo>
                  <a:cubicBezTo>
                    <a:pt x="66" y="47"/>
                    <a:pt x="144" y="72"/>
                    <a:pt x="225" y="72"/>
                  </a:cubicBezTo>
                  <a:cubicBezTo>
                    <a:pt x="259" y="72"/>
                    <a:pt x="259" y="72"/>
                    <a:pt x="259" y="72"/>
                  </a:cubicBezTo>
                  <a:cubicBezTo>
                    <a:pt x="275" y="72"/>
                    <a:pt x="288" y="85"/>
                    <a:pt x="288" y="101"/>
                  </a:cubicBezTo>
                  <a:cubicBezTo>
                    <a:pt x="288" y="360"/>
                    <a:pt x="288" y="360"/>
                    <a:pt x="288" y="360"/>
                  </a:cubicBezTo>
                  <a:cubicBezTo>
                    <a:pt x="288" y="531"/>
                    <a:pt x="167" y="678"/>
                    <a:pt x="0" y="7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83" name="Group 24">
            <a:extLst>
              <a:ext uri="{FF2B5EF4-FFF2-40B4-BE49-F238E27FC236}">
                <a16:creationId xmlns:a16="http://schemas.microsoft.com/office/drawing/2014/main" xmlns="" id="{17ED7E2F-2D31-466B-AE91-F1E420CE6DDC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7293056" y="2145902"/>
            <a:ext cx="802054" cy="802054"/>
            <a:chOff x="1626" y="-1079"/>
            <a:chExt cx="588" cy="588"/>
          </a:xfrm>
        </p:grpSpPr>
        <p:sp>
          <p:nvSpPr>
            <p:cNvPr id="1684" name="Freeform 25">
              <a:extLst>
                <a:ext uri="{FF2B5EF4-FFF2-40B4-BE49-F238E27FC236}">
                  <a16:creationId xmlns:a16="http://schemas.microsoft.com/office/drawing/2014/main" xmlns="" id="{E1F3E8E5-5F6C-432C-BA99-8184D6F93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6" y="-1079"/>
              <a:ext cx="588" cy="588"/>
            </a:xfrm>
            <a:custGeom>
              <a:avLst/>
              <a:gdLst>
                <a:gd name="T0" fmla="*/ 1039 w 1264"/>
                <a:gd name="T1" fmla="*/ 1039 h 1264"/>
                <a:gd name="T2" fmla="*/ 225 w 1264"/>
                <a:gd name="T3" fmla="*/ 1039 h 1264"/>
                <a:gd name="T4" fmla="*/ 225 w 1264"/>
                <a:gd name="T5" fmla="*/ 225 h 1264"/>
                <a:gd name="T6" fmla="*/ 1039 w 1264"/>
                <a:gd name="T7" fmla="*/ 225 h 1264"/>
                <a:gd name="T8" fmla="*/ 1039 w 1264"/>
                <a:gd name="T9" fmla="*/ 1039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4" h="1264">
                  <a:moveTo>
                    <a:pt x="1039" y="1039"/>
                  </a:moveTo>
                  <a:cubicBezTo>
                    <a:pt x="814" y="1264"/>
                    <a:pt x="450" y="1264"/>
                    <a:pt x="225" y="1039"/>
                  </a:cubicBezTo>
                  <a:cubicBezTo>
                    <a:pt x="0" y="814"/>
                    <a:pt x="0" y="450"/>
                    <a:pt x="225" y="225"/>
                  </a:cubicBezTo>
                  <a:cubicBezTo>
                    <a:pt x="450" y="0"/>
                    <a:pt x="814" y="0"/>
                    <a:pt x="1039" y="225"/>
                  </a:cubicBezTo>
                  <a:cubicBezTo>
                    <a:pt x="1264" y="450"/>
                    <a:pt x="1264" y="814"/>
                    <a:pt x="1039" y="103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5" name="Freeform 26">
              <a:extLst>
                <a:ext uri="{FF2B5EF4-FFF2-40B4-BE49-F238E27FC236}">
                  <a16:creationId xmlns:a16="http://schemas.microsoft.com/office/drawing/2014/main" xmlns="" id="{5074CA5D-DB20-480C-AC0B-D93A63784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-914"/>
              <a:ext cx="354" cy="390"/>
            </a:xfrm>
            <a:custGeom>
              <a:avLst/>
              <a:gdLst>
                <a:gd name="T0" fmla="*/ 592 w 761"/>
                <a:gd name="T1" fmla="*/ 685 h 838"/>
                <a:gd name="T2" fmla="*/ 761 w 761"/>
                <a:gd name="T3" fmla="*/ 297 h 838"/>
                <a:gd name="T4" fmla="*/ 467 w 761"/>
                <a:gd name="T5" fmla="*/ 0 h 838"/>
                <a:gd name="T6" fmla="*/ 0 w 761"/>
                <a:gd name="T7" fmla="*/ 404 h 838"/>
                <a:gd name="T8" fmla="*/ 2 w 761"/>
                <a:gd name="T9" fmla="*/ 532 h 838"/>
                <a:gd name="T10" fmla="*/ 322 w 761"/>
                <a:gd name="T11" fmla="*/ 838 h 838"/>
                <a:gd name="T12" fmla="*/ 592 w 761"/>
                <a:gd name="T13" fmla="*/ 685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1" h="838">
                  <a:moveTo>
                    <a:pt x="592" y="685"/>
                  </a:moveTo>
                  <a:cubicBezTo>
                    <a:pt x="700" y="578"/>
                    <a:pt x="756" y="438"/>
                    <a:pt x="761" y="297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0" y="404"/>
                    <a:pt x="0" y="404"/>
                    <a:pt x="0" y="404"/>
                  </a:cubicBezTo>
                  <a:cubicBezTo>
                    <a:pt x="2" y="532"/>
                    <a:pt x="2" y="532"/>
                    <a:pt x="2" y="532"/>
                  </a:cubicBezTo>
                  <a:cubicBezTo>
                    <a:pt x="322" y="838"/>
                    <a:pt x="322" y="838"/>
                    <a:pt x="322" y="838"/>
                  </a:cubicBezTo>
                  <a:cubicBezTo>
                    <a:pt x="421" y="814"/>
                    <a:pt x="515" y="763"/>
                    <a:pt x="592" y="685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6" name="Freeform 27">
              <a:extLst>
                <a:ext uri="{FF2B5EF4-FFF2-40B4-BE49-F238E27FC236}">
                  <a16:creationId xmlns:a16="http://schemas.microsoft.com/office/drawing/2014/main" xmlns="" id="{4BDE3274-9DEA-41B5-9A7D-68F616F04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6" y="-952"/>
              <a:ext cx="268" cy="330"/>
            </a:xfrm>
            <a:custGeom>
              <a:avLst/>
              <a:gdLst>
                <a:gd name="T0" fmla="*/ 0 w 576"/>
                <a:gd name="T1" fmla="*/ 101 h 711"/>
                <a:gd name="T2" fmla="*/ 0 w 576"/>
                <a:gd name="T3" fmla="*/ 360 h 711"/>
                <a:gd name="T4" fmla="*/ 288 w 576"/>
                <a:gd name="T5" fmla="*/ 711 h 711"/>
                <a:gd name="T6" fmla="*/ 288 w 576"/>
                <a:gd name="T7" fmla="*/ 711 h 711"/>
                <a:gd name="T8" fmla="*/ 288 w 576"/>
                <a:gd name="T9" fmla="*/ 711 h 711"/>
                <a:gd name="T10" fmla="*/ 576 w 576"/>
                <a:gd name="T11" fmla="*/ 360 h 711"/>
                <a:gd name="T12" fmla="*/ 576 w 576"/>
                <a:gd name="T13" fmla="*/ 101 h 711"/>
                <a:gd name="T14" fmla="*/ 547 w 576"/>
                <a:gd name="T15" fmla="*/ 72 h 711"/>
                <a:gd name="T16" fmla="*/ 513 w 576"/>
                <a:gd name="T17" fmla="*/ 72 h 711"/>
                <a:gd name="T18" fmla="*/ 288 w 576"/>
                <a:gd name="T19" fmla="*/ 0 h 711"/>
                <a:gd name="T20" fmla="*/ 288 w 576"/>
                <a:gd name="T21" fmla="*/ 0 h 711"/>
                <a:gd name="T22" fmla="*/ 288 w 576"/>
                <a:gd name="T23" fmla="*/ 0 h 711"/>
                <a:gd name="T24" fmla="*/ 63 w 576"/>
                <a:gd name="T25" fmla="*/ 72 h 711"/>
                <a:gd name="T26" fmla="*/ 29 w 576"/>
                <a:gd name="T27" fmla="*/ 72 h 711"/>
                <a:gd name="T28" fmla="*/ 0 w 576"/>
                <a:gd name="T29" fmla="*/ 10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6" h="711">
                  <a:moveTo>
                    <a:pt x="0" y="101"/>
                  </a:moveTo>
                  <a:cubicBezTo>
                    <a:pt x="0" y="360"/>
                    <a:pt x="0" y="360"/>
                    <a:pt x="0" y="360"/>
                  </a:cubicBezTo>
                  <a:cubicBezTo>
                    <a:pt x="0" y="531"/>
                    <a:pt x="121" y="678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455" y="678"/>
                    <a:pt x="576" y="531"/>
                    <a:pt x="576" y="360"/>
                  </a:cubicBezTo>
                  <a:cubicBezTo>
                    <a:pt x="576" y="101"/>
                    <a:pt x="576" y="101"/>
                    <a:pt x="576" y="101"/>
                  </a:cubicBezTo>
                  <a:cubicBezTo>
                    <a:pt x="576" y="85"/>
                    <a:pt x="563" y="72"/>
                    <a:pt x="547" y="72"/>
                  </a:cubicBezTo>
                  <a:cubicBezTo>
                    <a:pt x="513" y="72"/>
                    <a:pt x="513" y="72"/>
                    <a:pt x="513" y="72"/>
                  </a:cubicBezTo>
                  <a:cubicBezTo>
                    <a:pt x="432" y="72"/>
                    <a:pt x="354" y="47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22" y="47"/>
                    <a:pt x="144" y="72"/>
                    <a:pt x="63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13" y="72"/>
                    <a:pt x="0" y="85"/>
                    <a:pt x="0" y="10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7" name="Freeform 28">
              <a:extLst>
                <a:ext uri="{FF2B5EF4-FFF2-40B4-BE49-F238E27FC236}">
                  <a16:creationId xmlns:a16="http://schemas.microsoft.com/office/drawing/2014/main" xmlns="" id="{E6B36440-1F63-404F-B314-DD7DB29EC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" y="-952"/>
              <a:ext cx="134" cy="330"/>
            </a:xfrm>
            <a:custGeom>
              <a:avLst/>
              <a:gdLst>
                <a:gd name="T0" fmla="*/ 0 w 288"/>
                <a:gd name="T1" fmla="*/ 0 h 711"/>
                <a:gd name="T2" fmla="*/ 225 w 288"/>
                <a:gd name="T3" fmla="*/ 72 h 711"/>
                <a:gd name="T4" fmla="*/ 259 w 288"/>
                <a:gd name="T5" fmla="*/ 72 h 711"/>
                <a:gd name="T6" fmla="*/ 288 w 288"/>
                <a:gd name="T7" fmla="*/ 101 h 711"/>
                <a:gd name="T8" fmla="*/ 288 w 288"/>
                <a:gd name="T9" fmla="*/ 360 h 711"/>
                <a:gd name="T10" fmla="*/ 0 w 288"/>
                <a:gd name="T11" fmla="*/ 711 h 711"/>
                <a:gd name="T12" fmla="*/ 0 w 288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711">
                  <a:moveTo>
                    <a:pt x="0" y="0"/>
                  </a:moveTo>
                  <a:cubicBezTo>
                    <a:pt x="66" y="47"/>
                    <a:pt x="144" y="72"/>
                    <a:pt x="225" y="72"/>
                  </a:cubicBezTo>
                  <a:cubicBezTo>
                    <a:pt x="259" y="72"/>
                    <a:pt x="259" y="72"/>
                    <a:pt x="259" y="72"/>
                  </a:cubicBezTo>
                  <a:cubicBezTo>
                    <a:pt x="275" y="72"/>
                    <a:pt x="288" y="85"/>
                    <a:pt x="288" y="101"/>
                  </a:cubicBezTo>
                  <a:cubicBezTo>
                    <a:pt x="288" y="360"/>
                    <a:pt x="288" y="360"/>
                    <a:pt x="288" y="360"/>
                  </a:cubicBezTo>
                  <a:cubicBezTo>
                    <a:pt x="288" y="531"/>
                    <a:pt x="167" y="678"/>
                    <a:pt x="0" y="7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93" name="Group 24">
            <a:extLst>
              <a:ext uri="{FF2B5EF4-FFF2-40B4-BE49-F238E27FC236}">
                <a16:creationId xmlns:a16="http://schemas.microsoft.com/office/drawing/2014/main" xmlns="" id="{FECECFB8-D4CC-475B-A7AC-6ABDDCFEAC17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6241969" y="2145902"/>
            <a:ext cx="802054" cy="802054"/>
            <a:chOff x="1626" y="-1079"/>
            <a:chExt cx="588" cy="588"/>
          </a:xfrm>
        </p:grpSpPr>
        <p:sp>
          <p:nvSpPr>
            <p:cNvPr id="1694" name="Freeform 25">
              <a:extLst>
                <a:ext uri="{FF2B5EF4-FFF2-40B4-BE49-F238E27FC236}">
                  <a16:creationId xmlns:a16="http://schemas.microsoft.com/office/drawing/2014/main" xmlns="" id="{61BBDF9C-3A01-4958-8B14-C1F102820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6" y="-1079"/>
              <a:ext cx="588" cy="588"/>
            </a:xfrm>
            <a:custGeom>
              <a:avLst/>
              <a:gdLst>
                <a:gd name="T0" fmla="*/ 1039 w 1264"/>
                <a:gd name="T1" fmla="*/ 1039 h 1264"/>
                <a:gd name="T2" fmla="*/ 225 w 1264"/>
                <a:gd name="T3" fmla="*/ 1039 h 1264"/>
                <a:gd name="T4" fmla="*/ 225 w 1264"/>
                <a:gd name="T5" fmla="*/ 225 h 1264"/>
                <a:gd name="T6" fmla="*/ 1039 w 1264"/>
                <a:gd name="T7" fmla="*/ 225 h 1264"/>
                <a:gd name="T8" fmla="*/ 1039 w 1264"/>
                <a:gd name="T9" fmla="*/ 1039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4" h="1264">
                  <a:moveTo>
                    <a:pt x="1039" y="1039"/>
                  </a:moveTo>
                  <a:cubicBezTo>
                    <a:pt x="814" y="1264"/>
                    <a:pt x="450" y="1264"/>
                    <a:pt x="225" y="1039"/>
                  </a:cubicBezTo>
                  <a:cubicBezTo>
                    <a:pt x="0" y="814"/>
                    <a:pt x="0" y="450"/>
                    <a:pt x="225" y="225"/>
                  </a:cubicBezTo>
                  <a:cubicBezTo>
                    <a:pt x="450" y="0"/>
                    <a:pt x="814" y="0"/>
                    <a:pt x="1039" y="225"/>
                  </a:cubicBezTo>
                  <a:cubicBezTo>
                    <a:pt x="1264" y="450"/>
                    <a:pt x="1264" y="814"/>
                    <a:pt x="1039" y="103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5" name="Freeform 26">
              <a:extLst>
                <a:ext uri="{FF2B5EF4-FFF2-40B4-BE49-F238E27FC236}">
                  <a16:creationId xmlns:a16="http://schemas.microsoft.com/office/drawing/2014/main" xmlns="" id="{4EB8CE1F-8D82-4B30-B2F4-238D0C1E31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-914"/>
              <a:ext cx="354" cy="390"/>
            </a:xfrm>
            <a:custGeom>
              <a:avLst/>
              <a:gdLst>
                <a:gd name="T0" fmla="*/ 592 w 761"/>
                <a:gd name="T1" fmla="*/ 685 h 838"/>
                <a:gd name="T2" fmla="*/ 761 w 761"/>
                <a:gd name="T3" fmla="*/ 297 h 838"/>
                <a:gd name="T4" fmla="*/ 467 w 761"/>
                <a:gd name="T5" fmla="*/ 0 h 838"/>
                <a:gd name="T6" fmla="*/ 0 w 761"/>
                <a:gd name="T7" fmla="*/ 404 h 838"/>
                <a:gd name="T8" fmla="*/ 2 w 761"/>
                <a:gd name="T9" fmla="*/ 532 h 838"/>
                <a:gd name="T10" fmla="*/ 322 w 761"/>
                <a:gd name="T11" fmla="*/ 838 h 838"/>
                <a:gd name="T12" fmla="*/ 592 w 761"/>
                <a:gd name="T13" fmla="*/ 685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1" h="838">
                  <a:moveTo>
                    <a:pt x="592" y="685"/>
                  </a:moveTo>
                  <a:cubicBezTo>
                    <a:pt x="700" y="578"/>
                    <a:pt x="756" y="438"/>
                    <a:pt x="761" y="297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0" y="404"/>
                    <a:pt x="0" y="404"/>
                    <a:pt x="0" y="404"/>
                  </a:cubicBezTo>
                  <a:cubicBezTo>
                    <a:pt x="2" y="532"/>
                    <a:pt x="2" y="532"/>
                    <a:pt x="2" y="532"/>
                  </a:cubicBezTo>
                  <a:cubicBezTo>
                    <a:pt x="322" y="838"/>
                    <a:pt x="322" y="838"/>
                    <a:pt x="322" y="838"/>
                  </a:cubicBezTo>
                  <a:cubicBezTo>
                    <a:pt x="421" y="814"/>
                    <a:pt x="515" y="763"/>
                    <a:pt x="592" y="685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6" name="Freeform 27">
              <a:extLst>
                <a:ext uri="{FF2B5EF4-FFF2-40B4-BE49-F238E27FC236}">
                  <a16:creationId xmlns:a16="http://schemas.microsoft.com/office/drawing/2014/main" xmlns="" id="{51EF6076-7794-4069-8F17-F7FC10EF4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6" y="-952"/>
              <a:ext cx="268" cy="330"/>
            </a:xfrm>
            <a:custGeom>
              <a:avLst/>
              <a:gdLst>
                <a:gd name="T0" fmla="*/ 0 w 576"/>
                <a:gd name="T1" fmla="*/ 101 h 711"/>
                <a:gd name="T2" fmla="*/ 0 w 576"/>
                <a:gd name="T3" fmla="*/ 360 h 711"/>
                <a:gd name="T4" fmla="*/ 288 w 576"/>
                <a:gd name="T5" fmla="*/ 711 h 711"/>
                <a:gd name="T6" fmla="*/ 288 w 576"/>
                <a:gd name="T7" fmla="*/ 711 h 711"/>
                <a:gd name="T8" fmla="*/ 288 w 576"/>
                <a:gd name="T9" fmla="*/ 711 h 711"/>
                <a:gd name="T10" fmla="*/ 576 w 576"/>
                <a:gd name="T11" fmla="*/ 360 h 711"/>
                <a:gd name="T12" fmla="*/ 576 w 576"/>
                <a:gd name="T13" fmla="*/ 101 h 711"/>
                <a:gd name="T14" fmla="*/ 547 w 576"/>
                <a:gd name="T15" fmla="*/ 72 h 711"/>
                <a:gd name="T16" fmla="*/ 513 w 576"/>
                <a:gd name="T17" fmla="*/ 72 h 711"/>
                <a:gd name="T18" fmla="*/ 288 w 576"/>
                <a:gd name="T19" fmla="*/ 0 h 711"/>
                <a:gd name="T20" fmla="*/ 288 w 576"/>
                <a:gd name="T21" fmla="*/ 0 h 711"/>
                <a:gd name="T22" fmla="*/ 288 w 576"/>
                <a:gd name="T23" fmla="*/ 0 h 711"/>
                <a:gd name="T24" fmla="*/ 63 w 576"/>
                <a:gd name="T25" fmla="*/ 72 h 711"/>
                <a:gd name="T26" fmla="*/ 29 w 576"/>
                <a:gd name="T27" fmla="*/ 72 h 711"/>
                <a:gd name="T28" fmla="*/ 0 w 576"/>
                <a:gd name="T29" fmla="*/ 10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6" h="711">
                  <a:moveTo>
                    <a:pt x="0" y="101"/>
                  </a:moveTo>
                  <a:cubicBezTo>
                    <a:pt x="0" y="360"/>
                    <a:pt x="0" y="360"/>
                    <a:pt x="0" y="360"/>
                  </a:cubicBezTo>
                  <a:cubicBezTo>
                    <a:pt x="0" y="531"/>
                    <a:pt x="121" y="678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455" y="678"/>
                    <a:pt x="576" y="531"/>
                    <a:pt x="576" y="360"/>
                  </a:cubicBezTo>
                  <a:cubicBezTo>
                    <a:pt x="576" y="101"/>
                    <a:pt x="576" y="101"/>
                    <a:pt x="576" y="101"/>
                  </a:cubicBezTo>
                  <a:cubicBezTo>
                    <a:pt x="576" y="85"/>
                    <a:pt x="563" y="72"/>
                    <a:pt x="547" y="72"/>
                  </a:cubicBezTo>
                  <a:cubicBezTo>
                    <a:pt x="513" y="72"/>
                    <a:pt x="513" y="72"/>
                    <a:pt x="513" y="72"/>
                  </a:cubicBezTo>
                  <a:cubicBezTo>
                    <a:pt x="432" y="72"/>
                    <a:pt x="354" y="47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22" y="47"/>
                    <a:pt x="144" y="72"/>
                    <a:pt x="63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13" y="72"/>
                    <a:pt x="0" y="85"/>
                    <a:pt x="0" y="10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7" name="Freeform 28">
              <a:extLst>
                <a:ext uri="{FF2B5EF4-FFF2-40B4-BE49-F238E27FC236}">
                  <a16:creationId xmlns:a16="http://schemas.microsoft.com/office/drawing/2014/main" xmlns="" id="{2C8E82A8-62CA-4C36-8256-F10ECD698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" y="-952"/>
              <a:ext cx="134" cy="330"/>
            </a:xfrm>
            <a:custGeom>
              <a:avLst/>
              <a:gdLst>
                <a:gd name="T0" fmla="*/ 0 w 288"/>
                <a:gd name="T1" fmla="*/ 0 h 711"/>
                <a:gd name="T2" fmla="*/ 225 w 288"/>
                <a:gd name="T3" fmla="*/ 72 h 711"/>
                <a:gd name="T4" fmla="*/ 259 w 288"/>
                <a:gd name="T5" fmla="*/ 72 h 711"/>
                <a:gd name="T6" fmla="*/ 288 w 288"/>
                <a:gd name="T7" fmla="*/ 101 h 711"/>
                <a:gd name="T8" fmla="*/ 288 w 288"/>
                <a:gd name="T9" fmla="*/ 360 h 711"/>
                <a:gd name="T10" fmla="*/ 0 w 288"/>
                <a:gd name="T11" fmla="*/ 711 h 711"/>
                <a:gd name="T12" fmla="*/ 0 w 288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711">
                  <a:moveTo>
                    <a:pt x="0" y="0"/>
                  </a:moveTo>
                  <a:cubicBezTo>
                    <a:pt x="66" y="47"/>
                    <a:pt x="144" y="72"/>
                    <a:pt x="225" y="72"/>
                  </a:cubicBezTo>
                  <a:cubicBezTo>
                    <a:pt x="259" y="72"/>
                    <a:pt x="259" y="72"/>
                    <a:pt x="259" y="72"/>
                  </a:cubicBezTo>
                  <a:cubicBezTo>
                    <a:pt x="275" y="72"/>
                    <a:pt x="288" y="85"/>
                    <a:pt x="288" y="101"/>
                  </a:cubicBezTo>
                  <a:cubicBezTo>
                    <a:pt x="288" y="360"/>
                    <a:pt x="288" y="360"/>
                    <a:pt x="288" y="360"/>
                  </a:cubicBezTo>
                  <a:cubicBezTo>
                    <a:pt x="288" y="531"/>
                    <a:pt x="167" y="678"/>
                    <a:pt x="0" y="7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98" name="TextBox 1697">
            <a:extLst>
              <a:ext uri="{FF2B5EF4-FFF2-40B4-BE49-F238E27FC236}">
                <a16:creationId xmlns:a16="http://schemas.microsoft.com/office/drawing/2014/main" xmlns="" id="{A49AEC81-1DE0-4296-9E67-0373618BEABC}"/>
              </a:ext>
            </a:extLst>
          </p:cNvPr>
          <p:cNvSpPr txBox="1"/>
          <p:nvPr/>
        </p:nvSpPr>
        <p:spPr>
          <a:xfrm>
            <a:off x="1047205" y="439837"/>
            <a:ext cx="485546" cy="2585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+mj-lt"/>
                <a:ea typeface="Apple LiGothic Medium"/>
                <a:cs typeface="Apple LiGothic Medium"/>
              </a:rPr>
              <a:t>02</a:t>
            </a:r>
          </a:p>
        </p:txBody>
      </p:sp>
      <p:grpSp>
        <p:nvGrpSpPr>
          <p:cNvPr id="1699" name="Group 1698">
            <a:extLst>
              <a:ext uri="{FF2B5EF4-FFF2-40B4-BE49-F238E27FC236}">
                <a16:creationId xmlns:a16="http://schemas.microsoft.com/office/drawing/2014/main" xmlns="" id="{FA265B12-5E14-4DE7-B323-64C5ECC797AF}"/>
              </a:ext>
            </a:extLst>
          </p:cNvPr>
          <p:cNvGrpSpPr/>
          <p:nvPr/>
        </p:nvGrpSpPr>
        <p:grpSpPr>
          <a:xfrm>
            <a:off x="1064458" y="710972"/>
            <a:ext cx="457390" cy="457390"/>
            <a:chOff x="1176043" y="485585"/>
            <a:chExt cx="457390" cy="457390"/>
          </a:xfrm>
        </p:grpSpPr>
        <p:sp>
          <p:nvSpPr>
            <p:cNvPr id="1700" name="Oval 1699">
              <a:extLst>
                <a:ext uri="{FF2B5EF4-FFF2-40B4-BE49-F238E27FC236}">
                  <a16:creationId xmlns:a16="http://schemas.microsoft.com/office/drawing/2014/main" xmlns="" id="{B1759934-99B7-42D2-BF6A-98AD3DB6D2A7}"/>
                </a:ext>
              </a:extLst>
            </p:cNvPr>
            <p:cNvSpPr/>
            <p:nvPr/>
          </p:nvSpPr>
          <p:spPr>
            <a:xfrm>
              <a:off x="1176043" y="485585"/>
              <a:ext cx="457390" cy="45739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701" name="Group 1700">
              <a:extLst>
                <a:ext uri="{FF2B5EF4-FFF2-40B4-BE49-F238E27FC236}">
                  <a16:creationId xmlns:a16="http://schemas.microsoft.com/office/drawing/2014/main" xmlns="" id="{25ABB389-6F3F-4528-A11B-1DF8EBEB08FF}"/>
                </a:ext>
              </a:extLst>
            </p:cNvPr>
            <p:cNvGrpSpPr/>
            <p:nvPr/>
          </p:nvGrpSpPr>
          <p:grpSpPr>
            <a:xfrm>
              <a:off x="1230721" y="544915"/>
              <a:ext cx="349271" cy="349271"/>
              <a:chOff x="2581275" y="2152858"/>
              <a:chExt cx="933450" cy="933450"/>
            </a:xfrm>
          </p:grpSpPr>
          <p:sp>
            <p:nvSpPr>
              <p:cNvPr id="1702" name="Freeform 5">
                <a:extLst>
                  <a:ext uri="{FF2B5EF4-FFF2-40B4-BE49-F238E27FC236}">
                    <a16:creationId xmlns:a16="http://schemas.microsoft.com/office/drawing/2014/main" xmlns="" id="{29A86CF7-2E31-46A2-818E-8F2EC38E77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1275" y="2152858"/>
                <a:ext cx="933450" cy="933450"/>
              </a:xfrm>
              <a:custGeom>
                <a:avLst/>
                <a:gdLst>
                  <a:gd name="T0" fmla="*/ 1039 w 1264"/>
                  <a:gd name="T1" fmla="*/ 1039 h 1264"/>
                  <a:gd name="T2" fmla="*/ 225 w 1264"/>
                  <a:gd name="T3" fmla="*/ 1039 h 1264"/>
                  <a:gd name="T4" fmla="*/ 225 w 1264"/>
                  <a:gd name="T5" fmla="*/ 225 h 1264"/>
                  <a:gd name="T6" fmla="*/ 1039 w 1264"/>
                  <a:gd name="T7" fmla="*/ 225 h 1264"/>
                  <a:gd name="T8" fmla="*/ 1039 w 1264"/>
                  <a:gd name="T9" fmla="*/ 1039 h 1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4" h="1264">
                    <a:moveTo>
                      <a:pt x="1039" y="1039"/>
                    </a:moveTo>
                    <a:cubicBezTo>
                      <a:pt x="814" y="1264"/>
                      <a:pt x="450" y="1264"/>
                      <a:pt x="225" y="1039"/>
                    </a:cubicBezTo>
                    <a:cubicBezTo>
                      <a:pt x="0" y="814"/>
                      <a:pt x="0" y="450"/>
                      <a:pt x="225" y="225"/>
                    </a:cubicBezTo>
                    <a:cubicBezTo>
                      <a:pt x="450" y="0"/>
                      <a:pt x="814" y="0"/>
                      <a:pt x="1039" y="225"/>
                    </a:cubicBezTo>
                    <a:cubicBezTo>
                      <a:pt x="1264" y="450"/>
                      <a:pt x="1264" y="814"/>
                      <a:pt x="1039" y="1039"/>
                    </a:cubicBezTo>
                    <a:close/>
                  </a:path>
                </a:pathLst>
              </a:cu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703" name="Group 1702">
                <a:extLst>
                  <a:ext uri="{FF2B5EF4-FFF2-40B4-BE49-F238E27FC236}">
                    <a16:creationId xmlns:a16="http://schemas.microsoft.com/office/drawing/2014/main" xmlns="" id="{784EC627-B617-47E7-9669-B7084E03ED7D}"/>
                  </a:ext>
                </a:extLst>
              </p:cNvPr>
              <p:cNvGrpSpPr/>
              <p:nvPr/>
            </p:nvGrpSpPr>
            <p:grpSpPr>
              <a:xfrm>
                <a:off x="2728913" y="2324308"/>
                <a:ext cx="638175" cy="590551"/>
                <a:chOff x="2728913" y="2324100"/>
                <a:chExt cx="638175" cy="590551"/>
              </a:xfrm>
              <a:solidFill>
                <a:schemeClr val="accent1">
                  <a:lumMod val="75000"/>
                  <a:alpha val="40000"/>
                </a:schemeClr>
              </a:solidFill>
            </p:grpSpPr>
            <p:sp>
              <p:nvSpPr>
                <p:cNvPr id="1704" name="Freeform 6">
                  <a:extLst>
                    <a:ext uri="{FF2B5EF4-FFF2-40B4-BE49-F238E27FC236}">
                      <a16:creationId xmlns:a16="http://schemas.microsoft.com/office/drawing/2014/main" xmlns="" id="{FE085264-AEF8-4EA9-BEB3-CAA48CEECFD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728913" y="2324100"/>
                  <a:ext cx="638175" cy="333375"/>
                </a:xfrm>
                <a:custGeom>
                  <a:avLst/>
                  <a:gdLst>
                    <a:gd name="T0" fmla="*/ 237 w 864"/>
                    <a:gd name="T1" fmla="*/ 452 h 452"/>
                    <a:gd name="T2" fmla="*/ 628 w 864"/>
                    <a:gd name="T3" fmla="*/ 452 h 452"/>
                    <a:gd name="T4" fmla="*/ 835 w 864"/>
                    <a:gd name="T5" fmla="*/ 452 h 452"/>
                    <a:gd name="T6" fmla="*/ 864 w 864"/>
                    <a:gd name="T7" fmla="*/ 412 h 452"/>
                    <a:gd name="T8" fmla="*/ 788 w 864"/>
                    <a:gd name="T9" fmla="*/ 188 h 452"/>
                    <a:gd name="T10" fmla="*/ 749 w 864"/>
                    <a:gd name="T11" fmla="*/ 139 h 452"/>
                    <a:gd name="T12" fmla="*/ 721 w 864"/>
                    <a:gd name="T13" fmla="*/ 111 h 452"/>
                    <a:gd name="T14" fmla="*/ 701 w 864"/>
                    <a:gd name="T15" fmla="*/ 94 h 452"/>
                    <a:gd name="T16" fmla="*/ 680 w 864"/>
                    <a:gd name="T17" fmla="*/ 79 h 452"/>
                    <a:gd name="T18" fmla="*/ 660 w 864"/>
                    <a:gd name="T19" fmla="*/ 65 h 452"/>
                    <a:gd name="T20" fmla="*/ 636 w 864"/>
                    <a:gd name="T21" fmla="*/ 51 h 452"/>
                    <a:gd name="T22" fmla="*/ 615 w 864"/>
                    <a:gd name="T23" fmla="*/ 41 h 452"/>
                    <a:gd name="T24" fmla="*/ 601 w 864"/>
                    <a:gd name="T25" fmla="*/ 35 h 452"/>
                    <a:gd name="T26" fmla="*/ 578 w 864"/>
                    <a:gd name="T27" fmla="*/ 26 h 452"/>
                    <a:gd name="T28" fmla="*/ 563 w 864"/>
                    <a:gd name="T29" fmla="*/ 21 h 452"/>
                    <a:gd name="T30" fmla="*/ 540 w 864"/>
                    <a:gd name="T31" fmla="*/ 14 h 452"/>
                    <a:gd name="T32" fmla="*/ 524 w 864"/>
                    <a:gd name="T33" fmla="*/ 10 h 452"/>
                    <a:gd name="T34" fmla="*/ 503 w 864"/>
                    <a:gd name="T35" fmla="*/ 6 h 452"/>
                    <a:gd name="T36" fmla="*/ 486 w 864"/>
                    <a:gd name="T37" fmla="*/ 4 h 452"/>
                    <a:gd name="T38" fmla="*/ 462 w 864"/>
                    <a:gd name="T39" fmla="*/ 1 h 452"/>
                    <a:gd name="T40" fmla="*/ 452 w 864"/>
                    <a:gd name="T41" fmla="*/ 0 h 452"/>
                    <a:gd name="T42" fmla="*/ 407 w 864"/>
                    <a:gd name="T43" fmla="*/ 1 h 452"/>
                    <a:gd name="T44" fmla="*/ 390 w 864"/>
                    <a:gd name="T45" fmla="*/ 2 h 452"/>
                    <a:gd name="T46" fmla="*/ 365 w 864"/>
                    <a:gd name="T47" fmla="*/ 5 h 452"/>
                    <a:gd name="T48" fmla="*/ 349 w 864"/>
                    <a:gd name="T49" fmla="*/ 8 h 452"/>
                    <a:gd name="T50" fmla="*/ 327 w 864"/>
                    <a:gd name="T51" fmla="*/ 13 h 452"/>
                    <a:gd name="T52" fmla="*/ 311 w 864"/>
                    <a:gd name="T53" fmla="*/ 18 h 452"/>
                    <a:gd name="T54" fmla="*/ 289 w 864"/>
                    <a:gd name="T55" fmla="*/ 25 h 452"/>
                    <a:gd name="T56" fmla="*/ 275 w 864"/>
                    <a:gd name="T57" fmla="*/ 30 h 452"/>
                    <a:gd name="T58" fmla="*/ 252 w 864"/>
                    <a:gd name="T59" fmla="*/ 40 h 452"/>
                    <a:gd name="T60" fmla="*/ 238 w 864"/>
                    <a:gd name="T61" fmla="*/ 46 h 452"/>
                    <a:gd name="T62" fmla="*/ 206 w 864"/>
                    <a:gd name="T63" fmla="*/ 64 h 452"/>
                    <a:gd name="T64" fmla="*/ 194 w 864"/>
                    <a:gd name="T65" fmla="*/ 72 h 452"/>
                    <a:gd name="T66" fmla="*/ 164 w 864"/>
                    <a:gd name="T67" fmla="*/ 94 h 452"/>
                    <a:gd name="T68" fmla="*/ 153 w 864"/>
                    <a:gd name="T69" fmla="*/ 103 h 452"/>
                    <a:gd name="T70" fmla="*/ 117 w 864"/>
                    <a:gd name="T71" fmla="*/ 138 h 452"/>
                    <a:gd name="T72" fmla="*/ 83 w 864"/>
                    <a:gd name="T73" fmla="*/ 178 h 452"/>
                    <a:gd name="T74" fmla="*/ 76 w 864"/>
                    <a:gd name="T75" fmla="*/ 188 h 452"/>
                    <a:gd name="T76" fmla="*/ 0 w 864"/>
                    <a:gd name="T77" fmla="*/ 423 h 452"/>
                    <a:gd name="T78" fmla="*/ 757 w 864"/>
                    <a:gd name="T79" fmla="*/ 214 h 452"/>
                    <a:gd name="T80" fmla="*/ 648 w 864"/>
                    <a:gd name="T81" fmla="*/ 258 h 452"/>
                    <a:gd name="T82" fmla="*/ 580 w 864"/>
                    <a:gd name="T83" fmla="*/ 69 h 452"/>
                    <a:gd name="T84" fmla="*/ 597 w 864"/>
                    <a:gd name="T85" fmla="*/ 77 h 452"/>
                    <a:gd name="T86" fmla="*/ 610 w 864"/>
                    <a:gd name="T87" fmla="*/ 83 h 452"/>
                    <a:gd name="T88" fmla="*/ 638 w 864"/>
                    <a:gd name="T89" fmla="*/ 220 h 452"/>
                    <a:gd name="T90" fmla="*/ 452 w 864"/>
                    <a:gd name="T91" fmla="*/ 43 h 452"/>
                    <a:gd name="T92" fmla="*/ 452 w 864"/>
                    <a:gd name="T93" fmla="*/ 244 h 452"/>
                    <a:gd name="T94" fmla="*/ 609 w 864"/>
                    <a:gd name="T95" fmla="*/ 267 h 452"/>
                    <a:gd name="T96" fmla="*/ 452 w 864"/>
                    <a:gd name="T97" fmla="*/ 284 h 452"/>
                    <a:gd name="T98" fmla="*/ 255 w 864"/>
                    <a:gd name="T99" fmla="*/ 267 h 452"/>
                    <a:gd name="T100" fmla="*/ 412 w 864"/>
                    <a:gd name="T101" fmla="*/ 43 h 452"/>
                    <a:gd name="T102" fmla="*/ 300 w 864"/>
                    <a:gd name="T103" fmla="*/ 146 h 452"/>
                    <a:gd name="T104" fmla="*/ 254 w 864"/>
                    <a:gd name="T105" fmla="*/ 83 h 452"/>
                    <a:gd name="T106" fmla="*/ 268 w 864"/>
                    <a:gd name="T107" fmla="*/ 77 h 452"/>
                    <a:gd name="T108" fmla="*/ 285 w 864"/>
                    <a:gd name="T109" fmla="*/ 69 h 452"/>
                    <a:gd name="T110" fmla="*/ 227 w 864"/>
                    <a:gd name="T111" fmla="*/ 220 h 452"/>
                    <a:gd name="T112" fmla="*/ 107 w 864"/>
                    <a:gd name="T113" fmla="*/ 214 h 452"/>
                    <a:gd name="T114" fmla="*/ 41 w 864"/>
                    <a:gd name="T115" fmla="*/ 412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64" h="452">
                      <a:moveTo>
                        <a:pt x="41" y="452"/>
                      </a:moveTo>
                      <a:cubicBezTo>
                        <a:pt x="197" y="452"/>
                        <a:pt x="197" y="452"/>
                        <a:pt x="197" y="452"/>
                      </a:cubicBezTo>
                      <a:cubicBezTo>
                        <a:pt x="237" y="452"/>
                        <a:pt x="237" y="452"/>
                        <a:pt x="237" y="452"/>
                      </a:cubicBezTo>
                      <a:cubicBezTo>
                        <a:pt x="412" y="452"/>
                        <a:pt x="412" y="452"/>
                        <a:pt x="412" y="452"/>
                      </a:cubicBezTo>
                      <a:cubicBezTo>
                        <a:pt x="452" y="452"/>
                        <a:pt x="452" y="452"/>
                        <a:pt x="452" y="452"/>
                      </a:cubicBezTo>
                      <a:cubicBezTo>
                        <a:pt x="628" y="452"/>
                        <a:pt x="628" y="452"/>
                        <a:pt x="628" y="452"/>
                      </a:cubicBezTo>
                      <a:cubicBezTo>
                        <a:pt x="668" y="452"/>
                        <a:pt x="668" y="452"/>
                        <a:pt x="668" y="452"/>
                      </a:cubicBezTo>
                      <a:cubicBezTo>
                        <a:pt x="823" y="452"/>
                        <a:pt x="823" y="452"/>
                        <a:pt x="823" y="452"/>
                      </a:cubicBezTo>
                      <a:cubicBezTo>
                        <a:pt x="835" y="452"/>
                        <a:pt x="835" y="452"/>
                        <a:pt x="835" y="452"/>
                      </a:cubicBezTo>
                      <a:cubicBezTo>
                        <a:pt x="851" y="452"/>
                        <a:pt x="864" y="439"/>
                        <a:pt x="864" y="423"/>
                      </a:cubicBezTo>
                      <a:cubicBezTo>
                        <a:pt x="864" y="412"/>
                        <a:pt x="864" y="412"/>
                        <a:pt x="864" y="412"/>
                      </a:cubicBezTo>
                      <a:cubicBezTo>
                        <a:pt x="864" y="412"/>
                        <a:pt x="864" y="412"/>
                        <a:pt x="864" y="412"/>
                      </a:cubicBezTo>
                      <a:cubicBezTo>
                        <a:pt x="860" y="329"/>
                        <a:pt x="833" y="252"/>
                        <a:pt x="788" y="188"/>
                      </a:cubicBezTo>
                      <a:cubicBezTo>
                        <a:pt x="788" y="188"/>
                        <a:pt x="788" y="188"/>
                        <a:pt x="788" y="188"/>
                      </a:cubicBezTo>
                      <a:cubicBezTo>
                        <a:pt x="788" y="188"/>
                        <a:pt x="788" y="188"/>
                        <a:pt x="788" y="188"/>
                      </a:cubicBezTo>
                      <a:cubicBezTo>
                        <a:pt x="786" y="184"/>
                        <a:pt x="783" y="181"/>
                        <a:pt x="781" y="178"/>
                      </a:cubicBezTo>
                      <a:cubicBezTo>
                        <a:pt x="778" y="173"/>
                        <a:pt x="778" y="173"/>
                        <a:pt x="778" y="173"/>
                      </a:cubicBezTo>
                      <a:cubicBezTo>
                        <a:pt x="769" y="161"/>
                        <a:pt x="759" y="150"/>
                        <a:pt x="749" y="139"/>
                      </a:cubicBezTo>
                      <a:cubicBezTo>
                        <a:pt x="749" y="138"/>
                        <a:pt x="748" y="138"/>
                        <a:pt x="748" y="138"/>
                      </a:cubicBezTo>
                      <a:cubicBezTo>
                        <a:pt x="739" y="128"/>
                        <a:pt x="730" y="119"/>
                        <a:pt x="721" y="111"/>
                      </a:cubicBezTo>
                      <a:cubicBezTo>
                        <a:pt x="721" y="111"/>
                        <a:pt x="721" y="111"/>
                        <a:pt x="721" y="111"/>
                      </a:cubicBezTo>
                      <a:cubicBezTo>
                        <a:pt x="718" y="108"/>
                        <a:pt x="715" y="105"/>
                        <a:pt x="711" y="103"/>
                      </a:cubicBezTo>
                      <a:cubicBezTo>
                        <a:pt x="711" y="102"/>
                        <a:pt x="711" y="102"/>
                        <a:pt x="710" y="102"/>
                      </a:cubicBezTo>
                      <a:cubicBezTo>
                        <a:pt x="707" y="99"/>
                        <a:pt x="704" y="97"/>
                        <a:pt x="701" y="94"/>
                      </a:cubicBezTo>
                      <a:cubicBezTo>
                        <a:pt x="701" y="94"/>
                        <a:pt x="701" y="94"/>
                        <a:pt x="701" y="94"/>
                      </a:cubicBezTo>
                      <a:cubicBezTo>
                        <a:pt x="694" y="89"/>
                        <a:pt x="687" y="84"/>
                        <a:pt x="681" y="79"/>
                      </a:cubicBezTo>
                      <a:cubicBezTo>
                        <a:pt x="680" y="79"/>
                        <a:pt x="680" y="79"/>
                        <a:pt x="680" y="79"/>
                      </a:cubicBezTo>
                      <a:cubicBezTo>
                        <a:pt x="677" y="76"/>
                        <a:pt x="674" y="74"/>
                        <a:pt x="671" y="72"/>
                      </a:cubicBezTo>
                      <a:cubicBezTo>
                        <a:pt x="669" y="71"/>
                        <a:pt x="668" y="71"/>
                        <a:pt x="667" y="70"/>
                      </a:cubicBezTo>
                      <a:cubicBezTo>
                        <a:pt x="665" y="68"/>
                        <a:pt x="663" y="67"/>
                        <a:pt x="660" y="65"/>
                      </a:cubicBezTo>
                      <a:cubicBezTo>
                        <a:pt x="659" y="65"/>
                        <a:pt x="659" y="65"/>
                        <a:pt x="658" y="64"/>
                      </a:cubicBezTo>
                      <a:cubicBezTo>
                        <a:pt x="651" y="60"/>
                        <a:pt x="644" y="56"/>
                        <a:pt x="637" y="52"/>
                      </a:cubicBezTo>
                      <a:cubicBezTo>
                        <a:pt x="636" y="52"/>
                        <a:pt x="636" y="51"/>
                        <a:pt x="636" y="51"/>
                      </a:cubicBezTo>
                      <a:cubicBezTo>
                        <a:pt x="633" y="50"/>
                        <a:pt x="629" y="48"/>
                        <a:pt x="626" y="46"/>
                      </a:cubicBezTo>
                      <a:cubicBezTo>
                        <a:pt x="625" y="46"/>
                        <a:pt x="624" y="45"/>
                        <a:pt x="624" y="45"/>
                      </a:cubicBezTo>
                      <a:cubicBezTo>
                        <a:pt x="621" y="44"/>
                        <a:pt x="618" y="42"/>
                        <a:pt x="615" y="41"/>
                      </a:cubicBezTo>
                      <a:cubicBezTo>
                        <a:pt x="614" y="40"/>
                        <a:pt x="613" y="40"/>
                        <a:pt x="612" y="40"/>
                      </a:cubicBezTo>
                      <a:cubicBezTo>
                        <a:pt x="609" y="38"/>
                        <a:pt x="606" y="36"/>
                        <a:pt x="602" y="35"/>
                      </a:cubicBezTo>
                      <a:cubicBezTo>
                        <a:pt x="602" y="35"/>
                        <a:pt x="602" y="35"/>
                        <a:pt x="601" y="35"/>
                      </a:cubicBezTo>
                      <a:cubicBezTo>
                        <a:pt x="597" y="33"/>
                        <a:pt x="594" y="31"/>
                        <a:pt x="590" y="30"/>
                      </a:cubicBezTo>
                      <a:cubicBezTo>
                        <a:pt x="589" y="30"/>
                        <a:pt x="589" y="30"/>
                        <a:pt x="588" y="29"/>
                      </a:cubicBezTo>
                      <a:cubicBezTo>
                        <a:pt x="585" y="28"/>
                        <a:pt x="582" y="27"/>
                        <a:pt x="578" y="26"/>
                      </a:cubicBezTo>
                      <a:cubicBezTo>
                        <a:pt x="577" y="25"/>
                        <a:pt x="576" y="25"/>
                        <a:pt x="575" y="25"/>
                      </a:cubicBezTo>
                      <a:cubicBezTo>
                        <a:pt x="572" y="24"/>
                        <a:pt x="569" y="23"/>
                        <a:pt x="567" y="22"/>
                      </a:cubicBezTo>
                      <a:cubicBezTo>
                        <a:pt x="565" y="21"/>
                        <a:pt x="564" y="21"/>
                        <a:pt x="563" y="21"/>
                      </a:cubicBezTo>
                      <a:cubicBezTo>
                        <a:pt x="560" y="20"/>
                        <a:pt x="557" y="19"/>
                        <a:pt x="554" y="18"/>
                      </a:cubicBezTo>
                      <a:cubicBezTo>
                        <a:pt x="553" y="17"/>
                        <a:pt x="552" y="17"/>
                        <a:pt x="552" y="17"/>
                      </a:cubicBezTo>
                      <a:cubicBezTo>
                        <a:pt x="548" y="16"/>
                        <a:pt x="544" y="15"/>
                        <a:pt x="540" y="14"/>
                      </a:cubicBezTo>
                      <a:cubicBezTo>
                        <a:pt x="539" y="14"/>
                        <a:pt x="538" y="13"/>
                        <a:pt x="538" y="13"/>
                      </a:cubicBezTo>
                      <a:cubicBezTo>
                        <a:pt x="535" y="12"/>
                        <a:pt x="531" y="12"/>
                        <a:pt x="528" y="11"/>
                      </a:cubicBezTo>
                      <a:cubicBezTo>
                        <a:pt x="526" y="11"/>
                        <a:pt x="525" y="10"/>
                        <a:pt x="524" y="10"/>
                      </a:cubicBezTo>
                      <a:cubicBezTo>
                        <a:pt x="521" y="9"/>
                        <a:pt x="518" y="9"/>
                        <a:pt x="516" y="8"/>
                      </a:cubicBezTo>
                      <a:cubicBezTo>
                        <a:pt x="514" y="8"/>
                        <a:pt x="513" y="8"/>
                        <a:pt x="511" y="8"/>
                      </a:cubicBezTo>
                      <a:cubicBezTo>
                        <a:pt x="509" y="7"/>
                        <a:pt x="506" y="7"/>
                        <a:pt x="503" y="6"/>
                      </a:cubicBezTo>
                      <a:cubicBezTo>
                        <a:pt x="502" y="6"/>
                        <a:pt x="500" y="6"/>
                        <a:pt x="499" y="5"/>
                      </a:cubicBezTo>
                      <a:cubicBezTo>
                        <a:pt x="495" y="5"/>
                        <a:pt x="491" y="4"/>
                        <a:pt x="487" y="4"/>
                      </a:cubicBezTo>
                      <a:cubicBezTo>
                        <a:pt x="487" y="4"/>
                        <a:pt x="486" y="4"/>
                        <a:pt x="486" y="4"/>
                      </a:cubicBezTo>
                      <a:cubicBezTo>
                        <a:pt x="482" y="3"/>
                        <a:pt x="478" y="3"/>
                        <a:pt x="475" y="2"/>
                      </a:cubicBezTo>
                      <a:cubicBezTo>
                        <a:pt x="473" y="2"/>
                        <a:pt x="472" y="2"/>
                        <a:pt x="471" y="2"/>
                      </a:cubicBezTo>
                      <a:cubicBezTo>
                        <a:pt x="468" y="2"/>
                        <a:pt x="465" y="2"/>
                        <a:pt x="462" y="1"/>
                      </a:cubicBezTo>
                      <a:cubicBezTo>
                        <a:pt x="461" y="1"/>
                        <a:pt x="459" y="1"/>
                        <a:pt x="458" y="1"/>
                      </a:cubicBezTo>
                      <a:cubicBezTo>
                        <a:pt x="456" y="1"/>
                        <a:pt x="454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  <a:cubicBezTo>
                        <a:pt x="412" y="0"/>
                        <a:pt x="412" y="0"/>
                        <a:pt x="412" y="0"/>
                      </a:cubicBezTo>
                      <a:cubicBezTo>
                        <a:pt x="412" y="1"/>
                        <a:pt x="412" y="1"/>
                        <a:pt x="412" y="1"/>
                      </a:cubicBezTo>
                      <a:cubicBezTo>
                        <a:pt x="410" y="1"/>
                        <a:pt x="409" y="1"/>
                        <a:pt x="407" y="1"/>
                      </a:cubicBezTo>
                      <a:cubicBezTo>
                        <a:pt x="405" y="1"/>
                        <a:pt x="404" y="1"/>
                        <a:pt x="402" y="1"/>
                      </a:cubicBezTo>
                      <a:cubicBezTo>
                        <a:pt x="400" y="2"/>
                        <a:pt x="397" y="2"/>
                        <a:pt x="394" y="2"/>
                      </a:cubicBezTo>
                      <a:cubicBezTo>
                        <a:pt x="393" y="2"/>
                        <a:pt x="391" y="2"/>
                        <a:pt x="390" y="2"/>
                      </a:cubicBezTo>
                      <a:cubicBezTo>
                        <a:pt x="386" y="3"/>
                        <a:pt x="383" y="3"/>
                        <a:pt x="379" y="4"/>
                      </a:cubicBezTo>
                      <a:cubicBezTo>
                        <a:pt x="378" y="4"/>
                        <a:pt x="378" y="4"/>
                        <a:pt x="378" y="4"/>
                      </a:cubicBezTo>
                      <a:cubicBezTo>
                        <a:pt x="373" y="4"/>
                        <a:pt x="369" y="5"/>
                        <a:pt x="365" y="5"/>
                      </a:cubicBezTo>
                      <a:cubicBezTo>
                        <a:pt x="364" y="6"/>
                        <a:pt x="363" y="6"/>
                        <a:pt x="362" y="6"/>
                      </a:cubicBezTo>
                      <a:cubicBezTo>
                        <a:pt x="359" y="7"/>
                        <a:pt x="356" y="7"/>
                        <a:pt x="353" y="8"/>
                      </a:cubicBezTo>
                      <a:cubicBezTo>
                        <a:pt x="352" y="8"/>
                        <a:pt x="350" y="8"/>
                        <a:pt x="349" y="8"/>
                      </a:cubicBezTo>
                      <a:cubicBezTo>
                        <a:pt x="346" y="9"/>
                        <a:pt x="343" y="9"/>
                        <a:pt x="340" y="10"/>
                      </a:cubicBezTo>
                      <a:cubicBezTo>
                        <a:pt x="339" y="10"/>
                        <a:pt x="338" y="11"/>
                        <a:pt x="337" y="11"/>
                      </a:cubicBezTo>
                      <a:cubicBezTo>
                        <a:pt x="333" y="12"/>
                        <a:pt x="330" y="12"/>
                        <a:pt x="327" y="13"/>
                      </a:cubicBezTo>
                      <a:cubicBezTo>
                        <a:pt x="326" y="13"/>
                        <a:pt x="325" y="14"/>
                        <a:pt x="325" y="14"/>
                      </a:cubicBezTo>
                      <a:cubicBezTo>
                        <a:pt x="321" y="15"/>
                        <a:pt x="317" y="16"/>
                        <a:pt x="313" y="17"/>
                      </a:cubicBezTo>
                      <a:cubicBezTo>
                        <a:pt x="312" y="17"/>
                        <a:pt x="311" y="17"/>
                        <a:pt x="311" y="18"/>
                      </a:cubicBezTo>
                      <a:cubicBezTo>
                        <a:pt x="307" y="19"/>
                        <a:pt x="304" y="20"/>
                        <a:pt x="301" y="21"/>
                      </a:cubicBezTo>
                      <a:cubicBezTo>
                        <a:pt x="300" y="21"/>
                        <a:pt x="299" y="21"/>
                        <a:pt x="298" y="22"/>
                      </a:cubicBezTo>
                      <a:cubicBezTo>
                        <a:pt x="295" y="23"/>
                        <a:pt x="292" y="24"/>
                        <a:pt x="289" y="25"/>
                      </a:cubicBezTo>
                      <a:cubicBezTo>
                        <a:pt x="288" y="25"/>
                        <a:pt x="287" y="25"/>
                        <a:pt x="286" y="26"/>
                      </a:cubicBezTo>
                      <a:cubicBezTo>
                        <a:pt x="283" y="27"/>
                        <a:pt x="280" y="28"/>
                        <a:pt x="276" y="29"/>
                      </a:cubicBezTo>
                      <a:cubicBezTo>
                        <a:pt x="276" y="30"/>
                        <a:pt x="275" y="30"/>
                        <a:pt x="275" y="30"/>
                      </a:cubicBezTo>
                      <a:cubicBezTo>
                        <a:pt x="271" y="31"/>
                        <a:pt x="267" y="33"/>
                        <a:pt x="263" y="35"/>
                      </a:cubicBezTo>
                      <a:cubicBezTo>
                        <a:pt x="263" y="35"/>
                        <a:pt x="263" y="35"/>
                        <a:pt x="262" y="35"/>
                      </a:cubicBezTo>
                      <a:cubicBezTo>
                        <a:pt x="259" y="36"/>
                        <a:pt x="256" y="38"/>
                        <a:pt x="252" y="40"/>
                      </a:cubicBezTo>
                      <a:cubicBezTo>
                        <a:pt x="251" y="40"/>
                        <a:pt x="251" y="40"/>
                        <a:pt x="250" y="41"/>
                      </a:cubicBezTo>
                      <a:cubicBezTo>
                        <a:pt x="247" y="42"/>
                        <a:pt x="243" y="44"/>
                        <a:pt x="240" y="45"/>
                      </a:cubicBezTo>
                      <a:cubicBezTo>
                        <a:pt x="240" y="46"/>
                        <a:pt x="239" y="46"/>
                        <a:pt x="238" y="46"/>
                      </a:cubicBezTo>
                      <a:cubicBezTo>
                        <a:pt x="235" y="48"/>
                        <a:pt x="232" y="50"/>
                        <a:pt x="229" y="51"/>
                      </a:cubicBezTo>
                      <a:cubicBezTo>
                        <a:pt x="228" y="51"/>
                        <a:pt x="228" y="52"/>
                        <a:pt x="228" y="52"/>
                      </a:cubicBezTo>
                      <a:cubicBezTo>
                        <a:pt x="220" y="56"/>
                        <a:pt x="213" y="60"/>
                        <a:pt x="206" y="64"/>
                      </a:cubicBezTo>
                      <a:cubicBezTo>
                        <a:pt x="206" y="65"/>
                        <a:pt x="205" y="65"/>
                        <a:pt x="205" y="65"/>
                      </a:cubicBezTo>
                      <a:cubicBezTo>
                        <a:pt x="202" y="67"/>
                        <a:pt x="200" y="68"/>
                        <a:pt x="197" y="70"/>
                      </a:cubicBezTo>
                      <a:cubicBezTo>
                        <a:pt x="196" y="70"/>
                        <a:pt x="195" y="71"/>
                        <a:pt x="194" y="72"/>
                      </a:cubicBezTo>
                      <a:cubicBezTo>
                        <a:pt x="191" y="74"/>
                        <a:pt x="188" y="76"/>
                        <a:pt x="184" y="79"/>
                      </a:cubicBezTo>
                      <a:cubicBezTo>
                        <a:pt x="184" y="79"/>
                        <a:pt x="184" y="79"/>
                        <a:pt x="184" y="79"/>
                      </a:cubicBezTo>
                      <a:cubicBezTo>
                        <a:pt x="177" y="84"/>
                        <a:pt x="170" y="89"/>
                        <a:pt x="164" y="94"/>
                      </a:cubicBezTo>
                      <a:cubicBezTo>
                        <a:pt x="163" y="94"/>
                        <a:pt x="163" y="94"/>
                        <a:pt x="163" y="94"/>
                      </a:cubicBezTo>
                      <a:cubicBezTo>
                        <a:pt x="160" y="97"/>
                        <a:pt x="157" y="99"/>
                        <a:pt x="154" y="102"/>
                      </a:cubicBezTo>
                      <a:cubicBezTo>
                        <a:pt x="154" y="102"/>
                        <a:pt x="153" y="102"/>
                        <a:pt x="153" y="103"/>
                      </a:cubicBezTo>
                      <a:cubicBezTo>
                        <a:pt x="150" y="105"/>
                        <a:pt x="147" y="108"/>
                        <a:pt x="144" y="111"/>
                      </a:cubicBezTo>
                      <a:cubicBezTo>
                        <a:pt x="144" y="111"/>
                        <a:pt x="144" y="111"/>
                        <a:pt x="144" y="111"/>
                      </a:cubicBezTo>
                      <a:cubicBezTo>
                        <a:pt x="134" y="119"/>
                        <a:pt x="125" y="128"/>
                        <a:pt x="117" y="138"/>
                      </a:cubicBezTo>
                      <a:cubicBezTo>
                        <a:pt x="116" y="138"/>
                        <a:pt x="116" y="138"/>
                        <a:pt x="116" y="139"/>
                      </a:cubicBezTo>
                      <a:cubicBezTo>
                        <a:pt x="104" y="151"/>
                        <a:pt x="94" y="164"/>
                        <a:pt x="84" y="177"/>
                      </a:cubicBezTo>
                      <a:cubicBezTo>
                        <a:pt x="83" y="178"/>
                        <a:pt x="83" y="178"/>
                        <a:pt x="83" y="178"/>
                      </a:cubicBezTo>
                      <a:cubicBezTo>
                        <a:pt x="81" y="181"/>
                        <a:pt x="79" y="184"/>
                        <a:pt x="76" y="188"/>
                      </a:cubicBezTo>
                      <a:cubicBezTo>
                        <a:pt x="76" y="188"/>
                        <a:pt x="76" y="188"/>
                        <a:pt x="76" y="188"/>
                      </a:cubicBezTo>
                      <a:cubicBezTo>
                        <a:pt x="76" y="188"/>
                        <a:pt x="76" y="188"/>
                        <a:pt x="76" y="188"/>
                      </a:cubicBezTo>
                      <a:cubicBezTo>
                        <a:pt x="32" y="252"/>
                        <a:pt x="5" y="329"/>
                        <a:pt x="1" y="412"/>
                      </a:cubicBezTo>
                      <a:cubicBezTo>
                        <a:pt x="0" y="412"/>
                        <a:pt x="0" y="412"/>
                        <a:pt x="0" y="412"/>
                      </a:cubicBezTo>
                      <a:cubicBezTo>
                        <a:pt x="0" y="423"/>
                        <a:pt x="0" y="423"/>
                        <a:pt x="0" y="423"/>
                      </a:cubicBezTo>
                      <a:cubicBezTo>
                        <a:pt x="0" y="439"/>
                        <a:pt x="13" y="452"/>
                        <a:pt x="29" y="452"/>
                      </a:cubicBezTo>
                      <a:lnTo>
                        <a:pt x="41" y="452"/>
                      </a:lnTo>
                      <a:close/>
                      <a:moveTo>
                        <a:pt x="757" y="214"/>
                      </a:moveTo>
                      <a:cubicBezTo>
                        <a:pt x="796" y="271"/>
                        <a:pt x="820" y="339"/>
                        <a:pt x="823" y="412"/>
                      </a:cubicBezTo>
                      <a:cubicBezTo>
                        <a:pt x="668" y="412"/>
                        <a:pt x="668" y="412"/>
                        <a:pt x="668" y="412"/>
                      </a:cubicBezTo>
                      <a:cubicBezTo>
                        <a:pt x="667" y="358"/>
                        <a:pt x="660" y="306"/>
                        <a:pt x="648" y="258"/>
                      </a:cubicBezTo>
                      <a:cubicBezTo>
                        <a:pt x="693" y="247"/>
                        <a:pt x="730" y="231"/>
                        <a:pt x="757" y="214"/>
                      </a:cubicBezTo>
                      <a:close/>
                      <a:moveTo>
                        <a:pt x="579" y="69"/>
                      </a:moveTo>
                      <a:cubicBezTo>
                        <a:pt x="579" y="69"/>
                        <a:pt x="579" y="69"/>
                        <a:pt x="580" y="69"/>
                      </a:cubicBezTo>
                      <a:cubicBezTo>
                        <a:pt x="582" y="70"/>
                        <a:pt x="585" y="71"/>
                        <a:pt x="588" y="73"/>
                      </a:cubicBezTo>
                      <a:cubicBezTo>
                        <a:pt x="589" y="73"/>
                        <a:pt x="589" y="73"/>
                        <a:pt x="590" y="74"/>
                      </a:cubicBezTo>
                      <a:cubicBezTo>
                        <a:pt x="592" y="75"/>
                        <a:pt x="595" y="76"/>
                        <a:pt x="597" y="77"/>
                      </a:cubicBezTo>
                      <a:cubicBezTo>
                        <a:pt x="598" y="77"/>
                        <a:pt x="599" y="78"/>
                        <a:pt x="600" y="78"/>
                      </a:cubicBezTo>
                      <a:cubicBezTo>
                        <a:pt x="602" y="79"/>
                        <a:pt x="603" y="80"/>
                        <a:pt x="605" y="80"/>
                      </a:cubicBezTo>
                      <a:cubicBezTo>
                        <a:pt x="607" y="81"/>
                        <a:pt x="608" y="82"/>
                        <a:pt x="610" y="83"/>
                      </a:cubicBezTo>
                      <a:cubicBezTo>
                        <a:pt x="611" y="83"/>
                        <a:pt x="611" y="84"/>
                        <a:pt x="612" y="84"/>
                      </a:cubicBezTo>
                      <a:cubicBezTo>
                        <a:pt x="658" y="108"/>
                        <a:pt x="700" y="141"/>
                        <a:pt x="733" y="181"/>
                      </a:cubicBezTo>
                      <a:cubicBezTo>
                        <a:pt x="710" y="196"/>
                        <a:pt x="678" y="209"/>
                        <a:pt x="638" y="220"/>
                      </a:cubicBezTo>
                      <a:cubicBezTo>
                        <a:pt x="617" y="153"/>
                        <a:pt x="587" y="97"/>
                        <a:pt x="551" y="59"/>
                      </a:cubicBezTo>
                      <a:cubicBezTo>
                        <a:pt x="560" y="62"/>
                        <a:pt x="570" y="65"/>
                        <a:pt x="579" y="69"/>
                      </a:cubicBezTo>
                      <a:close/>
                      <a:moveTo>
                        <a:pt x="452" y="43"/>
                      </a:moveTo>
                      <a:cubicBezTo>
                        <a:pt x="493" y="52"/>
                        <a:pt x="533" y="88"/>
                        <a:pt x="564" y="146"/>
                      </a:cubicBezTo>
                      <a:cubicBezTo>
                        <a:pt x="578" y="171"/>
                        <a:pt x="589" y="199"/>
                        <a:pt x="599" y="229"/>
                      </a:cubicBezTo>
                      <a:cubicBezTo>
                        <a:pt x="556" y="237"/>
                        <a:pt x="506" y="243"/>
                        <a:pt x="452" y="244"/>
                      </a:cubicBezTo>
                      <a:lnTo>
                        <a:pt x="452" y="43"/>
                      </a:lnTo>
                      <a:close/>
                      <a:moveTo>
                        <a:pt x="452" y="284"/>
                      </a:moveTo>
                      <a:cubicBezTo>
                        <a:pt x="509" y="283"/>
                        <a:pt x="562" y="277"/>
                        <a:pt x="609" y="267"/>
                      </a:cubicBezTo>
                      <a:cubicBezTo>
                        <a:pt x="620" y="312"/>
                        <a:pt x="627" y="361"/>
                        <a:pt x="628" y="412"/>
                      </a:cubicBezTo>
                      <a:cubicBezTo>
                        <a:pt x="452" y="412"/>
                        <a:pt x="452" y="412"/>
                        <a:pt x="452" y="412"/>
                      </a:cubicBezTo>
                      <a:lnTo>
                        <a:pt x="452" y="284"/>
                      </a:lnTo>
                      <a:close/>
                      <a:moveTo>
                        <a:pt x="412" y="412"/>
                      </a:moveTo>
                      <a:cubicBezTo>
                        <a:pt x="237" y="412"/>
                        <a:pt x="237" y="412"/>
                        <a:pt x="237" y="412"/>
                      </a:cubicBezTo>
                      <a:cubicBezTo>
                        <a:pt x="238" y="361"/>
                        <a:pt x="244" y="312"/>
                        <a:pt x="255" y="267"/>
                      </a:cubicBezTo>
                      <a:cubicBezTo>
                        <a:pt x="302" y="277"/>
                        <a:pt x="356" y="283"/>
                        <a:pt x="412" y="284"/>
                      </a:cubicBezTo>
                      <a:lnTo>
                        <a:pt x="412" y="412"/>
                      </a:lnTo>
                      <a:close/>
                      <a:moveTo>
                        <a:pt x="412" y="43"/>
                      </a:moveTo>
                      <a:cubicBezTo>
                        <a:pt x="412" y="244"/>
                        <a:pt x="412" y="244"/>
                        <a:pt x="412" y="244"/>
                      </a:cubicBezTo>
                      <a:cubicBezTo>
                        <a:pt x="358" y="243"/>
                        <a:pt x="309" y="237"/>
                        <a:pt x="266" y="229"/>
                      </a:cubicBezTo>
                      <a:cubicBezTo>
                        <a:pt x="275" y="199"/>
                        <a:pt x="287" y="171"/>
                        <a:pt x="300" y="146"/>
                      </a:cubicBezTo>
                      <a:cubicBezTo>
                        <a:pt x="332" y="88"/>
                        <a:pt x="372" y="52"/>
                        <a:pt x="412" y="43"/>
                      </a:cubicBezTo>
                      <a:close/>
                      <a:moveTo>
                        <a:pt x="253" y="84"/>
                      </a:moveTo>
                      <a:cubicBezTo>
                        <a:pt x="253" y="84"/>
                        <a:pt x="254" y="83"/>
                        <a:pt x="254" y="83"/>
                      </a:cubicBezTo>
                      <a:cubicBezTo>
                        <a:pt x="256" y="82"/>
                        <a:pt x="258" y="81"/>
                        <a:pt x="260" y="80"/>
                      </a:cubicBezTo>
                      <a:cubicBezTo>
                        <a:pt x="261" y="80"/>
                        <a:pt x="263" y="79"/>
                        <a:pt x="264" y="78"/>
                      </a:cubicBezTo>
                      <a:cubicBezTo>
                        <a:pt x="265" y="78"/>
                        <a:pt x="267" y="77"/>
                        <a:pt x="268" y="77"/>
                      </a:cubicBezTo>
                      <a:cubicBezTo>
                        <a:pt x="270" y="76"/>
                        <a:pt x="272" y="75"/>
                        <a:pt x="274" y="74"/>
                      </a:cubicBezTo>
                      <a:cubicBezTo>
                        <a:pt x="275" y="73"/>
                        <a:pt x="276" y="73"/>
                        <a:pt x="276" y="73"/>
                      </a:cubicBezTo>
                      <a:cubicBezTo>
                        <a:pt x="279" y="71"/>
                        <a:pt x="282" y="70"/>
                        <a:pt x="285" y="69"/>
                      </a:cubicBezTo>
                      <a:cubicBezTo>
                        <a:pt x="285" y="69"/>
                        <a:pt x="285" y="69"/>
                        <a:pt x="285" y="69"/>
                      </a:cubicBezTo>
                      <a:cubicBezTo>
                        <a:pt x="295" y="65"/>
                        <a:pt x="304" y="62"/>
                        <a:pt x="314" y="59"/>
                      </a:cubicBezTo>
                      <a:cubicBezTo>
                        <a:pt x="277" y="97"/>
                        <a:pt x="247" y="153"/>
                        <a:pt x="227" y="220"/>
                      </a:cubicBezTo>
                      <a:cubicBezTo>
                        <a:pt x="187" y="209"/>
                        <a:pt x="154" y="196"/>
                        <a:pt x="131" y="181"/>
                      </a:cubicBezTo>
                      <a:cubicBezTo>
                        <a:pt x="165" y="141"/>
                        <a:pt x="206" y="108"/>
                        <a:pt x="253" y="84"/>
                      </a:cubicBezTo>
                      <a:close/>
                      <a:moveTo>
                        <a:pt x="107" y="214"/>
                      </a:moveTo>
                      <a:cubicBezTo>
                        <a:pt x="135" y="231"/>
                        <a:pt x="172" y="247"/>
                        <a:pt x="216" y="258"/>
                      </a:cubicBezTo>
                      <a:cubicBezTo>
                        <a:pt x="205" y="306"/>
                        <a:pt x="198" y="358"/>
                        <a:pt x="197" y="412"/>
                      </a:cubicBezTo>
                      <a:cubicBezTo>
                        <a:pt x="41" y="412"/>
                        <a:pt x="41" y="412"/>
                        <a:pt x="41" y="412"/>
                      </a:cubicBezTo>
                      <a:cubicBezTo>
                        <a:pt x="45" y="339"/>
                        <a:pt x="69" y="271"/>
                        <a:pt x="107" y="2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5" name="Freeform 7">
                  <a:extLst>
                    <a:ext uri="{FF2B5EF4-FFF2-40B4-BE49-F238E27FC236}">
                      <a16:creationId xmlns:a16="http://schemas.microsoft.com/office/drawing/2014/main" xmlns="" id="{25F41226-8077-4838-94D1-5EC3263BCE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38438" y="2674938"/>
                  <a:ext cx="77788" cy="77788"/>
                </a:xfrm>
                <a:custGeom>
                  <a:avLst/>
                  <a:gdLst>
                    <a:gd name="T0" fmla="*/ 76 w 105"/>
                    <a:gd name="T1" fmla="*/ 105 h 105"/>
                    <a:gd name="T2" fmla="*/ 29 w 105"/>
                    <a:gd name="T3" fmla="*/ 105 h 105"/>
                    <a:gd name="T4" fmla="*/ 0 w 105"/>
                    <a:gd name="T5" fmla="*/ 76 h 105"/>
                    <a:gd name="T6" fmla="*/ 0 w 105"/>
                    <a:gd name="T7" fmla="*/ 29 h 105"/>
                    <a:gd name="T8" fmla="*/ 29 w 105"/>
                    <a:gd name="T9" fmla="*/ 0 h 105"/>
                    <a:gd name="T10" fmla="*/ 76 w 105"/>
                    <a:gd name="T11" fmla="*/ 0 h 105"/>
                    <a:gd name="T12" fmla="*/ 105 w 105"/>
                    <a:gd name="T13" fmla="*/ 29 h 105"/>
                    <a:gd name="T14" fmla="*/ 105 w 105"/>
                    <a:gd name="T15" fmla="*/ 76 h 105"/>
                    <a:gd name="T16" fmla="*/ 76 w 105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5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5" y="13"/>
                        <a:pt x="105" y="29"/>
                      </a:cubicBezTo>
                      <a:cubicBezTo>
                        <a:pt x="105" y="76"/>
                        <a:pt x="105" y="76"/>
                        <a:pt x="105" y="76"/>
                      </a:cubicBezTo>
                      <a:cubicBezTo>
                        <a:pt x="105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6" name="Freeform 8">
                  <a:extLst>
                    <a:ext uri="{FF2B5EF4-FFF2-40B4-BE49-F238E27FC236}">
                      <a16:creationId xmlns:a16="http://schemas.microsoft.com/office/drawing/2014/main" xmlns="" id="{58F4781D-AE05-4E0B-94A8-422403C52C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638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8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8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8" y="105"/>
                        <a:pt x="28" y="105"/>
                        <a:pt x="28" y="105"/>
                      </a:cubicBezTo>
                      <a:cubicBezTo>
                        <a:pt x="12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7" name="Freeform 9">
                  <a:extLst>
                    <a:ext uri="{FF2B5EF4-FFF2-40B4-BE49-F238E27FC236}">
                      <a16:creationId xmlns:a16="http://schemas.microsoft.com/office/drawing/2014/main" xmlns="" id="{7DFD582B-A196-4473-955E-19FBF098E3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433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8" name="Freeform 10">
                  <a:extLst>
                    <a:ext uri="{FF2B5EF4-FFF2-40B4-BE49-F238E27FC236}">
                      <a16:creationId xmlns:a16="http://schemas.microsoft.com/office/drawing/2014/main" xmlns="" id="{B1659839-2C5E-4633-9294-3C4AAB77A7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6228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09" name="Freeform 11">
                  <a:extLst>
                    <a:ext uri="{FF2B5EF4-FFF2-40B4-BE49-F238E27FC236}">
                      <a16:creationId xmlns:a16="http://schemas.microsoft.com/office/drawing/2014/main" xmlns="" id="{5D81DBEA-7E8B-4853-8493-7379382C49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0238" y="2674938"/>
                  <a:ext cx="77788" cy="77788"/>
                </a:xfrm>
                <a:custGeom>
                  <a:avLst/>
                  <a:gdLst>
                    <a:gd name="T0" fmla="*/ 76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6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6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0" name="Freeform 12">
                  <a:extLst>
                    <a:ext uri="{FF2B5EF4-FFF2-40B4-BE49-F238E27FC236}">
                      <a16:creationId xmlns:a16="http://schemas.microsoft.com/office/drawing/2014/main" xmlns="" id="{BFF5EBFE-980D-401F-AC3B-8D43B74749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8188" y="2674938"/>
                  <a:ext cx="77788" cy="77788"/>
                </a:xfrm>
                <a:custGeom>
                  <a:avLst/>
                  <a:gdLst>
                    <a:gd name="T0" fmla="*/ 76 w 105"/>
                    <a:gd name="T1" fmla="*/ 105 h 105"/>
                    <a:gd name="T2" fmla="*/ 29 w 105"/>
                    <a:gd name="T3" fmla="*/ 105 h 105"/>
                    <a:gd name="T4" fmla="*/ 0 w 105"/>
                    <a:gd name="T5" fmla="*/ 76 h 105"/>
                    <a:gd name="T6" fmla="*/ 0 w 105"/>
                    <a:gd name="T7" fmla="*/ 29 h 105"/>
                    <a:gd name="T8" fmla="*/ 29 w 105"/>
                    <a:gd name="T9" fmla="*/ 0 h 105"/>
                    <a:gd name="T10" fmla="*/ 76 w 105"/>
                    <a:gd name="T11" fmla="*/ 0 h 105"/>
                    <a:gd name="T12" fmla="*/ 105 w 105"/>
                    <a:gd name="T13" fmla="*/ 29 h 105"/>
                    <a:gd name="T14" fmla="*/ 105 w 105"/>
                    <a:gd name="T15" fmla="*/ 76 h 105"/>
                    <a:gd name="T16" fmla="*/ 76 w 105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5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5" y="13"/>
                        <a:pt x="105" y="29"/>
                      </a:cubicBezTo>
                      <a:cubicBezTo>
                        <a:pt x="105" y="76"/>
                        <a:pt x="105" y="76"/>
                        <a:pt x="105" y="76"/>
                      </a:cubicBezTo>
                      <a:cubicBezTo>
                        <a:pt x="105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1" name="Freeform 13">
                  <a:extLst>
                    <a:ext uri="{FF2B5EF4-FFF2-40B4-BE49-F238E27FC236}">
                      <a16:creationId xmlns:a16="http://schemas.microsoft.com/office/drawing/2014/main" xmlns="" id="{6DF3F924-B34A-464B-ABAC-39C576CCF4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89238" y="2776538"/>
                  <a:ext cx="65088" cy="65088"/>
                </a:xfrm>
                <a:custGeom>
                  <a:avLst/>
                  <a:gdLst>
                    <a:gd name="T0" fmla="*/ 58 w 87"/>
                    <a:gd name="T1" fmla="*/ 87 h 87"/>
                    <a:gd name="T2" fmla="*/ 28 w 87"/>
                    <a:gd name="T3" fmla="*/ 87 h 87"/>
                    <a:gd name="T4" fmla="*/ 0 w 87"/>
                    <a:gd name="T5" fmla="*/ 58 h 87"/>
                    <a:gd name="T6" fmla="*/ 0 w 87"/>
                    <a:gd name="T7" fmla="*/ 29 h 87"/>
                    <a:gd name="T8" fmla="*/ 28 w 87"/>
                    <a:gd name="T9" fmla="*/ 0 h 87"/>
                    <a:gd name="T10" fmla="*/ 58 w 87"/>
                    <a:gd name="T11" fmla="*/ 0 h 87"/>
                    <a:gd name="T12" fmla="*/ 87 w 87"/>
                    <a:gd name="T13" fmla="*/ 29 h 87"/>
                    <a:gd name="T14" fmla="*/ 87 w 87"/>
                    <a:gd name="T15" fmla="*/ 58 h 87"/>
                    <a:gd name="T16" fmla="*/ 58 w 87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7" h="87">
                      <a:moveTo>
                        <a:pt x="58" y="87"/>
                      </a:moveTo>
                      <a:cubicBezTo>
                        <a:pt x="28" y="87"/>
                        <a:pt x="28" y="87"/>
                        <a:pt x="28" y="87"/>
                      </a:cubicBezTo>
                      <a:cubicBezTo>
                        <a:pt x="12" y="87"/>
                        <a:pt x="0" y="74"/>
                        <a:pt x="0" y="58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74" y="0"/>
                        <a:pt x="87" y="13"/>
                        <a:pt x="87" y="29"/>
                      </a:cubicBezTo>
                      <a:cubicBezTo>
                        <a:pt x="87" y="58"/>
                        <a:pt x="87" y="58"/>
                        <a:pt x="87" y="58"/>
                      </a:cubicBezTo>
                      <a:cubicBezTo>
                        <a:pt x="87" y="74"/>
                        <a:pt x="74" y="87"/>
                        <a:pt x="58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2" name="Freeform 14">
                  <a:extLst>
                    <a:ext uri="{FF2B5EF4-FFF2-40B4-BE49-F238E27FC236}">
                      <a16:creationId xmlns:a16="http://schemas.microsoft.com/office/drawing/2014/main" xmlns="" id="{CA727898-485B-4137-B5F3-A986C99182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01950" y="2776538"/>
                  <a:ext cx="65088" cy="65088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9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9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9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3" name="Freeform 15">
                  <a:extLst>
                    <a:ext uri="{FF2B5EF4-FFF2-40B4-BE49-F238E27FC236}">
                      <a16:creationId xmlns:a16="http://schemas.microsoft.com/office/drawing/2014/main" xmlns="" id="{E264BC8B-1AFE-4350-8342-C32C08DE3D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4663" y="2778125"/>
                  <a:ext cx="65088" cy="63500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8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8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8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4" name="Freeform 16">
                  <a:extLst>
                    <a:ext uri="{FF2B5EF4-FFF2-40B4-BE49-F238E27FC236}">
                      <a16:creationId xmlns:a16="http://schemas.microsoft.com/office/drawing/2014/main" xmlns="" id="{3796EDD9-C8C7-4047-BDD3-ABE52F053E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27375" y="2778125"/>
                  <a:ext cx="65088" cy="63500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8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8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8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5" name="Freeform 17">
                  <a:extLst>
                    <a:ext uri="{FF2B5EF4-FFF2-40B4-BE49-F238E27FC236}">
                      <a16:creationId xmlns:a16="http://schemas.microsoft.com/office/drawing/2014/main" xmlns="" id="{CF260224-9999-4679-A95B-1262D68120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40088" y="2778125"/>
                  <a:ext cx="65088" cy="63500"/>
                </a:xfrm>
                <a:custGeom>
                  <a:avLst/>
                  <a:gdLst>
                    <a:gd name="T0" fmla="*/ 59 w 87"/>
                    <a:gd name="T1" fmla="*/ 87 h 87"/>
                    <a:gd name="T2" fmla="*/ 29 w 87"/>
                    <a:gd name="T3" fmla="*/ 87 h 87"/>
                    <a:gd name="T4" fmla="*/ 0 w 87"/>
                    <a:gd name="T5" fmla="*/ 58 h 87"/>
                    <a:gd name="T6" fmla="*/ 0 w 87"/>
                    <a:gd name="T7" fmla="*/ 28 h 87"/>
                    <a:gd name="T8" fmla="*/ 29 w 87"/>
                    <a:gd name="T9" fmla="*/ 0 h 87"/>
                    <a:gd name="T10" fmla="*/ 59 w 87"/>
                    <a:gd name="T11" fmla="*/ 0 h 87"/>
                    <a:gd name="T12" fmla="*/ 87 w 87"/>
                    <a:gd name="T13" fmla="*/ 28 h 87"/>
                    <a:gd name="T14" fmla="*/ 87 w 87"/>
                    <a:gd name="T15" fmla="*/ 58 h 87"/>
                    <a:gd name="T16" fmla="*/ 59 w 87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7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7" y="13"/>
                        <a:pt x="87" y="28"/>
                      </a:cubicBezTo>
                      <a:cubicBezTo>
                        <a:pt x="87" y="58"/>
                        <a:pt x="87" y="58"/>
                        <a:pt x="87" y="58"/>
                      </a:cubicBezTo>
                      <a:cubicBezTo>
                        <a:pt x="87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6" name="Freeform 18">
                  <a:extLst>
                    <a:ext uri="{FF2B5EF4-FFF2-40B4-BE49-F238E27FC236}">
                      <a16:creationId xmlns:a16="http://schemas.microsoft.com/office/drawing/2014/main" xmlns="" id="{08CFCE21-3294-46BD-AB9E-68E3507FA6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1625" y="2862263"/>
                  <a:ext cx="50800" cy="52388"/>
                </a:xfrm>
                <a:custGeom>
                  <a:avLst/>
                  <a:gdLst>
                    <a:gd name="T0" fmla="*/ 41 w 70"/>
                    <a:gd name="T1" fmla="*/ 70 h 70"/>
                    <a:gd name="T2" fmla="*/ 28 w 70"/>
                    <a:gd name="T3" fmla="*/ 70 h 70"/>
                    <a:gd name="T4" fmla="*/ 0 w 70"/>
                    <a:gd name="T5" fmla="*/ 41 h 70"/>
                    <a:gd name="T6" fmla="*/ 0 w 70"/>
                    <a:gd name="T7" fmla="*/ 29 h 70"/>
                    <a:gd name="T8" fmla="*/ 28 w 70"/>
                    <a:gd name="T9" fmla="*/ 0 h 70"/>
                    <a:gd name="T10" fmla="*/ 41 w 70"/>
                    <a:gd name="T11" fmla="*/ 0 h 70"/>
                    <a:gd name="T12" fmla="*/ 70 w 70"/>
                    <a:gd name="T13" fmla="*/ 29 h 70"/>
                    <a:gd name="T14" fmla="*/ 70 w 70"/>
                    <a:gd name="T15" fmla="*/ 41 h 70"/>
                    <a:gd name="T16" fmla="*/ 41 w 70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0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7" y="0"/>
                        <a:pt x="70" y="13"/>
                        <a:pt x="70" y="29"/>
                      </a:cubicBezTo>
                      <a:cubicBezTo>
                        <a:pt x="70" y="41"/>
                        <a:pt x="70" y="41"/>
                        <a:pt x="70" y="41"/>
                      </a:cubicBezTo>
                      <a:cubicBezTo>
                        <a:pt x="70" y="57"/>
                        <a:pt x="57" y="70"/>
                        <a:pt x="41" y="7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7" name="Freeform 19">
                  <a:extLst>
                    <a:ext uri="{FF2B5EF4-FFF2-40B4-BE49-F238E27FC236}">
                      <a16:creationId xmlns:a16="http://schemas.microsoft.com/office/drawing/2014/main" xmlns="" id="{97807D80-2BD9-4B7F-BE31-1BFF62872F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2275" y="2862263"/>
                  <a:ext cx="50800" cy="52388"/>
                </a:xfrm>
                <a:custGeom>
                  <a:avLst/>
                  <a:gdLst>
                    <a:gd name="T0" fmla="*/ 41 w 69"/>
                    <a:gd name="T1" fmla="*/ 70 h 70"/>
                    <a:gd name="T2" fmla="*/ 28 w 69"/>
                    <a:gd name="T3" fmla="*/ 70 h 70"/>
                    <a:gd name="T4" fmla="*/ 0 w 69"/>
                    <a:gd name="T5" fmla="*/ 41 h 70"/>
                    <a:gd name="T6" fmla="*/ 0 w 69"/>
                    <a:gd name="T7" fmla="*/ 29 h 70"/>
                    <a:gd name="T8" fmla="*/ 28 w 69"/>
                    <a:gd name="T9" fmla="*/ 0 h 70"/>
                    <a:gd name="T10" fmla="*/ 41 w 69"/>
                    <a:gd name="T11" fmla="*/ 0 h 70"/>
                    <a:gd name="T12" fmla="*/ 69 w 69"/>
                    <a:gd name="T13" fmla="*/ 29 h 70"/>
                    <a:gd name="T14" fmla="*/ 69 w 69"/>
                    <a:gd name="T15" fmla="*/ 41 h 70"/>
                    <a:gd name="T16" fmla="*/ 41 w 69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7" y="0"/>
                        <a:pt x="69" y="13"/>
                        <a:pt x="69" y="29"/>
                      </a:cubicBezTo>
                      <a:cubicBezTo>
                        <a:pt x="69" y="41"/>
                        <a:pt x="69" y="41"/>
                        <a:pt x="69" y="41"/>
                      </a:cubicBezTo>
                      <a:cubicBezTo>
                        <a:pt x="69" y="57"/>
                        <a:pt x="57" y="70"/>
                        <a:pt x="41" y="7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8" name="Freeform 20">
                  <a:extLst>
                    <a:ext uri="{FF2B5EF4-FFF2-40B4-BE49-F238E27FC236}">
                      <a16:creationId xmlns:a16="http://schemas.microsoft.com/office/drawing/2014/main" xmlns="" id="{E23FAAB8-60B0-4477-A66B-4D65151B9D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81338" y="2863850"/>
                  <a:ext cx="52388" cy="50800"/>
                </a:xfrm>
                <a:custGeom>
                  <a:avLst/>
                  <a:gdLst>
                    <a:gd name="T0" fmla="*/ 41 w 69"/>
                    <a:gd name="T1" fmla="*/ 70 h 70"/>
                    <a:gd name="T2" fmla="*/ 28 w 69"/>
                    <a:gd name="T3" fmla="*/ 70 h 70"/>
                    <a:gd name="T4" fmla="*/ 0 w 69"/>
                    <a:gd name="T5" fmla="*/ 41 h 70"/>
                    <a:gd name="T6" fmla="*/ 0 w 69"/>
                    <a:gd name="T7" fmla="*/ 29 h 70"/>
                    <a:gd name="T8" fmla="*/ 28 w 69"/>
                    <a:gd name="T9" fmla="*/ 0 h 70"/>
                    <a:gd name="T10" fmla="*/ 41 w 69"/>
                    <a:gd name="T11" fmla="*/ 0 h 70"/>
                    <a:gd name="T12" fmla="*/ 69 w 69"/>
                    <a:gd name="T13" fmla="*/ 29 h 70"/>
                    <a:gd name="T14" fmla="*/ 69 w 69"/>
                    <a:gd name="T15" fmla="*/ 41 h 70"/>
                    <a:gd name="T16" fmla="*/ 41 w 69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2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6" y="0"/>
                        <a:pt x="69" y="13"/>
                        <a:pt x="69" y="29"/>
                      </a:cubicBezTo>
                      <a:cubicBezTo>
                        <a:pt x="69" y="41"/>
                        <a:pt x="69" y="41"/>
                        <a:pt x="69" y="41"/>
                      </a:cubicBezTo>
                      <a:cubicBezTo>
                        <a:pt x="69" y="57"/>
                        <a:pt x="56" y="70"/>
                        <a:pt x="41" y="7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19" name="Freeform 21">
                  <a:extLst>
                    <a:ext uri="{FF2B5EF4-FFF2-40B4-BE49-F238E27FC236}">
                      <a16:creationId xmlns:a16="http://schemas.microsoft.com/office/drawing/2014/main" xmlns="" id="{DFF79A5E-29CE-459B-9ACE-3456F9E8CA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01988" y="2863850"/>
                  <a:ext cx="50800" cy="50800"/>
                </a:xfrm>
                <a:custGeom>
                  <a:avLst/>
                  <a:gdLst>
                    <a:gd name="T0" fmla="*/ 42 w 70"/>
                    <a:gd name="T1" fmla="*/ 70 h 70"/>
                    <a:gd name="T2" fmla="*/ 29 w 70"/>
                    <a:gd name="T3" fmla="*/ 70 h 70"/>
                    <a:gd name="T4" fmla="*/ 0 w 70"/>
                    <a:gd name="T5" fmla="*/ 41 h 70"/>
                    <a:gd name="T6" fmla="*/ 0 w 70"/>
                    <a:gd name="T7" fmla="*/ 29 h 70"/>
                    <a:gd name="T8" fmla="*/ 29 w 70"/>
                    <a:gd name="T9" fmla="*/ 0 h 70"/>
                    <a:gd name="T10" fmla="*/ 42 w 70"/>
                    <a:gd name="T11" fmla="*/ 0 h 70"/>
                    <a:gd name="T12" fmla="*/ 70 w 70"/>
                    <a:gd name="T13" fmla="*/ 29 h 70"/>
                    <a:gd name="T14" fmla="*/ 70 w 70"/>
                    <a:gd name="T15" fmla="*/ 41 h 70"/>
                    <a:gd name="T16" fmla="*/ 42 w 70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0" h="70">
                      <a:moveTo>
                        <a:pt x="42" y="70"/>
                      </a:moveTo>
                      <a:cubicBezTo>
                        <a:pt x="29" y="70"/>
                        <a:pt x="29" y="70"/>
                        <a:pt x="29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57" y="0"/>
                        <a:pt x="70" y="13"/>
                        <a:pt x="70" y="29"/>
                      </a:cubicBezTo>
                      <a:cubicBezTo>
                        <a:pt x="70" y="41"/>
                        <a:pt x="70" y="41"/>
                        <a:pt x="70" y="41"/>
                      </a:cubicBezTo>
                      <a:cubicBezTo>
                        <a:pt x="70" y="57"/>
                        <a:pt x="57" y="70"/>
                        <a:pt x="42" y="7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1725" name="TextBox 1724">
            <a:extLst>
              <a:ext uri="{FF2B5EF4-FFF2-40B4-BE49-F238E27FC236}">
                <a16:creationId xmlns:a16="http://schemas.microsoft.com/office/drawing/2014/main" xmlns="" id="{E044A284-54FF-4B04-9DD0-37C22B44981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3039470" y="627976"/>
            <a:ext cx="6104531" cy="4247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2400" dirty="0">
                <a:solidFill>
                  <a:schemeClr val="bg1"/>
                </a:solidFill>
                <a:latin typeface="+mj-lt"/>
                <a:ea typeface="Apple LiGothic Medium"/>
                <a:cs typeface="Apple LiGothic Medium"/>
              </a:rPr>
              <a:t>Multi-Layered Threat Sensors</a:t>
            </a:r>
            <a:endParaRPr lang="en-US" sz="2400" dirty="0">
              <a:solidFill>
                <a:schemeClr val="bg2"/>
              </a:solidFill>
              <a:latin typeface="+mj-lt"/>
              <a:ea typeface="Apple LiGothic Medium"/>
              <a:cs typeface="Apple LiGothic Medium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090D142B-3F9D-4100-85B6-3C16D75C4AC4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805735" y="978815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>
              <a:spcBef>
                <a:spcPts val="450"/>
              </a:spcBef>
              <a:buClr>
                <a:srgbClr val="6DB344"/>
              </a:buClr>
            </a:pPr>
            <a:r>
              <a:rPr lang="en-US" sz="1200" dirty="0">
                <a:solidFill>
                  <a:schemeClr val="accent1"/>
                </a:solidFill>
                <a:latin typeface="+mn-lt"/>
              </a:rPr>
              <a:t>Quickly detect, block, and respond dynamically when threats arise to prevent breaches from impacting the busines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42EED1A6-71C4-4C13-AF5F-E5BEA9B2F544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4373655" y="1508250"/>
            <a:ext cx="356373" cy="541022"/>
            <a:chOff x="3802155" y="1563817"/>
            <a:chExt cx="356373" cy="541022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xmlns="" id="{AD8F2395-9DFF-48AC-AD5B-CCC4D848B1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xmlns="" r:embed="rId40"/>
                </a:ext>
              </a:extLst>
            </a:blip>
            <a:stretch>
              <a:fillRect/>
            </a:stretch>
          </p:blipFill>
          <p:spPr>
            <a:xfrm>
              <a:off x="3802155" y="1563817"/>
              <a:ext cx="356373" cy="425349"/>
            </a:xfrm>
            <a:prstGeom prst="rect">
              <a:avLst/>
            </a:prstGeom>
          </p:spPr>
        </p:pic>
        <p:sp>
          <p:nvSpPr>
            <p:cNvPr id="21" name="Oval 20">
              <a:extLst>
                <a:ext uri="{FF2B5EF4-FFF2-40B4-BE49-F238E27FC236}">
                  <a16:creationId xmlns:a16="http://schemas.microsoft.com/office/drawing/2014/main" xmlns="" id="{ED3E9C02-9EE8-441D-9A8C-B69A5BD7FD37}"/>
                </a:ext>
              </a:extLst>
            </p:cNvPr>
            <p:cNvSpPr/>
            <p:nvPr/>
          </p:nvSpPr>
          <p:spPr>
            <a:xfrm>
              <a:off x="3930662" y="2018038"/>
              <a:ext cx="86801" cy="86801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rgbClr val="FFFFF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7062AFE6-A942-46BA-A49C-D4FD74E3B080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6465374" y="1508250"/>
            <a:ext cx="361950" cy="540889"/>
            <a:chOff x="5893874" y="1520950"/>
            <a:chExt cx="361950" cy="540889"/>
          </a:xfrm>
        </p:grpSpPr>
        <p:grpSp>
          <p:nvGrpSpPr>
            <p:cNvPr id="13" name="Group 4">
              <a:extLst>
                <a:ext uri="{FF2B5EF4-FFF2-40B4-BE49-F238E27FC236}">
                  <a16:creationId xmlns:a16="http://schemas.microsoft.com/office/drawing/2014/main" xmlns="" id="{AE06901A-E190-420E-8C7F-7AABAE4CFF4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893874" y="1520950"/>
              <a:ext cx="361950" cy="423863"/>
              <a:chOff x="2767" y="1485"/>
              <a:chExt cx="228" cy="267"/>
            </a:xfrm>
          </p:grpSpPr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xmlns="" id="{DF060683-D171-4D64-88FC-00BF5B1FAF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7" y="1485"/>
                <a:ext cx="228" cy="267"/>
              </a:xfrm>
              <a:custGeom>
                <a:avLst/>
                <a:gdLst>
                  <a:gd name="T0" fmla="*/ 124 w 126"/>
                  <a:gd name="T1" fmla="*/ 60 h 149"/>
                  <a:gd name="T2" fmla="*/ 65 w 126"/>
                  <a:gd name="T3" fmla="*/ 1 h 149"/>
                  <a:gd name="T4" fmla="*/ 0 w 126"/>
                  <a:gd name="T5" fmla="*/ 63 h 149"/>
                  <a:gd name="T6" fmla="*/ 47 w 126"/>
                  <a:gd name="T7" fmla="*/ 124 h 149"/>
                  <a:gd name="T8" fmla="*/ 62 w 126"/>
                  <a:gd name="T9" fmla="*/ 149 h 149"/>
                  <a:gd name="T10" fmla="*/ 78 w 126"/>
                  <a:gd name="T11" fmla="*/ 124 h 149"/>
                  <a:gd name="T12" fmla="*/ 124 w 126"/>
                  <a:gd name="T13" fmla="*/ 6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149">
                    <a:moveTo>
                      <a:pt x="124" y="60"/>
                    </a:moveTo>
                    <a:cubicBezTo>
                      <a:pt x="123" y="29"/>
                      <a:pt x="97" y="3"/>
                      <a:pt x="65" y="1"/>
                    </a:cubicBezTo>
                    <a:cubicBezTo>
                      <a:pt x="30" y="0"/>
                      <a:pt x="0" y="28"/>
                      <a:pt x="0" y="63"/>
                    </a:cubicBezTo>
                    <a:cubicBezTo>
                      <a:pt x="0" y="92"/>
                      <a:pt x="20" y="117"/>
                      <a:pt x="47" y="124"/>
                    </a:cubicBezTo>
                    <a:cubicBezTo>
                      <a:pt x="62" y="149"/>
                      <a:pt x="62" y="149"/>
                      <a:pt x="62" y="149"/>
                    </a:cubicBezTo>
                    <a:cubicBezTo>
                      <a:pt x="78" y="124"/>
                      <a:pt x="78" y="124"/>
                      <a:pt x="78" y="124"/>
                    </a:cubicBezTo>
                    <a:cubicBezTo>
                      <a:pt x="106" y="116"/>
                      <a:pt x="126" y="91"/>
                      <a:pt x="124" y="60"/>
                    </a:cubicBezTo>
                    <a:close/>
                  </a:path>
                </a:pathLst>
              </a:custGeom>
              <a:solidFill>
                <a:srgbClr val="E324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xmlns="" id="{09736AE8-1DA0-4DB8-A470-A52C85891D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70" y="1594"/>
                <a:ext cx="20" cy="22"/>
              </a:xfrm>
              <a:custGeom>
                <a:avLst/>
                <a:gdLst>
                  <a:gd name="T0" fmla="*/ 11 w 11"/>
                  <a:gd name="T1" fmla="*/ 6 h 12"/>
                  <a:gd name="T2" fmla="*/ 5 w 11"/>
                  <a:gd name="T3" fmla="*/ 0 h 12"/>
                  <a:gd name="T4" fmla="*/ 0 w 11"/>
                  <a:gd name="T5" fmla="*/ 6 h 12"/>
                  <a:gd name="T6" fmla="*/ 5 w 11"/>
                  <a:gd name="T7" fmla="*/ 12 h 12"/>
                  <a:gd name="T8" fmla="*/ 11 w 11"/>
                  <a:gd name="T9" fmla="*/ 6 h 12"/>
                  <a:gd name="T10" fmla="*/ 2 w 11"/>
                  <a:gd name="T11" fmla="*/ 6 h 12"/>
                  <a:gd name="T12" fmla="*/ 5 w 11"/>
                  <a:gd name="T13" fmla="*/ 3 h 12"/>
                  <a:gd name="T14" fmla="*/ 8 w 11"/>
                  <a:gd name="T15" fmla="*/ 6 h 12"/>
                  <a:gd name="T16" fmla="*/ 5 w 11"/>
                  <a:gd name="T17" fmla="*/ 9 h 12"/>
                  <a:gd name="T18" fmla="*/ 2 w 11"/>
                  <a:gd name="T1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12">
                    <a:moveTo>
                      <a:pt x="11" y="6"/>
                    </a:moveTo>
                    <a:cubicBezTo>
                      <a:pt x="11" y="3"/>
                      <a:pt x="8" y="0"/>
                      <a:pt x="5" y="0"/>
                    </a:cubicBezTo>
                    <a:cubicBezTo>
                      <a:pt x="2" y="0"/>
                      <a:pt x="0" y="3"/>
                      <a:pt x="0" y="6"/>
                    </a:cubicBezTo>
                    <a:cubicBezTo>
                      <a:pt x="0" y="9"/>
                      <a:pt x="2" y="12"/>
                      <a:pt x="5" y="12"/>
                    </a:cubicBezTo>
                    <a:cubicBezTo>
                      <a:pt x="8" y="12"/>
                      <a:pt x="11" y="9"/>
                      <a:pt x="11" y="6"/>
                    </a:cubicBezTo>
                    <a:close/>
                    <a:moveTo>
                      <a:pt x="2" y="6"/>
                    </a:moveTo>
                    <a:cubicBezTo>
                      <a:pt x="2" y="4"/>
                      <a:pt x="4" y="3"/>
                      <a:pt x="5" y="3"/>
                    </a:cubicBezTo>
                    <a:cubicBezTo>
                      <a:pt x="7" y="3"/>
                      <a:pt x="8" y="4"/>
                      <a:pt x="8" y="6"/>
                    </a:cubicBezTo>
                    <a:cubicBezTo>
                      <a:pt x="8" y="8"/>
                      <a:pt x="7" y="9"/>
                      <a:pt x="5" y="9"/>
                    </a:cubicBezTo>
                    <a:cubicBezTo>
                      <a:pt x="4" y="9"/>
                      <a:pt x="2" y="8"/>
                      <a:pt x="2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xmlns="" id="{E6B3A58F-A829-4612-A02B-AF7D384301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02" y="1519"/>
                <a:ext cx="157" cy="152"/>
              </a:xfrm>
              <a:custGeom>
                <a:avLst/>
                <a:gdLst>
                  <a:gd name="T0" fmla="*/ 66 w 87"/>
                  <a:gd name="T1" fmla="*/ 36 h 85"/>
                  <a:gd name="T2" fmla="*/ 43 w 87"/>
                  <a:gd name="T3" fmla="*/ 0 h 85"/>
                  <a:gd name="T4" fmla="*/ 21 w 87"/>
                  <a:gd name="T5" fmla="*/ 36 h 85"/>
                  <a:gd name="T6" fmla="*/ 1 w 87"/>
                  <a:gd name="T7" fmla="*/ 59 h 85"/>
                  <a:gd name="T8" fmla="*/ 22 w 87"/>
                  <a:gd name="T9" fmla="*/ 84 h 85"/>
                  <a:gd name="T10" fmla="*/ 46 w 87"/>
                  <a:gd name="T11" fmla="*/ 79 h 85"/>
                  <a:gd name="T12" fmla="*/ 65 w 87"/>
                  <a:gd name="T13" fmla="*/ 84 h 85"/>
                  <a:gd name="T14" fmla="*/ 86 w 87"/>
                  <a:gd name="T15" fmla="*/ 59 h 85"/>
                  <a:gd name="T16" fmla="*/ 35 w 87"/>
                  <a:gd name="T17" fmla="*/ 57 h 85"/>
                  <a:gd name="T18" fmla="*/ 37 w 87"/>
                  <a:gd name="T19" fmla="*/ 63 h 85"/>
                  <a:gd name="T20" fmla="*/ 35 w 87"/>
                  <a:gd name="T21" fmla="*/ 56 h 85"/>
                  <a:gd name="T22" fmla="*/ 23 w 87"/>
                  <a:gd name="T23" fmla="*/ 48 h 85"/>
                  <a:gd name="T24" fmla="*/ 22 w 87"/>
                  <a:gd name="T25" fmla="*/ 81 h 85"/>
                  <a:gd name="T26" fmla="*/ 3 w 87"/>
                  <a:gd name="T27" fmla="*/ 64 h 85"/>
                  <a:gd name="T28" fmla="*/ 38 w 87"/>
                  <a:gd name="T29" fmla="*/ 57 h 85"/>
                  <a:gd name="T30" fmla="*/ 37 w 87"/>
                  <a:gd name="T31" fmla="*/ 53 h 85"/>
                  <a:gd name="T32" fmla="*/ 29 w 87"/>
                  <a:gd name="T33" fmla="*/ 47 h 85"/>
                  <a:gd name="T34" fmla="*/ 24 w 87"/>
                  <a:gd name="T35" fmla="*/ 45 h 85"/>
                  <a:gd name="T36" fmla="*/ 6 w 87"/>
                  <a:gd name="T37" fmla="*/ 50 h 85"/>
                  <a:gd name="T38" fmla="*/ 24 w 87"/>
                  <a:gd name="T39" fmla="*/ 38 h 85"/>
                  <a:gd name="T40" fmla="*/ 24 w 87"/>
                  <a:gd name="T41" fmla="*/ 18 h 85"/>
                  <a:gd name="T42" fmla="*/ 31 w 87"/>
                  <a:gd name="T43" fmla="*/ 35 h 85"/>
                  <a:gd name="T44" fmla="*/ 53 w 87"/>
                  <a:gd name="T45" fmla="*/ 37 h 85"/>
                  <a:gd name="T46" fmla="*/ 57 w 87"/>
                  <a:gd name="T47" fmla="*/ 34 h 85"/>
                  <a:gd name="T48" fmla="*/ 65 w 87"/>
                  <a:gd name="T49" fmla="*/ 27 h 85"/>
                  <a:gd name="T50" fmla="*/ 63 w 87"/>
                  <a:gd name="T51" fmla="*/ 39 h 85"/>
                  <a:gd name="T52" fmla="*/ 79 w 87"/>
                  <a:gd name="T53" fmla="*/ 49 h 85"/>
                  <a:gd name="T54" fmla="*/ 61 w 87"/>
                  <a:gd name="T55" fmla="*/ 45 h 85"/>
                  <a:gd name="T56" fmla="*/ 51 w 87"/>
                  <a:gd name="T57" fmla="*/ 52 h 85"/>
                  <a:gd name="T58" fmla="*/ 47 w 87"/>
                  <a:gd name="T59" fmla="*/ 66 h 85"/>
                  <a:gd name="T60" fmla="*/ 55 w 87"/>
                  <a:gd name="T61" fmla="*/ 81 h 85"/>
                  <a:gd name="T62" fmla="*/ 42 w 87"/>
                  <a:gd name="T63" fmla="*/ 73 h 85"/>
                  <a:gd name="T64" fmla="*/ 40 w 87"/>
                  <a:gd name="T65" fmla="*/ 64 h 85"/>
                  <a:gd name="T66" fmla="*/ 58 w 87"/>
                  <a:gd name="T67" fmla="*/ 10 h 85"/>
                  <a:gd name="T68" fmla="*/ 59 w 87"/>
                  <a:gd name="T69" fmla="*/ 13 h 85"/>
                  <a:gd name="T70" fmla="*/ 60 w 87"/>
                  <a:gd name="T71" fmla="*/ 16 h 85"/>
                  <a:gd name="T72" fmla="*/ 43 w 87"/>
                  <a:gd name="T73" fmla="*/ 28 h 85"/>
                  <a:gd name="T74" fmla="*/ 27 w 87"/>
                  <a:gd name="T75" fmla="*/ 16 h 85"/>
                  <a:gd name="T76" fmla="*/ 28 w 87"/>
                  <a:gd name="T77" fmla="*/ 13 h 85"/>
                  <a:gd name="T78" fmla="*/ 29 w 87"/>
                  <a:gd name="T79" fmla="*/ 10 h 85"/>
                  <a:gd name="T80" fmla="*/ 43 w 87"/>
                  <a:gd name="T81" fmla="*/ 37 h 85"/>
                  <a:gd name="T82" fmla="*/ 61 w 87"/>
                  <a:gd name="T83" fmla="*/ 48 h 85"/>
                  <a:gd name="T84" fmla="*/ 59 w 87"/>
                  <a:gd name="T85" fmla="*/ 80 h 85"/>
                  <a:gd name="T86" fmla="*/ 64 w 87"/>
                  <a:gd name="T87" fmla="*/ 48 h 85"/>
                  <a:gd name="T88" fmla="*/ 83 w 87"/>
                  <a:gd name="T89" fmla="*/ 59 h 85"/>
                  <a:gd name="T90" fmla="*/ 65 w 87"/>
                  <a:gd name="T91" fmla="*/ 81 h 85"/>
                  <a:gd name="T92" fmla="*/ 60 w 87"/>
                  <a:gd name="T93" fmla="*/ 8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7" h="85">
                    <a:moveTo>
                      <a:pt x="86" y="59"/>
                    </a:moveTo>
                    <a:cubicBezTo>
                      <a:pt x="85" y="52"/>
                      <a:pt x="82" y="46"/>
                      <a:pt x="77" y="41"/>
                    </a:cubicBezTo>
                    <a:cubicBezTo>
                      <a:pt x="74" y="39"/>
                      <a:pt x="70" y="37"/>
                      <a:pt x="66" y="36"/>
                    </a:cubicBezTo>
                    <a:cubicBezTo>
                      <a:pt x="67" y="33"/>
                      <a:pt x="68" y="30"/>
                      <a:pt x="68" y="27"/>
                    </a:cubicBezTo>
                    <a:cubicBezTo>
                      <a:pt x="68" y="20"/>
                      <a:pt x="65" y="13"/>
                      <a:pt x="60" y="9"/>
                    </a:cubicBezTo>
                    <a:cubicBezTo>
                      <a:pt x="56" y="3"/>
                      <a:pt x="50" y="0"/>
                      <a:pt x="43" y="0"/>
                    </a:cubicBezTo>
                    <a:cubicBezTo>
                      <a:pt x="37" y="0"/>
                      <a:pt x="30" y="3"/>
                      <a:pt x="27" y="9"/>
                    </a:cubicBezTo>
                    <a:cubicBezTo>
                      <a:pt x="22" y="13"/>
                      <a:pt x="19" y="20"/>
                      <a:pt x="19" y="27"/>
                    </a:cubicBezTo>
                    <a:cubicBezTo>
                      <a:pt x="19" y="30"/>
                      <a:pt x="20" y="33"/>
                      <a:pt x="21" y="36"/>
                    </a:cubicBezTo>
                    <a:cubicBezTo>
                      <a:pt x="17" y="37"/>
                      <a:pt x="13" y="39"/>
                      <a:pt x="10" y="41"/>
                    </a:cubicBezTo>
                    <a:cubicBezTo>
                      <a:pt x="5" y="46"/>
                      <a:pt x="1" y="52"/>
                      <a:pt x="1" y="59"/>
                    </a:cubicBezTo>
                    <a:cubicBezTo>
                      <a:pt x="1" y="59"/>
                      <a:pt x="1" y="59"/>
                      <a:pt x="1" y="59"/>
                    </a:cubicBezTo>
                    <a:cubicBezTo>
                      <a:pt x="1" y="61"/>
                      <a:pt x="0" y="63"/>
                      <a:pt x="0" y="64"/>
                    </a:cubicBezTo>
                    <a:cubicBezTo>
                      <a:pt x="0" y="75"/>
                      <a:pt x="9" y="84"/>
                      <a:pt x="20" y="84"/>
                    </a:cubicBezTo>
                    <a:cubicBezTo>
                      <a:pt x="21" y="84"/>
                      <a:pt x="21" y="84"/>
                      <a:pt x="22" y="84"/>
                    </a:cubicBezTo>
                    <a:cubicBezTo>
                      <a:pt x="29" y="85"/>
                      <a:pt x="36" y="83"/>
                      <a:pt x="41" y="79"/>
                    </a:cubicBezTo>
                    <a:cubicBezTo>
                      <a:pt x="42" y="78"/>
                      <a:pt x="42" y="77"/>
                      <a:pt x="43" y="76"/>
                    </a:cubicBezTo>
                    <a:cubicBezTo>
                      <a:pt x="44" y="77"/>
                      <a:pt x="45" y="78"/>
                      <a:pt x="46" y="79"/>
                    </a:cubicBezTo>
                    <a:cubicBezTo>
                      <a:pt x="50" y="82"/>
                      <a:pt x="56" y="84"/>
                      <a:pt x="61" y="84"/>
                    </a:cubicBezTo>
                    <a:cubicBezTo>
                      <a:pt x="61" y="84"/>
                      <a:pt x="61" y="84"/>
                      <a:pt x="61" y="84"/>
                    </a:cubicBezTo>
                    <a:cubicBezTo>
                      <a:pt x="62" y="84"/>
                      <a:pt x="64" y="84"/>
                      <a:pt x="65" y="84"/>
                    </a:cubicBezTo>
                    <a:cubicBezTo>
                      <a:pt x="65" y="84"/>
                      <a:pt x="66" y="84"/>
                      <a:pt x="67" y="84"/>
                    </a:cubicBezTo>
                    <a:cubicBezTo>
                      <a:pt x="78" y="84"/>
                      <a:pt x="87" y="75"/>
                      <a:pt x="87" y="64"/>
                    </a:cubicBezTo>
                    <a:cubicBezTo>
                      <a:pt x="87" y="62"/>
                      <a:pt x="86" y="60"/>
                      <a:pt x="86" y="59"/>
                    </a:cubicBezTo>
                    <a:close/>
                    <a:moveTo>
                      <a:pt x="35" y="56"/>
                    </a:moveTo>
                    <a:cubicBezTo>
                      <a:pt x="35" y="56"/>
                      <a:pt x="35" y="57"/>
                      <a:pt x="35" y="57"/>
                    </a:cubicBezTo>
                    <a:cubicBezTo>
                      <a:pt x="35" y="57"/>
                      <a:pt x="35" y="57"/>
                      <a:pt x="35" y="57"/>
                    </a:cubicBezTo>
                    <a:cubicBezTo>
                      <a:pt x="35" y="57"/>
                      <a:pt x="35" y="57"/>
                      <a:pt x="36" y="58"/>
                    </a:cubicBezTo>
                    <a:cubicBezTo>
                      <a:pt x="36" y="59"/>
                      <a:pt x="37" y="60"/>
                      <a:pt x="37" y="61"/>
                    </a:cubicBezTo>
                    <a:cubicBezTo>
                      <a:pt x="37" y="62"/>
                      <a:pt x="37" y="63"/>
                      <a:pt x="37" y="63"/>
                    </a:cubicBezTo>
                    <a:cubicBezTo>
                      <a:pt x="37" y="64"/>
                      <a:pt x="37" y="64"/>
                      <a:pt x="37" y="64"/>
                    </a:cubicBezTo>
                    <a:cubicBezTo>
                      <a:pt x="30" y="62"/>
                      <a:pt x="26" y="56"/>
                      <a:pt x="26" y="48"/>
                    </a:cubicBezTo>
                    <a:cubicBezTo>
                      <a:pt x="30" y="50"/>
                      <a:pt x="33" y="52"/>
                      <a:pt x="35" y="56"/>
                    </a:cubicBezTo>
                    <a:close/>
                    <a:moveTo>
                      <a:pt x="20" y="47"/>
                    </a:moveTo>
                    <a:cubicBezTo>
                      <a:pt x="21" y="47"/>
                      <a:pt x="22" y="48"/>
                      <a:pt x="23" y="48"/>
                    </a:cubicBezTo>
                    <a:cubicBezTo>
                      <a:pt x="23" y="48"/>
                      <a:pt x="23" y="48"/>
                      <a:pt x="23" y="48"/>
                    </a:cubicBezTo>
                    <a:cubicBezTo>
                      <a:pt x="23" y="57"/>
                      <a:pt x="28" y="65"/>
                      <a:pt x="37" y="67"/>
                    </a:cubicBezTo>
                    <a:cubicBezTo>
                      <a:pt x="36" y="71"/>
                      <a:pt x="34" y="75"/>
                      <a:pt x="31" y="78"/>
                    </a:cubicBezTo>
                    <a:cubicBezTo>
                      <a:pt x="28" y="80"/>
                      <a:pt x="25" y="81"/>
                      <a:pt x="22" y="81"/>
                    </a:cubicBezTo>
                    <a:cubicBezTo>
                      <a:pt x="22" y="81"/>
                      <a:pt x="22" y="81"/>
                      <a:pt x="22" y="81"/>
                    </a:cubicBezTo>
                    <a:cubicBezTo>
                      <a:pt x="21" y="81"/>
                      <a:pt x="21" y="81"/>
                      <a:pt x="20" y="81"/>
                    </a:cubicBezTo>
                    <a:cubicBezTo>
                      <a:pt x="11" y="81"/>
                      <a:pt x="3" y="74"/>
                      <a:pt x="3" y="64"/>
                    </a:cubicBezTo>
                    <a:cubicBezTo>
                      <a:pt x="3" y="55"/>
                      <a:pt x="11" y="47"/>
                      <a:pt x="20" y="47"/>
                    </a:cubicBezTo>
                    <a:close/>
                    <a:moveTo>
                      <a:pt x="40" y="64"/>
                    </a:moveTo>
                    <a:cubicBezTo>
                      <a:pt x="40" y="62"/>
                      <a:pt x="39" y="59"/>
                      <a:pt x="38" y="57"/>
                    </a:cubicBezTo>
                    <a:cubicBezTo>
                      <a:pt x="38" y="57"/>
                      <a:pt x="38" y="57"/>
                      <a:pt x="38" y="56"/>
                    </a:cubicBezTo>
                    <a:cubicBezTo>
                      <a:pt x="38" y="56"/>
                      <a:pt x="38" y="55"/>
                      <a:pt x="37" y="55"/>
                    </a:cubicBezTo>
                    <a:cubicBezTo>
                      <a:pt x="37" y="54"/>
                      <a:pt x="37" y="54"/>
                      <a:pt x="37" y="53"/>
                    </a:cubicBezTo>
                    <a:cubicBezTo>
                      <a:pt x="36" y="53"/>
                      <a:pt x="36" y="53"/>
                      <a:pt x="36" y="53"/>
                    </a:cubicBezTo>
                    <a:cubicBezTo>
                      <a:pt x="36" y="53"/>
                      <a:pt x="36" y="52"/>
                      <a:pt x="35" y="52"/>
                    </a:cubicBezTo>
                    <a:cubicBezTo>
                      <a:pt x="34" y="50"/>
                      <a:pt x="31" y="48"/>
                      <a:pt x="29" y="47"/>
                    </a:cubicBezTo>
                    <a:cubicBezTo>
                      <a:pt x="28" y="46"/>
                      <a:pt x="28" y="46"/>
                      <a:pt x="27" y="46"/>
                    </a:cubicBezTo>
                    <a:cubicBezTo>
                      <a:pt x="27" y="46"/>
                      <a:pt x="26" y="45"/>
                      <a:pt x="25" y="45"/>
                    </a:cubicBezTo>
                    <a:cubicBezTo>
                      <a:pt x="25" y="45"/>
                      <a:pt x="24" y="45"/>
                      <a:pt x="24" y="45"/>
                    </a:cubicBezTo>
                    <a:cubicBezTo>
                      <a:pt x="23" y="45"/>
                      <a:pt x="22" y="45"/>
                      <a:pt x="22" y="45"/>
                    </a:cubicBezTo>
                    <a:cubicBezTo>
                      <a:pt x="17" y="44"/>
                      <a:pt x="11" y="46"/>
                      <a:pt x="7" y="49"/>
                    </a:cubicBezTo>
                    <a:cubicBezTo>
                      <a:pt x="7" y="49"/>
                      <a:pt x="6" y="50"/>
                      <a:pt x="6" y="50"/>
                    </a:cubicBezTo>
                    <a:cubicBezTo>
                      <a:pt x="7" y="48"/>
                      <a:pt x="9" y="45"/>
                      <a:pt x="12" y="43"/>
                    </a:cubicBezTo>
                    <a:cubicBezTo>
                      <a:pt x="15" y="41"/>
                      <a:pt x="19" y="39"/>
                      <a:pt x="23" y="39"/>
                    </a:cubicBezTo>
                    <a:cubicBezTo>
                      <a:pt x="24" y="39"/>
                      <a:pt x="24" y="38"/>
                      <a:pt x="24" y="38"/>
                    </a:cubicBezTo>
                    <a:cubicBezTo>
                      <a:pt x="24" y="37"/>
                      <a:pt x="24" y="37"/>
                      <a:pt x="24" y="37"/>
                    </a:cubicBezTo>
                    <a:cubicBezTo>
                      <a:pt x="23" y="33"/>
                      <a:pt x="22" y="30"/>
                      <a:pt x="22" y="27"/>
                    </a:cubicBezTo>
                    <a:cubicBezTo>
                      <a:pt x="22" y="24"/>
                      <a:pt x="22" y="21"/>
                      <a:pt x="24" y="18"/>
                    </a:cubicBezTo>
                    <a:cubicBezTo>
                      <a:pt x="24" y="19"/>
                      <a:pt x="23" y="19"/>
                      <a:pt x="23" y="20"/>
                    </a:cubicBezTo>
                    <a:cubicBezTo>
                      <a:pt x="23" y="25"/>
                      <a:pt x="26" y="30"/>
                      <a:pt x="29" y="34"/>
                    </a:cubicBezTo>
                    <a:cubicBezTo>
                      <a:pt x="30" y="34"/>
                      <a:pt x="30" y="35"/>
                      <a:pt x="31" y="35"/>
                    </a:cubicBezTo>
                    <a:cubicBezTo>
                      <a:pt x="31" y="35"/>
                      <a:pt x="32" y="36"/>
                      <a:pt x="32" y="36"/>
                    </a:cubicBezTo>
                    <a:cubicBezTo>
                      <a:pt x="33" y="36"/>
                      <a:pt x="33" y="37"/>
                      <a:pt x="34" y="37"/>
                    </a:cubicBezTo>
                    <a:cubicBezTo>
                      <a:pt x="40" y="40"/>
                      <a:pt x="47" y="40"/>
                      <a:pt x="53" y="37"/>
                    </a:cubicBezTo>
                    <a:cubicBezTo>
                      <a:pt x="53" y="37"/>
                      <a:pt x="54" y="36"/>
                      <a:pt x="54" y="36"/>
                    </a:cubicBezTo>
                    <a:cubicBezTo>
                      <a:pt x="55" y="36"/>
                      <a:pt x="55" y="35"/>
                      <a:pt x="56" y="35"/>
                    </a:cubicBezTo>
                    <a:cubicBezTo>
                      <a:pt x="56" y="35"/>
                      <a:pt x="57" y="34"/>
                      <a:pt x="57" y="34"/>
                    </a:cubicBezTo>
                    <a:cubicBezTo>
                      <a:pt x="61" y="30"/>
                      <a:pt x="63" y="25"/>
                      <a:pt x="63" y="20"/>
                    </a:cubicBezTo>
                    <a:cubicBezTo>
                      <a:pt x="63" y="19"/>
                      <a:pt x="63" y="19"/>
                      <a:pt x="63" y="18"/>
                    </a:cubicBezTo>
                    <a:cubicBezTo>
                      <a:pt x="64" y="21"/>
                      <a:pt x="65" y="24"/>
                      <a:pt x="65" y="27"/>
                    </a:cubicBezTo>
                    <a:cubicBezTo>
                      <a:pt x="65" y="30"/>
                      <a:pt x="64" y="33"/>
                      <a:pt x="62" y="37"/>
                    </a:cubicBezTo>
                    <a:cubicBezTo>
                      <a:pt x="62" y="37"/>
                      <a:pt x="62" y="37"/>
                      <a:pt x="62" y="38"/>
                    </a:cubicBezTo>
                    <a:cubicBezTo>
                      <a:pt x="63" y="38"/>
                      <a:pt x="63" y="39"/>
                      <a:pt x="63" y="39"/>
                    </a:cubicBezTo>
                    <a:cubicBezTo>
                      <a:pt x="68" y="39"/>
                      <a:pt x="72" y="41"/>
                      <a:pt x="75" y="43"/>
                    </a:cubicBezTo>
                    <a:cubicBezTo>
                      <a:pt x="77" y="45"/>
                      <a:pt x="79" y="48"/>
                      <a:pt x="81" y="50"/>
                    </a:cubicBezTo>
                    <a:cubicBezTo>
                      <a:pt x="80" y="50"/>
                      <a:pt x="80" y="49"/>
                      <a:pt x="79" y="49"/>
                    </a:cubicBezTo>
                    <a:cubicBezTo>
                      <a:pt x="75" y="46"/>
                      <a:pt x="70" y="44"/>
                      <a:pt x="65" y="45"/>
                    </a:cubicBezTo>
                    <a:cubicBezTo>
                      <a:pt x="64" y="45"/>
                      <a:pt x="64" y="45"/>
                      <a:pt x="63" y="45"/>
                    </a:cubicBezTo>
                    <a:cubicBezTo>
                      <a:pt x="62" y="45"/>
                      <a:pt x="62" y="45"/>
                      <a:pt x="61" y="45"/>
                    </a:cubicBezTo>
                    <a:cubicBezTo>
                      <a:pt x="61" y="45"/>
                      <a:pt x="60" y="46"/>
                      <a:pt x="59" y="46"/>
                    </a:cubicBezTo>
                    <a:cubicBezTo>
                      <a:pt x="59" y="46"/>
                      <a:pt x="58" y="46"/>
                      <a:pt x="58" y="47"/>
                    </a:cubicBezTo>
                    <a:cubicBezTo>
                      <a:pt x="55" y="48"/>
                      <a:pt x="53" y="50"/>
                      <a:pt x="51" y="52"/>
                    </a:cubicBezTo>
                    <a:cubicBezTo>
                      <a:pt x="49" y="55"/>
                      <a:pt x="47" y="58"/>
                      <a:pt x="47" y="62"/>
                    </a:cubicBezTo>
                    <a:cubicBezTo>
                      <a:pt x="47" y="63"/>
                      <a:pt x="47" y="63"/>
                      <a:pt x="47" y="64"/>
                    </a:cubicBezTo>
                    <a:cubicBezTo>
                      <a:pt x="47" y="64"/>
                      <a:pt x="47" y="65"/>
                      <a:pt x="47" y="66"/>
                    </a:cubicBezTo>
                    <a:cubicBezTo>
                      <a:pt x="47" y="66"/>
                      <a:pt x="47" y="67"/>
                      <a:pt x="47" y="67"/>
                    </a:cubicBezTo>
                    <a:cubicBezTo>
                      <a:pt x="48" y="72"/>
                      <a:pt x="50" y="77"/>
                      <a:pt x="54" y="80"/>
                    </a:cubicBezTo>
                    <a:cubicBezTo>
                      <a:pt x="55" y="80"/>
                      <a:pt x="55" y="80"/>
                      <a:pt x="55" y="81"/>
                    </a:cubicBezTo>
                    <a:cubicBezTo>
                      <a:pt x="53" y="80"/>
                      <a:pt x="50" y="79"/>
                      <a:pt x="48" y="77"/>
                    </a:cubicBezTo>
                    <a:cubicBezTo>
                      <a:pt x="47" y="76"/>
                      <a:pt x="45" y="75"/>
                      <a:pt x="44" y="73"/>
                    </a:cubicBezTo>
                    <a:cubicBezTo>
                      <a:pt x="44" y="73"/>
                      <a:pt x="43" y="73"/>
                      <a:pt x="42" y="73"/>
                    </a:cubicBezTo>
                    <a:cubicBezTo>
                      <a:pt x="41" y="75"/>
                      <a:pt x="40" y="76"/>
                      <a:pt x="39" y="77"/>
                    </a:cubicBezTo>
                    <a:cubicBezTo>
                      <a:pt x="37" y="79"/>
                      <a:pt x="34" y="80"/>
                      <a:pt x="31" y="81"/>
                    </a:cubicBezTo>
                    <a:cubicBezTo>
                      <a:pt x="37" y="77"/>
                      <a:pt x="40" y="71"/>
                      <a:pt x="40" y="64"/>
                    </a:cubicBezTo>
                    <a:close/>
                    <a:moveTo>
                      <a:pt x="29" y="10"/>
                    </a:moveTo>
                    <a:cubicBezTo>
                      <a:pt x="32" y="5"/>
                      <a:pt x="38" y="2"/>
                      <a:pt x="43" y="2"/>
                    </a:cubicBezTo>
                    <a:cubicBezTo>
                      <a:pt x="49" y="2"/>
                      <a:pt x="54" y="5"/>
                      <a:pt x="58" y="10"/>
                    </a:cubicBezTo>
                    <a:cubicBezTo>
                      <a:pt x="58" y="10"/>
                      <a:pt x="58" y="10"/>
                      <a:pt x="58" y="10"/>
                    </a:cubicBezTo>
                    <a:cubicBezTo>
                      <a:pt x="58" y="11"/>
                      <a:pt x="58" y="12"/>
                      <a:pt x="59" y="13"/>
                    </a:cubicBezTo>
                    <a:cubicBezTo>
                      <a:pt x="59" y="13"/>
                      <a:pt x="59" y="13"/>
                      <a:pt x="59" y="13"/>
                    </a:cubicBezTo>
                    <a:cubicBezTo>
                      <a:pt x="59" y="13"/>
                      <a:pt x="59" y="14"/>
                      <a:pt x="60" y="15"/>
                    </a:cubicBezTo>
                    <a:cubicBezTo>
                      <a:pt x="60" y="15"/>
                      <a:pt x="60" y="15"/>
                      <a:pt x="60" y="16"/>
                    </a:cubicBezTo>
                    <a:cubicBezTo>
                      <a:pt x="60" y="16"/>
                      <a:pt x="60" y="16"/>
                      <a:pt x="60" y="16"/>
                    </a:cubicBezTo>
                    <a:cubicBezTo>
                      <a:pt x="60" y="17"/>
                      <a:pt x="60" y="18"/>
                      <a:pt x="60" y="20"/>
                    </a:cubicBezTo>
                    <a:cubicBezTo>
                      <a:pt x="60" y="24"/>
                      <a:pt x="59" y="28"/>
                      <a:pt x="55" y="31"/>
                    </a:cubicBezTo>
                    <a:cubicBezTo>
                      <a:pt x="52" y="29"/>
                      <a:pt x="48" y="28"/>
                      <a:pt x="43" y="28"/>
                    </a:cubicBezTo>
                    <a:cubicBezTo>
                      <a:pt x="39" y="28"/>
                      <a:pt x="35" y="29"/>
                      <a:pt x="31" y="31"/>
                    </a:cubicBezTo>
                    <a:cubicBezTo>
                      <a:pt x="28" y="28"/>
                      <a:pt x="26" y="24"/>
                      <a:pt x="26" y="20"/>
                    </a:cubicBezTo>
                    <a:cubicBezTo>
                      <a:pt x="26" y="18"/>
                      <a:pt x="26" y="17"/>
                      <a:pt x="27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7" y="15"/>
                      <a:pt x="27" y="15"/>
                      <a:pt x="27" y="15"/>
                    </a:cubicBezTo>
                    <a:cubicBezTo>
                      <a:pt x="27" y="14"/>
                      <a:pt x="28" y="13"/>
                      <a:pt x="28" y="13"/>
                    </a:cubicBezTo>
                    <a:cubicBezTo>
                      <a:pt x="28" y="12"/>
                      <a:pt x="29" y="11"/>
                      <a:pt x="29" y="10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29" y="10"/>
                      <a:pt x="29" y="10"/>
                      <a:pt x="29" y="10"/>
                    </a:cubicBezTo>
                    <a:close/>
                    <a:moveTo>
                      <a:pt x="43" y="30"/>
                    </a:moveTo>
                    <a:cubicBezTo>
                      <a:pt x="47" y="30"/>
                      <a:pt x="50" y="31"/>
                      <a:pt x="53" y="33"/>
                    </a:cubicBezTo>
                    <a:cubicBezTo>
                      <a:pt x="50" y="35"/>
                      <a:pt x="47" y="37"/>
                      <a:pt x="43" y="37"/>
                    </a:cubicBezTo>
                    <a:cubicBezTo>
                      <a:pt x="40" y="37"/>
                      <a:pt x="36" y="35"/>
                      <a:pt x="33" y="33"/>
                    </a:cubicBezTo>
                    <a:cubicBezTo>
                      <a:pt x="36" y="31"/>
                      <a:pt x="40" y="30"/>
                      <a:pt x="43" y="30"/>
                    </a:cubicBezTo>
                    <a:close/>
                    <a:moveTo>
                      <a:pt x="61" y="48"/>
                    </a:moveTo>
                    <a:cubicBezTo>
                      <a:pt x="61" y="56"/>
                      <a:pt x="56" y="62"/>
                      <a:pt x="50" y="64"/>
                    </a:cubicBezTo>
                    <a:cubicBezTo>
                      <a:pt x="50" y="57"/>
                      <a:pt x="54" y="51"/>
                      <a:pt x="61" y="48"/>
                    </a:cubicBezTo>
                    <a:close/>
                    <a:moveTo>
                      <a:pt x="59" y="80"/>
                    </a:moveTo>
                    <a:cubicBezTo>
                      <a:pt x="54" y="77"/>
                      <a:pt x="51" y="72"/>
                      <a:pt x="50" y="67"/>
                    </a:cubicBezTo>
                    <a:cubicBezTo>
                      <a:pt x="58" y="64"/>
                      <a:pt x="64" y="57"/>
                      <a:pt x="64" y="48"/>
                    </a:cubicBezTo>
                    <a:cubicBezTo>
                      <a:pt x="64" y="48"/>
                      <a:pt x="64" y="48"/>
                      <a:pt x="64" y="48"/>
                    </a:cubicBezTo>
                    <a:cubicBezTo>
                      <a:pt x="65" y="48"/>
                      <a:pt x="66" y="47"/>
                      <a:pt x="67" y="47"/>
                    </a:cubicBezTo>
                    <a:cubicBezTo>
                      <a:pt x="73" y="47"/>
                      <a:pt x="80" y="51"/>
                      <a:pt x="82" y="58"/>
                    </a:cubicBezTo>
                    <a:cubicBezTo>
                      <a:pt x="82" y="58"/>
                      <a:pt x="83" y="58"/>
                      <a:pt x="83" y="59"/>
                    </a:cubicBezTo>
                    <a:cubicBezTo>
                      <a:pt x="83" y="61"/>
                      <a:pt x="84" y="62"/>
                      <a:pt x="84" y="64"/>
                    </a:cubicBezTo>
                    <a:cubicBezTo>
                      <a:pt x="84" y="74"/>
                      <a:pt x="76" y="81"/>
                      <a:pt x="67" y="81"/>
                    </a:cubicBezTo>
                    <a:cubicBezTo>
                      <a:pt x="66" y="81"/>
                      <a:pt x="66" y="81"/>
                      <a:pt x="65" y="81"/>
                    </a:cubicBezTo>
                    <a:cubicBezTo>
                      <a:pt x="65" y="81"/>
                      <a:pt x="65" y="81"/>
                      <a:pt x="65" y="81"/>
                    </a:cubicBezTo>
                    <a:cubicBezTo>
                      <a:pt x="64" y="81"/>
                      <a:pt x="63" y="81"/>
                      <a:pt x="62" y="81"/>
                    </a:cubicBezTo>
                    <a:cubicBezTo>
                      <a:pt x="62" y="81"/>
                      <a:pt x="61" y="80"/>
                      <a:pt x="60" y="80"/>
                    </a:cubicBezTo>
                    <a:cubicBezTo>
                      <a:pt x="60" y="80"/>
                      <a:pt x="60" y="80"/>
                      <a:pt x="60" y="80"/>
                    </a:cubicBezTo>
                    <a:cubicBezTo>
                      <a:pt x="59" y="80"/>
                      <a:pt x="59" y="80"/>
                      <a:pt x="59" y="8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86" name="Oval 1185">
              <a:extLst>
                <a:ext uri="{FF2B5EF4-FFF2-40B4-BE49-F238E27FC236}">
                  <a16:creationId xmlns:a16="http://schemas.microsoft.com/office/drawing/2014/main" xmlns="" id="{D39E2088-190E-460A-8D7C-1623FB80DB08}"/>
                </a:ext>
              </a:extLst>
            </p:cNvPr>
            <p:cNvSpPr/>
            <p:nvPr/>
          </p:nvSpPr>
          <p:spPr>
            <a:xfrm>
              <a:off x="6029974" y="1975038"/>
              <a:ext cx="86801" cy="86801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rgbClr val="FFFFF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xmlns="" id="{AF7EA883-EF94-4C6B-A4F3-C8286FC6AFB2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5423630" y="3041281"/>
            <a:ext cx="349669" cy="540180"/>
            <a:chOff x="4852130" y="3034931"/>
            <a:chExt cx="349669" cy="540180"/>
          </a:xfrm>
        </p:grpSpPr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xmlns="" id="{5A99F40C-B9BB-40EF-86DF-C5B77572FA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>
              <a:extLst>
                <a:ext uri="{96DAC541-7B7A-43D3-8B79-37D633B846F1}">
                  <asvg:svgBlip xmlns:asvg="http://schemas.microsoft.com/office/drawing/2016/SVG/main" xmlns="" r:embed="rId42"/>
                </a:ext>
              </a:extLst>
            </a:blip>
            <a:stretch>
              <a:fillRect/>
            </a:stretch>
          </p:blipFill>
          <p:spPr>
            <a:xfrm>
              <a:off x="4852130" y="3157764"/>
              <a:ext cx="349669" cy="417347"/>
            </a:xfrm>
            <a:prstGeom prst="rect">
              <a:avLst/>
            </a:prstGeom>
          </p:spPr>
        </p:pic>
        <p:sp>
          <p:nvSpPr>
            <p:cNvPr id="1195" name="Oval 1194">
              <a:extLst>
                <a:ext uri="{FF2B5EF4-FFF2-40B4-BE49-F238E27FC236}">
                  <a16:creationId xmlns:a16="http://schemas.microsoft.com/office/drawing/2014/main" xmlns="" id="{AC2487F4-2EDD-40EA-8016-BAC7270B4DAC}"/>
                </a:ext>
              </a:extLst>
            </p:cNvPr>
            <p:cNvSpPr/>
            <p:nvPr/>
          </p:nvSpPr>
          <p:spPr>
            <a:xfrm rot="10800000">
              <a:off x="4979360" y="3034931"/>
              <a:ext cx="86801" cy="86801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rgbClr val="FFFFF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xmlns="" id="{436E4C28-D728-4ED7-8564-7DE5C2ABB4C5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7530911" y="3054153"/>
            <a:ext cx="344666" cy="542342"/>
            <a:chOff x="5343167" y="3034931"/>
            <a:chExt cx="344666" cy="542342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xmlns="" id="{DF901BDD-88EE-4B90-AABA-99349D4ACD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>
              <a:extLst>
                <a:ext uri="{96DAC541-7B7A-43D3-8B79-37D633B846F1}">
                  <asvg:svgBlip xmlns:asvg="http://schemas.microsoft.com/office/drawing/2016/SVG/main" xmlns="" r:embed="rId44"/>
                </a:ext>
              </a:extLst>
            </a:blip>
            <a:stretch>
              <a:fillRect/>
            </a:stretch>
          </p:blipFill>
          <p:spPr>
            <a:xfrm>
              <a:off x="5343167" y="3165897"/>
              <a:ext cx="344666" cy="411376"/>
            </a:xfrm>
            <a:prstGeom prst="rect">
              <a:avLst/>
            </a:prstGeom>
          </p:spPr>
        </p:pic>
        <p:sp>
          <p:nvSpPr>
            <p:cNvPr id="1197" name="Oval 1196">
              <a:extLst>
                <a:ext uri="{FF2B5EF4-FFF2-40B4-BE49-F238E27FC236}">
                  <a16:creationId xmlns:a16="http://schemas.microsoft.com/office/drawing/2014/main" xmlns="" id="{B9059D2B-28E7-4EC3-81C1-25545D44E5F0}"/>
                </a:ext>
              </a:extLst>
            </p:cNvPr>
            <p:cNvSpPr/>
            <p:nvPr/>
          </p:nvSpPr>
          <p:spPr>
            <a:xfrm rot="10800000">
              <a:off x="5468310" y="3034931"/>
              <a:ext cx="86801" cy="86801"/>
            </a:xfrm>
            <a:prstGeom prst="ellipse">
              <a:avLst/>
            </a:prstGeom>
            <a:solidFill>
              <a:schemeClr val="accent6"/>
            </a:solidFill>
            <a:ln>
              <a:solidFill>
                <a:srgbClr val="FFFFF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1BBC8824-4071-472B-B293-3BFA88668965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3812478" y="2983247"/>
            <a:ext cx="14786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 smtClean="0">
                <a:solidFill>
                  <a:srgbClr val="282828"/>
                </a:solidFill>
                <a:latin typeface="+mn-lt"/>
              </a:rPr>
              <a:t>Next-Gen Firewall with AMP</a:t>
            </a:r>
            <a:endParaRPr lang="en-US" dirty="0">
              <a:latin typeface="+mn-lt"/>
            </a:endParaRPr>
          </a:p>
        </p:txBody>
      </p:sp>
      <p:sp>
        <p:nvSpPr>
          <p:cNvPr id="1721" name="Rectangle 1720">
            <a:extLst>
              <a:ext uri="{FF2B5EF4-FFF2-40B4-BE49-F238E27FC236}">
                <a16:creationId xmlns:a16="http://schemas.microsoft.com/office/drawing/2014/main" xmlns="" id="{B550117B-3A6A-40F8-9C40-994D8915AB5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4653665" y="1701968"/>
            <a:ext cx="1890986" cy="461665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/>
            <a:r>
              <a:rPr lang="en-US" sz="1200" dirty="0" smtClean="0">
                <a:solidFill>
                  <a:srgbClr val="282828"/>
                </a:solidFill>
                <a:latin typeface="+mn-lt"/>
              </a:rPr>
              <a:t>Next-Gen IPS </a:t>
            </a:r>
            <a:br>
              <a:rPr lang="en-US" sz="1200" dirty="0" smtClean="0">
                <a:solidFill>
                  <a:srgbClr val="282828"/>
                </a:solidFill>
                <a:latin typeface="+mn-lt"/>
              </a:rPr>
            </a:br>
            <a:r>
              <a:rPr lang="en-US" sz="1200" dirty="0" smtClean="0">
                <a:solidFill>
                  <a:srgbClr val="282828"/>
                </a:solidFill>
                <a:latin typeface="+mn-lt"/>
              </a:rPr>
              <a:t>with AMP</a:t>
            </a:r>
            <a:endParaRPr lang="en-US" dirty="0">
              <a:latin typeface="+mn-lt"/>
            </a:endParaRPr>
          </a:p>
        </p:txBody>
      </p:sp>
      <p:sp>
        <p:nvSpPr>
          <p:cNvPr id="1722" name="Rectangle 1721">
            <a:extLst>
              <a:ext uri="{FF2B5EF4-FFF2-40B4-BE49-F238E27FC236}">
                <a16:creationId xmlns:a16="http://schemas.microsoft.com/office/drawing/2014/main" xmlns="" id="{07DBB5C8-9268-44CE-8976-187D8B54A0CC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5907220" y="2983247"/>
            <a:ext cx="14786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 err="1">
                <a:solidFill>
                  <a:srgbClr val="282828"/>
                </a:solidFill>
                <a:latin typeface="+mn-lt"/>
              </a:rPr>
              <a:t>Stealthwatch</a:t>
            </a:r>
            <a:endParaRPr lang="en-US" dirty="0">
              <a:latin typeface="+mn-lt"/>
            </a:endParaRPr>
          </a:p>
        </p:txBody>
      </p:sp>
      <p:sp>
        <p:nvSpPr>
          <p:cNvPr id="1723" name="Rectangle 1722">
            <a:extLst>
              <a:ext uri="{FF2B5EF4-FFF2-40B4-BE49-F238E27FC236}">
                <a16:creationId xmlns:a16="http://schemas.microsoft.com/office/drawing/2014/main" xmlns="" id="{598EF67E-A605-44B4-B40A-2990D6E2D7DF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6993219" y="1701968"/>
            <a:ext cx="1565321" cy="461665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/>
            <a:r>
              <a:rPr lang="en-US" sz="1200" dirty="0" smtClean="0">
                <a:solidFill>
                  <a:srgbClr val="282828"/>
                </a:solidFill>
                <a:latin typeface="+mn-lt"/>
              </a:rPr>
              <a:t>Next-Gen Firewall with </a:t>
            </a:r>
            <a:r>
              <a:rPr lang="en-US" sz="1200" dirty="0" err="1" smtClean="0">
                <a:solidFill>
                  <a:srgbClr val="282828"/>
                </a:solidFill>
                <a:latin typeface="+mn-lt"/>
              </a:rPr>
              <a:t>Radware</a:t>
            </a:r>
            <a:r>
              <a:rPr lang="en-US" sz="1200" dirty="0" smtClean="0">
                <a:solidFill>
                  <a:srgbClr val="282828"/>
                </a:solidFill>
                <a:latin typeface="+mn-lt"/>
              </a:rPr>
              <a:t> </a:t>
            </a:r>
            <a:r>
              <a:rPr lang="en-US" sz="1200" dirty="0">
                <a:solidFill>
                  <a:srgbClr val="282828"/>
                </a:solidFill>
                <a:latin typeface="+mn-lt"/>
              </a:rPr>
              <a:t>DDoS </a:t>
            </a:r>
            <a:endParaRPr lang="en-US" dirty="0">
              <a:latin typeface="+mn-lt"/>
            </a:endParaRPr>
          </a:p>
        </p:txBody>
      </p:sp>
      <p:grpSp>
        <p:nvGrpSpPr>
          <p:cNvPr id="1155" name="Group 1154"/>
          <p:cNvGrpSpPr/>
          <p:nvPr/>
        </p:nvGrpSpPr>
        <p:grpSpPr>
          <a:xfrm>
            <a:off x="7605282" y="4302688"/>
            <a:ext cx="1226228" cy="567685"/>
            <a:chOff x="7605282" y="4302688"/>
            <a:chExt cx="1226228" cy="567685"/>
          </a:xfrm>
        </p:grpSpPr>
        <p:grpSp>
          <p:nvGrpSpPr>
            <p:cNvPr id="1156" name="Group 1155"/>
            <p:cNvGrpSpPr/>
            <p:nvPr/>
          </p:nvGrpSpPr>
          <p:grpSpPr>
            <a:xfrm>
              <a:off x="7605282" y="4302688"/>
              <a:ext cx="1224049" cy="269045"/>
              <a:chOff x="5683793" y="4534103"/>
              <a:chExt cx="1224049" cy="269045"/>
            </a:xfrm>
          </p:grpSpPr>
          <p:sp>
            <p:nvSpPr>
              <p:cNvPr id="1160" name="Rectangle: Rounded Corners 30">
                <a:extLst>
                  <a:ext uri="{FF2B5EF4-FFF2-40B4-BE49-F238E27FC236}">
                    <a16:creationId xmlns:a16="http://schemas.microsoft.com/office/drawing/2014/main" xmlns="" id="{BDD1837A-886D-40A3-8B58-B970F3C1C40C}"/>
                  </a:ext>
                </a:extLst>
              </p:cNvPr>
              <p:cNvSpPr/>
              <p:nvPr/>
            </p:nvSpPr>
            <p:spPr>
              <a:xfrm>
                <a:off x="5683793" y="4534103"/>
                <a:ext cx="1224049" cy="269045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161" name="Rectangle 1160">
                <a:extLst>
                  <a:ext uri="{FF2B5EF4-FFF2-40B4-BE49-F238E27FC236}">
                    <a16:creationId xmlns:a16="http://schemas.microsoft.com/office/drawing/2014/main" xmlns="" id="{67B3A002-29DF-4AAC-B80F-4975850276B9}"/>
                  </a:ext>
                </a:extLst>
              </p:cNvPr>
              <p:cNvSpPr/>
              <p:nvPr/>
            </p:nvSpPr>
            <p:spPr>
              <a:xfrm>
                <a:off x="5711398" y="4535475"/>
                <a:ext cx="808235" cy="261610"/>
              </a:xfrm>
              <a:prstGeom prst="rect">
                <a:avLst/>
              </a:prstGeom>
              <a:noFill/>
            </p:spPr>
            <p:txBody>
              <a:bodyPr wrap="none" anchor="ctr">
                <a:spAutoFit/>
              </a:bodyPr>
              <a:lstStyle/>
              <a:p>
                <a:r>
                  <a:rPr lang="en-US" sz="1100" dirty="0">
                    <a:solidFill>
                      <a:schemeClr val="bg2"/>
                    </a:solidFill>
                    <a:latin typeface="CiscoSans ExtraLight" charset="0"/>
                    <a:ea typeface="CiscoSans ExtraLight" charset="0"/>
                    <a:cs typeface="CiscoSans ExtraLight" charset="0"/>
                  </a:rPr>
                  <a:t>Cisco </a:t>
                </a:r>
                <a:r>
                  <a:rPr lang="en-US" sz="1100" dirty="0" smtClean="0">
                    <a:solidFill>
                      <a:schemeClr val="bg2"/>
                    </a:solidFill>
                    <a:latin typeface="CiscoSans ExtraLight" charset="0"/>
                    <a:ea typeface="CiscoSans ExtraLight" charset="0"/>
                    <a:cs typeface="CiscoSans ExtraLight" charset="0"/>
                  </a:rPr>
                  <a:t>ACI</a:t>
                </a:r>
                <a:endParaRPr lang="en-US" sz="1400" dirty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grpSp>
          <p:nvGrpSpPr>
            <p:cNvPr id="1157" name="Group 1156"/>
            <p:cNvGrpSpPr/>
            <p:nvPr/>
          </p:nvGrpSpPr>
          <p:grpSpPr>
            <a:xfrm>
              <a:off x="7607461" y="4601328"/>
              <a:ext cx="1224049" cy="269045"/>
              <a:chOff x="7607461" y="4601328"/>
              <a:chExt cx="1224049" cy="269045"/>
            </a:xfrm>
          </p:grpSpPr>
          <p:sp>
            <p:nvSpPr>
              <p:cNvPr id="1158" name="Rectangle: Rounded Corners 30">
                <a:extLst>
                  <a:ext uri="{FF2B5EF4-FFF2-40B4-BE49-F238E27FC236}">
                    <a16:creationId xmlns:a16="http://schemas.microsoft.com/office/drawing/2014/main" xmlns="" id="{BDD1837A-886D-40A3-8B58-B970F3C1C40C}"/>
                  </a:ext>
                </a:extLst>
              </p:cNvPr>
              <p:cNvSpPr/>
              <p:nvPr/>
            </p:nvSpPr>
            <p:spPr>
              <a:xfrm>
                <a:off x="7607461" y="4601328"/>
                <a:ext cx="1224049" cy="269045"/>
              </a:xfrm>
              <a:prstGeom prst="roundRect">
                <a:avLst>
                  <a:gd name="adj" fmla="val 50000"/>
                </a:avLst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159" name="Rectangle 1158">
                <a:extLst>
                  <a:ext uri="{FF2B5EF4-FFF2-40B4-BE49-F238E27FC236}">
                    <a16:creationId xmlns:a16="http://schemas.microsoft.com/office/drawing/2014/main" xmlns="" id="{67B3A002-29DF-4AAC-B80F-4975850276B9}"/>
                  </a:ext>
                </a:extLst>
              </p:cNvPr>
              <p:cNvSpPr/>
              <p:nvPr/>
            </p:nvSpPr>
            <p:spPr>
              <a:xfrm>
                <a:off x="7634168" y="4607575"/>
                <a:ext cx="1184940" cy="26161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r>
                  <a:rPr lang="en-US" sz="1100" dirty="0" smtClean="0">
                    <a:solidFill>
                      <a:schemeClr val="bg2"/>
                    </a:solidFill>
                    <a:latin typeface="CiscoSans ExtraLight" charset="0"/>
                    <a:ea typeface="CiscoSans ExtraLight" charset="0"/>
                    <a:cs typeface="CiscoSans ExtraLight" charset="0"/>
                  </a:rPr>
                  <a:t>Cisco </a:t>
                </a:r>
                <a:r>
                  <a:rPr lang="en-US" sz="1100" dirty="0" err="1">
                    <a:solidFill>
                      <a:schemeClr val="bg2"/>
                    </a:solidFill>
                    <a:latin typeface="CiscoSans ExtraLight" charset="0"/>
                    <a:ea typeface="CiscoSans ExtraLight" charset="0"/>
                    <a:cs typeface="CiscoSans ExtraLight" charset="0"/>
                  </a:rPr>
                  <a:t>Tetration</a:t>
                </a:r>
                <a:r>
                  <a:rPr lang="en-US" sz="1100" dirty="0">
                    <a:solidFill>
                      <a:schemeClr val="bg2"/>
                    </a:solidFill>
                    <a:latin typeface="CiscoSans ExtraLight" charset="0"/>
                    <a:ea typeface="CiscoSans ExtraLight" charset="0"/>
                    <a:cs typeface="CiscoSans ExtraLight" charset="0"/>
                  </a:rPr>
                  <a:t> </a:t>
                </a:r>
                <a:endParaRPr lang="en-US" sz="1400" dirty="0">
                  <a:solidFill>
                    <a:schemeClr val="bg2"/>
                  </a:solidFill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80425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emph" presetSubtype="0" repeatCount="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9" dur="1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path" presetSubtype="0" ac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-2.59259E-6 L 0.01996 -0.00092 " pathEditMode="relative" rAng="0" ptsTypes="AA">
                                      <p:cBhvr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90" y="-62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63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11111E-6 -2.59259E-6 L 0.02101 -0.00092 " pathEditMode="relative" rAng="0" ptsTypes="AA">
                                      <p:cBhvr>
                                        <p:cTn id="13" dur="75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42" y="-62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5" presetClass="emph" presetSubtype="0" repeatCount="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8" dur="1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63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-0.02098 L -2.5E-6 4.5679E-6 " pathEditMode="relative" rAng="0" ptsTypes="AA">
                                      <p:cBhvr>
                                        <p:cTn id="2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481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5E-6 4.5679E-6 L -2.5E-6 -0.02099 " pathEditMode="relative" rAng="0" ptsTypes="AA">
                                      <p:cBhvr>
                                        <p:cTn id="22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049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5" presetClass="emph" presetSubtype="0" repeatCount="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27" dur="1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63" presetClass="path" presetSubtype="0" ac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1.7284E-6 L -0.00989 0.01821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03" y="895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42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77778E-6 1.7284E-6 L -0.00729 0.01759 " pathEditMode="relative" rAng="0" ptsTypes="AA">
                                      <p:cBhvr>
                                        <p:cTn id="31" dur="750" spd="-100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65" y="864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5" presetClass="emph" presetSubtype="0" repeatCount="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36" dur="1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path" presetSubtype="0" ac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416 -0.01327 L 0.0059 -0.03549 " pathEditMode="relative" rAng="0" ptsTypes="AA">
                                      <p:cBhvr>
                                        <p:cTn id="3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7" y="-1111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63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00243 -0.00154 L 0.00607 -0.03549 " pathEditMode="relative" rAng="0" ptsTypes="AA">
                                      <p:cBhvr>
                                        <p:cTn id="40" dur="75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4" y="-169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250"/>
                            </p:stCondLst>
                            <p:childTnLst>
                              <p:par>
                                <p:cTn id="42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repeatCount="indefinite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1000"/>
                                        <p:tgtEl>
                                          <p:spTgt spid="166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6" presetClass="emph" presetSubtype="0" repeatCount="indefinite" decel="100000" fill="hold" grpId="2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48" dur="1000" fill="hold"/>
                                        <p:tgtEl>
                                          <p:spTgt spid="166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xit" presetSubtype="0" repeatCount="indefinite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1000"/>
                                        <p:tgtEl>
                                          <p:spTgt spid="16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6" presetClass="emph" presetSubtype="0" repeatCount="indefinite" decel="100000" fill="hold" grpId="2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55" dur="1000" fill="hold"/>
                                        <p:tgtEl>
                                          <p:spTgt spid="166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repeatCount="indefinite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1000"/>
                                        <p:tgtEl>
                                          <p:spTgt spid="16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6" presetClass="emph" presetSubtype="0" repeatCount="indefinite" decel="100000" fill="hold" grpId="2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62" dur="1000" fill="hold"/>
                                        <p:tgtEl>
                                          <p:spTgt spid="166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repeatCount="indefinite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1000"/>
                                        <p:tgtEl>
                                          <p:spTgt spid="16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6" presetClass="emph" presetSubtype="0" repeatCount="indefinite" decel="100000" fill="hold" grpId="2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69" dur="1000" fill="hold"/>
                                        <p:tgtEl>
                                          <p:spTgt spid="167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6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35" presetClass="emph" presetSubtype="0" repeatCount="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74" dur="100" fill="hold"/>
                                        <p:tgtEl>
                                          <p:spTgt spid="16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6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35" presetClass="emph" presetSubtype="0" repeatCount="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79" dur="100" fill="hold"/>
                                        <p:tgtEl>
                                          <p:spTgt spid="16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6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35" presetClass="emph" presetSubtype="0" repeatCount="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84" dur="100" fill="hold"/>
                                        <p:tgtEl>
                                          <p:spTgt spid="16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6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35" presetClass="emph" presetSubtype="0" repeatCount="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89" dur="100" fill="hold"/>
                                        <p:tgtEl>
                                          <p:spTgt spid="16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17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50"/>
                                        <p:tgtEl>
                                          <p:spTgt spid="16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5" dur="10" fill="hold"/>
                                        <p:tgtEl>
                                          <p:spTgt spid="1678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106" presetID="6" presetClass="emph" presetSubtype="0" decel="10000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Scale>
                                      <p:cBhvr>
                                        <p:cTn id="107" dur="990" fill="hold"/>
                                        <p:tgtEl>
                                          <p:spTgt spid="1678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42" presetClass="path" presetSubtype="0" decel="100000" fill="hold" grpId="1" nodeType="withEffect">
                                  <p:stCondLst>
                                    <p:cond delay="10"/>
                                  </p:stCondLst>
                                  <p:childTnLst>
                                    <p:animMotion origin="layout" path="M -3.05556E-6 7.40741E-7 L -3.05556E-6 0.05895 " pathEditMode="relative" rAng="0" ptsTypes="AA">
                                      <p:cBhvr>
                                        <p:cTn id="115" dur="10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932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250"/>
                                        <p:tgtEl>
                                          <p:spTgt spid="16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0" dur="10" fill="hold"/>
                                        <p:tgtEl>
                                          <p:spTgt spid="1673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121" presetID="6" presetClass="emph" presetSubtype="0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Scale>
                                      <p:cBhvr>
                                        <p:cTn id="122" dur="1000" fill="hold"/>
                                        <p:tgtEl>
                                          <p:spTgt spid="1673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17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42" presetClass="path" presetSubtype="0" decel="100000" fill="hold" grpId="1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3.61111E-6 2.71605E-6 L 3.61111E-6 -0.06543 " pathEditMode="relative" rAng="0" ptsTypes="AA">
                                      <p:cBhvr>
                                        <p:cTn id="130" dur="1000" spd="-100000" fill="hold"/>
                                        <p:tgtEl>
                                          <p:spTgt spid="17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272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250"/>
                                        <p:tgtEl>
                                          <p:spTgt spid="16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35" dur="10" fill="hold"/>
                                        <p:tgtEl>
                                          <p:spTgt spid="1693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136" presetID="6" presetClass="emph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137" dur="1000" fill="hold"/>
                                        <p:tgtEl>
                                          <p:spTgt spid="1693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1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42" presetClass="path" presetSubtype="0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3.05556E-6 7.40741E-7 L -3.05556E-6 0.05895 " pathEditMode="relative" rAng="0" ptsTypes="AA">
                                      <p:cBhvr>
                                        <p:cTn id="145" dur="1000" spd="-100000" fill="hold"/>
                                        <p:tgtEl>
                                          <p:spTgt spid="17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932"/>
                                    </p:animMotion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250"/>
                                        <p:tgtEl>
                                          <p:spTgt spid="16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50" dur="10" fill="hold"/>
                                        <p:tgtEl>
                                          <p:spTgt spid="1683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151" presetID="6" presetClass="emph" presetSubtype="0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animScale>
                                      <p:cBhvr>
                                        <p:cTn id="152" dur="1000" fill="hold"/>
                                        <p:tgtEl>
                                          <p:spTgt spid="1683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17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42" presetClass="path" presetSubtype="0" decel="100000" fill="hold" grpId="1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2.77778E-6 2.71605E-6 L 2.77778E-6 -0.06543 " pathEditMode="relative" rAng="0" ptsTypes="AA">
                                      <p:cBhvr>
                                        <p:cTn id="160" dur="1000" spd="-100000" fill="hold"/>
                                        <p:tgtEl>
                                          <p:spTgt spid="17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272"/>
                                    </p:animMotion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0" presetClass="exit" presetSubtype="0" repeatCount="indefinite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4" dur="1000"/>
                                        <p:tgtEl>
                                          <p:spTgt spid="17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6" presetID="6" presetClass="emph" presetSubtype="0" repeatCount="indefinite" decel="100000" fill="hold" grpId="2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167" dur="1000" fill="hold"/>
                                        <p:tgtEl>
                                          <p:spTgt spid="1727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68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0" presetID="10" presetClass="exit" presetSubtype="0" repeatCount="indefinite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1" dur="1000"/>
                                        <p:tgtEl>
                                          <p:spTgt spid="17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6" presetClass="emph" presetSubtype="0" repeatCount="indefinite" decel="100000" fill="hold" grpId="2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174" dur="1000" fill="hold"/>
                                        <p:tgtEl>
                                          <p:spTgt spid="1728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0" presetClass="exit" presetSubtype="0" repeatCount="indefinite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8" dur="1000"/>
                                        <p:tgtEl>
                                          <p:spTgt spid="17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0" presetID="6" presetClass="emph" presetSubtype="0" repeatCount="indefinite" decel="100000" fill="hold" grpId="2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181" dur="1000" fill="hold"/>
                                        <p:tgtEl>
                                          <p:spTgt spid="172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182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4" presetID="10" presetClass="exit" presetSubtype="0" repeatCount="indefinite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5" dur="1000"/>
                                        <p:tgtEl>
                                          <p:spTgt spid="17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6" presetClass="emph" presetSubtype="0" repeatCount="indefinite" decel="100000" fill="hold" grpId="2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188" dur="1000" fill="hold"/>
                                        <p:tgtEl>
                                          <p:spTgt spid="1730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9" fill="hold">
                            <p:stCondLst>
                              <p:cond delay="2500"/>
                            </p:stCondLst>
                            <p:childTnLst>
                              <p:par>
                                <p:cTn id="19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66" grpId="0" animBg="1"/>
      <p:bldP spid="1666" grpId="1" animBg="1"/>
      <p:bldP spid="1666" grpId="2" animBg="1"/>
      <p:bldP spid="1668" grpId="0" animBg="1"/>
      <p:bldP spid="1668" grpId="1" animBg="1"/>
      <p:bldP spid="1668" grpId="2" animBg="1"/>
      <p:bldP spid="1669" grpId="0" animBg="1"/>
      <p:bldP spid="1669" grpId="1" animBg="1"/>
      <p:bldP spid="1669" grpId="2" animBg="1"/>
      <p:bldP spid="1670" grpId="0" animBg="1"/>
      <p:bldP spid="1670" grpId="1" animBg="1"/>
      <p:bldP spid="1670" grpId="2" animBg="1"/>
      <p:bldP spid="42" grpId="0" animBg="1"/>
      <p:bldP spid="1727" grpId="0" animBg="1"/>
      <p:bldP spid="1727" grpId="1" animBg="1"/>
      <p:bldP spid="1727" grpId="2" animBg="1"/>
      <p:bldP spid="1728" grpId="0" animBg="1"/>
      <p:bldP spid="1728" grpId="1" animBg="1"/>
      <p:bldP spid="1728" grpId="2" animBg="1"/>
      <p:bldP spid="1729" grpId="0" animBg="1"/>
      <p:bldP spid="1729" grpId="1" animBg="1"/>
      <p:bldP spid="1729" grpId="2" animBg="1"/>
      <p:bldP spid="1730" grpId="0" animBg="1"/>
      <p:bldP spid="1730" grpId="1" animBg="1"/>
      <p:bldP spid="1730" grpId="2" animBg="1"/>
      <p:bldP spid="1725" grpId="0"/>
      <p:bldP spid="46" grpId="0"/>
      <p:bldP spid="44" grpId="0"/>
      <p:bldP spid="44" grpId="1"/>
      <p:bldP spid="1721" grpId="0"/>
      <p:bldP spid="1721" grpId="1"/>
      <p:bldP spid="1722" grpId="0"/>
      <p:bldP spid="1722" grpId="1"/>
      <p:bldP spid="1723" grpId="0"/>
      <p:bldP spid="1723" grpId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9A1242C5-353F-4E0D-B96B-F4B4FCB66C4E}"/>
              </a:ext>
            </a:extLst>
          </p:cNvPr>
          <p:cNvSpPr/>
          <p:nvPr/>
        </p:nvSpPr>
        <p:spPr>
          <a:xfrm>
            <a:off x="0" y="4533900"/>
            <a:ext cx="4048125" cy="6096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34D990A2-79AD-4947-B6B2-3A6C88876865}"/>
              </a:ext>
            </a:extLst>
          </p:cNvPr>
          <p:cNvSpPr/>
          <p:nvPr/>
        </p:nvSpPr>
        <p:spPr>
          <a:xfrm>
            <a:off x="4884540" y="1381801"/>
            <a:ext cx="2373912" cy="2373912"/>
          </a:xfrm>
          <a:prstGeom prst="ellipse">
            <a:avLst/>
          </a:prstGeom>
          <a:solidFill>
            <a:schemeClr val="bg2"/>
          </a:solidFill>
          <a:ln cap="rnd">
            <a:solidFill>
              <a:schemeClr val="accent1">
                <a:lumMod val="40000"/>
                <a:lumOff val="60000"/>
              </a:schemeClr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2602" name="Group 2380">
            <a:extLst>
              <a:ext uri="{FF2B5EF4-FFF2-40B4-BE49-F238E27FC236}">
                <a16:creationId xmlns:a16="http://schemas.microsoft.com/office/drawing/2014/main" xmlns="" id="{0EDEE642-4793-44E0-94E8-2A77AECB015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51873" y="-615394"/>
            <a:ext cx="6429375" cy="6374289"/>
            <a:chOff x="1246" y="0"/>
            <a:chExt cx="3268" cy="3240"/>
          </a:xfrm>
        </p:grpSpPr>
        <p:grpSp>
          <p:nvGrpSpPr>
            <p:cNvPr id="2604" name="Group 2581">
              <a:extLst>
                <a:ext uri="{FF2B5EF4-FFF2-40B4-BE49-F238E27FC236}">
                  <a16:creationId xmlns:a16="http://schemas.microsoft.com/office/drawing/2014/main" xmlns="" id="{EEF02138-350E-4B6F-A9F9-3E6ABF8E47A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76" y="30"/>
              <a:ext cx="3178" cy="3180"/>
              <a:chOff x="1276" y="30"/>
              <a:chExt cx="3178" cy="3180"/>
            </a:xfrm>
          </p:grpSpPr>
          <p:sp>
            <p:nvSpPr>
              <p:cNvPr id="3192" name="Line 2381">
                <a:extLst>
                  <a:ext uri="{FF2B5EF4-FFF2-40B4-BE49-F238E27FC236}">
                    <a16:creationId xmlns:a16="http://schemas.microsoft.com/office/drawing/2014/main" xmlns="" id="{1ECBEB15-D25A-4424-9F12-6EAB46551E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47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3" name="Freeform 2382">
                <a:extLst>
                  <a:ext uri="{FF2B5EF4-FFF2-40B4-BE49-F238E27FC236}">
                    <a16:creationId xmlns:a16="http://schemas.microsoft.com/office/drawing/2014/main" xmlns="" id="{8D1389BA-1FA9-4EA6-94FA-166A13A3F3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1410"/>
                <a:ext cx="300" cy="210"/>
              </a:xfrm>
              <a:custGeom>
                <a:avLst/>
                <a:gdLst>
                  <a:gd name="T0" fmla="*/ 210 w 300"/>
                  <a:gd name="T1" fmla="*/ 90 h 210"/>
                  <a:gd name="T2" fmla="*/ 300 w 300"/>
                  <a:gd name="T3" fmla="*/ 30 h 210"/>
                  <a:gd name="T4" fmla="*/ 300 w 300"/>
                  <a:gd name="T5" fmla="*/ 120 h 210"/>
                  <a:gd name="T6" fmla="*/ 240 w 300"/>
                  <a:gd name="T7" fmla="*/ 210 h 210"/>
                  <a:gd name="T8" fmla="*/ 150 w 300"/>
                  <a:gd name="T9" fmla="*/ 150 h 210"/>
                  <a:gd name="T10" fmla="*/ 60 w 300"/>
                  <a:gd name="T11" fmla="*/ 90 h 210"/>
                  <a:gd name="T12" fmla="*/ 0 w 300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0" h="210">
                    <a:moveTo>
                      <a:pt x="210" y="90"/>
                    </a:moveTo>
                    <a:lnTo>
                      <a:pt x="300" y="30"/>
                    </a:lnTo>
                    <a:lnTo>
                      <a:pt x="300" y="120"/>
                    </a:lnTo>
                    <a:lnTo>
                      <a:pt x="240" y="210"/>
                    </a:lnTo>
                    <a:lnTo>
                      <a:pt x="150" y="150"/>
                    </a:lnTo>
                    <a:lnTo>
                      <a:pt x="60" y="9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4" name="Freeform 2383">
                <a:extLst>
                  <a:ext uri="{FF2B5EF4-FFF2-40B4-BE49-F238E27FC236}">
                    <a16:creationId xmlns:a16="http://schemas.microsoft.com/office/drawing/2014/main" xmlns="" id="{A5EAB024-A9DB-41F4-85FA-3DEC210146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5" y="1292"/>
                <a:ext cx="180" cy="208"/>
              </a:xfrm>
              <a:custGeom>
                <a:avLst/>
                <a:gdLst>
                  <a:gd name="T0" fmla="*/ 0 w 180"/>
                  <a:gd name="T1" fmla="*/ 149 h 208"/>
                  <a:gd name="T2" fmla="*/ 150 w 180"/>
                  <a:gd name="T3" fmla="*/ 208 h 208"/>
                  <a:gd name="T4" fmla="*/ 180 w 180"/>
                  <a:gd name="T5" fmla="*/ 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08">
                    <a:moveTo>
                      <a:pt x="0" y="149"/>
                    </a:moveTo>
                    <a:lnTo>
                      <a:pt x="150" y="208"/>
                    </a:lnTo>
                    <a:lnTo>
                      <a:pt x="1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5" name="Line 2384">
                <a:extLst>
                  <a:ext uri="{FF2B5EF4-FFF2-40B4-BE49-F238E27FC236}">
                    <a16:creationId xmlns:a16="http://schemas.microsoft.com/office/drawing/2014/main" xmlns="" id="{C0105CE3-91E4-49BD-A09C-133AA6C6EE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535" y="1620"/>
                <a:ext cx="18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6" name="Line 2385">
                <a:extLst>
                  <a:ext uri="{FF2B5EF4-FFF2-40B4-BE49-F238E27FC236}">
                    <a16:creationId xmlns:a16="http://schemas.microsoft.com/office/drawing/2014/main" xmlns="" id="{00FD4591-1FAA-4A52-BF05-0A469113DA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560"/>
                <a:ext cx="6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7" name="Freeform 2386">
                <a:extLst>
                  <a:ext uri="{FF2B5EF4-FFF2-40B4-BE49-F238E27FC236}">
                    <a16:creationId xmlns:a16="http://schemas.microsoft.com/office/drawing/2014/main" xmlns="" id="{3DC532BC-999E-4E57-A580-8052E03F79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5" y="1650"/>
                <a:ext cx="210" cy="330"/>
              </a:xfrm>
              <a:custGeom>
                <a:avLst/>
                <a:gdLst>
                  <a:gd name="T0" fmla="*/ 120 w 210"/>
                  <a:gd name="T1" fmla="*/ 60 h 330"/>
                  <a:gd name="T2" fmla="*/ 0 w 210"/>
                  <a:gd name="T3" fmla="*/ 0 h 330"/>
                  <a:gd name="T4" fmla="*/ 0 w 210"/>
                  <a:gd name="T5" fmla="*/ 330 h 330"/>
                  <a:gd name="T6" fmla="*/ 210 w 210"/>
                  <a:gd name="T7" fmla="*/ 270 h 330"/>
                  <a:gd name="T8" fmla="*/ 119 w 210"/>
                  <a:gd name="T9" fmla="*/ 182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0" h="330">
                    <a:moveTo>
                      <a:pt x="120" y="60"/>
                    </a:moveTo>
                    <a:lnTo>
                      <a:pt x="0" y="0"/>
                    </a:lnTo>
                    <a:lnTo>
                      <a:pt x="0" y="330"/>
                    </a:lnTo>
                    <a:lnTo>
                      <a:pt x="210" y="270"/>
                    </a:lnTo>
                    <a:lnTo>
                      <a:pt x="119" y="18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8" name="Freeform 2387">
                <a:extLst>
                  <a:ext uri="{FF2B5EF4-FFF2-40B4-BE49-F238E27FC236}">
                    <a16:creationId xmlns:a16="http://schemas.microsoft.com/office/drawing/2014/main" xmlns="" id="{0AB008BF-00BD-4037-B5DC-D9802EF350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4" y="1680"/>
                <a:ext cx="151" cy="152"/>
              </a:xfrm>
              <a:custGeom>
                <a:avLst/>
                <a:gdLst>
                  <a:gd name="T0" fmla="*/ 121 w 151"/>
                  <a:gd name="T1" fmla="*/ 0 h 152"/>
                  <a:gd name="T2" fmla="*/ 151 w 151"/>
                  <a:gd name="T3" fmla="*/ 120 h 152"/>
                  <a:gd name="T4" fmla="*/ 0 w 151"/>
                  <a:gd name="T5" fmla="*/ 152 h 152"/>
                  <a:gd name="T6" fmla="*/ 1 w 151"/>
                  <a:gd name="T7" fmla="*/ 30 h 152"/>
                  <a:gd name="T8" fmla="*/ 121 w 151"/>
                  <a:gd name="T9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1" h="152">
                    <a:moveTo>
                      <a:pt x="121" y="0"/>
                    </a:moveTo>
                    <a:lnTo>
                      <a:pt x="151" y="120"/>
                    </a:lnTo>
                    <a:lnTo>
                      <a:pt x="0" y="152"/>
                    </a:lnTo>
                    <a:lnTo>
                      <a:pt x="1" y="30"/>
                    </a:lnTo>
                    <a:lnTo>
                      <a:pt x="121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9" name="Freeform 2388">
                <a:extLst>
                  <a:ext uri="{FF2B5EF4-FFF2-40B4-BE49-F238E27FC236}">
                    <a16:creationId xmlns:a16="http://schemas.microsoft.com/office/drawing/2014/main" xmlns="" id="{25E9705F-6348-40DE-9BCD-3F90416B86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620"/>
                <a:ext cx="240" cy="270"/>
              </a:xfrm>
              <a:custGeom>
                <a:avLst/>
                <a:gdLst>
                  <a:gd name="T0" fmla="*/ 0 w 240"/>
                  <a:gd name="T1" fmla="*/ 180 h 270"/>
                  <a:gd name="T2" fmla="*/ 60 w 240"/>
                  <a:gd name="T3" fmla="*/ 0 h 270"/>
                  <a:gd name="T4" fmla="*/ 90 w 240"/>
                  <a:gd name="T5" fmla="*/ 90 h 270"/>
                  <a:gd name="T6" fmla="*/ 120 w 240"/>
                  <a:gd name="T7" fmla="*/ 180 h 270"/>
                  <a:gd name="T8" fmla="*/ 150 w 240"/>
                  <a:gd name="T9" fmla="*/ 270 h 270"/>
                  <a:gd name="T10" fmla="*/ 240 w 240"/>
                  <a:gd name="T11" fmla="*/ 15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0" h="270">
                    <a:moveTo>
                      <a:pt x="0" y="180"/>
                    </a:moveTo>
                    <a:lnTo>
                      <a:pt x="60" y="0"/>
                    </a:lnTo>
                    <a:lnTo>
                      <a:pt x="90" y="90"/>
                    </a:lnTo>
                    <a:lnTo>
                      <a:pt x="120" y="180"/>
                    </a:lnTo>
                    <a:lnTo>
                      <a:pt x="150" y="270"/>
                    </a:lnTo>
                    <a:lnTo>
                      <a:pt x="24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0" name="Freeform 2389">
                <a:extLst>
                  <a:ext uri="{FF2B5EF4-FFF2-40B4-BE49-F238E27FC236}">
                    <a16:creationId xmlns:a16="http://schemas.microsoft.com/office/drawing/2014/main" xmlns="" id="{AE724297-FBA2-4E6F-AD6E-ADDAD1291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8" y="1800"/>
                <a:ext cx="237" cy="270"/>
              </a:xfrm>
              <a:custGeom>
                <a:avLst/>
                <a:gdLst>
                  <a:gd name="T0" fmla="*/ 237 w 237"/>
                  <a:gd name="T1" fmla="*/ 0 h 270"/>
                  <a:gd name="T2" fmla="*/ 177 w 237"/>
                  <a:gd name="T3" fmla="*/ 122 h 270"/>
                  <a:gd name="T4" fmla="*/ 117 w 237"/>
                  <a:gd name="T5" fmla="*/ 0 h 270"/>
                  <a:gd name="T6" fmla="*/ 57 w 237"/>
                  <a:gd name="T7" fmla="*/ 120 h 270"/>
                  <a:gd name="T8" fmla="*/ 147 w 237"/>
                  <a:gd name="T9" fmla="*/ 270 h 270"/>
                  <a:gd name="T10" fmla="*/ 0 w 237"/>
                  <a:gd name="T11" fmla="*/ 213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7" h="270">
                    <a:moveTo>
                      <a:pt x="237" y="0"/>
                    </a:moveTo>
                    <a:lnTo>
                      <a:pt x="177" y="122"/>
                    </a:lnTo>
                    <a:lnTo>
                      <a:pt x="117" y="0"/>
                    </a:lnTo>
                    <a:lnTo>
                      <a:pt x="57" y="120"/>
                    </a:lnTo>
                    <a:lnTo>
                      <a:pt x="147" y="270"/>
                    </a:lnTo>
                    <a:lnTo>
                      <a:pt x="0" y="213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1" name="Freeform 2390">
                <a:extLst>
                  <a:ext uri="{FF2B5EF4-FFF2-40B4-BE49-F238E27FC236}">
                    <a16:creationId xmlns:a16="http://schemas.microsoft.com/office/drawing/2014/main" xmlns="" id="{1ECF84DE-5057-4ECA-BDC7-6E65C89328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440"/>
                <a:ext cx="390" cy="570"/>
              </a:xfrm>
              <a:custGeom>
                <a:avLst/>
                <a:gdLst>
                  <a:gd name="T0" fmla="*/ 390 w 390"/>
                  <a:gd name="T1" fmla="*/ 480 h 570"/>
                  <a:gd name="T2" fmla="*/ 330 w 390"/>
                  <a:gd name="T3" fmla="*/ 570 h 570"/>
                  <a:gd name="T4" fmla="*/ 180 w 390"/>
                  <a:gd name="T5" fmla="*/ 540 h 570"/>
                  <a:gd name="T6" fmla="*/ 300 w 390"/>
                  <a:gd name="T7" fmla="*/ 390 h 570"/>
                  <a:gd name="T8" fmla="*/ 120 w 390"/>
                  <a:gd name="T9" fmla="*/ 390 h 570"/>
                  <a:gd name="T10" fmla="*/ 180 w 390"/>
                  <a:gd name="T11" fmla="*/ 210 h 570"/>
                  <a:gd name="T12" fmla="*/ 60 w 390"/>
                  <a:gd name="T13" fmla="*/ 330 h 570"/>
                  <a:gd name="T14" fmla="*/ 0 w 390"/>
                  <a:gd name="T15" fmla="*/ 180 h 570"/>
                  <a:gd name="T16" fmla="*/ 60 w 390"/>
                  <a:gd name="T17" fmla="*/ 60 h 570"/>
                  <a:gd name="T18" fmla="*/ 240 w 390"/>
                  <a:gd name="T19" fmla="*/ 120 h 570"/>
                  <a:gd name="T20" fmla="*/ 180 w 390"/>
                  <a:gd name="T21" fmla="*/ 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0" h="570">
                    <a:moveTo>
                      <a:pt x="390" y="480"/>
                    </a:moveTo>
                    <a:lnTo>
                      <a:pt x="330" y="570"/>
                    </a:lnTo>
                    <a:lnTo>
                      <a:pt x="180" y="540"/>
                    </a:lnTo>
                    <a:lnTo>
                      <a:pt x="300" y="390"/>
                    </a:lnTo>
                    <a:lnTo>
                      <a:pt x="120" y="390"/>
                    </a:lnTo>
                    <a:lnTo>
                      <a:pt x="180" y="210"/>
                    </a:lnTo>
                    <a:lnTo>
                      <a:pt x="60" y="330"/>
                    </a:lnTo>
                    <a:lnTo>
                      <a:pt x="0" y="180"/>
                    </a:lnTo>
                    <a:lnTo>
                      <a:pt x="60" y="60"/>
                    </a:lnTo>
                    <a:lnTo>
                      <a:pt x="240" y="120"/>
                    </a:lnTo>
                    <a:lnTo>
                      <a:pt x="1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2" name="Freeform 2391">
                <a:extLst>
                  <a:ext uri="{FF2B5EF4-FFF2-40B4-BE49-F238E27FC236}">
                    <a16:creationId xmlns:a16="http://schemas.microsoft.com/office/drawing/2014/main" xmlns="" id="{CA331197-3057-4A48-A8AA-7C9771DE5F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410"/>
                <a:ext cx="480" cy="420"/>
              </a:xfrm>
              <a:custGeom>
                <a:avLst/>
                <a:gdLst>
                  <a:gd name="T0" fmla="*/ 300 w 480"/>
                  <a:gd name="T1" fmla="*/ 420 h 420"/>
                  <a:gd name="T2" fmla="*/ 0 w 480"/>
                  <a:gd name="T3" fmla="*/ 210 h 420"/>
                  <a:gd name="T4" fmla="*/ 180 w 480"/>
                  <a:gd name="T5" fmla="*/ 240 h 420"/>
                  <a:gd name="T6" fmla="*/ 90 w 480"/>
                  <a:gd name="T7" fmla="*/ 0 h 420"/>
                  <a:gd name="T8" fmla="*/ 240 w 480"/>
                  <a:gd name="T9" fmla="*/ 150 h 420"/>
                  <a:gd name="T10" fmla="*/ 270 w 480"/>
                  <a:gd name="T11" fmla="*/ 0 h 420"/>
                  <a:gd name="T12" fmla="*/ 420 w 480"/>
                  <a:gd name="T13" fmla="*/ 0 h 420"/>
                  <a:gd name="T14" fmla="*/ 480 w 480"/>
                  <a:gd name="T15" fmla="*/ 9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0" h="420">
                    <a:moveTo>
                      <a:pt x="300" y="420"/>
                    </a:moveTo>
                    <a:lnTo>
                      <a:pt x="0" y="210"/>
                    </a:lnTo>
                    <a:lnTo>
                      <a:pt x="180" y="240"/>
                    </a:lnTo>
                    <a:lnTo>
                      <a:pt x="90" y="0"/>
                    </a:lnTo>
                    <a:lnTo>
                      <a:pt x="240" y="150"/>
                    </a:lnTo>
                    <a:lnTo>
                      <a:pt x="270" y="0"/>
                    </a:lnTo>
                    <a:lnTo>
                      <a:pt x="420" y="0"/>
                    </a:lnTo>
                    <a:lnTo>
                      <a:pt x="4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3" name="Freeform 2392">
                <a:extLst>
                  <a:ext uri="{FF2B5EF4-FFF2-40B4-BE49-F238E27FC236}">
                    <a16:creationId xmlns:a16="http://schemas.microsoft.com/office/drawing/2014/main" xmlns="" id="{C52AF545-197E-476E-AA37-6F3453FE4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" y="1260"/>
                <a:ext cx="120" cy="300"/>
              </a:xfrm>
              <a:custGeom>
                <a:avLst/>
                <a:gdLst>
                  <a:gd name="T0" fmla="*/ 0 w 120"/>
                  <a:gd name="T1" fmla="*/ 0 h 300"/>
                  <a:gd name="T2" fmla="*/ 0 w 120"/>
                  <a:gd name="T3" fmla="*/ 180 h 300"/>
                  <a:gd name="T4" fmla="*/ 120 w 120"/>
                  <a:gd name="T5" fmla="*/ 90 h 300"/>
                  <a:gd name="T6" fmla="*/ 120 w 120"/>
                  <a:gd name="T7" fmla="*/ 210 h 300"/>
                  <a:gd name="T8" fmla="*/ 90 w 120"/>
                  <a:gd name="T9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0" h="300">
                    <a:moveTo>
                      <a:pt x="0" y="0"/>
                    </a:moveTo>
                    <a:lnTo>
                      <a:pt x="0" y="180"/>
                    </a:lnTo>
                    <a:lnTo>
                      <a:pt x="120" y="90"/>
                    </a:lnTo>
                    <a:lnTo>
                      <a:pt x="120" y="210"/>
                    </a:lnTo>
                    <a:lnTo>
                      <a:pt x="9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4" name="Freeform 2393">
                <a:extLst>
                  <a:ext uri="{FF2B5EF4-FFF2-40B4-BE49-F238E27FC236}">
                    <a16:creationId xmlns:a16="http://schemas.microsoft.com/office/drawing/2014/main" xmlns="" id="{81E07F59-EA5D-467C-BA5F-96E5C3CA15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292"/>
                <a:ext cx="330" cy="178"/>
              </a:xfrm>
              <a:custGeom>
                <a:avLst/>
                <a:gdLst>
                  <a:gd name="T0" fmla="*/ 0 w 330"/>
                  <a:gd name="T1" fmla="*/ 0 h 178"/>
                  <a:gd name="T2" fmla="*/ 60 w 330"/>
                  <a:gd name="T3" fmla="*/ 118 h 178"/>
                  <a:gd name="T4" fmla="*/ 150 w 330"/>
                  <a:gd name="T5" fmla="*/ 28 h 178"/>
                  <a:gd name="T6" fmla="*/ 330 w 330"/>
                  <a:gd name="T7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0" h="178">
                    <a:moveTo>
                      <a:pt x="0" y="0"/>
                    </a:moveTo>
                    <a:lnTo>
                      <a:pt x="60" y="118"/>
                    </a:lnTo>
                    <a:lnTo>
                      <a:pt x="150" y="28"/>
                    </a:lnTo>
                    <a:lnTo>
                      <a:pt x="330" y="17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5" name="Line 2394">
                <a:extLst>
                  <a:ext uri="{FF2B5EF4-FFF2-40B4-BE49-F238E27FC236}">
                    <a16:creationId xmlns:a16="http://schemas.microsoft.com/office/drawing/2014/main" xmlns="" id="{92DFA82E-4DE7-4F77-9605-15DB7A7C7D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925" y="1410"/>
                <a:ext cx="24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6" name="Freeform 2395">
                <a:extLst>
                  <a:ext uri="{FF2B5EF4-FFF2-40B4-BE49-F238E27FC236}">
                    <a16:creationId xmlns:a16="http://schemas.microsoft.com/office/drawing/2014/main" xmlns="" id="{5606F496-2131-455D-BE54-2E2164F78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2070"/>
                <a:ext cx="899" cy="720"/>
              </a:xfrm>
              <a:custGeom>
                <a:avLst/>
                <a:gdLst>
                  <a:gd name="T0" fmla="*/ 59 w 899"/>
                  <a:gd name="T1" fmla="*/ 240 h 720"/>
                  <a:gd name="T2" fmla="*/ 179 w 899"/>
                  <a:gd name="T3" fmla="*/ 390 h 720"/>
                  <a:gd name="T4" fmla="*/ 239 w 899"/>
                  <a:gd name="T5" fmla="*/ 300 h 720"/>
                  <a:gd name="T6" fmla="*/ 329 w 899"/>
                  <a:gd name="T7" fmla="*/ 360 h 720"/>
                  <a:gd name="T8" fmla="*/ 329 w 899"/>
                  <a:gd name="T9" fmla="*/ 240 h 720"/>
                  <a:gd name="T10" fmla="*/ 179 w 899"/>
                  <a:gd name="T11" fmla="*/ 181 h 720"/>
                  <a:gd name="T12" fmla="*/ 269 w 899"/>
                  <a:gd name="T13" fmla="*/ 150 h 720"/>
                  <a:gd name="T14" fmla="*/ 389 w 899"/>
                  <a:gd name="T15" fmla="*/ 120 h 720"/>
                  <a:gd name="T16" fmla="*/ 449 w 899"/>
                  <a:gd name="T17" fmla="*/ 300 h 720"/>
                  <a:gd name="T18" fmla="*/ 539 w 899"/>
                  <a:gd name="T19" fmla="*/ 180 h 720"/>
                  <a:gd name="T20" fmla="*/ 509 w 899"/>
                  <a:gd name="T21" fmla="*/ 60 h 720"/>
                  <a:gd name="T22" fmla="*/ 359 w 899"/>
                  <a:gd name="T23" fmla="*/ 30 h 720"/>
                  <a:gd name="T24" fmla="*/ 569 w 899"/>
                  <a:gd name="T25" fmla="*/ 0 h 720"/>
                  <a:gd name="T26" fmla="*/ 689 w 899"/>
                  <a:gd name="T27" fmla="*/ 90 h 720"/>
                  <a:gd name="T28" fmla="*/ 659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89 w 899"/>
                  <a:gd name="T41" fmla="*/ 390 h 720"/>
                  <a:gd name="T42" fmla="*/ 539 w 899"/>
                  <a:gd name="T43" fmla="*/ 330 h 720"/>
                  <a:gd name="T44" fmla="*/ 569 w 899"/>
                  <a:gd name="T45" fmla="*/ 450 h 720"/>
                  <a:gd name="T46" fmla="*/ 419 w 899"/>
                  <a:gd name="T47" fmla="*/ 420 h 720"/>
                  <a:gd name="T48" fmla="*/ 389 w 899"/>
                  <a:gd name="T49" fmla="*/ 540 h 720"/>
                  <a:gd name="T50" fmla="*/ 509 w 899"/>
                  <a:gd name="T51" fmla="*/ 570 h 720"/>
                  <a:gd name="T52" fmla="*/ 659 w 899"/>
                  <a:gd name="T53" fmla="*/ 570 h 720"/>
                  <a:gd name="T54" fmla="*/ 599 w 899"/>
                  <a:gd name="T55" fmla="*/ 720 h 720"/>
                  <a:gd name="T56" fmla="*/ 299 w 899"/>
                  <a:gd name="T57" fmla="*/ 630 h 720"/>
                  <a:gd name="T58" fmla="*/ 268 w 899"/>
                  <a:gd name="T59" fmla="*/ 482 h 720"/>
                  <a:gd name="T60" fmla="*/ 179 w 899"/>
                  <a:gd name="T61" fmla="*/ 570 h 720"/>
                  <a:gd name="T62" fmla="*/ 59 w 899"/>
                  <a:gd name="T63" fmla="*/ 480 h 720"/>
                  <a:gd name="T64" fmla="*/ 0 w 899"/>
                  <a:gd name="T65" fmla="*/ 360 h 720"/>
                  <a:gd name="T66" fmla="*/ 59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59" y="240"/>
                    </a:moveTo>
                    <a:lnTo>
                      <a:pt x="179" y="390"/>
                    </a:lnTo>
                    <a:lnTo>
                      <a:pt x="239" y="300"/>
                    </a:lnTo>
                    <a:lnTo>
                      <a:pt x="329" y="360"/>
                    </a:lnTo>
                    <a:lnTo>
                      <a:pt x="329" y="240"/>
                    </a:lnTo>
                    <a:lnTo>
                      <a:pt x="179" y="181"/>
                    </a:lnTo>
                    <a:lnTo>
                      <a:pt x="269" y="150"/>
                    </a:lnTo>
                    <a:lnTo>
                      <a:pt x="389" y="120"/>
                    </a:lnTo>
                    <a:lnTo>
                      <a:pt x="449" y="300"/>
                    </a:lnTo>
                    <a:lnTo>
                      <a:pt x="539" y="180"/>
                    </a:lnTo>
                    <a:lnTo>
                      <a:pt x="509" y="60"/>
                    </a:lnTo>
                    <a:lnTo>
                      <a:pt x="359" y="30"/>
                    </a:lnTo>
                    <a:lnTo>
                      <a:pt x="569" y="0"/>
                    </a:lnTo>
                    <a:lnTo>
                      <a:pt x="689" y="90"/>
                    </a:lnTo>
                    <a:lnTo>
                      <a:pt x="659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89" y="390"/>
                    </a:lnTo>
                    <a:lnTo>
                      <a:pt x="539" y="330"/>
                    </a:lnTo>
                    <a:lnTo>
                      <a:pt x="569" y="450"/>
                    </a:lnTo>
                    <a:lnTo>
                      <a:pt x="419" y="420"/>
                    </a:lnTo>
                    <a:lnTo>
                      <a:pt x="389" y="540"/>
                    </a:lnTo>
                    <a:lnTo>
                      <a:pt x="509" y="570"/>
                    </a:lnTo>
                    <a:lnTo>
                      <a:pt x="659" y="570"/>
                    </a:lnTo>
                    <a:lnTo>
                      <a:pt x="599" y="720"/>
                    </a:lnTo>
                    <a:lnTo>
                      <a:pt x="299" y="630"/>
                    </a:lnTo>
                    <a:lnTo>
                      <a:pt x="268" y="482"/>
                    </a:lnTo>
                    <a:lnTo>
                      <a:pt x="179" y="570"/>
                    </a:lnTo>
                    <a:lnTo>
                      <a:pt x="59" y="480"/>
                    </a:lnTo>
                    <a:lnTo>
                      <a:pt x="0" y="360"/>
                    </a:lnTo>
                    <a:lnTo>
                      <a:pt x="59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7" name="Line 2396">
                <a:extLst>
                  <a:ext uri="{FF2B5EF4-FFF2-40B4-BE49-F238E27FC236}">
                    <a16:creationId xmlns:a16="http://schemas.microsoft.com/office/drawing/2014/main" xmlns="" id="{A046A652-3A64-44DE-9578-0270B723AF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145" y="2251"/>
                <a:ext cx="120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8" name="Freeform 2397">
                <a:extLst>
                  <a:ext uri="{FF2B5EF4-FFF2-40B4-BE49-F238E27FC236}">
                    <a16:creationId xmlns:a16="http://schemas.microsoft.com/office/drawing/2014/main" xmlns="" id="{07F41C8C-7EB2-46E4-9D3F-BB63074A61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4" y="2430"/>
                <a:ext cx="121" cy="180"/>
              </a:xfrm>
              <a:custGeom>
                <a:avLst/>
                <a:gdLst>
                  <a:gd name="T0" fmla="*/ 61 w 121"/>
                  <a:gd name="T1" fmla="*/ 0 h 180"/>
                  <a:gd name="T2" fmla="*/ 121 w 121"/>
                  <a:gd name="T3" fmla="*/ 180 h 180"/>
                  <a:gd name="T4" fmla="*/ 0 w 121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1" h="180">
                    <a:moveTo>
                      <a:pt x="61" y="0"/>
                    </a:moveTo>
                    <a:lnTo>
                      <a:pt x="121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09" name="Freeform 2398">
                <a:extLst>
                  <a:ext uri="{FF2B5EF4-FFF2-40B4-BE49-F238E27FC236}">
                    <a16:creationId xmlns:a16="http://schemas.microsoft.com/office/drawing/2014/main" xmlns="" id="{8FC47CB8-19B4-404B-BAB5-8DB9752FBB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5" y="1980"/>
                <a:ext cx="240" cy="330"/>
              </a:xfrm>
              <a:custGeom>
                <a:avLst/>
                <a:gdLst>
                  <a:gd name="T0" fmla="*/ 180 w 240"/>
                  <a:gd name="T1" fmla="*/ 150 h 330"/>
                  <a:gd name="T2" fmla="*/ 120 w 240"/>
                  <a:gd name="T3" fmla="*/ 0 h 330"/>
                  <a:gd name="T4" fmla="*/ 240 w 240"/>
                  <a:gd name="T5" fmla="*/ 90 h 330"/>
                  <a:gd name="T6" fmla="*/ 210 w 240"/>
                  <a:gd name="T7" fmla="*/ 270 h 330"/>
                  <a:gd name="T8" fmla="*/ 0 w 240"/>
                  <a:gd name="T9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30">
                    <a:moveTo>
                      <a:pt x="180" y="150"/>
                    </a:moveTo>
                    <a:lnTo>
                      <a:pt x="120" y="0"/>
                    </a:lnTo>
                    <a:lnTo>
                      <a:pt x="240" y="90"/>
                    </a:lnTo>
                    <a:lnTo>
                      <a:pt x="210" y="270"/>
                    </a:lnTo>
                    <a:lnTo>
                      <a:pt x="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0" name="Line 2399">
                <a:extLst>
                  <a:ext uri="{FF2B5EF4-FFF2-40B4-BE49-F238E27FC236}">
                    <a16:creationId xmlns:a16="http://schemas.microsoft.com/office/drawing/2014/main" xmlns="" id="{3C76CECA-7678-4B73-B96B-032E5152AF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5" y="219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1" name="Freeform 2400">
                <a:extLst>
                  <a:ext uri="{FF2B5EF4-FFF2-40B4-BE49-F238E27FC236}">
                    <a16:creationId xmlns:a16="http://schemas.microsoft.com/office/drawing/2014/main" xmlns="" id="{F543B3C8-6283-486A-AB6C-3DBF593E85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2070"/>
                <a:ext cx="899" cy="720"/>
              </a:xfrm>
              <a:custGeom>
                <a:avLst/>
                <a:gdLst>
                  <a:gd name="T0" fmla="*/ 60 w 899"/>
                  <a:gd name="T1" fmla="*/ 240 h 720"/>
                  <a:gd name="T2" fmla="*/ 180 w 899"/>
                  <a:gd name="T3" fmla="*/ 390 h 720"/>
                  <a:gd name="T4" fmla="*/ 240 w 899"/>
                  <a:gd name="T5" fmla="*/ 300 h 720"/>
                  <a:gd name="T6" fmla="*/ 330 w 899"/>
                  <a:gd name="T7" fmla="*/ 360 h 720"/>
                  <a:gd name="T8" fmla="*/ 330 w 899"/>
                  <a:gd name="T9" fmla="*/ 240 h 720"/>
                  <a:gd name="T10" fmla="*/ 180 w 899"/>
                  <a:gd name="T11" fmla="*/ 181 h 720"/>
                  <a:gd name="T12" fmla="*/ 270 w 899"/>
                  <a:gd name="T13" fmla="*/ 150 h 720"/>
                  <a:gd name="T14" fmla="*/ 390 w 899"/>
                  <a:gd name="T15" fmla="*/ 120 h 720"/>
                  <a:gd name="T16" fmla="*/ 450 w 899"/>
                  <a:gd name="T17" fmla="*/ 300 h 720"/>
                  <a:gd name="T18" fmla="*/ 540 w 899"/>
                  <a:gd name="T19" fmla="*/ 180 h 720"/>
                  <a:gd name="T20" fmla="*/ 510 w 899"/>
                  <a:gd name="T21" fmla="*/ 60 h 720"/>
                  <a:gd name="T22" fmla="*/ 360 w 899"/>
                  <a:gd name="T23" fmla="*/ 30 h 720"/>
                  <a:gd name="T24" fmla="*/ 570 w 899"/>
                  <a:gd name="T25" fmla="*/ 0 h 720"/>
                  <a:gd name="T26" fmla="*/ 690 w 899"/>
                  <a:gd name="T27" fmla="*/ 90 h 720"/>
                  <a:gd name="T28" fmla="*/ 660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90 w 899"/>
                  <a:gd name="T41" fmla="*/ 390 h 720"/>
                  <a:gd name="T42" fmla="*/ 540 w 899"/>
                  <a:gd name="T43" fmla="*/ 330 h 720"/>
                  <a:gd name="T44" fmla="*/ 570 w 899"/>
                  <a:gd name="T45" fmla="*/ 450 h 720"/>
                  <a:gd name="T46" fmla="*/ 420 w 899"/>
                  <a:gd name="T47" fmla="*/ 420 h 720"/>
                  <a:gd name="T48" fmla="*/ 390 w 899"/>
                  <a:gd name="T49" fmla="*/ 540 h 720"/>
                  <a:gd name="T50" fmla="*/ 510 w 899"/>
                  <a:gd name="T51" fmla="*/ 570 h 720"/>
                  <a:gd name="T52" fmla="*/ 660 w 899"/>
                  <a:gd name="T53" fmla="*/ 570 h 720"/>
                  <a:gd name="T54" fmla="*/ 600 w 899"/>
                  <a:gd name="T55" fmla="*/ 720 h 720"/>
                  <a:gd name="T56" fmla="*/ 300 w 899"/>
                  <a:gd name="T57" fmla="*/ 630 h 720"/>
                  <a:gd name="T58" fmla="*/ 268 w 899"/>
                  <a:gd name="T59" fmla="*/ 482 h 720"/>
                  <a:gd name="T60" fmla="*/ 180 w 899"/>
                  <a:gd name="T61" fmla="*/ 570 h 720"/>
                  <a:gd name="T62" fmla="*/ 60 w 899"/>
                  <a:gd name="T63" fmla="*/ 480 h 720"/>
                  <a:gd name="T64" fmla="*/ 0 w 899"/>
                  <a:gd name="T65" fmla="*/ 360 h 720"/>
                  <a:gd name="T66" fmla="*/ 60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60" y="240"/>
                    </a:moveTo>
                    <a:lnTo>
                      <a:pt x="180" y="390"/>
                    </a:lnTo>
                    <a:lnTo>
                      <a:pt x="240" y="300"/>
                    </a:lnTo>
                    <a:lnTo>
                      <a:pt x="330" y="360"/>
                    </a:lnTo>
                    <a:lnTo>
                      <a:pt x="330" y="240"/>
                    </a:lnTo>
                    <a:lnTo>
                      <a:pt x="180" y="181"/>
                    </a:lnTo>
                    <a:lnTo>
                      <a:pt x="270" y="150"/>
                    </a:lnTo>
                    <a:lnTo>
                      <a:pt x="390" y="120"/>
                    </a:lnTo>
                    <a:lnTo>
                      <a:pt x="450" y="300"/>
                    </a:lnTo>
                    <a:lnTo>
                      <a:pt x="540" y="180"/>
                    </a:lnTo>
                    <a:lnTo>
                      <a:pt x="510" y="60"/>
                    </a:lnTo>
                    <a:lnTo>
                      <a:pt x="360" y="30"/>
                    </a:lnTo>
                    <a:lnTo>
                      <a:pt x="570" y="0"/>
                    </a:lnTo>
                    <a:lnTo>
                      <a:pt x="690" y="90"/>
                    </a:lnTo>
                    <a:lnTo>
                      <a:pt x="660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90" y="390"/>
                    </a:lnTo>
                    <a:lnTo>
                      <a:pt x="540" y="330"/>
                    </a:lnTo>
                    <a:lnTo>
                      <a:pt x="570" y="450"/>
                    </a:lnTo>
                    <a:lnTo>
                      <a:pt x="420" y="420"/>
                    </a:lnTo>
                    <a:lnTo>
                      <a:pt x="390" y="540"/>
                    </a:lnTo>
                    <a:lnTo>
                      <a:pt x="510" y="570"/>
                    </a:lnTo>
                    <a:lnTo>
                      <a:pt x="660" y="570"/>
                    </a:lnTo>
                    <a:lnTo>
                      <a:pt x="600" y="720"/>
                    </a:lnTo>
                    <a:lnTo>
                      <a:pt x="300" y="630"/>
                    </a:lnTo>
                    <a:lnTo>
                      <a:pt x="268" y="482"/>
                    </a:lnTo>
                    <a:lnTo>
                      <a:pt x="180" y="570"/>
                    </a:lnTo>
                    <a:lnTo>
                      <a:pt x="60" y="480"/>
                    </a:lnTo>
                    <a:lnTo>
                      <a:pt x="0" y="360"/>
                    </a:lnTo>
                    <a:lnTo>
                      <a:pt x="6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2" name="Freeform 2401">
                <a:extLst>
                  <a:ext uri="{FF2B5EF4-FFF2-40B4-BE49-F238E27FC236}">
                    <a16:creationId xmlns:a16="http://schemas.microsoft.com/office/drawing/2014/main" xmlns="" id="{83E96365-B4AE-414A-B221-31F44F7461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2220"/>
                <a:ext cx="210" cy="150"/>
              </a:xfrm>
              <a:custGeom>
                <a:avLst/>
                <a:gdLst>
                  <a:gd name="T0" fmla="*/ 0 w 210"/>
                  <a:gd name="T1" fmla="*/ 90 h 150"/>
                  <a:gd name="T2" fmla="*/ 180 w 210"/>
                  <a:gd name="T3" fmla="*/ 150 h 150"/>
                  <a:gd name="T4" fmla="*/ 210 w 210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150">
                    <a:moveTo>
                      <a:pt x="0" y="90"/>
                    </a:moveTo>
                    <a:lnTo>
                      <a:pt x="180" y="150"/>
                    </a:lnTo>
                    <a:lnTo>
                      <a:pt x="21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3" name="Freeform 2402">
                <a:extLst>
                  <a:ext uri="{FF2B5EF4-FFF2-40B4-BE49-F238E27FC236}">
                    <a16:creationId xmlns:a16="http://schemas.microsoft.com/office/drawing/2014/main" xmlns="" id="{B76B3836-D7A6-40D4-A0BF-6142C522CF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5" y="2251"/>
                <a:ext cx="240" cy="389"/>
              </a:xfrm>
              <a:custGeom>
                <a:avLst/>
                <a:gdLst>
                  <a:gd name="T0" fmla="*/ 240 w 240"/>
                  <a:gd name="T1" fmla="*/ 0 h 389"/>
                  <a:gd name="T2" fmla="*/ 120 w 240"/>
                  <a:gd name="T3" fmla="*/ 299 h 389"/>
                  <a:gd name="T4" fmla="*/ 0 w 240"/>
                  <a:gd name="T5" fmla="*/ 389 h 389"/>
                  <a:gd name="T6" fmla="*/ 60 w 240"/>
                  <a:gd name="T7" fmla="*/ 179 h 389"/>
                  <a:gd name="T8" fmla="*/ 0 w 240"/>
                  <a:gd name="T9" fmla="*/ 59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89">
                    <a:moveTo>
                      <a:pt x="240" y="0"/>
                    </a:moveTo>
                    <a:lnTo>
                      <a:pt x="120" y="299"/>
                    </a:lnTo>
                    <a:lnTo>
                      <a:pt x="0" y="389"/>
                    </a:lnTo>
                    <a:lnTo>
                      <a:pt x="60" y="179"/>
                    </a:lnTo>
                    <a:lnTo>
                      <a:pt x="0" y="5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4" name="Freeform 2403">
                <a:extLst>
                  <a:ext uri="{FF2B5EF4-FFF2-40B4-BE49-F238E27FC236}">
                    <a16:creationId xmlns:a16="http://schemas.microsoft.com/office/drawing/2014/main" xmlns="" id="{1DA23454-0E94-40AF-9820-8835AE7651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2430"/>
                <a:ext cx="122" cy="180"/>
              </a:xfrm>
              <a:custGeom>
                <a:avLst/>
                <a:gdLst>
                  <a:gd name="T0" fmla="*/ 62 w 122"/>
                  <a:gd name="T1" fmla="*/ 0 h 180"/>
                  <a:gd name="T2" fmla="*/ 122 w 122"/>
                  <a:gd name="T3" fmla="*/ 180 h 180"/>
                  <a:gd name="T4" fmla="*/ 0 w 122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2" h="180">
                    <a:moveTo>
                      <a:pt x="62" y="0"/>
                    </a:moveTo>
                    <a:lnTo>
                      <a:pt x="122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5" name="Freeform 2404">
                <a:extLst>
                  <a:ext uri="{FF2B5EF4-FFF2-40B4-BE49-F238E27FC236}">
                    <a16:creationId xmlns:a16="http://schemas.microsoft.com/office/drawing/2014/main" xmlns="" id="{93B04752-F4EB-4780-B5D9-DEC6C341A0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5" y="204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6" name="Line 2405">
                <a:extLst>
                  <a:ext uri="{FF2B5EF4-FFF2-40B4-BE49-F238E27FC236}">
                    <a16:creationId xmlns:a16="http://schemas.microsoft.com/office/drawing/2014/main" xmlns="" id="{FE780FEF-FA2C-4405-8C0F-01647448EE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35" y="219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7" name="Line 2406">
                <a:extLst>
                  <a:ext uri="{FF2B5EF4-FFF2-40B4-BE49-F238E27FC236}">
                    <a16:creationId xmlns:a16="http://schemas.microsoft.com/office/drawing/2014/main" xmlns="" id="{50B6133D-07FF-4912-8183-F5B1543668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55" y="18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8" name="Line 2407">
                <a:extLst>
                  <a:ext uri="{FF2B5EF4-FFF2-40B4-BE49-F238E27FC236}">
                    <a16:creationId xmlns:a16="http://schemas.microsoft.com/office/drawing/2014/main" xmlns="" id="{05130E31-ABC3-4967-B247-520CBE2B74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55" y="183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19" name="Line 2408">
                <a:extLst>
                  <a:ext uri="{FF2B5EF4-FFF2-40B4-BE49-F238E27FC236}">
                    <a16:creationId xmlns:a16="http://schemas.microsoft.com/office/drawing/2014/main" xmlns="" id="{65CF0AE6-463B-4F6D-81A3-E8BAA8DCEF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77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0" name="Line 2409">
                <a:extLst>
                  <a:ext uri="{FF2B5EF4-FFF2-40B4-BE49-F238E27FC236}">
                    <a16:creationId xmlns:a16="http://schemas.microsoft.com/office/drawing/2014/main" xmlns="" id="{36088EEA-A2BC-4B8C-B584-417F228A56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3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1" name="Line 2410">
                <a:extLst>
                  <a:ext uri="{FF2B5EF4-FFF2-40B4-BE49-F238E27FC236}">
                    <a16:creationId xmlns:a16="http://schemas.microsoft.com/office/drawing/2014/main" xmlns="" id="{CBEDC4F8-D87D-4585-94AD-B3273D72A2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415" y="1770"/>
                <a:ext cx="6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2" name="Line 2411">
                <a:extLst>
                  <a:ext uri="{FF2B5EF4-FFF2-40B4-BE49-F238E27FC236}">
                    <a16:creationId xmlns:a16="http://schemas.microsoft.com/office/drawing/2014/main" xmlns="" id="{7386F278-D864-4A24-AF11-6A613C6130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75" y="1830"/>
                <a:ext cx="21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3" name="Line 2412">
                <a:extLst>
                  <a:ext uri="{FF2B5EF4-FFF2-40B4-BE49-F238E27FC236}">
                    <a16:creationId xmlns:a16="http://schemas.microsoft.com/office/drawing/2014/main" xmlns="" id="{FBA35497-967B-4C8E-9DDB-07510B11B4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35" y="165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4" name="Line 2413">
                <a:extLst>
                  <a:ext uri="{FF2B5EF4-FFF2-40B4-BE49-F238E27FC236}">
                    <a16:creationId xmlns:a16="http://schemas.microsoft.com/office/drawing/2014/main" xmlns="" id="{B68F6885-E3B4-4F95-92F1-99F635B85E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35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5" name="Line 2414">
                <a:extLst>
                  <a:ext uri="{FF2B5EF4-FFF2-40B4-BE49-F238E27FC236}">
                    <a16:creationId xmlns:a16="http://schemas.microsoft.com/office/drawing/2014/main" xmlns="" id="{985E2B84-1458-4E20-8324-91D9A3E76F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25" y="12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6" name="Freeform 2415">
                <a:extLst>
                  <a:ext uri="{FF2B5EF4-FFF2-40B4-BE49-F238E27FC236}">
                    <a16:creationId xmlns:a16="http://schemas.microsoft.com/office/drawing/2014/main" xmlns="" id="{266283E5-D104-4D07-A65C-C7ED37E89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5" y="1710"/>
                <a:ext cx="240" cy="240"/>
              </a:xfrm>
              <a:custGeom>
                <a:avLst/>
                <a:gdLst>
                  <a:gd name="T0" fmla="*/ 240 w 240"/>
                  <a:gd name="T1" fmla="*/ 0 h 240"/>
                  <a:gd name="T2" fmla="*/ 210 w 240"/>
                  <a:gd name="T3" fmla="*/ 180 h 240"/>
                  <a:gd name="T4" fmla="*/ 180 w 240"/>
                  <a:gd name="T5" fmla="*/ 60 h 240"/>
                  <a:gd name="T6" fmla="*/ 150 w 240"/>
                  <a:gd name="T7" fmla="*/ 240 h 240"/>
                  <a:gd name="T8" fmla="*/ 90 w 240"/>
                  <a:gd name="T9" fmla="*/ 180 h 240"/>
                  <a:gd name="T10" fmla="*/ 0 w 240"/>
                  <a:gd name="T11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0" h="240">
                    <a:moveTo>
                      <a:pt x="240" y="0"/>
                    </a:moveTo>
                    <a:lnTo>
                      <a:pt x="210" y="180"/>
                    </a:lnTo>
                    <a:lnTo>
                      <a:pt x="180" y="60"/>
                    </a:lnTo>
                    <a:lnTo>
                      <a:pt x="150" y="240"/>
                    </a:lnTo>
                    <a:lnTo>
                      <a:pt x="90" y="18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7" name="Line 2416">
                <a:extLst>
                  <a:ext uri="{FF2B5EF4-FFF2-40B4-BE49-F238E27FC236}">
                    <a16:creationId xmlns:a16="http://schemas.microsoft.com/office/drawing/2014/main" xmlns="" id="{28670604-1B2A-4183-8F39-350929E7C2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9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8" name="Freeform 2417">
                <a:extLst>
                  <a:ext uri="{FF2B5EF4-FFF2-40B4-BE49-F238E27FC236}">
                    <a16:creationId xmlns:a16="http://schemas.microsoft.com/office/drawing/2014/main" xmlns="" id="{980F12FC-73EF-4A49-AE96-140F9C0BC6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1770"/>
                <a:ext cx="180" cy="120"/>
              </a:xfrm>
              <a:custGeom>
                <a:avLst/>
                <a:gdLst>
                  <a:gd name="T0" fmla="*/ 150 w 180"/>
                  <a:gd name="T1" fmla="*/ 120 h 120"/>
                  <a:gd name="T2" fmla="*/ 180 w 180"/>
                  <a:gd name="T3" fmla="*/ 0 h 120"/>
                  <a:gd name="T4" fmla="*/ 30 w 180"/>
                  <a:gd name="T5" fmla="*/ 120 h 120"/>
                  <a:gd name="T6" fmla="*/ 150 w 180"/>
                  <a:gd name="T7" fmla="*/ 120 h 120"/>
                  <a:gd name="T8" fmla="*/ 0 w 180"/>
                  <a:gd name="T9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120">
                    <a:moveTo>
                      <a:pt x="150" y="120"/>
                    </a:moveTo>
                    <a:lnTo>
                      <a:pt x="180" y="0"/>
                    </a:lnTo>
                    <a:lnTo>
                      <a:pt x="30" y="120"/>
                    </a:lnTo>
                    <a:lnTo>
                      <a:pt x="150" y="12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29" name="Freeform 2418">
                <a:extLst>
                  <a:ext uri="{FF2B5EF4-FFF2-40B4-BE49-F238E27FC236}">
                    <a16:creationId xmlns:a16="http://schemas.microsoft.com/office/drawing/2014/main" xmlns="" id="{D3F81549-A5B3-40F7-BF58-FB5FE82F13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530"/>
                <a:ext cx="240" cy="360"/>
              </a:xfrm>
              <a:custGeom>
                <a:avLst/>
                <a:gdLst>
                  <a:gd name="T0" fmla="*/ 120 w 240"/>
                  <a:gd name="T1" fmla="*/ 240 h 360"/>
                  <a:gd name="T2" fmla="*/ 90 w 240"/>
                  <a:gd name="T3" fmla="*/ 120 h 360"/>
                  <a:gd name="T4" fmla="*/ 90 w 240"/>
                  <a:gd name="T5" fmla="*/ 0 h 360"/>
                  <a:gd name="T6" fmla="*/ 210 w 240"/>
                  <a:gd name="T7" fmla="*/ 30 h 360"/>
                  <a:gd name="T8" fmla="*/ 240 w 240"/>
                  <a:gd name="T9" fmla="*/ 180 h 360"/>
                  <a:gd name="T10" fmla="*/ 120 w 240"/>
                  <a:gd name="T11" fmla="*/ 240 h 360"/>
                  <a:gd name="T12" fmla="*/ 210 w 240"/>
                  <a:gd name="T13" fmla="*/ 330 h 360"/>
                  <a:gd name="T14" fmla="*/ 90 w 240"/>
                  <a:gd name="T15" fmla="*/ 360 h 360"/>
                  <a:gd name="T16" fmla="*/ 0 w 240"/>
                  <a:gd name="T17" fmla="*/ 18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0" h="360">
                    <a:moveTo>
                      <a:pt x="120" y="240"/>
                    </a:moveTo>
                    <a:lnTo>
                      <a:pt x="90" y="120"/>
                    </a:lnTo>
                    <a:lnTo>
                      <a:pt x="90" y="0"/>
                    </a:lnTo>
                    <a:lnTo>
                      <a:pt x="210" y="30"/>
                    </a:lnTo>
                    <a:lnTo>
                      <a:pt x="240" y="180"/>
                    </a:lnTo>
                    <a:lnTo>
                      <a:pt x="120" y="240"/>
                    </a:lnTo>
                    <a:lnTo>
                      <a:pt x="210" y="330"/>
                    </a:lnTo>
                    <a:lnTo>
                      <a:pt x="90" y="36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0" name="Freeform 2419">
                <a:extLst>
                  <a:ext uri="{FF2B5EF4-FFF2-40B4-BE49-F238E27FC236}">
                    <a16:creationId xmlns:a16="http://schemas.microsoft.com/office/drawing/2014/main" xmlns="" id="{396FE12F-3DEC-4E47-A37C-9FE894434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590"/>
                <a:ext cx="90" cy="120"/>
              </a:xfrm>
              <a:custGeom>
                <a:avLst/>
                <a:gdLst>
                  <a:gd name="T0" fmla="*/ 0 w 90"/>
                  <a:gd name="T1" fmla="*/ 120 h 120"/>
                  <a:gd name="T2" fmla="*/ 90 w 90"/>
                  <a:gd name="T3" fmla="*/ 60 h 120"/>
                  <a:gd name="T4" fmla="*/ 0 w 90"/>
                  <a:gd name="T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120">
                    <a:moveTo>
                      <a:pt x="0" y="120"/>
                    </a:moveTo>
                    <a:lnTo>
                      <a:pt x="9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1" name="Line 2420">
                <a:extLst>
                  <a:ext uri="{FF2B5EF4-FFF2-40B4-BE49-F238E27FC236}">
                    <a16:creationId xmlns:a16="http://schemas.microsoft.com/office/drawing/2014/main" xmlns="" id="{7509DD0B-388A-4FBE-AC16-5FA915C93A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56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2" name="Freeform 2421">
                <a:extLst>
                  <a:ext uri="{FF2B5EF4-FFF2-40B4-BE49-F238E27FC236}">
                    <a16:creationId xmlns:a16="http://schemas.microsoft.com/office/drawing/2014/main" xmlns="" id="{1E9738AE-A95A-473B-A072-85395EC12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230"/>
                <a:ext cx="450" cy="180"/>
              </a:xfrm>
              <a:custGeom>
                <a:avLst/>
                <a:gdLst>
                  <a:gd name="T0" fmla="*/ 450 w 450"/>
                  <a:gd name="T1" fmla="*/ 180 h 180"/>
                  <a:gd name="T2" fmla="*/ 450 w 450"/>
                  <a:gd name="T3" fmla="*/ 60 h 180"/>
                  <a:gd name="T4" fmla="*/ 330 w 450"/>
                  <a:gd name="T5" fmla="*/ 120 h 180"/>
                  <a:gd name="T6" fmla="*/ 210 w 450"/>
                  <a:gd name="T7" fmla="*/ 30 h 180"/>
                  <a:gd name="T8" fmla="*/ 90 w 450"/>
                  <a:gd name="T9" fmla="*/ 0 h 180"/>
                  <a:gd name="T10" fmla="*/ 150 w 450"/>
                  <a:gd name="T11" fmla="*/ 90 h 180"/>
                  <a:gd name="T12" fmla="*/ 0 w 450"/>
                  <a:gd name="T13" fmla="*/ 6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0" h="180">
                    <a:moveTo>
                      <a:pt x="450" y="180"/>
                    </a:moveTo>
                    <a:lnTo>
                      <a:pt x="450" y="60"/>
                    </a:lnTo>
                    <a:lnTo>
                      <a:pt x="330" y="120"/>
                    </a:lnTo>
                    <a:lnTo>
                      <a:pt x="210" y="30"/>
                    </a:lnTo>
                    <a:lnTo>
                      <a:pt x="90" y="0"/>
                    </a:lnTo>
                    <a:lnTo>
                      <a:pt x="150" y="9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3" name="Freeform 2422">
                <a:extLst>
                  <a:ext uri="{FF2B5EF4-FFF2-40B4-BE49-F238E27FC236}">
                    <a16:creationId xmlns:a16="http://schemas.microsoft.com/office/drawing/2014/main" xmlns="" id="{5DA8B0CF-EC86-4160-AB0A-AEE84A1A93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1440"/>
                <a:ext cx="180" cy="150"/>
              </a:xfrm>
              <a:custGeom>
                <a:avLst/>
                <a:gdLst>
                  <a:gd name="T0" fmla="*/ 180 w 180"/>
                  <a:gd name="T1" fmla="*/ 0 h 150"/>
                  <a:gd name="T2" fmla="*/ 90 w 180"/>
                  <a:gd name="T3" fmla="*/ 90 h 150"/>
                  <a:gd name="T4" fmla="*/ 0 w 180"/>
                  <a:gd name="T5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180" y="0"/>
                    </a:moveTo>
                    <a:lnTo>
                      <a:pt x="90" y="90"/>
                    </a:lnTo>
                    <a:lnTo>
                      <a:pt x="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4" name="Freeform 2423">
                <a:extLst>
                  <a:ext uri="{FF2B5EF4-FFF2-40B4-BE49-F238E27FC236}">
                    <a16:creationId xmlns:a16="http://schemas.microsoft.com/office/drawing/2014/main" xmlns="" id="{BB18136F-6660-4F40-B0F0-C6A3AC5528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" y="1260"/>
                <a:ext cx="390" cy="390"/>
              </a:xfrm>
              <a:custGeom>
                <a:avLst/>
                <a:gdLst>
                  <a:gd name="T0" fmla="*/ 270 w 390"/>
                  <a:gd name="T1" fmla="*/ 390 h 390"/>
                  <a:gd name="T2" fmla="*/ 390 w 390"/>
                  <a:gd name="T3" fmla="*/ 300 h 390"/>
                  <a:gd name="T4" fmla="*/ 360 w 390"/>
                  <a:gd name="T5" fmla="*/ 180 h 390"/>
                  <a:gd name="T6" fmla="*/ 240 w 390"/>
                  <a:gd name="T7" fmla="*/ 30 h 390"/>
                  <a:gd name="T8" fmla="*/ 0 w 390"/>
                  <a:gd name="T9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0" h="390">
                    <a:moveTo>
                      <a:pt x="270" y="390"/>
                    </a:moveTo>
                    <a:lnTo>
                      <a:pt x="390" y="300"/>
                    </a:lnTo>
                    <a:lnTo>
                      <a:pt x="360" y="180"/>
                    </a:lnTo>
                    <a:lnTo>
                      <a:pt x="24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5" name="Freeform 2424">
                <a:extLst>
                  <a:ext uri="{FF2B5EF4-FFF2-40B4-BE49-F238E27FC236}">
                    <a16:creationId xmlns:a16="http://schemas.microsoft.com/office/drawing/2014/main" xmlns="" id="{27911EAA-6238-49F0-84A5-CD151891CD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5" y="1230"/>
                <a:ext cx="360" cy="210"/>
              </a:xfrm>
              <a:custGeom>
                <a:avLst/>
                <a:gdLst>
                  <a:gd name="T0" fmla="*/ 90 w 360"/>
                  <a:gd name="T1" fmla="*/ 60 h 210"/>
                  <a:gd name="T2" fmla="*/ 0 w 360"/>
                  <a:gd name="T3" fmla="*/ 180 h 210"/>
                  <a:gd name="T4" fmla="*/ 90 w 360"/>
                  <a:gd name="T5" fmla="*/ 210 h 210"/>
                  <a:gd name="T6" fmla="*/ 180 w 360"/>
                  <a:gd name="T7" fmla="*/ 180 h 210"/>
                  <a:gd name="T8" fmla="*/ 90 w 360"/>
                  <a:gd name="T9" fmla="*/ 60 h 210"/>
                  <a:gd name="T10" fmla="*/ 270 w 360"/>
                  <a:gd name="T11" fmla="*/ 60 h 210"/>
                  <a:gd name="T12" fmla="*/ 360 w 360"/>
                  <a:gd name="T1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0" h="210">
                    <a:moveTo>
                      <a:pt x="90" y="60"/>
                    </a:moveTo>
                    <a:lnTo>
                      <a:pt x="0" y="180"/>
                    </a:lnTo>
                    <a:lnTo>
                      <a:pt x="90" y="210"/>
                    </a:lnTo>
                    <a:lnTo>
                      <a:pt x="180" y="180"/>
                    </a:lnTo>
                    <a:lnTo>
                      <a:pt x="90" y="60"/>
                    </a:lnTo>
                    <a:lnTo>
                      <a:pt x="270" y="60"/>
                    </a:lnTo>
                    <a:lnTo>
                      <a:pt x="3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6" name="Line 2425">
                <a:extLst>
                  <a:ext uri="{FF2B5EF4-FFF2-40B4-BE49-F238E27FC236}">
                    <a16:creationId xmlns:a16="http://schemas.microsoft.com/office/drawing/2014/main" xmlns="" id="{8268A157-E1C8-4D59-AFE0-DDDD9A5385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5" y="132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7" name="Line 2426">
                <a:extLst>
                  <a:ext uri="{FF2B5EF4-FFF2-40B4-BE49-F238E27FC236}">
                    <a16:creationId xmlns:a16="http://schemas.microsoft.com/office/drawing/2014/main" xmlns="" id="{1E3FDC2D-37DE-4D8C-972B-A7826AEF96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105" y="141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8" name="Freeform 2427">
                <a:extLst>
                  <a:ext uri="{FF2B5EF4-FFF2-40B4-BE49-F238E27FC236}">
                    <a16:creationId xmlns:a16="http://schemas.microsoft.com/office/drawing/2014/main" xmlns="" id="{BE99F115-7C58-4FD2-8DD9-6C40DC005B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5" y="2490"/>
                <a:ext cx="450" cy="300"/>
              </a:xfrm>
              <a:custGeom>
                <a:avLst/>
                <a:gdLst>
                  <a:gd name="T0" fmla="*/ 180 w 450"/>
                  <a:gd name="T1" fmla="*/ 300 h 300"/>
                  <a:gd name="T2" fmla="*/ 300 w 450"/>
                  <a:gd name="T3" fmla="*/ 240 h 300"/>
                  <a:gd name="T4" fmla="*/ 450 w 450"/>
                  <a:gd name="T5" fmla="*/ 300 h 300"/>
                  <a:gd name="T6" fmla="*/ 360 w 450"/>
                  <a:gd name="T7" fmla="*/ 90 h 300"/>
                  <a:gd name="T8" fmla="*/ 240 w 450"/>
                  <a:gd name="T9" fmla="*/ 150 h 300"/>
                  <a:gd name="T10" fmla="*/ 0 w 450"/>
                  <a:gd name="T11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0" h="300">
                    <a:moveTo>
                      <a:pt x="180" y="300"/>
                    </a:moveTo>
                    <a:lnTo>
                      <a:pt x="300" y="240"/>
                    </a:lnTo>
                    <a:lnTo>
                      <a:pt x="450" y="300"/>
                    </a:lnTo>
                    <a:lnTo>
                      <a:pt x="360" y="9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39" name="Line 2428">
                <a:extLst>
                  <a:ext uri="{FF2B5EF4-FFF2-40B4-BE49-F238E27FC236}">
                    <a16:creationId xmlns:a16="http://schemas.microsoft.com/office/drawing/2014/main" xmlns="" id="{4FA8AFF8-3D78-4FF6-9F8A-1DC6F40571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925" y="243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0" name="Freeform 2429">
                <a:extLst>
                  <a:ext uri="{FF2B5EF4-FFF2-40B4-BE49-F238E27FC236}">
                    <a16:creationId xmlns:a16="http://schemas.microsoft.com/office/drawing/2014/main" xmlns="" id="{EA568BC4-F458-45E1-87EB-7CE82BC4E2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2070"/>
                <a:ext cx="300" cy="240"/>
              </a:xfrm>
              <a:custGeom>
                <a:avLst/>
                <a:gdLst>
                  <a:gd name="T0" fmla="*/ 180 w 300"/>
                  <a:gd name="T1" fmla="*/ 0 h 240"/>
                  <a:gd name="T2" fmla="*/ 0 w 300"/>
                  <a:gd name="T3" fmla="*/ 0 h 240"/>
                  <a:gd name="T4" fmla="*/ 60 w 300"/>
                  <a:gd name="T5" fmla="*/ 120 h 240"/>
                  <a:gd name="T6" fmla="*/ 180 w 300"/>
                  <a:gd name="T7" fmla="*/ 0 h 240"/>
                  <a:gd name="T8" fmla="*/ 300 w 300"/>
                  <a:gd name="T9" fmla="*/ 150 h 240"/>
                  <a:gd name="T10" fmla="*/ 150 w 300"/>
                  <a:gd name="T11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0" h="240">
                    <a:moveTo>
                      <a:pt x="180" y="0"/>
                    </a:moveTo>
                    <a:lnTo>
                      <a:pt x="0" y="0"/>
                    </a:lnTo>
                    <a:lnTo>
                      <a:pt x="60" y="120"/>
                    </a:lnTo>
                    <a:lnTo>
                      <a:pt x="180" y="0"/>
                    </a:lnTo>
                    <a:lnTo>
                      <a:pt x="300" y="150"/>
                    </a:lnTo>
                    <a:lnTo>
                      <a:pt x="15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1" name="Line 2430">
                <a:extLst>
                  <a:ext uri="{FF2B5EF4-FFF2-40B4-BE49-F238E27FC236}">
                    <a16:creationId xmlns:a16="http://schemas.microsoft.com/office/drawing/2014/main" xmlns="" id="{DAFC6CC4-FC5E-4EDA-9957-AA350D3D31C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35" y="2040"/>
                <a:ext cx="90" cy="21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2" name="Freeform 2431">
                <a:extLst>
                  <a:ext uri="{FF2B5EF4-FFF2-40B4-BE49-F238E27FC236}">
                    <a16:creationId xmlns:a16="http://schemas.microsoft.com/office/drawing/2014/main" xmlns="" id="{33356E3A-DA1D-4CF0-82AA-2DF76CECF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2310"/>
                <a:ext cx="690" cy="420"/>
              </a:xfrm>
              <a:custGeom>
                <a:avLst/>
                <a:gdLst>
                  <a:gd name="T0" fmla="*/ 120 w 690"/>
                  <a:gd name="T1" fmla="*/ 150 h 420"/>
                  <a:gd name="T2" fmla="*/ 330 w 690"/>
                  <a:gd name="T3" fmla="*/ 0 h 420"/>
                  <a:gd name="T4" fmla="*/ 180 w 690"/>
                  <a:gd name="T5" fmla="*/ 30 h 420"/>
                  <a:gd name="T6" fmla="*/ 270 w 690"/>
                  <a:gd name="T7" fmla="*/ 180 h 420"/>
                  <a:gd name="T8" fmla="*/ 0 w 690"/>
                  <a:gd name="T9" fmla="*/ 210 h 420"/>
                  <a:gd name="T10" fmla="*/ 210 w 690"/>
                  <a:gd name="T11" fmla="*/ 270 h 420"/>
                  <a:gd name="T12" fmla="*/ 330 w 690"/>
                  <a:gd name="T13" fmla="*/ 330 h 420"/>
                  <a:gd name="T14" fmla="*/ 420 w 690"/>
                  <a:gd name="T15" fmla="*/ 420 h 420"/>
                  <a:gd name="T16" fmla="*/ 450 w 690"/>
                  <a:gd name="T17" fmla="*/ 240 h 420"/>
                  <a:gd name="T18" fmla="*/ 570 w 690"/>
                  <a:gd name="T19" fmla="*/ 420 h 420"/>
                  <a:gd name="T20" fmla="*/ 690 w 690"/>
                  <a:gd name="T21" fmla="*/ 39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0" h="420">
                    <a:moveTo>
                      <a:pt x="120" y="150"/>
                    </a:moveTo>
                    <a:lnTo>
                      <a:pt x="330" y="0"/>
                    </a:lnTo>
                    <a:lnTo>
                      <a:pt x="180" y="30"/>
                    </a:lnTo>
                    <a:lnTo>
                      <a:pt x="270" y="180"/>
                    </a:lnTo>
                    <a:lnTo>
                      <a:pt x="0" y="210"/>
                    </a:lnTo>
                    <a:lnTo>
                      <a:pt x="210" y="270"/>
                    </a:lnTo>
                    <a:lnTo>
                      <a:pt x="330" y="330"/>
                    </a:lnTo>
                    <a:lnTo>
                      <a:pt x="420" y="420"/>
                    </a:lnTo>
                    <a:lnTo>
                      <a:pt x="450" y="240"/>
                    </a:lnTo>
                    <a:lnTo>
                      <a:pt x="570" y="420"/>
                    </a:lnTo>
                    <a:lnTo>
                      <a:pt x="690" y="3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3" name="Freeform 2432">
                <a:extLst>
                  <a:ext uri="{FF2B5EF4-FFF2-40B4-BE49-F238E27FC236}">
                    <a16:creationId xmlns:a16="http://schemas.microsoft.com/office/drawing/2014/main" xmlns="" id="{F106D933-6D5B-4BC9-9A44-8076B60F6D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" y="2490"/>
                <a:ext cx="389" cy="300"/>
              </a:xfrm>
              <a:custGeom>
                <a:avLst/>
                <a:gdLst>
                  <a:gd name="T0" fmla="*/ 180 w 389"/>
                  <a:gd name="T1" fmla="*/ 300 h 300"/>
                  <a:gd name="T2" fmla="*/ 389 w 389"/>
                  <a:gd name="T3" fmla="*/ 270 h 300"/>
                  <a:gd name="T4" fmla="*/ 240 w 389"/>
                  <a:gd name="T5" fmla="*/ 150 h 300"/>
                  <a:gd name="T6" fmla="*/ 0 w 389"/>
                  <a:gd name="T7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9" h="300">
                    <a:moveTo>
                      <a:pt x="180" y="300"/>
                    </a:moveTo>
                    <a:lnTo>
                      <a:pt x="389" y="27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4" name="Freeform 2433">
                <a:extLst>
                  <a:ext uri="{FF2B5EF4-FFF2-40B4-BE49-F238E27FC236}">
                    <a16:creationId xmlns:a16="http://schemas.microsoft.com/office/drawing/2014/main" xmlns="" id="{44884E62-54B7-4F19-B6A0-D82BDC70E4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5" y="2310"/>
                <a:ext cx="389" cy="360"/>
              </a:xfrm>
              <a:custGeom>
                <a:avLst/>
                <a:gdLst>
                  <a:gd name="T0" fmla="*/ 90 w 389"/>
                  <a:gd name="T1" fmla="*/ 330 h 360"/>
                  <a:gd name="T2" fmla="*/ 389 w 389"/>
                  <a:gd name="T3" fmla="*/ 360 h 360"/>
                  <a:gd name="T4" fmla="*/ 359 w 389"/>
                  <a:gd name="T5" fmla="*/ 240 h 360"/>
                  <a:gd name="T6" fmla="*/ 209 w 389"/>
                  <a:gd name="T7" fmla="*/ 270 h 360"/>
                  <a:gd name="T8" fmla="*/ 0 w 389"/>
                  <a:gd name="T9" fmla="*/ 210 h 360"/>
                  <a:gd name="T10" fmla="*/ 269 w 389"/>
                  <a:gd name="T11" fmla="*/ 180 h 360"/>
                  <a:gd name="T12" fmla="*/ 179 w 389"/>
                  <a:gd name="T13" fmla="*/ 30 h 360"/>
                  <a:gd name="T14" fmla="*/ 329 w 389"/>
                  <a:gd name="T15" fmla="*/ 0 h 360"/>
                  <a:gd name="T16" fmla="*/ 120 w 389"/>
                  <a:gd name="T17" fmla="*/ 15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9" h="360">
                    <a:moveTo>
                      <a:pt x="90" y="330"/>
                    </a:moveTo>
                    <a:lnTo>
                      <a:pt x="389" y="360"/>
                    </a:lnTo>
                    <a:lnTo>
                      <a:pt x="359" y="240"/>
                    </a:lnTo>
                    <a:lnTo>
                      <a:pt x="209" y="270"/>
                    </a:lnTo>
                    <a:lnTo>
                      <a:pt x="0" y="210"/>
                    </a:lnTo>
                    <a:lnTo>
                      <a:pt x="269" y="180"/>
                    </a:lnTo>
                    <a:lnTo>
                      <a:pt x="179" y="30"/>
                    </a:lnTo>
                    <a:lnTo>
                      <a:pt x="329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5" name="Line 2434">
                <a:extLst>
                  <a:ext uri="{FF2B5EF4-FFF2-40B4-BE49-F238E27FC236}">
                    <a16:creationId xmlns:a16="http://schemas.microsoft.com/office/drawing/2014/main" xmlns="" id="{D9606FCA-BC61-413D-9665-B66D3BA837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44" y="2310"/>
                <a:ext cx="30" cy="24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6" name="Freeform 2435">
                <a:extLst>
                  <a:ext uri="{FF2B5EF4-FFF2-40B4-BE49-F238E27FC236}">
                    <a16:creationId xmlns:a16="http://schemas.microsoft.com/office/drawing/2014/main" xmlns="" id="{0B02F323-3A65-434C-8981-11C1CAB4C7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5" y="2160"/>
                <a:ext cx="239" cy="30"/>
              </a:xfrm>
              <a:custGeom>
                <a:avLst/>
                <a:gdLst>
                  <a:gd name="T0" fmla="*/ 0 w 239"/>
                  <a:gd name="T1" fmla="*/ 0 h 30"/>
                  <a:gd name="T2" fmla="*/ 119 w 239"/>
                  <a:gd name="T3" fmla="*/ 30 h 30"/>
                  <a:gd name="T4" fmla="*/ 239 w 239"/>
                  <a:gd name="T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30">
                    <a:moveTo>
                      <a:pt x="0" y="0"/>
                    </a:moveTo>
                    <a:lnTo>
                      <a:pt x="119" y="30"/>
                    </a:lnTo>
                    <a:lnTo>
                      <a:pt x="23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7" name="Freeform 2436">
                <a:extLst>
                  <a:ext uri="{FF2B5EF4-FFF2-40B4-BE49-F238E27FC236}">
                    <a16:creationId xmlns:a16="http://schemas.microsoft.com/office/drawing/2014/main" xmlns="" id="{B5CDCA35-4247-47AD-9321-E5575BF93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2160"/>
                <a:ext cx="210" cy="510"/>
              </a:xfrm>
              <a:custGeom>
                <a:avLst/>
                <a:gdLst>
                  <a:gd name="T0" fmla="*/ 210 w 210"/>
                  <a:gd name="T1" fmla="*/ 180 h 510"/>
                  <a:gd name="T2" fmla="*/ 0 w 210"/>
                  <a:gd name="T3" fmla="*/ 510 h 510"/>
                  <a:gd name="T4" fmla="*/ 120 w 210"/>
                  <a:gd name="T5" fmla="*/ 480 h 510"/>
                  <a:gd name="T6" fmla="*/ 30 w 210"/>
                  <a:gd name="T7" fmla="*/ 330 h 510"/>
                  <a:gd name="T8" fmla="*/ 120 w 210"/>
                  <a:gd name="T9" fmla="*/ 240 h 510"/>
                  <a:gd name="T10" fmla="*/ 0 w 210"/>
                  <a:gd name="T11" fmla="*/ 180 h 510"/>
                  <a:gd name="T12" fmla="*/ 90 w 210"/>
                  <a:gd name="T13" fmla="*/ 0 h 510"/>
                  <a:gd name="T14" fmla="*/ 210 w 210"/>
                  <a:gd name="T15" fmla="*/ 18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0" h="510">
                    <a:moveTo>
                      <a:pt x="210" y="180"/>
                    </a:moveTo>
                    <a:lnTo>
                      <a:pt x="0" y="510"/>
                    </a:lnTo>
                    <a:lnTo>
                      <a:pt x="120" y="480"/>
                    </a:lnTo>
                    <a:lnTo>
                      <a:pt x="30" y="330"/>
                    </a:lnTo>
                    <a:lnTo>
                      <a:pt x="120" y="240"/>
                    </a:lnTo>
                    <a:lnTo>
                      <a:pt x="0" y="180"/>
                    </a:lnTo>
                    <a:lnTo>
                      <a:pt x="90" y="0"/>
                    </a:lnTo>
                    <a:lnTo>
                      <a:pt x="210" y="18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8" name="Freeform 2437">
                <a:extLst>
                  <a:ext uri="{FF2B5EF4-FFF2-40B4-BE49-F238E27FC236}">
                    <a16:creationId xmlns:a16="http://schemas.microsoft.com/office/drawing/2014/main" xmlns="" id="{EA6A00EF-E27E-4FB9-9FB8-26C402021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2100"/>
                <a:ext cx="719" cy="690"/>
              </a:xfrm>
              <a:custGeom>
                <a:avLst/>
                <a:gdLst>
                  <a:gd name="T0" fmla="*/ 119 w 719"/>
                  <a:gd name="T1" fmla="*/ 120 h 690"/>
                  <a:gd name="T2" fmla="*/ 0 w 719"/>
                  <a:gd name="T3" fmla="*/ 30 h 690"/>
                  <a:gd name="T4" fmla="*/ 209 w 719"/>
                  <a:gd name="T5" fmla="*/ 0 h 690"/>
                  <a:gd name="T6" fmla="*/ 299 w 719"/>
                  <a:gd name="T7" fmla="*/ 120 h 690"/>
                  <a:gd name="T8" fmla="*/ 389 w 719"/>
                  <a:gd name="T9" fmla="*/ 0 h 690"/>
                  <a:gd name="T10" fmla="*/ 209 w 719"/>
                  <a:gd name="T11" fmla="*/ 0 h 690"/>
                  <a:gd name="T12" fmla="*/ 209 w 719"/>
                  <a:gd name="T13" fmla="*/ 151 h 690"/>
                  <a:gd name="T14" fmla="*/ 119 w 719"/>
                  <a:gd name="T15" fmla="*/ 120 h 690"/>
                  <a:gd name="T16" fmla="*/ 89 w 719"/>
                  <a:gd name="T17" fmla="*/ 210 h 690"/>
                  <a:gd name="T18" fmla="*/ 89 w 719"/>
                  <a:gd name="T19" fmla="*/ 450 h 690"/>
                  <a:gd name="T20" fmla="*/ 209 w 719"/>
                  <a:gd name="T21" fmla="*/ 360 h 690"/>
                  <a:gd name="T22" fmla="*/ 298 w 719"/>
                  <a:gd name="T23" fmla="*/ 452 h 690"/>
                  <a:gd name="T24" fmla="*/ 269 w 719"/>
                  <a:gd name="T25" fmla="*/ 270 h 690"/>
                  <a:gd name="T26" fmla="*/ 359 w 719"/>
                  <a:gd name="T27" fmla="*/ 210 h 690"/>
                  <a:gd name="T28" fmla="*/ 479 w 719"/>
                  <a:gd name="T29" fmla="*/ 270 h 690"/>
                  <a:gd name="T30" fmla="*/ 359 w 719"/>
                  <a:gd name="T31" fmla="*/ 330 h 690"/>
                  <a:gd name="T32" fmla="*/ 449 w 719"/>
                  <a:gd name="T33" fmla="*/ 390 h 690"/>
                  <a:gd name="T34" fmla="*/ 719 w 719"/>
                  <a:gd name="T35" fmla="*/ 360 h 690"/>
                  <a:gd name="T36" fmla="*/ 599 w 719"/>
                  <a:gd name="T37" fmla="*/ 420 h 690"/>
                  <a:gd name="T38" fmla="*/ 629 w 719"/>
                  <a:gd name="T39" fmla="*/ 690 h 690"/>
                  <a:gd name="T40" fmla="*/ 419 w 719"/>
                  <a:gd name="T41" fmla="*/ 510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9" h="690">
                    <a:moveTo>
                      <a:pt x="119" y="120"/>
                    </a:moveTo>
                    <a:lnTo>
                      <a:pt x="0" y="30"/>
                    </a:lnTo>
                    <a:lnTo>
                      <a:pt x="209" y="0"/>
                    </a:lnTo>
                    <a:lnTo>
                      <a:pt x="299" y="120"/>
                    </a:lnTo>
                    <a:lnTo>
                      <a:pt x="389" y="0"/>
                    </a:lnTo>
                    <a:lnTo>
                      <a:pt x="209" y="0"/>
                    </a:lnTo>
                    <a:lnTo>
                      <a:pt x="209" y="151"/>
                    </a:lnTo>
                    <a:lnTo>
                      <a:pt x="119" y="120"/>
                    </a:lnTo>
                    <a:lnTo>
                      <a:pt x="89" y="210"/>
                    </a:lnTo>
                    <a:lnTo>
                      <a:pt x="89" y="450"/>
                    </a:lnTo>
                    <a:lnTo>
                      <a:pt x="209" y="360"/>
                    </a:lnTo>
                    <a:lnTo>
                      <a:pt x="298" y="452"/>
                    </a:lnTo>
                    <a:lnTo>
                      <a:pt x="269" y="270"/>
                    </a:lnTo>
                    <a:lnTo>
                      <a:pt x="359" y="210"/>
                    </a:lnTo>
                    <a:lnTo>
                      <a:pt x="479" y="270"/>
                    </a:lnTo>
                    <a:lnTo>
                      <a:pt x="359" y="330"/>
                    </a:lnTo>
                    <a:lnTo>
                      <a:pt x="449" y="390"/>
                    </a:lnTo>
                    <a:lnTo>
                      <a:pt x="719" y="360"/>
                    </a:lnTo>
                    <a:lnTo>
                      <a:pt x="599" y="420"/>
                    </a:lnTo>
                    <a:lnTo>
                      <a:pt x="629" y="690"/>
                    </a:lnTo>
                    <a:lnTo>
                      <a:pt x="419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49" name="Freeform 2438">
                <a:extLst>
                  <a:ext uri="{FF2B5EF4-FFF2-40B4-BE49-F238E27FC236}">
                    <a16:creationId xmlns:a16="http://schemas.microsoft.com/office/drawing/2014/main" xmlns="" id="{D0DFAE96-F160-43D0-9D72-9FD883AAFD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2190"/>
                <a:ext cx="359" cy="330"/>
              </a:xfrm>
              <a:custGeom>
                <a:avLst/>
                <a:gdLst>
                  <a:gd name="T0" fmla="*/ 300 w 359"/>
                  <a:gd name="T1" fmla="*/ 240 h 330"/>
                  <a:gd name="T2" fmla="*/ 210 w 359"/>
                  <a:gd name="T3" fmla="*/ 330 h 330"/>
                  <a:gd name="T4" fmla="*/ 30 w 359"/>
                  <a:gd name="T5" fmla="*/ 300 h 330"/>
                  <a:gd name="T6" fmla="*/ 0 w 359"/>
                  <a:gd name="T7" fmla="*/ 150 h 330"/>
                  <a:gd name="T8" fmla="*/ 210 w 359"/>
                  <a:gd name="T9" fmla="*/ 0 h 330"/>
                  <a:gd name="T10" fmla="*/ 359 w 359"/>
                  <a:gd name="T11" fmla="*/ 12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9" h="330">
                    <a:moveTo>
                      <a:pt x="300" y="240"/>
                    </a:moveTo>
                    <a:lnTo>
                      <a:pt x="210" y="330"/>
                    </a:lnTo>
                    <a:lnTo>
                      <a:pt x="30" y="300"/>
                    </a:lnTo>
                    <a:lnTo>
                      <a:pt x="0" y="150"/>
                    </a:lnTo>
                    <a:lnTo>
                      <a:pt x="210" y="0"/>
                    </a:lnTo>
                    <a:lnTo>
                      <a:pt x="359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0" name="Freeform 2439">
                <a:extLst>
                  <a:ext uri="{FF2B5EF4-FFF2-40B4-BE49-F238E27FC236}">
                    <a16:creationId xmlns:a16="http://schemas.microsoft.com/office/drawing/2014/main" xmlns="" id="{65B028FD-571D-4DF0-8134-6B6AD565FE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6" y="2520"/>
                <a:ext cx="239" cy="120"/>
              </a:xfrm>
              <a:custGeom>
                <a:avLst/>
                <a:gdLst>
                  <a:gd name="T0" fmla="*/ 90 w 239"/>
                  <a:gd name="T1" fmla="*/ 0 h 120"/>
                  <a:gd name="T2" fmla="*/ 0 w 239"/>
                  <a:gd name="T3" fmla="*/ 120 h 120"/>
                  <a:gd name="T4" fmla="*/ 239 w 239"/>
                  <a:gd name="T5" fmla="*/ 3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120">
                    <a:moveTo>
                      <a:pt x="90" y="0"/>
                    </a:moveTo>
                    <a:lnTo>
                      <a:pt x="0" y="120"/>
                    </a:lnTo>
                    <a:lnTo>
                      <a:pt x="23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1" name="Freeform 2440">
                <a:extLst>
                  <a:ext uri="{FF2B5EF4-FFF2-40B4-BE49-F238E27FC236}">
                    <a16:creationId xmlns:a16="http://schemas.microsoft.com/office/drawing/2014/main" xmlns="" id="{BD49CB6C-8549-40C8-B788-AC7EBB9165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540"/>
                <a:ext cx="899" cy="750"/>
              </a:xfrm>
              <a:custGeom>
                <a:avLst/>
                <a:gdLst>
                  <a:gd name="T0" fmla="*/ 299 w 899"/>
                  <a:gd name="T1" fmla="*/ 630 h 750"/>
                  <a:gd name="T2" fmla="*/ 268 w 899"/>
                  <a:gd name="T3" fmla="*/ 482 h 750"/>
                  <a:gd name="T4" fmla="*/ 179 w 899"/>
                  <a:gd name="T5" fmla="*/ 570 h 750"/>
                  <a:gd name="T6" fmla="*/ 59 w 899"/>
                  <a:gd name="T7" fmla="*/ 480 h 750"/>
                  <a:gd name="T8" fmla="*/ 0 w 899"/>
                  <a:gd name="T9" fmla="*/ 360 h 750"/>
                  <a:gd name="T10" fmla="*/ 59 w 899"/>
                  <a:gd name="T11" fmla="*/ 240 h 750"/>
                  <a:gd name="T12" fmla="*/ 179 w 899"/>
                  <a:gd name="T13" fmla="*/ 390 h 750"/>
                  <a:gd name="T14" fmla="*/ 239 w 899"/>
                  <a:gd name="T15" fmla="*/ 300 h 750"/>
                  <a:gd name="T16" fmla="*/ 329 w 899"/>
                  <a:gd name="T17" fmla="*/ 360 h 750"/>
                  <a:gd name="T18" fmla="*/ 329 w 899"/>
                  <a:gd name="T19" fmla="*/ 240 h 750"/>
                  <a:gd name="T20" fmla="*/ 179 w 899"/>
                  <a:gd name="T21" fmla="*/ 181 h 750"/>
                  <a:gd name="T22" fmla="*/ 269 w 899"/>
                  <a:gd name="T23" fmla="*/ 150 h 750"/>
                  <a:gd name="T24" fmla="*/ 389 w 899"/>
                  <a:gd name="T25" fmla="*/ 120 h 750"/>
                  <a:gd name="T26" fmla="*/ 449 w 899"/>
                  <a:gd name="T27" fmla="*/ 300 h 750"/>
                  <a:gd name="T28" fmla="*/ 539 w 899"/>
                  <a:gd name="T29" fmla="*/ 180 h 750"/>
                  <a:gd name="T30" fmla="*/ 509 w 899"/>
                  <a:gd name="T31" fmla="*/ 60 h 750"/>
                  <a:gd name="T32" fmla="*/ 359 w 899"/>
                  <a:gd name="T33" fmla="*/ 30 h 750"/>
                  <a:gd name="T34" fmla="*/ 569 w 899"/>
                  <a:gd name="T35" fmla="*/ 0 h 750"/>
                  <a:gd name="T36" fmla="*/ 689 w 899"/>
                  <a:gd name="T37" fmla="*/ 90 h 750"/>
                  <a:gd name="T38" fmla="*/ 659 w 899"/>
                  <a:gd name="T39" fmla="*/ 240 h 750"/>
                  <a:gd name="T40" fmla="*/ 749 w 899"/>
                  <a:gd name="T41" fmla="*/ 270 h 750"/>
                  <a:gd name="T42" fmla="*/ 809 w 899"/>
                  <a:gd name="T43" fmla="*/ 120 h 750"/>
                  <a:gd name="T44" fmla="*/ 899 w 899"/>
                  <a:gd name="T45" fmla="*/ 240 h 750"/>
                  <a:gd name="T46" fmla="*/ 839 w 899"/>
                  <a:gd name="T47" fmla="*/ 420 h 750"/>
                  <a:gd name="T48" fmla="*/ 779 w 899"/>
                  <a:gd name="T49" fmla="*/ 510 h 750"/>
                  <a:gd name="T50" fmla="*/ 689 w 899"/>
                  <a:gd name="T51" fmla="*/ 390 h 750"/>
                  <a:gd name="T52" fmla="*/ 539 w 899"/>
                  <a:gd name="T53" fmla="*/ 330 h 750"/>
                  <a:gd name="T54" fmla="*/ 569 w 899"/>
                  <a:gd name="T55" fmla="*/ 450 h 750"/>
                  <a:gd name="T56" fmla="*/ 419 w 899"/>
                  <a:gd name="T57" fmla="*/ 420 h 750"/>
                  <a:gd name="T58" fmla="*/ 389 w 899"/>
                  <a:gd name="T59" fmla="*/ 540 h 750"/>
                  <a:gd name="T60" fmla="*/ 509 w 899"/>
                  <a:gd name="T61" fmla="*/ 570 h 750"/>
                  <a:gd name="T62" fmla="*/ 659 w 899"/>
                  <a:gd name="T63" fmla="*/ 570 h 750"/>
                  <a:gd name="T64" fmla="*/ 659 w 899"/>
                  <a:gd name="T65" fmla="*/ 75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99" h="750">
                    <a:moveTo>
                      <a:pt x="299" y="630"/>
                    </a:moveTo>
                    <a:lnTo>
                      <a:pt x="268" y="482"/>
                    </a:lnTo>
                    <a:lnTo>
                      <a:pt x="179" y="570"/>
                    </a:lnTo>
                    <a:lnTo>
                      <a:pt x="59" y="480"/>
                    </a:lnTo>
                    <a:lnTo>
                      <a:pt x="0" y="360"/>
                    </a:lnTo>
                    <a:lnTo>
                      <a:pt x="59" y="240"/>
                    </a:lnTo>
                    <a:lnTo>
                      <a:pt x="179" y="390"/>
                    </a:lnTo>
                    <a:lnTo>
                      <a:pt x="239" y="300"/>
                    </a:lnTo>
                    <a:lnTo>
                      <a:pt x="329" y="360"/>
                    </a:lnTo>
                    <a:lnTo>
                      <a:pt x="329" y="240"/>
                    </a:lnTo>
                    <a:lnTo>
                      <a:pt x="179" y="181"/>
                    </a:lnTo>
                    <a:lnTo>
                      <a:pt x="269" y="150"/>
                    </a:lnTo>
                    <a:lnTo>
                      <a:pt x="389" y="120"/>
                    </a:lnTo>
                    <a:lnTo>
                      <a:pt x="449" y="300"/>
                    </a:lnTo>
                    <a:lnTo>
                      <a:pt x="539" y="180"/>
                    </a:lnTo>
                    <a:lnTo>
                      <a:pt x="509" y="60"/>
                    </a:lnTo>
                    <a:lnTo>
                      <a:pt x="359" y="30"/>
                    </a:lnTo>
                    <a:lnTo>
                      <a:pt x="569" y="0"/>
                    </a:lnTo>
                    <a:lnTo>
                      <a:pt x="689" y="90"/>
                    </a:lnTo>
                    <a:lnTo>
                      <a:pt x="659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89" y="390"/>
                    </a:lnTo>
                    <a:lnTo>
                      <a:pt x="539" y="330"/>
                    </a:lnTo>
                    <a:lnTo>
                      <a:pt x="569" y="450"/>
                    </a:lnTo>
                    <a:lnTo>
                      <a:pt x="419" y="420"/>
                    </a:lnTo>
                    <a:lnTo>
                      <a:pt x="389" y="540"/>
                    </a:lnTo>
                    <a:lnTo>
                      <a:pt x="509" y="570"/>
                    </a:lnTo>
                    <a:lnTo>
                      <a:pt x="659" y="570"/>
                    </a:lnTo>
                    <a:lnTo>
                      <a:pt x="659" y="7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2" name="Line 2441">
                <a:extLst>
                  <a:ext uri="{FF2B5EF4-FFF2-40B4-BE49-F238E27FC236}">
                    <a16:creationId xmlns:a16="http://schemas.microsoft.com/office/drawing/2014/main" xmlns="" id="{183CE9D6-EEB1-4E8B-8141-69B7E29FEC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115" y="721"/>
                <a:ext cx="120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3" name="Freeform 2442">
                <a:extLst>
                  <a:ext uri="{FF2B5EF4-FFF2-40B4-BE49-F238E27FC236}">
                    <a16:creationId xmlns:a16="http://schemas.microsoft.com/office/drawing/2014/main" xmlns="" id="{4A9B83AF-3F9B-41BF-A242-68F66EAC58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" y="900"/>
                <a:ext cx="121" cy="180"/>
              </a:xfrm>
              <a:custGeom>
                <a:avLst/>
                <a:gdLst>
                  <a:gd name="T0" fmla="*/ 61 w 121"/>
                  <a:gd name="T1" fmla="*/ 0 h 180"/>
                  <a:gd name="T2" fmla="*/ 121 w 121"/>
                  <a:gd name="T3" fmla="*/ 180 h 180"/>
                  <a:gd name="T4" fmla="*/ 0 w 121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1" h="180">
                    <a:moveTo>
                      <a:pt x="61" y="0"/>
                    </a:moveTo>
                    <a:lnTo>
                      <a:pt x="121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4" name="Freeform 2443">
                <a:extLst>
                  <a:ext uri="{FF2B5EF4-FFF2-40B4-BE49-F238E27FC236}">
                    <a16:creationId xmlns:a16="http://schemas.microsoft.com/office/drawing/2014/main" xmlns="" id="{04D7D19B-7BC1-4157-BDCF-F9C5E6F0A1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5" y="51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5" name="Line 2444">
                <a:extLst>
                  <a:ext uri="{FF2B5EF4-FFF2-40B4-BE49-F238E27FC236}">
                    <a16:creationId xmlns:a16="http://schemas.microsoft.com/office/drawing/2014/main" xmlns="" id="{9094EBC4-2634-48FA-8434-417FD3EFBC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45" y="6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6" name="Freeform 2445">
                <a:extLst>
                  <a:ext uri="{FF2B5EF4-FFF2-40B4-BE49-F238E27FC236}">
                    <a16:creationId xmlns:a16="http://schemas.microsoft.com/office/drawing/2014/main" xmlns="" id="{1FB9E07E-C9CE-4AA7-927A-F7DC054E96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6" y="600"/>
                <a:ext cx="599" cy="630"/>
              </a:xfrm>
              <a:custGeom>
                <a:avLst/>
                <a:gdLst>
                  <a:gd name="T0" fmla="*/ 599 w 599"/>
                  <a:gd name="T1" fmla="*/ 510 h 630"/>
                  <a:gd name="T2" fmla="*/ 389 w 599"/>
                  <a:gd name="T3" fmla="*/ 570 h 630"/>
                  <a:gd name="T4" fmla="*/ 269 w 599"/>
                  <a:gd name="T5" fmla="*/ 510 h 630"/>
                  <a:gd name="T6" fmla="*/ 90 w 599"/>
                  <a:gd name="T7" fmla="*/ 540 h 630"/>
                  <a:gd name="T8" fmla="*/ 0 w 599"/>
                  <a:gd name="T9" fmla="*/ 390 h 630"/>
                  <a:gd name="T10" fmla="*/ 0 w 599"/>
                  <a:gd name="T11" fmla="*/ 630 h 630"/>
                  <a:gd name="T12" fmla="*/ 90 w 599"/>
                  <a:gd name="T13" fmla="*/ 300 h 630"/>
                  <a:gd name="T14" fmla="*/ 0 w 599"/>
                  <a:gd name="T15" fmla="*/ 210 h 630"/>
                  <a:gd name="T16" fmla="*/ 0 w 599"/>
                  <a:gd name="T17" fmla="*/ 60 h 630"/>
                  <a:gd name="T18" fmla="*/ 60 w 599"/>
                  <a:gd name="T19" fmla="*/ 0 h 630"/>
                  <a:gd name="T20" fmla="*/ 149 w 599"/>
                  <a:gd name="T21" fmla="*/ 180 h 630"/>
                  <a:gd name="T22" fmla="*/ 329 w 599"/>
                  <a:gd name="T23" fmla="*/ 240 h 630"/>
                  <a:gd name="T24" fmla="*/ 359 w 599"/>
                  <a:gd name="T25" fmla="*/ 9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9" h="630">
                    <a:moveTo>
                      <a:pt x="599" y="510"/>
                    </a:moveTo>
                    <a:lnTo>
                      <a:pt x="389" y="570"/>
                    </a:lnTo>
                    <a:lnTo>
                      <a:pt x="269" y="510"/>
                    </a:lnTo>
                    <a:lnTo>
                      <a:pt x="90" y="540"/>
                    </a:lnTo>
                    <a:lnTo>
                      <a:pt x="0" y="390"/>
                    </a:lnTo>
                    <a:lnTo>
                      <a:pt x="0" y="630"/>
                    </a:lnTo>
                    <a:lnTo>
                      <a:pt x="90" y="300"/>
                    </a:lnTo>
                    <a:lnTo>
                      <a:pt x="0" y="210"/>
                    </a:lnTo>
                    <a:lnTo>
                      <a:pt x="0" y="60"/>
                    </a:lnTo>
                    <a:lnTo>
                      <a:pt x="60" y="0"/>
                    </a:lnTo>
                    <a:lnTo>
                      <a:pt x="149" y="180"/>
                    </a:lnTo>
                    <a:lnTo>
                      <a:pt x="329" y="240"/>
                    </a:lnTo>
                    <a:lnTo>
                      <a:pt x="359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7" name="Freeform 2446">
                <a:extLst>
                  <a:ext uri="{FF2B5EF4-FFF2-40B4-BE49-F238E27FC236}">
                    <a16:creationId xmlns:a16="http://schemas.microsoft.com/office/drawing/2014/main" xmlns="" id="{4CC2CCE0-8B45-4306-9D02-24739493D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5" y="540"/>
                <a:ext cx="899" cy="720"/>
              </a:xfrm>
              <a:custGeom>
                <a:avLst/>
                <a:gdLst>
                  <a:gd name="T0" fmla="*/ 60 w 899"/>
                  <a:gd name="T1" fmla="*/ 240 h 720"/>
                  <a:gd name="T2" fmla="*/ 180 w 899"/>
                  <a:gd name="T3" fmla="*/ 390 h 720"/>
                  <a:gd name="T4" fmla="*/ 240 w 899"/>
                  <a:gd name="T5" fmla="*/ 300 h 720"/>
                  <a:gd name="T6" fmla="*/ 330 w 899"/>
                  <a:gd name="T7" fmla="*/ 360 h 720"/>
                  <a:gd name="T8" fmla="*/ 330 w 899"/>
                  <a:gd name="T9" fmla="*/ 240 h 720"/>
                  <a:gd name="T10" fmla="*/ 180 w 899"/>
                  <a:gd name="T11" fmla="*/ 181 h 720"/>
                  <a:gd name="T12" fmla="*/ 270 w 899"/>
                  <a:gd name="T13" fmla="*/ 150 h 720"/>
                  <a:gd name="T14" fmla="*/ 390 w 899"/>
                  <a:gd name="T15" fmla="*/ 120 h 720"/>
                  <a:gd name="T16" fmla="*/ 450 w 899"/>
                  <a:gd name="T17" fmla="*/ 300 h 720"/>
                  <a:gd name="T18" fmla="*/ 540 w 899"/>
                  <a:gd name="T19" fmla="*/ 180 h 720"/>
                  <a:gd name="T20" fmla="*/ 510 w 899"/>
                  <a:gd name="T21" fmla="*/ 60 h 720"/>
                  <a:gd name="T22" fmla="*/ 360 w 899"/>
                  <a:gd name="T23" fmla="*/ 30 h 720"/>
                  <a:gd name="T24" fmla="*/ 570 w 899"/>
                  <a:gd name="T25" fmla="*/ 0 h 720"/>
                  <a:gd name="T26" fmla="*/ 690 w 899"/>
                  <a:gd name="T27" fmla="*/ 90 h 720"/>
                  <a:gd name="T28" fmla="*/ 660 w 899"/>
                  <a:gd name="T29" fmla="*/ 240 h 720"/>
                  <a:gd name="T30" fmla="*/ 749 w 899"/>
                  <a:gd name="T31" fmla="*/ 270 h 720"/>
                  <a:gd name="T32" fmla="*/ 809 w 899"/>
                  <a:gd name="T33" fmla="*/ 120 h 720"/>
                  <a:gd name="T34" fmla="*/ 899 w 899"/>
                  <a:gd name="T35" fmla="*/ 240 h 720"/>
                  <a:gd name="T36" fmla="*/ 839 w 899"/>
                  <a:gd name="T37" fmla="*/ 420 h 720"/>
                  <a:gd name="T38" fmla="*/ 779 w 899"/>
                  <a:gd name="T39" fmla="*/ 510 h 720"/>
                  <a:gd name="T40" fmla="*/ 690 w 899"/>
                  <a:gd name="T41" fmla="*/ 390 h 720"/>
                  <a:gd name="T42" fmla="*/ 540 w 899"/>
                  <a:gd name="T43" fmla="*/ 330 h 720"/>
                  <a:gd name="T44" fmla="*/ 570 w 899"/>
                  <a:gd name="T45" fmla="*/ 450 h 720"/>
                  <a:gd name="T46" fmla="*/ 420 w 899"/>
                  <a:gd name="T47" fmla="*/ 420 h 720"/>
                  <a:gd name="T48" fmla="*/ 390 w 899"/>
                  <a:gd name="T49" fmla="*/ 540 h 720"/>
                  <a:gd name="T50" fmla="*/ 510 w 899"/>
                  <a:gd name="T51" fmla="*/ 570 h 720"/>
                  <a:gd name="T52" fmla="*/ 660 w 899"/>
                  <a:gd name="T53" fmla="*/ 570 h 720"/>
                  <a:gd name="T54" fmla="*/ 600 w 899"/>
                  <a:gd name="T55" fmla="*/ 720 h 720"/>
                  <a:gd name="T56" fmla="*/ 300 w 899"/>
                  <a:gd name="T57" fmla="*/ 630 h 720"/>
                  <a:gd name="T58" fmla="*/ 268 w 899"/>
                  <a:gd name="T59" fmla="*/ 482 h 720"/>
                  <a:gd name="T60" fmla="*/ 180 w 899"/>
                  <a:gd name="T61" fmla="*/ 570 h 720"/>
                  <a:gd name="T62" fmla="*/ 60 w 899"/>
                  <a:gd name="T63" fmla="*/ 480 h 720"/>
                  <a:gd name="T64" fmla="*/ 0 w 899"/>
                  <a:gd name="T65" fmla="*/ 360 h 720"/>
                  <a:gd name="T66" fmla="*/ 60 w 899"/>
                  <a:gd name="T67" fmla="*/ 24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9" h="720">
                    <a:moveTo>
                      <a:pt x="60" y="240"/>
                    </a:moveTo>
                    <a:lnTo>
                      <a:pt x="180" y="390"/>
                    </a:lnTo>
                    <a:lnTo>
                      <a:pt x="240" y="300"/>
                    </a:lnTo>
                    <a:lnTo>
                      <a:pt x="330" y="360"/>
                    </a:lnTo>
                    <a:lnTo>
                      <a:pt x="330" y="240"/>
                    </a:lnTo>
                    <a:lnTo>
                      <a:pt x="180" y="181"/>
                    </a:lnTo>
                    <a:lnTo>
                      <a:pt x="270" y="150"/>
                    </a:lnTo>
                    <a:lnTo>
                      <a:pt x="390" y="120"/>
                    </a:lnTo>
                    <a:lnTo>
                      <a:pt x="450" y="300"/>
                    </a:lnTo>
                    <a:lnTo>
                      <a:pt x="540" y="180"/>
                    </a:lnTo>
                    <a:lnTo>
                      <a:pt x="510" y="60"/>
                    </a:lnTo>
                    <a:lnTo>
                      <a:pt x="360" y="30"/>
                    </a:lnTo>
                    <a:lnTo>
                      <a:pt x="570" y="0"/>
                    </a:lnTo>
                    <a:lnTo>
                      <a:pt x="690" y="90"/>
                    </a:lnTo>
                    <a:lnTo>
                      <a:pt x="660" y="240"/>
                    </a:lnTo>
                    <a:lnTo>
                      <a:pt x="749" y="270"/>
                    </a:lnTo>
                    <a:lnTo>
                      <a:pt x="809" y="120"/>
                    </a:lnTo>
                    <a:lnTo>
                      <a:pt x="899" y="240"/>
                    </a:lnTo>
                    <a:lnTo>
                      <a:pt x="839" y="420"/>
                    </a:lnTo>
                    <a:lnTo>
                      <a:pt x="779" y="510"/>
                    </a:lnTo>
                    <a:lnTo>
                      <a:pt x="690" y="390"/>
                    </a:lnTo>
                    <a:lnTo>
                      <a:pt x="540" y="330"/>
                    </a:lnTo>
                    <a:lnTo>
                      <a:pt x="570" y="450"/>
                    </a:lnTo>
                    <a:lnTo>
                      <a:pt x="420" y="420"/>
                    </a:lnTo>
                    <a:lnTo>
                      <a:pt x="390" y="540"/>
                    </a:lnTo>
                    <a:lnTo>
                      <a:pt x="510" y="570"/>
                    </a:lnTo>
                    <a:lnTo>
                      <a:pt x="660" y="570"/>
                    </a:lnTo>
                    <a:lnTo>
                      <a:pt x="600" y="720"/>
                    </a:lnTo>
                    <a:lnTo>
                      <a:pt x="300" y="630"/>
                    </a:lnTo>
                    <a:lnTo>
                      <a:pt x="268" y="482"/>
                    </a:lnTo>
                    <a:lnTo>
                      <a:pt x="180" y="570"/>
                    </a:lnTo>
                    <a:lnTo>
                      <a:pt x="60" y="480"/>
                    </a:lnTo>
                    <a:lnTo>
                      <a:pt x="0" y="360"/>
                    </a:lnTo>
                    <a:lnTo>
                      <a:pt x="6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8" name="Freeform 2447">
                <a:extLst>
                  <a:ext uri="{FF2B5EF4-FFF2-40B4-BE49-F238E27FC236}">
                    <a16:creationId xmlns:a16="http://schemas.microsoft.com/office/drawing/2014/main" xmlns="" id="{54130A2D-79C4-485A-B64E-0A4DA5ED77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690"/>
                <a:ext cx="210" cy="150"/>
              </a:xfrm>
              <a:custGeom>
                <a:avLst/>
                <a:gdLst>
                  <a:gd name="T0" fmla="*/ 0 w 210"/>
                  <a:gd name="T1" fmla="*/ 90 h 150"/>
                  <a:gd name="T2" fmla="*/ 180 w 210"/>
                  <a:gd name="T3" fmla="*/ 150 h 150"/>
                  <a:gd name="T4" fmla="*/ 210 w 210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150">
                    <a:moveTo>
                      <a:pt x="0" y="90"/>
                    </a:moveTo>
                    <a:lnTo>
                      <a:pt x="180" y="150"/>
                    </a:lnTo>
                    <a:lnTo>
                      <a:pt x="21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59" name="Freeform 2448">
                <a:extLst>
                  <a:ext uri="{FF2B5EF4-FFF2-40B4-BE49-F238E27FC236}">
                    <a16:creationId xmlns:a16="http://schemas.microsoft.com/office/drawing/2014/main" xmlns="" id="{FD9594E0-7F0E-4412-B167-5CB9DB84C7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721"/>
                <a:ext cx="240" cy="389"/>
              </a:xfrm>
              <a:custGeom>
                <a:avLst/>
                <a:gdLst>
                  <a:gd name="T0" fmla="*/ 240 w 240"/>
                  <a:gd name="T1" fmla="*/ 0 h 389"/>
                  <a:gd name="T2" fmla="*/ 120 w 240"/>
                  <a:gd name="T3" fmla="*/ 299 h 389"/>
                  <a:gd name="T4" fmla="*/ 0 w 240"/>
                  <a:gd name="T5" fmla="*/ 389 h 389"/>
                  <a:gd name="T6" fmla="*/ 60 w 240"/>
                  <a:gd name="T7" fmla="*/ 179 h 389"/>
                  <a:gd name="T8" fmla="*/ 0 w 240"/>
                  <a:gd name="T9" fmla="*/ 59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389">
                    <a:moveTo>
                      <a:pt x="240" y="0"/>
                    </a:moveTo>
                    <a:lnTo>
                      <a:pt x="120" y="299"/>
                    </a:lnTo>
                    <a:lnTo>
                      <a:pt x="0" y="389"/>
                    </a:lnTo>
                    <a:lnTo>
                      <a:pt x="60" y="179"/>
                    </a:lnTo>
                    <a:lnTo>
                      <a:pt x="0" y="5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0" name="Freeform 2449">
                <a:extLst>
                  <a:ext uri="{FF2B5EF4-FFF2-40B4-BE49-F238E27FC236}">
                    <a16:creationId xmlns:a16="http://schemas.microsoft.com/office/drawing/2014/main" xmlns="" id="{C99822E5-027C-49C7-9956-5F103E28C1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3" y="900"/>
                <a:ext cx="122" cy="180"/>
              </a:xfrm>
              <a:custGeom>
                <a:avLst/>
                <a:gdLst>
                  <a:gd name="T0" fmla="*/ 62 w 122"/>
                  <a:gd name="T1" fmla="*/ 0 h 180"/>
                  <a:gd name="T2" fmla="*/ 122 w 122"/>
                  <a:gd name="T3" fmla="*/ 180 h 180"/>
                  <a:gd name="T4" fmla="*/ 0 w 122"/>
                  <a:gd name="T5" fmla="*/ 12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2" h="180">
                    <a:moveTo>
                      <a:pt x="62" y="0"/>
                    </a:moveTo>
                    <a:lnTo>
                      <a:pt x="122" y="180"/>
                    </a:lnTo>
                    <a:lnTo>
                      <a:pt x="0" y="12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1" name="Freeform 2450">
                <a:extLst>
                  <a:ext uri="{FF2B5EF4-FFF2-40B4-BE49-F238E27FC236}">
                    <a16:creationId xmlns:a16="http://schemas.microsoft.com/office/drawing/2014/main" xmlns="" id="{D7C0589B-DFCB-41F1-82E6-76CA946C9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5" y="510"/>
                <a:ext cx="240" cy="270"/>
              </a:xfrm>
              <a:custGeom>
                <a:avLst/>
                <a:gdLst>
                  <a:gd name="T0" fmla="*/ 180 w 240"/>
                  <a:gd name="T1" fmla="*/ 90 h 270"/>
                  <a:gd name="T2" fmla="*/ 120 w 240"/>
                  <a:gd name="T3" fmla="*/ 0 h 270"/>
                  <a:gd name="T4" fmla="*/ 240 w 240"/>
                  <a:gd name="T5" fmla="*/ 30 h 270"/>
                  <a:gd name="T6" fmla="*/ 210 w 240"/>
                  <a:gd name="T7" fmla="*/ 210 h 270"/>
                  <a:gd name="T8" fmla="*/ 0 w 240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0" h="270">
                    <a:moveTo>
                      <a:pt x="180" y="90"/>
                    </a:moveTo>
                    <a:lnTo>
                      <a:pt x="120" y="0"/>
                    </a:lnTo>
                    <a:lnTo>
                      <a:pt x="240" y="30"/>
                    </a:lnTo>
                    <a:lnTo>
                      <a:pt x="210" y="21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2" name="Line 2451">
                <a:extLst>
                  <a:ext uri="{FF2B5EF4-FFF2-40B4-BE49-F238E27FC236}">
                    <a16:creationId xmlns:a16="http://schemas.microsoft.com/office/drawing/2014/main" xmlns="" id="{C914DC24-B310-4F88-BFEC-7973009206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05" y="6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3" name="Freeform 2452">
                <a:extLst>
                  <a:ext uri="{FF2B5EF4-FFF2-40B4-BE49-F238E27FC236}">
                    <a16:creationId xmlns:a16="http://schemas.microsoft.com/office/drawing/2014/main" xmlns="" id="{EE6D7AC2-9EC1-4687-B84A-1679CF17C1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780"/>
                <a:ext cx="450" cy="390"/>
              </a:xfrm>
              <a:custGeom>
                <a:avLst/>
                <a:gdLst>
                  <a:gd name="T0" fmla="*/ 450 w 450"/>
                  <a:gd name="T1" fmla="*/ 330 h 390"/>
                  <a:gd name="T2" fmla="*/ 240 w 450"/>
                  <a:gd name="T3" fmla="*/ 390 h 390"/>
                  <a:gd name="T4" fmla="*/ 120 w 450"/>
                  <a:gd name="T5" fmla="*/ 330 h 390"/>
                  <a:gd name="T6" fmla="*/ 0 w 450"/>
                  <a:gd name="T7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0" h="390">
                    <a:moveTo>
                      <a:pt x="450" y="330"/>
                    </a:moveTo>
                    <a:lnTo>
                      <a:pt x="240" y="390"/>
                    </a:lnTo>
                    <a:lnTo>
                      <a:pt x="120" y="3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4" name="Freeform 2453">
                <a:extLst>
                  <a:ext uri="{FF2B5EF4-FFF2-40B4-BE49-F238E27FC236}">
                    <a16:creationId xmlns:a16="http://schemas.microsoft.com/office/drawing/2014/main" xmlns="" id="{453F4DEF-66A3-402A-BE8B-BC695A171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960"/>
                <a:ext cx="570" cy="300"/>
              </a:xfrm>
              <a:custGeom>
                <a:avLst/>
                <a:gdLst>
                  <a:gd name="T0" fmla="*/ 0 w 570"/>
                  <a:gd name="T1" fmla="*/ 0 h 300"/>
                  <a:gd name="T2" fmla="*/ 240 w 570"/>
                  <a:gd name="T3" fmla="*/ 150 h 300"/>
                  <a:gd name="T4" fmla="*/ 360 w 570"/>
                  <a:gd name="T5" fmla="*/ 90 h 300"/>
                  <a:gd name="T6" fmla="*/ 450 w 570"/>
                  <a:gd name="T7" fmla="*/ 300 h 300"/>
                  <a:gd name="T8" fmla="*/ 570 w 570"/>
                  <a:gd name="T9" fmla="*/ 24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0" h="300">
                    <a:moveTo>
                      <a:pt x="0" y="0"/>
                    </a:moveTo>
                    <a:lnTo>
                      <a:pt x="240" y="150"/>
                    </a:lnTo>
                    <a:lnTo>
                      <a:pt x="360" y="90"/>
                    </a:lnTo>
                    <a:lnTo>
                      <a:pt x="450" y="300"/>
                    </a:lnTo>
                    <a:lnTo>
                      <a:pt x="57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5" name="Line 2454">
                <a:extLst>
                  <a:ext uri="{FF2B5EF4-FFF2-40B4-BE49-F238E27FC236}">
                    <a16:creationId xmlns:a16="http://schemas.microsoft.com/office/drawing/2014/main" xmlns="" id="{0BDC0ABA-FB6D-402B-BAAE-498CDFB75C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95" y="90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6" name="Line 2455">
                <a:extLst>
                  <a:ext uri="{FF2B5EF4-FFF2-40B4-BE49-F238E27FC236}">
                    <a16:creationId xmlns:a16="http://schemas.microsoft.com/office/drawing/2014/main" xmlns="" id="{8758586D-C798-4FB9-A631-CBC7419311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05" y="510"/>
                <a:ext cx="90" cy="21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7" name="Freeform 2456">
                <a:extLst>
                  <a:ext uri="{FF2B5EF4-FFF2-40B4-BE49-F238E27FC236}">
                    <a16:creationId xmlns:a16="http://schemas.microsoft.com/office/drawing/2014/main" xmlns="" id="{D3C5BE8C-9E1C-47E0-AB74-2DE1D7A75F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5" y="960"/>
                <a:ext cx="389" cy="300"/>
              </a:xfrm>
              <a:custGeom>
                <a:avLst/>
                <a:gdLst>
                  <a:gd name="T0" fmla="*/ 180 w 389"/>
                  <a:gd name="T1" fmla="*/ 300 h 300"/>
                  <a:gd name="T2" fmla="*/ 389 w 389"/>
                  <a:gd name="T3" fmla="*/ 270 h 300"/>
                  <a:gd name="T4" fmla="*/ 240 w 389"/>
                  <a:gd name="T5" fmla="*/ 150 h 300"/>
                  <a:gd name="T6" fmla="*/ 0 w 389"/>
                  <a:gd name="T7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9" h="300">
                    <a:moveTo>
                      <a:pt x="180" y="300"/>
                    </a:moveTo>
                    <a:lnTo>
                      <a:pt x="389" y="270"/>
                    </a:lnTo>
                    <a:lnTo>
                      <a:pt x="240" y="15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8" name="Freeform 2457">
                <a:extLst>
                  <a:ext uri="{FF2B5EF4-FFF2-40B4-BE49-F238E27FC236}">
                    <a16:creationId xmlns:a16="http://schemas.microsoft.com/office/drawing/2014/main" xmlns="" id="{547E6695-D628-4002-8368-E35D0D4B0A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780"/>
                <a:ext cx="389" cy="360"/>
              </a:xfrm>
              <a:custGeom>
                <a:avLst/>
                <a:gdLst>
                  <a:gd name="T0" fmla="*/ 90 w 389"/>
                  <a:gd name="T1" fmla="*/ 330 h 360"/>
                  <a:gd name="T2" fmla="*/ 389 w 389"/>
                  <a:gd name="T3" fmla="*/ 360 h 360"/>
                  <a:gd name="T4" fmla="*/ 359 w 389"/>
                  <a:gd name="T5" fmla="*/ 240 h 360"/>
                  <a:gd name="T6" fmla="*/ 209 w 389"/>
                  <a:gd name="T7" fmla="*/ 270 h 360"/>
                  <a:gd name="T8" fmla="*/ 0 w 389"/>
                  <a:gd name="T9" fmla="*/ 210 h 360"/>
                  <a:gd name="T10" fmla="*/ 269 w 389"/>
                  <a:gd name="T11" fmla="*/ 180 h 360"/>
                  <a:gd name="T12" fmla="*/ 179 w 389"/>
                  <a:gd name="T13" fmla="*/ 30 h 360"/>
                  <a:gd name="T14" fmla="*/ 329 w 389"/>
                  <a:gd name="T15" fmla="*/ 0 h 360"/>
                  <a:gd name="T16" fmla="*/ 120 w 389"/>
                  <a:gd name="T17" fmla="*/ 15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9" h="360">
                    <a:moveTo>
                      <a:pt x="90" y="330"/>
                    </a:moveTo>
                    <a:lnTo>
                      <a:pt x="389" y="360"/>
                    </a:lnTo>
                    <a:lnTo>
                      <a:pt x="359" y="240"/>
                    </a:lnTo>
                    <a:lnTo>
                      <a:pt x="209" y="270"/>
                    </a:lnTo>
                    <a:lnTo>
                      <a:pt x="0" y="210"/>
                    </a:lnTo>
                    <a:lnTo>
                      <a:pt x="269" y="180"/>
                    </a:lnTo>
                    <a:lnTo>
                      <a:pt x="179" y="30"/>
                    </a:lnTo>
                    <a:lnTo>
                      <a:pt x="329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69" name="Line 2458">
                <a:extLst>
                  <a:ext uri="{FF2B5EF4-FFF2-40B4-BE49-F238E27FC236}">
                    <a16:creationId xmlns:a16="http://schemas.microsoft.com/office/drawing/2014/main" xmlns="" id="{43FE14E3-2E67-4ECD-97AE-C4A9E8F6631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14" y="780"/>
                <a:ext cx="30" cy="24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0" name="Freeform 2459">
                <a:extLst>
                  <a:ext uri="{FF2B5EF4-FFF2-40B4-BE49-F238E27FC236}">
                    <a16:creationId xmlns:a16="http://schemas.microsoft.com/office/drawing/2014/main" xmlns="" id="{B90B6BC7-1C66-4DBB-A4C0-E4B67C321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5" y="630"/>
                <a:ext cx="239" cy="30"/>
              </a:xfrm>
              <a:custGeom>
                <a:avLst/>
                <a:gdLst>
                  <a:gd name="T0" fmla="*/ 0 w 239"/>
                  <a:gd name="T1" fmla="*/ 0 h 30"/>
                  <a:gd name="T2" fmla="*/ 119 w 239"/>
                  <a:gd name="T3" fmla="*/ 30 h 30"/>
                  <a:gd name="T4" fmla="*/ 239 w 239"/>
                  <a:gd name="T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30">
                    <a:moveTo>
                      <a:pt x="0" y="0"/>
                    </a:moveTo>
                    <a:lnTo>
                      <a:pt x="119" y="30"/>
                    </a:lnTo>
                    <a:lnTo>
                      <a:pt x="23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1" name="Freeform 2460">
                <a:extLst>
                  <a:ext uri="{FF2B5EF4-FFF2-40B4-BE49-F238E27FC236}">
                    <a16:creationId xmlns:a16="http://schemas.microsoft.com/office/drawing/2014/main" xmlns="" id="{55E51B30-2F75-44DE-B2FD-280F797D22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630"/>
                <a:ext cx="210" cy="510"/>
              </a:xfrm>
              <a:custGeom>
                <a:avLst/>
                <a:gdLst>
                  <a:gd name="T0" fmla="*/ 210 w 210"/>
                  <a:gd name="T1" fmla="*/ 180 h 510"/>
                  <a:gd name="T2" fmla="*/ 0 w 210"/>
                  <a:gd name="T3" fmla="*/ 510 h 510"/>
                  <a:gd name="T4" fmla="*/ 120 w 210"/>
                  <a:gd name="T5" fmla="*/ 480 h 510"/>
                  <a:gd name="T6" fmla="*/ 30 w 210"/>
                  <a:gd name="T7" fmla="*/ 330 h 510"/>
                  <a:gd name="T8" fmla="*/ 120 w 210"/>
                  <a:gd name="T9" fmla="*/ 240 h 510"/>
                  <a:gd name="T10" fmla="*/ 0 w 210"/>
                  <a:gd name="T11" fmla="*/ 180 h 510"/>
                  <a:gd name="T12" fmla="*/ 90 w 210"/>
                  <a:gd name="T13" fmla="*/ 0 h 510"/>
                  <a:gd name="T14" fmla="*/ 210 w 210"/>
                  <a:gd name="T15" fmla="*/ 18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0" h="510">
                    <a:moveTo>
                      <a:pt x="210" y="180"/>
                    </a:moveTo>
                    <a:lnTo>
                      <a:pt x="0" y="510"/>
                    </a:lnTo>
                    <a:lnTo>
                      <a:pt x="120" y="480"/>
                    </a:lnTo>
                    <a:lnTo>
                      <a:pt x="30" y="330"/>
                    </a:lnTo>
                    <a:lnTo>
                      <a:pt x="120" y="240"/>
                    </a:lnTo>
                    <a:lnTo>
                      <a:pt x="0" y="180"/>
                    </a:lnTo>
                    <a:lnTo>
                      <a:pt x="90" y="0"/>
                    </a:lnTo>
                    <a:lnTo>
                      <a:pt x="210" y="18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2" name="Freeform 2461">
                <a:extLst>
                  <a:ext uri="{FF2B5EF4-FFF2-40B4-BE49-F238E27FC236}">
                    <a16:creationId xmlns:a16="http://schemas.microsoft.com/office/drawing/2014/main" xmlns="" id="{6C203705-0D95-4727-9620-DDF5F39724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6" y="570"/>
                <a:ext cx="719" cy="720"/>
              </a:xfrm>
              <a:custGeom>
                <a:avLst/>
                <a:gdLst>
                  <a:gd name="T0" fmla="*/ 119 w 719"/>
                  <a:gd name="T1" fmla="*/ 120 h 720"/>
                  <a:gd name="T2" fmla="*/ 0 w 719"/>
                  <a:gd name="T3" fmla="*/ 30 h 720"/>
                  <a:gd name="T4" fmla="*/ 209 w 719"/>
                  <a:gd name="T5" fmla="*/ 0 h 720"/>
                  <a:gd name="T6" fmla="*/ 299 w 719"/>
                  <a:gd name="T7" fmla="*/ 120 h 720"/>
                  <a:gd name="T8" fmla="*/ 389 w 719"/>
                  <a:gd name="T9" fmla="*/ 0 h 720"/>
                  <a:gd name="T10" fmla="*/ 209 w 719"/>
                  <a:gd name="T11" fmla="*/ 0 h 720"/>
                  <a:gd name="T12" fmla="*/ 209 w 719"/>
                  <a:gd name="T13" fmla="*/ 151 h 720"/>
                  <a:gd name="T14" fmla="*/ 119 w 719"/>
                  <a:gd name="T15" fmla="*/ 120 h 720"/>
                  <a:gd name="T16" fmla="*/ 89 w 719"/>
                  <a:gd name="T17" fmla="*/ 210 h 720"/>
                  <a:gd name="T18" fmla="*/ 89 w 719"/>
                  <a:gd name="T19" fmla="*/ 450 h 720"/>
                  <a:gd name="T20" fmla="*/ 209 w 719"/>
                  <a:gd name="T21" fmla="*/ 360 h 720"/>
                  <a:gd name="T22" fmla="*/ 298 w 719"/>
                  <a:gd name="T23" fmla="*/ 452 h 720"/>
                  <a:gd name="T24" fmla="*/ 269 w 719"/>
                  <a:gd name="T25" fmla="*/ 270 h 720"/>
                  <a:gd name="T26" fmla="*/ 359 w 719"/>
                  <a:gd name="T27" fmla="*/ 210 h 720"/>
                  <a:gd name="T28" fmla="*/ 479 w 719"/>
                  <a:gd name="T29" fmla="*/ 270 h 720"/>
                  <a:gd name="T30" fmla="*/ 359 w 719"/>
                  <a:gd name="T31" fmla="*/ 330 h 720"/>
                  <a:gd name="T32" fmla="*/ 449 w 719"/>
                  <a:gd name="T33" fmla="*/ 390 h 720"/>
                  <a:gd name="T34" fmla="*/ 719 w 719"/>
                  <a:gd name="T35" fmla="*/ 360 h 720"/>
                  <a:gd name="T36" fmla="*/ 599 w 719"/>
                  <a:gd name="T37" fmla="*/ 420 h 720"/>
                  <a:gd name="T38" fmla="*/ 689 w 719"/>
                  <a:gd name="T39" fmla="*/ 720 h 720"/>
                  <a:gd name="T40" fmla="*/ 419 w 719"/>
                  <a:gd name="T41" fmla="*/ 51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19" h="720">
                    <a:moveTo>
                      <a:pt x="119" y="120"/>
                    </a:moveTo>
                    <a:lnTo>
                      <a:pt x="0" y="30"/>
                    </a:lnTo>
                    <a:lnTo>
                      <a:pt x="209" y="0"/>
                    </a:lnTo>
                    <a:lnTo>
                      <a:pt x="299" y="120"/>
                    </a:lnTo>
                    <a:lnTo>
                      <a:pt x="389" y="0"/>
                    </a:lnTo>
                    <a:lnTo>
                      <a:pt x="209" y="0"/>
                    </a:lnTo>
                    <a:lnTo>
                      <a:pt x="209" y="151"/>
                    </a:lnTo>
                    <a:lnTo>
                      <a:pt x="119" y="120"/>
                    </a:lnTo>
                    <a:lnTo>
                      <a:pt x="89" y="210"/>
                    </a:lnTo>
                    <a:lnTo>
                      <a:pt x="89" y="450"/>
                    </a:lnTo>
                    <a:lnTo>
                      <a:pt x="209" y="360"/>
                    </a:lnTo>
                    <a:lnTo>
                      <a:pt x="298" y="452"/>
                    </a:lnTo>
                    <a:lnTo>
                      <a:pt x="269" y="270"/>
                    </a:lnTo>
                    <a:lnTo>
                      <a:pt x="359" y="210"/>
                    </a:lnTo>
                    <a:lnTo>
                      <a:pt x="479" y="270"/>
                    </a:lnTo>
                    <a:lnTo>
                      <a:pt x="359" y="330"/>
                    </a:lnTo>
                    <a:lnTo>
                      <a:pt x="449" y="390"/>
                    </a:lnTo>
                    <a:lnTo>
                      <a:pt x="719" y="360"/>
                    </a:lnTo>
                    <a:lnTo>
                      <a:pt x="599" y="420"/>
                    </a:lnTo>
                    <a:lnTo>
                      <a:pt x="689" y="720"/>
                    </a:lnTo>
                    <a:lnTo>
                      <a:pt x="419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3" name="Freeform 2462">
                <a:extLst>
                  <a:ext uri="{FF2B5EF4-FFF2-40B4-BE49-F238E27FC236}">
                    <a16:creationId xmlns:a16="http://schemas.microsoft.com/office/drawing/2014/main" xmlns="" id="{BD7618C3-9C37-46B1-B4E3-A1E68D632C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660"/>
                <a:ext cx="359" cy="330"/>
              </a:xfrm>
              <a:custGeom>
                <a:avLst/>
                <a:gdLst>
                  <a:gd name="T0" fmla="*/ 300 w 359"/>
                  <a:gd name="T1" fmla="*/ 240 h 330"/>
                  <a:gd name="T2" fmla="*/ 210 w 359"/>
                  <a:gd name="T3" fmla="*/ 330 h 330"/>
                  <a:gd name="T4" fmla="*/ 30 w 359"/>
                  <a:gd name="T5" fmla="*/ 300 h 330"/>
                  <a:gd name="T6" fmla="*/ 0 w 359"/>
                  <a:gd name="T7" fmla="*/ 150 h 330"/>
                  <a:gd name="T8" fmla="*/ 210 w 359"/>
                  <a:gd name="T9" fmla="*/ 0 h 330"/>
                  <a:gd name="T10" fmla="*/ 359 w 359"/>
                  <a:gd name="T11" fmla="*/ 12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9" h="330">
                    <a:moveTo>
                      <a:pt x="300" y="240"/>
                    </a:moveTo>
                    <a:lnTo>
                      <a:pt x="210" y="330"/>
                    </a:lnTo>
                    <a:lnTo>
                      <a:pt x="30" y="300"/>
                    </a:lnTo>
                    <a:lnTo>
                      <a:pt x="0" y="150"/>
                    </a:lnTo>
                    <a:lnTo>
                      <a:pt x="210" y="0"/>
                    </a:lnTo>
                    <a:lnTo>
                      <a:pt x="359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4" name="Freeform 2463">
                <a:extLst>
                  <a:ext uri="{FF2B5EF4-FFF2-40B4-BE49-F238E27FC236}">
                    <a16:creationId xmlns:a16="http://schemas.microsoft.com/office/drawing/2014/main" xmlns="" id="{B16FE604-9235-4727-87F9-759D91ACF5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990"/>
                <a:ext cx="239" cy="120"/>
              </a:xfrm>
              <a:custGeom>
                <a:avLst/>
                <a:gdLst>
                  <a:gd name="T0" fmla="*/ 90 w 239"/>
                  <a:gd name="T1" fmla="*/ 0 h 120"/>
                  <a:gd name="T2" fmla="*/ 0 w 239"/>
                  <a:gd name="T3" fmla="*/ 120 h 120"/>
                  <a:gd name="T4" fmla="*/ 239 w 239"/>
                  <a:gd name="T5" fmla="*/ 3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9" h="120">
                    <a:moveTo>
                      <a:pt x="90" y="0"/>
                    </a:moveTo>
                    <a:lnTo>
                      <a:pt x="0" y="120"/>
                    </a:lnTo>
                    <a:lnTo>
                      <a:pt x="23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5" name="Freeform 2464">
                <a:extLst>
                  <a:ext uri="{FF2B5EF4-FFF2-40B4-BE49-F238E27FC236}">
                    <a16:creationId xmlns:a16="http://schemas.microsoft.com/office/drawing/2014/main" xmlns="" id="{612D1B63-B3A0-4658-8F3E-914CBA90DF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1170"/>
                <a:ext cx="360" cy="120"/>
              </a:xfrm>
              <a:custGeom>
                <a:avLst/>
                <a:gdLst>
                  <a:gd name="T0" fmla="*/ 360 w 360"/>
                  <a:gd name="T1" fmla="*/ 120 h 120"/>
                  <a:gd name="T2" fmla="*/ 150 w 360"/>
                  <a:gd name="T3" fmla="*/ 30 h 120"/>
                  <a:gd name="T4" fmla="*/ 0 w 360"/>
                  <a:gd name="T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120">
                    <a:moveTo>
                      <a:pt x="360" y="120"/>
                    </a:moveTo>
                    <a:lnTo>
                      <a:pt x="15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6" name="Freeform 2465">
                <a:extLst>
                  <a:ext uri="{FF2B5EF4-FFF2-40B4-BE49-F238E27FC236}">
                    <a16:creationId xmlns:a16="http://schemas.microsoft.com/office/drawing/2014/main" xmlns="" id="{F5644EB5-924F-40F7-894B-2368DAF2D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5" y="930"/>
                <a:ext cx="720" cy="360"/>
              </a:xfrm>
              <a:custGeom>
                <a:avLst/>
                <a:gdLst>
                  <a:gd name="T0" fmla="*/ 510 w 720"/>
                  <a:gd name="T1" fmla="*/ 0 h 360"/>
                  <a:gd name="T2" fmla="*/ 570 w 720"/>
                  <a:gd name="T3" fmla="*/ 300 h 360"/>
                  <a:gd name="T4" fmla="*/ 720 w 720"/>
                  <a:gd name="T5" fmla="*/ 180 h 360"/>
                  <a:gd name="T6" fmla="*/ 480 w 720"/>
                  <a:gd name="T7" fmla="*/ 180 h 360"/>
                  <a:gd name="T8" fmla="*/ 300 w 720"/>
                  <a:gd name="T9" fmla="*/ 360 h 360"/>
                  <a:gd name="T10" fmla="*/ 270 w 720"/>
                  <a:gd name="T11" fmla="*/ 270 h 360"/>
                  <a:gd name="T12" fmla="*/ 120 w 720"/>
                  <a:gd name="T13" fmla="*/ 360 h 360"/>
                  <a:gd name="T14" fmla="*/ 0 w 720"/>
                  <a:gd name="T15" fmla="*/ 301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0" h="360">
                    <a:moveTo>
                      <a:pt x="510" y="0"/>
                    </a:moveTo>
                    <a:lnTo>
                      <a:pt x="570" y="300"/>
                    </a:lnTo>
                    <a:lnTo>
                      <a:pt x="720" y="180"/>
                    </a:lnTo>
                    <a:lnTo>
                      <a:pt x="480" y="180"/>
                    </a:lnTo>
                    <a:lnTo>
                      <a:pt x="300" y="360"/>
                    </a:lnTo>
                    <a:lnTo>
                      <a:pt x="270" y="270"/>
                    </a:lnTo>
                    <a:lnTo>
                      <a:pt x="120" y="360"/>
                    </a:lnTo>
                    <a:lnTo>
                      <a:pt x="0" y="301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7" name="Freeform 2466">
                <a:extLst>
                  <a:ext uri="{FF2B5EF4-FFF2-40B4-BE49-F238E27FC236}">
                    <a16:creationId xmlns:a16="http://schemas.microsoft.com/office/drawing/2014/main" xmlns="" id="{8C92DF9F-924E-42F5-AF42-B258E50E5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5" y="1200"/>
                <a:ext cx="150" cy="90"/>
              </a:xfrm>
              <a:custGeom>
                <a:avLst/>
                <a:gdLst>
                  <a:gd name="T0" fmla="*/ 150 w 150"/>
                  <a:gd name="T1" fmla="*/ 0 h 90"/>
                  <a:gd name="T2" fmla="*/ 0 w 150"/>
                  <a:gd name="T3" fmla="*/ 0 h 90"/>
                  <a:gd name="T4" fmla="*/ 120 w 150"/>
                  <a:gd name="T5" fmla="*/ 90 h 90"/>
                  <a:gd name="T6" fmla="*/ 150 w 150"/>
                  <a:gd name="T7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0" h="90">
                    <a:moveTo>
                      <a:pt x="150" y="0"/>
                    </a:moveTo>
                    <a:lnTo>
                      <a:pt x="0" y="0"/>
                    </a:lnTo>
                    <a:lnTo>
                      <a:pt x="120" y="90"/>
                    </a:lnTo>
                    <a:lnTo>
                      <a:pt x="15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8" name="Freeform 2467">
                <a:extLst>
                  <a:ext uri="{FF2B5EF4-FFF2-40B4-BE49-F238E27FC236}">
                    <a16:creationId xmlns:a16="http://schemas.microsoft.com/office/drawing/2014/main" xmlns="" id="{3B105C70-C5B0-462A-AC67-DFAA8804A8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480"/>
                <a:ext cx="390" cy="360"/>
              </a:xfrm>
              <a:custGeom>
                <a:avLst/>
                <a:gdLst>
                  <a:gd name="T0" fmla="*/ 180 w 390"/>
                  <a:gd name="T1" fmla="*/ 360 h 360"/>
                  <a:gd name="T2" fmla="*/ 150 w 390"/>
                  <a:gd name="T3" fmla="*/ 150 h 360"/>
                  <a:gd name="T4" fmla="*/ 30 w 390"/>
                  <a:gd name="T5" fmla="*/ 0 h 360"/>
                  <a:gd name="T6" fmla="*/ 330 w 390"/>
                  <a:gd name="T7" fmla="*/ 120 h 360"/>
                  <a:gd name="T8" fmla="*/ 390 w 390"/>
                  <a:gd name="T9" fmla="*/ 0 h 360"/>
                  <a:gd name="T10" fmla="*/ 210 w 390"/>
                  <a:gd name="T11" fmla="*/ 30 h 360"/>
                  <a:gd name="T12" fmla="*/ 0 w 390"/>
                  <a:gd name="T13" fmla="*/ 180 h 360"/>
                  <a:gd name="T14" fmla="*/ 270 w 390"/>
                  <a:gd name="T15" fmla="*/ 33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0" h="360">
                    <a:moveTo>
                      <a:pt x="180" y="360"/>
                    </a:moveTo>
                    <a:lnTo>
                      <a:pt x="150" y="150"/>
                    </a:lnTo>
                    <a:lnTo>
                      <a:pt x="30" y="0"/>
                    </a:lnTo>
                    <a:lnTo>
                      <a:pt x="330" y="120"/>
                    </a:lnTo>
                    <a:lnTo>
                      <a:pt x="390" y="0"/>
                    </a:lnTo>
                    <a:lnTo>
                      <a:pt x="210" y="30"/>
                    </a:lnTo>
                    <a:lnTo>
                      <a:pt x="0" y="180"/>
                    </a:lnTo>
                    <a:lnTo>
                      <a:pt x="27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79" name="Line 2468">
                <a:extLst>
                  <a:ext uri="{FF2B5EF4-FFF2-40B4-BE49-F238E27FC236}">
                    <a16:creationId xmlns:a16="http://schemas.microsoft.com/office/drawing/2014/main" xmlns="" id="{B7264139-EDBF-4394-B406-77CE40E755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846" y="510"/>
                <a:ext cx="6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0" name="Freeform 2469">
                <a:extLst>
                  <a:ext uri="{FF2B5EF4-FFF2-40B4-BE49-F238E27FC236}">
                    <a16:creationId xmlns:a16="http://schemas.microsoft.com/office/drawing/2014/main" xmlns="" id="{6F30AE07-F97D-4839-A090-FE26085F94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450"/>
                <a:ext cx="239" cy="120"/>
              </a:xfrm>
              <a:custGeom>
                <a:avLst/>
                <a:gdLst>
                  <a:gd name="T0" fmla="*/ 239 w 239"/>
                  <a:gd name="T1" fmla="*/ 0 h 120"/>
                  <a:gd name="T2" fmla="*/ 0 w 239"/>
                  <a:gd name="T3" fmla="*/ 30 h 120"/>
                  <a:gd name="T4" fmla="*/ 149 w 239"/>
                  <a:gd name="T5" fmla="*/ 120 h 120"/>
                  <a:gd name="T6" fmla="*/ 239 w 239"/>
                  <a:gd name="T7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9" h="120">
                    <a:moveTo>
                      <a:pt x="239" y="0"/>
                    </a:moveTo>
                    <a:lnTo>
                      <a:pt x="0" y="30"/>
                    </a:lnTo>
                    <a:lnTo>
                      <a:pt x="149" y="120"/>
                    </a:lnTo>
                    <a:lnTo>
                      <a:pt x="239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1" name="Line 2470">
                <a:extLst>
                  <a:ext uri="{FF2B5EF4-FFF2-40B4-BE49-F238E27FC236}">
                    <a16:creationId xmlns:a16="http://schemas.microsoft.com/office/drawing/2014/main" xmlns="" id="{1E35B2BA-D7F8-4B95-ACE7-9041ACFB5E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25" y="540"/>
                <a:ext cx="18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2" name="Freeform 2471">
                <a:extLst>
                  <a:ext uri="{FF2B5EF4-FFF2-40B4-BE49-F238E27FC236}">
                    <a16:creationId xmlns:a16="http://schemas.microsoft.com/office/drawing/2014/main" xmlns="" id="{937699B8-0284-405C-9E7B-7704F6076B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450"/>
                <a:ext cx="300" cy="330"/>
              </a:xfrm>
              <a:custGeom>
                <a:avLst/>
                <a:gdLst>
                  <a:gd name="T0" fmla="*/ 90 w 300"/>
                  <a:gd name="T1" fmla="*/ 0 h 330"/>
                  <a:gd name="T2" fmla="*/ 180 w 300"/>
                  <a:gd name="T3" fmla="*/ 90 h 330"/>
                  <a:gd name="T4" fmla="*/ 0 w 300"/>
                  <a:gd name="T5" fmla="*/ 90 h 330"/>
                  <a:gd name="T6" fmla="*/ 60 w 300"/>
                  <a:gd name="T7" fmla="*/ 210 h 330"/>
                  <a:gd name="T8" fmla="*/ 180 w 300"/>
                  <a:gd name="T9" fmla="*/ 90 h 330"/>
                  <a:gd name="T10" fmla="*/ 300 w 300"/>
                  <a:gd name="T11" fmla="*/ 240 h 330"/>
                  <a:gd name="T12" fmla="*/ 150 w 300"/>
                  <a:gd name="T13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0" h="330">
                    <a:moveTo>
                      <a:pt x="90" y="0"/>
                    </a:moveTo>
                    <a:lnTo>
                      <a:pt x="180" y="90"/>
                    </a:lnTo>
                    <a:lnTo>
                      <a:pt x="0" y="90"/>
                    </a:lnTo>
                    <a:lnTo>
                      <a:pt x="60" y="210"/>
                    </a:lnTo>
                    <a:lnTo>
                      <a:pt x="180" y="90"/>
                    </a:lnTo>
                    <a:lnTo>
                      <a:pt x="300" y="240"/>
                    </a:lnTo>
                    <a:lnTo>
                      <a:pt x="15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3" name="Freeform 2472">
                <a:extLst>
                  <a:ext uri="{FF2B5EF4-FFF2-40B4-BE49-F238E27FC236}">
                    <a16:creationId xmlns:a16="http://schemas.microsoft.com/office/drawing/2014/main" xmlns="" id="{7B66893D-5ECB-40C0-B698-DBBC02AD78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480"/>
                <a:ext cx="180" cy="90"/>
              </a:xfrm>
              <a:custGeom>
                <a:avLst/>
                <a:gdLst>
                  <a:gd name="T0" fmla="*/ 0 w 180"/>
                  <a:gd name="T1" fmla="*/ 90 h 90"/>
                  <a:gd name="T2" fmla="*/ 90 w 180"/>
                  <a:gd name="T3" fmla="*/ 0 h 90"/>
                  <a:gd name="T4" fmla="*/ 180 w 180"/>
                  <a:gd name="T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90">
                    <a:moveTo>
                      <a:pt x="0" y="90"/>
                    </a:moveTo>
                    <a:lnTo>
                      <a:pt x="90" y="0"/>
                    </a:lnTo>
                    <a:lnTo>
                      <a:pt x="1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4" name="Freeform 2473">
                <a:extLst>
                  <a:ext uri="{FF2B5EF4-FFF2-40B4-BE49-F238E27FC236}">
                    <a16:creationId xmlns:a16="http://schemas.microsoft.com/office/drawing/2014/main" xmlns="" id="{436E07E4-ED01-4251-8726-24822D3A7B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450"/>
                <a:ext cx="269" cy="210"/>
              </a:xfrm>
              <a:custGeom>
                <a:avLst/>
                <a:gdLst>
                  <a:gd name="T0" fmla="*/ 119 w 269"/>
                  <a:gd name="T1" fmla="*/ 60 h 210"/>
                  <a:gd name="T2" fmla="*/ 269 w 269"/>
                  <a:gd name="T3" fmla="*/ 30 h 210"/>
                  <a:gd name="T4" fmla="*/ 149 w 269"/>
                  <a:gd name="T5" fmla="*/ 210 h 210"/>
                  <a:gd name="T6" fmla="*/ 0 w 269"/>
                  <a:gd name="T7" fmla="*/ 0 h 210"/>
                  <a:gd name="T8" fmla="*/ 30 w 269"/>
                  <a:gd name="T9" fmla="*/ 18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9" h="210">
                    <a:moveTo>
                      <a:pt x="119" y="60"/>
                    </a:moveTo>
                    <a:lnTo>
                      <a:pt x="269" y="30"/>
                    </a:lnTo>
                    <a:lnTo>
                      <a:pt x="149" y="210"/>
                    </a:lnTo>
                    <a:lnTo>
                      <a:pt x="0" y="0"/>
                    </a:lnTo>
                    <a:lnTo>
                      <a:pt x="3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5" name="Freeform 2474">
                <a:extLst>
                  <a:ext uri="{FF2B5EF4-FFF2-40B4-BE49-F238E27FC236}">
                    <a16:creationId xmlns:a16="http://schemas.microsoft.com/office/drawing/2014/main" xmlns="" id="{AD16E3E4-9F4F-4448-8609-8B3F57A20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1530"/>
                <a:ext cx="180" cy="390"/>
              </a:xfrm>
              <a:custGeom>
                <a:avLst/>
                <a:gdLst>
                  <a:gd name="T0" fmla="*/ 0 w 216"/>
                  <a:gd name="T1" fmla="*/ 468 h 468"/>
                  <a:gd name="T2" fmla="*/ 216 w 216"/>
                  <a:gd name="T3" fmla="*/ 0 h 468"/>
                  <a:gd name="T4" fmla="*/ 36 w 216"/>
                  <a:gd name="T5" fmla="*/ 7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" h="468">
                    <a:moveTo>
                      <a:pt x="0" y="468"/>
                    </a:moveTo>
                    <a:cubicBezTo>
                      <a:pt x="0" y="432"/>
                      <a:pt x="216" y="0"/>
                      <a:pt x="216" y="0"/>
                    </a:cubicBezTo>
                    <a:cubicBezTo>
                      <a:pt x="36" y="72"/>
                      <a:pt x="36" y="72"/>
                      <a:pt x="36" y="72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6" name="Freeform 2475">
                <a:extLst>
                  <a:ext uri="{FF2B5EF4-FFF2-40B4-BE49-F238E27FC236}">
                    <a16:creationId xmlns:a16="http://schemas.microsoft.com/office/drawing/2014/main" xmlns="" id="{09F4CC8A-09C6-4525-B73B-256F23FBB8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" y="1470"/>
                <a:ext cx="179" cy="210"/>
              </a:xfrm>
              <a:custGeom>
                <a:avLst/>
                <a:gdLst>
                  <a:gd name="T0" fmla="*/ 0 w 179"/>
                  <a:gd name="T1" fmla="*/ 210 h 210"/>
                  <a:gd name="T2" fmla="*/ 120 w 179"/>
                  <a:gd name="T3" fmla="*/ 0 h 210"/>
                  <a:gd name="T4" fmla="*/ 179 w 179"/>
                  <a:gd name="T5" fmla="*/ 150 h 210"/>
                  <a:gd name="T6" fmla="*/ 0 w 179"/>
                  <a:gd name="T7" fmla="*/ 210 h 210"/>
                  <a:gd name="T8" fmla="*/ 0 w 179"/>
                  <a:gd name="T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210">
                    <a:moveTo>
                      <a:pt x="0" y="210"/>
                    </a:moveTo>
                    <a:lnTo>
                      <a:pt x="120" y="0"/>
                    </a:lnTo>
                    <a:lnTo>
                      <a:pt x="179" y="150"/>
                    </a:lnTo>
                    <a:lnTo>
                      <a:pt x="0" y="21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7" name="Freeform 2476">
                <a:extLst>
                  <a:ext uri="{FF2B5EF4-FFF2-40B4-BE49-F238E27FC236}">
                    <a16:creationId xmlns:a16="http://schemas.microsoft.com/office/drawing/2014/main" xmlns="" id="{B5FEF867-BBE3-41BF-82B2-6EA92B493C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1740"/>
                <a:ext cx="479" cy="270"/>
              </a:xfrm>
              <a:custGeom>
                <a:avLst/>
                <a:gdLst>
                  <a:gd name="T0" fmla="*/ 0 w 479"/>
                  <a:gd name="T1" fmla="*/ 90 h 270"/>
                  <a:gd name="T2" fmla="*/ 180 w 479"/>
                  <a:gd name="T3" fmla="*/ 30 h 270"/>
                  <a:gd name="T4" fmla="*/ 299 w 479"/>
                  <a:gd name="T5" fmla="*/ 150 h 270"/>
                  <a:gd name="T6" fmla="*/ 210 w 479"/>
                  <a:gd name="T7" fmla="*/ 270 h 270"/>
                  <a:gd name="T8" fmla="*/ 30 w 479"/>
                  <a:gd name="T9" fmla="*/ 270 h 270"/>
                  <a:gd name="T10" fmla="*/ 0 w 479"/>
                  <a:gd name="T11" fmla="*/ 90 h 270"/>
                  <a:gd name="T12" fmla="*/ 150 w 479"/>
                  <a:gd name="T13" fmla="*/ 150 h 270"/>
                  <a:gd name="T14" fmla="*/ 299 w 479"/>
                  <a:gd name="T15" fmla="*/ 0 h 270"/>
                  <a:gd name="T16" fmla="*/ 479 w 479"/>
                  <a:gd name="T17" fmla="*/ 210 h 270"/>
                  <a:gd name="T18" fmla="*/ 419 w 479"/>
                  <a:gd name="T19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9" h="270">
                    <a:moveTo>
                      <a:pt x="0" y="90"/>
                    </a:moveTo>
                    <a:lnTo>
                      <a:pt x="180" y="30"/>
                    </a:lnTo>
                    <a:lnTo>
                      <a:pt x="299" y="150"/>
                    </a:lnTo>
                    <a:lnTo>
                      <a:pt x="210" y="270"/>
                    </a:lnTo>
                    <a:lnTo>
                      <a:pt x="30" y="270"/>
                    </a:lnTo>
                    <a:lnTo>
                      <a:pt x="0" y="90"/>
                    </a:lnTo>
                    <a:lnTo>
                      <a:pt x="150" y="150"/>
                    </a:lnTo>
                    <a:lnTo>
                      <a:pt x="299" y="0"/>
                    </a:lnTo>
                    <a:lnTo>
                      <a:pt x="479" y="210"/>
                    </a:lnTo>
                    <a:lnTo>
                      <a:pt x="41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8" name="Freeform 2477">
                <a:extLst>
                  <a:ext uri="{FF2B5EF4-FFF2-40B4-BE49-F238E27FC236}">
                    <a16:creationId xmlns:a16="http://schemas.microsoft.com/office/drawing/2014/main" xmlns="" id="{C4D9D6AE-FC18-46E9-8BF5-61AE849F05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6" y="1740"/>
                <a:ext cx="149" cy="150"/>
              </a:xfrm>
              <a:custGeom>
                <a:avLst/>
                <a:gdLst>
                  <a:gd name="T0" fmla="*/ 0 w 149"/>
                  <a:gd name="T1" fmla="*/ 150 h 150"/>
                  <a:gd name="T2" fmla="*/ 30 w 149"/>
                  <a:gd name="T3" fmla="*/ 30 h 150"/>
                  <a:gd name="T4" fmla="*/ 149 w 149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150"/>
                    </a:moveTo>
                    <a:lnTo>
                      <a:pt x="30" y="30"/>
                    </a:lnTo>
                    <a:lnTo>
                      <a:pt x="14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89" name="Freeform 2478">
                <a:extLst>
                  <a:ext uri="{FF2B5EF4-FFF2-40B4-BE49-F238E27FC236}">
                    <a16:creationId xmlns:a16="http://schemas.microsoft.com/office/drawing/2014/main" xmlns="" id="{234DC8D1-F4E2-423B-8A58-EDC6BFD7AD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530"/>
                <a:ext cx="180" cy="390"/>
              </a:xfrm>
              <a:custGeom>
                <a:avLst/>
                <a:gdLst>
                  <a:gd name="T0" fmla="*/ 0 w 216"/>
                  <a:gd name="T1" fmla="*/ 468 h 468"/>
                  <a:gd name="T2" fmla="*/ 216 w 216"/>
                  <a:gd name="T3" fmla="*/ 0 h 468"/>
                  <a:gd name="T4" fmla="*/ 36 w 216"/>
                  <a:gd name="T5" fmla="*/ 7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" h="468">
                    <a:moveTo>
                      <a:pt x="0" y="468"/>
                    </a:moveTo>
                    <a:cubicBezTo>
                      <a:pt x="0" y="432"/>
                      <a:pt x="216" y="0"/>
                      <a:pt x="216" y="0"/>
                    </a:cubicBezTo>
                    <a:cubicBezTo>
                      <a:pt x="36" y="72"/>
                      <a:pt x="36" y="72"/>
                      <a:pt x="36" y="72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0" name="Freeform 2479">
                <a:extLst>
                  <a:ext uri="{FF2B5EF4-FFF2-40B4-BE49-F238E27FC236}">
                    <a16:creationId xmlns:a16="http://schemas.microsoft.com/office/drawing/2014/main" xmlns="" id="{6AB3E43C-CAA1-4681-A538-065FAA506D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290"/>
                <a:ext cx="300" cy="540"/>
              </a:xfrm>
              <a:custGeom>
                <a:avLst/>
                <a:gdLst>
                  <a:gd name="T0" fmla="*/ 0 w 300"/>
                  <a:gd name="T1" fmla="*/ 390 h 540"/>
                  <a:gd name="T2" fmla="*/ 180 w 300"/>
                  <a:gd name="T3" fmla="*/ 240 h 540"/>
                  <a:gd name="T4" fmla="*/ 0 w 300"/>
                  <a:gd name="T5" fmla="*/ 150 h 540"/>
                  <a:gd name="T6" fmla="*/ 120 w 300"/>
                  <a:gd name="T7" fmla="*/ 120 h 540"/>
                  <a:gd name="T8" fmla="*/ 300 w 300"/>
                  <a:gd name="T9" fmla="*/ 180 h 540"/>
                  <a:gd name="T10" fmla="*/ 270 w 300"/>
                  <a:gd name="T11" fmla="*/ 30 h 540"/>
                  <a:gd name="T12" fmla="*/ 120 w 300"/>
                  <a:gd name="T13" fmla="*/ 120 h 540"/>
                  <a:gd name="T14" fmla="*/ 30 w 300"/>
                  <a:gd name="T15" fmla="*/ 0 h 540"/>
                  <a:gd name="T16" fmla="*/ 0 w 300"/>
                  <a:gd name="T17" fmla="*/ 150 h 540"/>
                  <a:gd name="T18" fmla="*/ 30 w 300"/>
                  <a:gd name="T19" fmla="*/ 300 h 540"/>
                  <a:gd name="T20" fmla="*/ 0 w 300"/>
                  <a:gd name="T21" fmla="*/ 390 h 540"/>
                  <a:gd name="T22" fmla="*/ 120 w 300"/>
                  <a:gd name="T23" fmla="*/ 54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00" h="540">
                    <a:moveTo>
                      <a:pt x="0" y="390"/>
                    </a:moveTo>
                    <a:lnTo>
                      <a:pt x="180" y="240"/>
                    </a:lnTo>
                    <a:lnTo>
                      <a:pt x="0" y="150"/>
                    </a:lnTo>
                    <a:lnTo>
                      <a:pt x="120" y="120"/>
                    </a:lnTo>
                    <a:lnTo>
                      <a:pt x="300" y="180"/>
                    </a:lnTo>
                    <a:lnTo>
                      <a:pt x="270" y="30"/>
                    </a:lnTo>
                    <a:lnTo>
                      <a:pt x="120" y="120"/>
                    </a:lnTo>
                    <a:lnTo>
                      <a:pt x="30" y="0"/>
                    </a:lnTo>
                    <a:lnTo>
                      <a:pt x="0" y="150"/>
                    </a:lnTo>
                    <a:lnTo>
                      <a:pt x="30" y="300"/>
                    </a:lnTo>
                    <a:lnTo>
                      <a:pt x="0" y="390"/>
                    </a:lnTo>
                    <a:lnTo>
                      <a:pt x="12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1" name="Freeform 2480">
                <a:extLst>
                  <a:ext uri="{FF2B5EF4-FFF2-40B4-BE49-F238E27FC236}">
                    <a16:creationId xmlns:a16="http://schemas.microsoft.com/office/drawing/2014/main" xmlns="" id="{5C3CD6F2-A262-4CFA-9F87-FD26EA0694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1470"/>
                <a:ext cx="179" cy="210"/>
              </a:xfrm>
              <a:custGeom>
                <a:avLst/>
                <a:gdLst>
                  <a:gd name="T0" fmla="*/ 0 w 179"/>
                  <a:gd name="T1" fmla="*/ 210 h 210"/>
                  <a:gd name="T2" fmla="*/ 120 w 179"/>
                  <a:gd name="T3" fmla="*/ 0 h 210"/>
                  <a:gd name="T4" fmla="*/ 179 w 179"/>
                  <a:gd name="T5" fmla="*/ 150 h 210"/>
                  <a:gd name="T6" fmla="*/ 0 w 179"/>
                  <a:gd name="T7" fmla="*/ 210 h 210"/>
                  <a:gd name="T8" fmla="*/ 0 w 179"/>
                  <a:gd name="T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210">
                    <a:moveTo>
                      <a:pt x="0" y="210"/>
                    </a:moveTo>
                    <a:lnTo>
                      <a:pt x="120" y="0"/>
                    </a:lnTo>
                    <a:lnTo>
                      <a:pt x="179" y="150"/>
                    </a:lnTo>
                    <a:lnTo>
                      <a:pt x="0" y="21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2" name="Freeform 2481">
                <a:extLst>
                  <a:ext uri="{FF2B5EF4-FFF2-40B4-BE49-F238E27FC236}">
                    <a16:creationId xmlns:a16="http://schemas.microsoft.com/office/drawing/2014/main" xmlns="" id="{A1800979-E0E2-4522-ACEF-170FDF76F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1320"/>
                <a:ext cx="599" cy="750"/>
              </a:xfrm>
              <a:custGeom>
                <a:avLst/>
                <a:gdLst>
                  <a:gd name="T0" fmla="*/ 300 w 599"/>
                  <a:gd name="T1" fmla="*/ 150 h 750"/>
                  <a:gd name="T2" fmla="*/ 479 w 599"/>
                  <a:gd name="T3" fmla="*/ 210 h 750"/>
                  <a:gd name="T4" fmla="*/ 479 w 599"/>
                  <a:gd name="T5" fmla="*/ 60 h 750"/>
                  <a:gd name="T6" fmla="*/ 359 w 599"/>
                  <a:gd name="T7" fmla="*/ 300 h 750"/>
                  <a:gd name="T8" fmla="*/ 419 w 599"/>
                  <a:gd name="T9" fmla="*/ 420 h 750"/>
                  <a:gd name="T10" fmla="*/ 539 w 599"/>
                  <a:gd name="T11" fmla="*/ 480 h 750"/>
                  <a:gd name="T12" fmla="*/ 479 w 599"/>
                  <a:gd name="T13" fmla="*/ 210 h 750"/>
                  <a:gd name="T14" fmla="*/ 419 w 599"/>
                  <a:gd name="T15" fmla="*/ 420 h 750"/>
                  <a:gd name="T16" fmla="*/ 419 w 599"/>
                  <a:gd name="T17" fmla="*/ 570 h 750"/>
                  <a:gd name="T18" fmla="*/ 599 w 599"/>
                  <a:gd name="T19" fmla="*/ 630 h 750"/>
                  <a:gd name="T20" fmla="*/ 300 w 599"/>
                  <a:gd name="T21" fmla="*/ 660 h 750"/>
                  <a:gd name="T22" fmla="*/ 270 w 599"/>
                  <a:gd name="T23" fmla="*/ 570 h 750"/>
                  <a:gd name="T24" fmla="*/ 210 w 599"/>
                  <a:gd name="T25" fmla="*/ 750 h 750"/>
                  <a:gd name="T26" fmla="*/ 0 w 599"/>
                  <a:gd name="T27" fmla="*/ 600 h 750"/>
                  <a:gd name="T28" fmla="*/ 120 w 599"/>
                  <a:gd name="T29" fmla="*/ 510 h 750"/>
                  <a:gd name="T30" fmla="*/ 180 w 599"/>
                  <a:gd name="T31" fmla="*/ 360 h 750"/>
                  <a:gd name="T32" fmla="*/ 300 w 599"/>
                  <a:gd name="T33" fmla="*/ 450 h 750"/>
                  <a:gd name="T34" fmla="*/ 359 w 599"/>
                  <a:gd name="T35" fmla="*/ 300 h 750"/>
                  <a:gd name="T36" fmla="*/ 180 w 599"/>
                  <a:gd name="T37" fmla="*/ 210 h 750"/>
                  <a:gd name="T38" fmla="*/ 300 w 599"/>
                  <a:gd name="T39" fmla="*/ 150 h 750"/>
                  <a:gd name="T40" fmla="*/ 389 w 599"/>
                  <a:gd name="T41" fmla="*/ 90 h 750"/>
                  <a:gd name="T42" fmla="*/ 270 w 599"/>
                  <a:gd name="T43" fmla="*/ 0 h 750"/>
                  <a:gd name="T44" fmla="*/ 479 w 599"/>
                  <a:gd name="T45" fmla="*/ 6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99" h="750">
                    <a:moveTo>
                      <a:pt x="300" y="150"/>
                    </a:moveTo>
                    <a:lnTo>
                      <a:pt x="479" y="210"/>
                    </a:lnTo>
                    <a:lnTo>
                      <a:pt x="479" y="60"/>
                    </a:lnTo>
                    <a:lnTo>
                      <a:pt x="359" y="300"/>
                    </a:lnTo>
                    <a:lnTo>
                      <a:pt x="419" y="420"/>
                    </a:lnTo>
                    <a:lnTo>
                      <a:pt x="539" y="480"/>
                    </a:lnTo>
                    <a:lnTo>
                      <a:pt x="479" y="210"/>
                    </a:lnTo>
                    <a:lnTo>
                      <a:pt x="419" y="420"/>
                    </a:lnTo>
                    <a:lnTo>
                      <a:pt x="419" y="570"/>
                    </a:lnTo>
                    <a:lnTo>
                      <a:pt x="599" y="630"/>
                    </a:lnTo>
                    <a:lnTo>
                      <a:pt x="300" y="660"/>
                    </a:lnTo>
                    <a:lnTo>
                      <a:pt x="270" y="570"/>
                    </a:lnTo>
                    <a:lnTo>
                      <a:pt x="210" y="750"/>
                    </a:lnTo>
                    <a:lnTo>
                      <a:pt x="0" y="600"/>
                    </a:lnTo>
                    <a:lnTo>
                      <a:pt x="120" y="510"/>
                    </a:lnTo>
                    <a:lnTo>
                      <a:pt x="180" y="360"/>
                    </a:lnTo>
                    <a:lnTo>
                      <a:pt x="300" y="450"/>
                    </a:lnTo>
                    <a:lnTo>
                      <a:pt x="359" y="300"/>
                    </a:lnTo>
                    <a:lnTo>
                      <a:pt x="180" y="210"/>
                    </a:lnTo>
                    <a:lnTo>
                      <a:pt x="300" y="150"/>
                    </a:lnTo>
                    <a:lnTo>
                      <a:pt x="389" y="90"/>
                    </a:lnTo>
                    <a:lnTo>
                      <a:pt x="270" y="0"/>
                    </a:lnTo>
                    <a:lnTo>
                      <a:pt x="47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3" name="Freeform 2482">
                <a:extLst>
                  <a:ext uri="{FF2B5EF4-FFF2-40B4-BE49-F238E27FC236}">
                    <a16:creationId xmlns:a16="http://schemas.microsoft.com/office/drawing/2014/main" xmlns="" id="{FDB5CEE2-CFA7-46C2-B09A-68E9275E91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" y="1770"/>
                <a:ext cx="299" cy="210"/>
              </a:xfrm>
              <a:custGeom>
                <a:avLst/>
                <a:gdLst>
                  <a:gd name="T0" fmla="*/ 0 w 299"/>
                  <a:gd name="T1" fmla="*/ 60 h 210"/>
                  <a:gd name="T2" fmla="*/ 180 w 299"/>
                  <a:gd name="T3" fmla="*/ 0 h 210"/>
                  <a:gd name="T4" fmla="*/ 299 w 299"/>
                  <a:gd name="T5" fmla="*/ 120 h 210"/>
                  <a:gd name="T6" fmla="*/ 180 w 299"/>
                  <a:gd name="T7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9" h="210">
                    <a:moveTo>
                      <a:pt x="0" y="60"/>
                    </a:moveTo>
                    <a:lnTo>
                      <a:pt x="180" y="0"/>
                    </a:lnTo>
                    <a:lnTo>
                      <a:pt x="299" y="120"/>
                    </a:lnTo>
                    <a:lnTo>
                      <a:pt x="18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4" name="Freeform 2483">
                <a:extLst>
                  <a:ext uri="{FF2B5EF4-FFF2-40B4-BE49-F238E27FC236}">
                    <a16:creationId xmlns:a16="http://schemas.microsoft.com/office/drawing/2014/main" xmlns="" id="{BED12907-96DD-4899-A874-84764769C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1740"/>
                <a:ext cx="149" cy="150"/>
              </a:xfrm>
              <a:custGeom>
                <a:avLst/>
                <a:gdLst>
                  <a:gd name="T0" fmla="*/ 0 w 149"/>
                  <a:gd name="T1" fmla="*/ 150 h 150"/>
                  <a:gd name="T2" fmla="*/ 30 w 149"/>
                  <a:gd name="T3" fmla="*/ 30 h 150"/>
                  <a:gd name="T4" fmla="*/ 149 w 149"/>
                  <a:gd name="T5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150"/>
                    </a:moveTo>
                    <a:lnTo>
                      <a:pt x="30" y="30"/>
                    </a:lnTo>
                    <a:lnTo>
                      <a:pt x="149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5" name="Line 2484">
                <a:extLst>
                  <a:ext uri="{FF2B5EF4-FFF2-40B4-BE49-F238E27FC236}">
                    <a16:creationId xmlns:a16="http://schemas.microsoft.com/office/drawing/2014/main" xmlns="" id="{51A0CA5D-B038-481A-9808-152286CEEF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786" y="1233"/>
                <a:ext cx="181" cy="57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6" name="Line 2485">
                <a:extLst>
                  <a:ext uri="{FF2B5EF4-FFF2-40B4-BE49-F238E27FC236}">
                    <a16:creationId xmlns:a16="http://schemas.microsoft.com/office/drawing/2014/main" xmlns="" id="{4896A9F5-6CA1-4864-A3F7-9A61F2441B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936" y="1233"/>
                <a:ext cx="31" cy="29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7" name="Freeform 2486">
                <a:extLst>
                  <a:ext uri="{FF2B5EF4-FFF2-40B4-BE49-F238E27FC236}">
                    <a16:creationId xmlns:a16="http://schemas.microsoft.com/office/drawing/2014/main" xmlns="" id="{F64ECFFD-D15C-4AB6-9C2F-137E4FC9A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5" y="1231"/>
                <a:ext cx="210" cy="302"/>
              </a:xfrm>
              <a:custGeom>
                <a:avLst/>
                <a:gdLst>
                  <a:gd name="T0" fmla="*/ 0 w 210"/>
                  <a:gd name="T1" fmla="*/ 0 h 302"/>
                  <a:gd name="T2" fmla="*/ 180 w 210"/>
                  <a:gd name="T3" fmla="*/ 269 h 302"/>
                  <a:gd name="T4" fmla="*/ 2 w 210"/>
                  <a:gd name="T5" fmla="*/ 302 h 302"/>
                  <a:gd name="T6" fmla="*/ 210 w 210"/>
                  <a:gd name="T7" fmla="*/ 179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0" h="302">
                    <a:moveTo>
                      <a:pt x="0" y="0"/>
                    </a:moveTo>
                    <a:lnTo>
                      <a:pt x="180" y="269"/>
                    </a:lnTo>
                    <a:lnTo>
                      <a:pt x="2" y="302"/>
                    </a:lnTo>
                    <a:lnTo>
                      <a:pt x="210" y="179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8" name="Line 2487">
                <a:extLst>
                  <a:ext uri="{FF2B5EF4-FFF2-40B4-BE49-F238E27FC236}">
                    <a16:creationId xmlns:a16="http://schemas.microsoft.com/office/drawing/2014/main" xmlns="" id="{1B0F1571-3CCD-4A6B-819A-6D42D7AE2B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35" y="1380"/>
                <a:ext cx="210" cy="3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99" name="Freeform 2488">
                <a:extLst>
                  <a:ext uri="{FF2B5EF4-FFF2-40B4-BE49-F238E27FC236}">
                    <a16:creationId xmlns:a16="http://schemas.microsoft.com/office/drawing/2014/main" xmlns="" id="{40125F09-49A9-45F0-B31A-1F483C1400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1140"/>
                <a:ext cx="599" cy="870"/>
              </a:xfrm>
              <a:custGeom>
                <a:avLst/>
                <a:gdLst>
                  <a:gd name="T0" fmla="*/ 300 w 599"/>
                  <a:gd name="T1" fmla="*/ 0 h 870"/>
                  <a:gd name="T2" fmla="*/ 479 w 599"/>
                  <a:gd name="T3" fmla="*/ 91 h 870"/>
                  <a:gd name="T4" fmla="*/ 300 w 599"/>
                  <a:gd name="T5" fmla="*/ 330 h 870"/>
                  <a:gd name="T6" fmla="*/ 479 w 599"/>
                  <a:gd name="T7" fmla="*/ 390 h 870"/>
                  <a:gd name="T8" fmla="*/ 479 w 599"/>
                  <a:gd name="T9" fmla="*/ 240 h 870"/>
                  <a:gd name="T10" fmla="*/ 359 w 599"/>
                  <a:gd name="T11" fmla="*/ 480 h 870"/>
                  <a:gd name="T12" fmla="*/ 419 w 599"/>
                  <a:gd name="T13" fmla="*/ 600 h 870"/>
                  <a:gd name="T14" fmla="*/ 539 w 599"/>
                  <a:gd name="T15" fmla="*/ 660 h 870"/>
                  <a:gd name="T16" fmla="*/ 479 w 599"/>
                  <a:gd name="T17" fmla="*/ 390 h 870"/>
                  <a:gd name="T18" fmla="*/ 419 w 599"/>
                  <a:gd name="T19" fmla="*/ 600 h 870"/>
                  <a:gd name="T20" fmla="*/ 419 w 599"/>
                  <a:gd name="T21" fmla="*/ 750 h 870"/>
                  <a:gd name="T22" fmla="*/ 599 w 599"/>
                  <a:gd name="T23" fmla="*/ 810 h 870"/>
                  <a:gd name="T24" fmla="*/ 330 w 599"/>
                  <a:gd name="T25" fmla="*/ 870 h 870"/>
                  <a:gd name="T26" fmla="*/ 270 w 599"/>
                  <a:gd name="T27" fmla="*/ 750 h 870"/>
                  <a:gd name="T28" fmla="*/ 150 w 599"/>
                  <a:gd name="T29" fmla="*/ 870 h 870"/>
                  <a:gd name="T30" fmla="*/ 0 w 599"/>
                  <a:gd name="T31" fmla="*/ 780 h 870"/>
                  <a:gd name="T32" fmla="*/ 120 w 599"/>
                  <a:gd name="T33" fmla="*/ 690 h 870"/>
                  <a:gd name="T34" fmla="*/ 180 w 599"/>
                  <a:gd name="T35" fmla="*/ 540 h 870"/>
                  <a:gd name="T36" fmla="*/ 300 w 599"/>
                  <a:gd name="T37" fmla="*/ 630 h 870"/>
                  <a:gd name="T38" fmla="*/ 359 w 599"/>
                  <a:gd name="T39" fmla="*/ 480 h 870"/>
                  <a:gd name="T40" fmla="*/ 180 w 599"/>
                  <a:gd name="T41" fmla="*/ 390 h 870"/>
                  <a:gd name="T42" fmla="*/ 300 w 599"/>
                  <a:gd name="T43" fmla="*/ 330 h 870"/>
                  <a:gd name="T44" fmla="*/ 389 w 599"/>
                  <a:gd name="T45" fmla="*/ 270 h 870"/>
                  <a:gd name="T46" fmla="*/ 270 w 599"/>
                  <a:gd name="T47" fmla="*/ 180 h 870"/>
                  <a:gd name="T48" fmla="*/ 479 w 599"/>
                  <a:gd name="T49" fmla="*/ 240 h 870"/>
                  <a:gd name="T50" fmla="*/ 479 w 599"/>
                  <a:gd name="T51" fmla="*/ 90 h 870"/>
                  <a:gd name="T52" fmla="*/ 210 w 599"/>
                  <a:gd name="T53" fmla="*/ 90 h 8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99" h="870">
                    <a:moveTo>
                      <a:pt x="300" y="0"/>
                    </a:moveTo>
                    <a:lnTo>
                      <a:pt x="479" y="91"/>
                    </a:lnTo>
                    <a:lnTo>
                      <a:pt x="300" y="330"/>
                    </a:lnTo>
                    <a:lnTo>
                      <a:pt x="479" y="390"/>
                    </a:lnTo>
                    <a:lnTo>
                      <a:pt x="479" y="240"/>
                    </a:lnTo>
                    <a:lnTo>
                      <a:pt x="359" y="480"/>
                    </a:lnTo>
                    <a:lnTo>
                      <a:pt x="419" y="600"/>
                    </a:lnTo>
                    <a:lnTo>
                      <a:pt x="539" y="660"/>
                    </a:lnTo>
                    <a:lnTo>
                      <a:pt x="479" y="390"/>
                    </a:lnTo>
                    <a:lnTo>
                      <a:pt x="419" y="600"/>
                    </a:lnTo>
                    <a:lnTo>
                      <a:pt x="419" y="750"/>
                    </a:lnTo>
                    <a:lnTo>
                      <a:pt x="599" y="810"/>
                    </a:lnTo>
                    <a:lnTo>
                      <a:pt x="330" y="870"/>
                    </a:lnTo>
                    <a:lnTo>
                      <a:pt x="270" y="750"/>
                    </a:lnTo>
                    <a:lnTo>
                      <a:pt x="150" y="870"/>
                    </a:lnTo>
                    <a:lnTo>
                      <a:pt x="0" y="780"/>
                    </a:lnTo>
                    <a:lnTo>
                      <a:pt x="120" y="690"/>
                    </a:lnTo>
                    <a:lnTo>
                      <a:pt x="180" y="540"/>
                    </a:lnTo>
                    <a:lnTo>
                      <a:pt x="300" y="630"/>
                    </a:lnTo>
                    <a:lnTo>
                      <a:pt x="359" y="480"/>
                    </a:lnTo>
                    <a:lnTo>
                      <a:pt x="180" y="390"/>
                    </a:lnTo>
                    <a:lnTo>
                      <a:pt x="300" y="330"/>
                    </a:lnTo>
                    <a:lnTo>
                      <a:pt x="389" y="270"/>
                    </a:lnTo>
                    <a:lnTo>
                      <a:pt x="270" y="180"/>
                    </a:lnTo>
                    <a:lnTo>
                      <a:pt x="479" y="240"/>
                    </a:lnTo>
                    <a:lnTo>
                      <a:pt x="479" y="90"/>
                    </a:lnTo>
                    <a:lnTo>
                      <a:pt x="21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0" name="Line 2489">
                <a:extLst>
                  <a:ext uri="{FF2B5EF4-FFF2-40B4-BE49-F238E27FC236}">
                    <a16:creationId xmlns:a16="http://schemas.microsoft.com/office/drawing/2014/main" xmlns="" id="{F988E886-021C-415A-A371-14F2459FD6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026" y="1110"/>
                <a:ext cx="209" cy="21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1" name="Freeform 2490">
                <a:extLst>
                  <a:ext uri="{FF2B5EF4-FFF2-40B4-BE49-F238E27FC236}">
                    <a16:creationId xmlns:a16="http://schemas.microsoft.com/office/drawing/2014/main" xmlns="" id="{892D0493-1FC9-48C7-92AC-5589A98A08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290"/>
                <a:ext cx="780" cy="1080"/>
              </a:xfrm>
              <a:custGeom>
                <a:avLst/>
                <a:gdLst>
                  <a:gd name="T0" fmla="*/ 630 w 780"/>
                  <a:gd name="T1" fmla="*/ 1080 h 1080"/>
                  <a:gd name="T2" fmla="*/ 600 w 780"/>
                  <a:gd name="T3" fmla="*/ 870 h 1080"/>
                  <a:gd name="T4" fmla="*/ 480 w 780"/>
                  <a:gd name="T5" fmla="*/ 630 h 1080"/>
                  <a:gd name="T6" fmla="*/ 390 w 780"/>
                  <a:gd name="T7" fmla="*/ 720 h 1080"/>
                  <a:gd name="T8" fmla="*/ 270 w 780"/>
                  <a:gd name="T9" fmla="*/ 870 h 1080"/>
                  <a:gd name="T10" fmla="*/ 180 w 780"/>
                  <a:gd name="T11" fmla="*/ 750 h 1080"/>
                  <a:gd name="T12" fmla="*/ 210 w 780"/>
                  <a:gd name="T13" fmla="*/ 600 h 1080"/>
                  <a:gd name="T14" fmla="*/ 90 w 780"/>
                  <a:gd name="T15" fmla="*/ 660 h 1080"/>
                  <a:gd name="T16" fmla="*/ 0 w 780"/>
                  <a:gd name="T17" fmla="*/ 870 h 1080"/>
                  <a:gd name="T18" fmla="*/ 60 w 780"/>
                  <a:gd name="T19" fmla="*/ 510 h 1080"/>
                  <a:gd name="T20" fmla="*/ 0 w 780"/>
                  <a:gd name="T21" fmla="*/ 420 h 1080"/>
                  <a:gd name="T22" fmla="*/ 120 w 780"/>
                  <a:gd name="T23" fmla="*/ 330 h 1080"/>
                  <a:gd name="T24" fmla="*/ 300 w 780"/>
                  <a:gd name="T25" fmla="*/ 390 h 1080"/>
                  <a:gd name="T26" fmla="*/ 330 w 780"/>
                  <a:gd name="T27" fmla="*/ 510 h 1080"/>
                  <a:gd name="T28" fmla="*/ 480 w 780"/>
                  <a:gd name="T29" fmla="*/ 390 h 1080"/>
                  <a:gd name="T30" fmla="*/ 660 w 780"/>
                  <a:gd name="T31" fmla="*/ 240 h 1080"/>
                  <a:gd name="T32" fmla="*/ 480 w 780"/>
                  <a:gd name="T33" fmla="*/ 150 h 1080"/>
                  <a:gd name="T34" fmla="*/ 600 w 780"/>
                  <a:gd name="T35" fmla="*/ 120 h 1080"/>
                  <a:gd name="T36" fmla="*/ 780 w 780"/>
                  <a:gd name="T37" fmla="*/ 180 h 1080"/>
                  <a:gd name="T38" fmla="*/ 750 w 780"/>
                  <a:gd name="T39" fmla="*/ 30 h 1080"/>
                  <a:gd name="T40" fmla="*/ 600 w 780"/>
                  <a:gd name="T41" fmla="*/ 120 h 1080"/>
                  <a:gd name="T42" fmla="*/ 510 w 780"/>
                  <a:gd name="T43" fmla="*/ 0 h 1080"/>
                  <a:gd name="T44" fmla="*/ 480 w 780"/>
                  <a:gd name="T45" fmla="*/ 150 h 1080"/>
                  <a:gd name="T46" fmla="*/ 510 w 780"/>
                  <a:gd name="T47" fmla="*/ 300 h 1080"/>
                  <a:gd name="T48" fmla="*/ 480 w 780"/>
                  <a:gd name="T49" fmla="*/ 390 h 1080"/>
                  <a:gd name="T50" fmla="*/ 600 w 780"/>
                  <a:gd name="T51" fmla="*/ 540 h 10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80" h="1080">
                    <a:moveTo>
                      <a:pt x="630" y="1080"/>
                    </a:moveTo>
                    <a:lnTo>
                      <a:pt x="600" y="870"/>
                    </a:lnTo>
                    <a:lnTo>
                      <a:pt x="480" y="630"/>
                    </a:lnTo>
                    <a:lnTo>
                      <a:pt x="390" y="720"/>
                    </a:lnTo>
                    <a:lnTo>
                      <a:pt x="270" y="870"/>
                    </a:lnTo>
                    <a:lnTo>
                      <a:pt x="180" y="750"/>
                    </a:lnTo>
                    <a:lnTo>
                      <a:pt x="210" y="600"/>
                    </a:lnTo>
                    <a:lnTo>
                      <a:pt x="90" y="660"/>
                    </a:lnTo>
                    <a:lnTo>
                      <a:pt x="0" y="870"/>
                    </a:lnTo>
                    <a:lnTo>
                      <a:pt x="60" y="510"/>
                    </a:lnTo>
                    <a:lnTo>
                      <a:pt x="0" y="420"/>
                    </a:lnTo>
                    <a:lnTo>
                      <a:pt x="120" y="330"/>
                    </a:lnTo>
                    <a:lnTo>
                      <a:pt x="300" y="390"/>
                    </a:lnTo>
                    <a:lnTo>
                      <a:pt x="330" y="510"/>
                    </a:lnTo>
                    <a:lnTo>
                      <a:pt x="480" y="390"/>
                    </a:lnTo>
                    <a:lnTo>
                      <a:pt x="660" y="240"/>
                    </a:lnTo>
                    <a:lnTo>
                      <a:pt x="480" y="150"/>
                    </a:lnTo>
                    <a:lnTo>
                      <a:pt x="600" y="120"/>
                    </a:lnTo>
                    <a:lnTo>
                      <a:pt x="780" y="180"/>
                    </a:lnTo>
                    <a:lnTo>
                      <a:pt x="750" y="30"/>
                    </a:lnTo>
                    <a:lnTo>
                      <a:pt x="600" y="120"/>
                    </a:lnTo>
                    <a:lnTo>
                      <a:pt x="510" y="0"/>
                    </a:lnTo>
                    <a:lnTo>
                      <a:pt x="480" y="150"/>
                    </a:lnTo>
                    <a:lnTo>
                      <a:pt x="510" y="300"/>
                    </a:lnTo>
                    <a:lnTo>
                      <a:pt x="480" y="390"/>
                    </a:lnTo>
                    <a:lnTo>
                      <a:pt x="60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2" name="Line 2491">
                <a:extLst>
                  <a:ext uri="{FF2B5EF4-FFF2-40B4-BE49-F238E27FC236}">
                    <a16:creationId xmlns:a16="http://schemas.microsoft.com/office/drawing/2014/main" xmlns="" id="{FFCCED91-9206-463A-AFA7-85C01D8297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09" y="2013"/>
                <a:ext cx="87" cy="177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3" name="Freeform 2492">
                <a:extLst>
                  <a:ext uri="{FF2B5EF4-FFF2-40B4-BE49-F238E27FC236}">
                    <a16:creationId xmlns:a16="http://schemas.microsoft.com/office/drawing/2014/main" xmlns="" id="{88EC9DD2-F85E-4D92-8E39-C949F58969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1890"/>
                <a:ext cx="210" cy="270"/>
              </a:xfrm>
              <a:custGeom>
                <a:avLst/>
                <a:gdLst>
                  <a:gd name="T0" fmla="*/ 210 w 210"/>
                  <a:gd name="T1" fmla="*/ 120 h 270"/>
                  <a:gd name="T2" fmla="*/ 0 w 210"/>
                  <a:gd name="T3" fmla="*/ 270 h 270"/>
                  <a:gd name="T4" fmla="*/ 150 w 210"/>
                  <a:gd name="T5" fmla="*/ 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270">
                    <a:moveTo>
                      <a:pt x="210" y="120"/>
                    </a:moveTo>
                    <a:lnTo>
                      <a:pt x="0" y="27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4" name="Freeform 2493">
                <a:extLst>
                  <a:ext uri="{FF2B5EF4-FFF2-40B4-BE49-F238E27FC236}">
                    <a16:creationId xmlns:a16="http://schemas.microsoft.com/office/drawing/2014/main" xmlns="" id="{C83B85F5-B1C5-4AE9-9DE3-C774B5674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5" y="1620"/>
                <a:ext cx="360" cy="483"/>
              </a:xfrm>
              <a:custGeom>
                <a:avLst/>
                <a:gdLst>
                  <a:gd name="T0" fmla="*/ 0 w 432"/>
                  <a:gd name="T1" fmla="*/ 146 h 579"/>
                  <a:gd name="T2" fmla="*/ 216 w 432"/>
                  <a:gd name="T3" fmla="*/ 0 h 579"/>
                  <a:gd name="T4" fmla="*/ 144 w 432"/>
                  <a:gd name="T5" fmla="*/ 216 h 579"/>
                  <a:gd name="T6" fmla="*/ 360 w 432"/>
                  <a:gd name="T7" fmla="*/ 252 h 579"/>
                  <a:gd name="T8" fmla="*/ 324 w 432"/>
                  <a:gd name="T9" fmla="*/ 578 h 579"/>
                  <a:gd name="T10" fmla="*/ 432 w 432"/>
                  <a:gd name="T11" fmla="*/ 432 h 579"/>
                  <a:gd name="T12" fmla="*/ 220 w 432"/>
                  <a:gd name="T13" fmla="*/ 399 h 579"/>
                  <a:gd name="T14" fmla="*/ 112 w 432"/>
                  <a:gd name="T15" fmla="*/ 579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2" h="579">
                    <a:moveTo>
                      <a:pt x="0" y="146"/>
                    </a:moveTo>
                    <a:cubicBezTo>
                      <a:pt x="216" y="0"/>
                      <a:pt x="216" y="0"/>
                      <a:pt x="216" y="0"/>
                    </a:cubicBezTo>
                    <a:cubicBezTo>
                      <a:pt x="144" y="216"/>
                      <a:pt x="144" y="216"/>
                      <a:pt x="144" y="216"/>
                    </a:cubicBezTo>
                    <a:cubicBezTo>
                      <a:pt x="360" y="252"/>
                      <a:pt x="360" y="252"/>
                      <a:pt x="360" y="252"/>
                    </a:cubicBezTo>
                    <a:cubicBezTo>
                      <a:pt x="324" y="578"/>
                      <a:pt x="324" y="578"/>
                      <a:pt x="324" y="578"/>
                    </a:cubicBezTo>
                    <a:cubicBezTo>
                      <a:pt x="432" y="432"/>
                      <a:pt x="432" y="432"/>
                      <a:pt x="432" y="432"/>
                    </a:cubicBezTo>
                    <a:cubicBezTo>
                      <a:pt x="220" y="399"/>
                      <a:pt x="220" y="399"/>
                      <a:pt x="220" y="399"/>
                    </a:cubicBezTo>
                    <a:cubicBezTo>
                      <a:pt x="220" y="399"/>
                      <a:pt x="108" y="576"/>
                      <a:pt x="112" y="579"/>
                    </a:cubicBez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5" name="Freeform 2494">
                <a:extLst>
                  <a:ext uri="{FF2B5EF4-FFF2-40B4-BE49-F238E27FC236}">
                    <a16:creationId xmlns:a16="http://schemas.microsoft.com/office/drawing/2014/main" xmlns="" id="{67015895-6415-4558-ABDF-91BEFDF1F8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5" y="1800"/>
                <a:ext cx="120" cy="303"/>
              </a:xfrm>
              <a:custGeom>
                <a:avLst/>
                <a:gdLst>
                  <a:gd name="T0" fmla="*/ 0 w 120"/>
                  <a:gd name="T1" fmla="*/ 90 h 303"/>
                  <a:gd name="T2" fmla="*/ 120 w 120"/>
                  <a:gd name="T3" fmla="*/ 0 h 303"/>
                  <a:gd name="T4" fmla="*/ 94 w 120"/>
                  <a:gd name="T5" fmla="*/ 303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0" h="303">
                    <a:moveTo>
                      <a:pt x="0" y="90"/>
                    </a:moveTo>
                    <a:lnTo>
                      <a:pt x="120" y="0"/>
                    </a:lnTo>
                    <a:lnTo>
                      <a:pt x="94" y="303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6" name="Freeform 2495">
                <a:extLst>
                  <a:ext uri="{FF2B5EF4-FFF2-40B4-BE49-F238E27FC236}">
                    <a16:creationId xmlns:a16="http://schemas.microsoft.com/office/drawing/2014/main" xmlns="" id="{0E443648-D2B6-494A-B7A3-83D436971B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1922"/>
                <a:ext cx="1110" cy="868"/>
              </a:xfrm>
              <a:custGeom>
                <a:avLst/>
                <a:gdLst>
                  <a:gd name="T0" fmla="*/ 240 w 1110"/>
                  <a:gd name="T1" fmla="*/ 0 h 868"/>
                  <a:gd name="T2" fmla="*/ 210 w 1110"/>
                  <a:gd name="T3" fmla="*/ 148 h 868"/>
                  <a:gd name="T4" fmla="*/ 150 w 1110"/>
                  <a:gd name="T5" fmla="*/ 238 h 868"/>
                  <a:gd name="T6" fmla="*/ 0 w 1110"/>
                  <a:gd name="T7" fmla="*/ 328 h 868"/>
                  <a:gd name="T8" fmla="*/ 0 w 1110"/>
                  <a:gd name="T9" fmla="*/ 478 h 868"/>
                  <a:gd name="T10" fmla="*/ 120 w 1110"/>
                  <a:gd name="T11" fmla="*/ 388 h 868"/>
                  <a:gd name="T12" fmla="*/ 270 w 1110"/>
                  <a:gd name="T13" fmla="*/ 268 h 868"/>
                  <a:gd name="T14" fmla="*/ 510 w 1110"/>
                  <a:gd name="T15" fmla="*/ 118 h 868"/>
                  <a:gd name="T16" fmla="*/ 600 w 1110"/>
                  <a:gd name="T17" fmla="*/ 178 h 868"/>
                  <a:gd name="T18" fmla="*/ 690 w 1110"/>
                  <a:gd name="T19" fmla="*/ 298 h 868"/>
                  <a:gd name="T20" fmla="*/ 780 w 1110"/>
                  <a:gd name="T21" fmla="*/ 178 h 868"/>
                  <a:gd name="T22" fmla="*/ 600 w 1110"/>
                  <a:gd name="T23" fmla="*/ 178 h 868"/>
                  <a:gd name="T24" fmla="*/ 600 w 1110"/>
                  <a:gd name="T25" fmla="*/ 329 h 868"/>
                  <a:gd name="T26" fmla="*/ 510 w 1110"/>
                  <a:gd name="T27" fmla="*/ 298 h 868"/>
                  <a:gd name="T28" fmla="*/ 480 w 1110"/>
                  <a:gd name="T29" fmla="*/ 388 h 868"/>
                  <a:gd name="T30" fmla="*/ 480 w 1110"/>
                  <a:gd name="T31" fmla="*/ 628 h 868"/>
                  <a:gd name="T32" fmla="*/ 600 w 1110"/>
                  <a:gd name="T33" fmla="*/ 538 h 868"/>
                  <a:gd name="T34" fmla="*/ 688 w 1110"/>
                  <a:gd name="T35" fmla="*/ 630 h 868"/>
                  <a:gd name="T36" fmla="*/ 660 w 1110"/>
                  <a:gd name="T37" fmla="*/ 448 h 868"/>
                  <a:gd name="T38" fmla="*/ 750 w 1110"/>
                  <a:gd name="T39" fmla="*/ 388 h 868"/>
                  <a:gd name="T40" fmla="*/ 870 w 1110"/>
                  <a:gd name="T41" fmla="*/ 448 h 868"/>
                  <a:gd name="T42" fmla="*/ 750 w 1110"/>
                  <a:gd name="T43" fmla="*/ 508 h 868"/>
                  <a:gd name="T44" fmla="*/ 840 w 1110"/>
                  <a:gd name="T45" fmla="*/ 568 h 868"/>
                  <a:gd name="T46" fmla="*/ 1110 w 1110"/>
                  <a:gd name="T47" fmla="*/ 538 h 868"/>
                  <a:gd name="T48" fmla="*/ 990 w 1110"/>
                  <a:gd name="T49" fmla="*/ 598 h 868"/>
                  <a:gd name="T50" fmla="*/ 1020 w 1110"/>
                  <a:gd name="T51" fmla="*/ 868 h 868"/>
                  <a:gd name="T52" fmla="*/ 810 w 1110"/>
                  <a:gd name="T53" fmla="*/ 688 h 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10" h="868">
                    <a:moveTo>
                      <a:pt x="240" y="0"/>
                    </a:moveTo>
                    <a:lnTo>
                      <a:pt x="210" y="148"/>
                    </a:lnTo>
                    <a:lnTo>
                      <a:pt x="150" y="238"/>
                    </a:lnTo>
                    <a:lnTo>
                      <a:pt x="0" y="328"/>
                    </a:lnTo>
                    <a:lnTo>
                      <a:pt x="0" y="478"/>
                    </a:lnTo>
                    <a:lnTo>
                      <a:pt x="120" y="388"/>
                    </a:lnTo>
                    <a:lnTo>
                      <a:pt x="270" y="268"/>
                    </a:lnTo>
                    <a:lnTo>
                      <a:pt x="510" y="118"/>
                    </a:lnTo>
                    <a:lnTo>
                      <a:pt x="600" y="178"/>
                    </a:lnTo>
                    <a:lnTo>
                      <a:pt x="690" y="298"/>
                    </a:lnTo>
                    <a:lnTo>
                      <a:pt x="780" y="178"/>
                    </a:lnTo>
                    <a:lnTo>
                      <a:pt x="600" y="178"/>
                    </a:lnTo>
                    <a:lnTo>
                      <a:pt x="600" y="329"/>
                    </a:lnTo>
                    <a:lnTo>
                      <a:pt x="510" y="298"/>
                    </a:lnTo>
                    <a:lnTo>
                      <a:pt x="480" y="388"/>
                    </a:lnTo>
                    <a:lnTo>
                      <a:pt x="480" y="628"/>
                    </a:lnTo>
                    <a:lnTo>
                      <a:pt x="600" y="538"/>
                    </a:lnTo>
                    <a:lnTo>
                      <a:pt x="688" y="630"/>
                    </a:lnTo>
                    <a:lnTo>
                      <a:pt x="660" y="448"/>
                    </a:lnTo>
                    <a:lnTo>
                      <a:pt x="750" y="388"/>
                    </a:lnTo>
                    <a:lnTo>
                      <a:pt x="870" y="448"/>
                    </a:lnTo>
                    <a:lnTo>
                      <a:pt x="750" y="508"/>
                    </a:lnTo>
                    <a:lnTo>
                      <a:pt x="840" y="568"/>
                    </a:lnTo>
                    <a:lnTo>
                      <a:pt x="1110" y="538"/>
                    </a:lnTo>
                    <a:lnTo>
                      <a:pt x="990" y="598"/>
                    </a:lnTo>
                    <a:lnTo>
                      <a:pt x="1020" y="868"/>
                    </a:lnTo>
                    <a:lnTo>
                      <a:pt x="810" y="68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7" name="Line 2496">
                <a:extLst>
                  <a:ext uri="{FF2B5EF4-FFF2-40B4-BE49-F238E27FC236}">
                    <a16:creationId xmlns:a16="http://schemas.microsoft.com/office/drawing/2014/main" xmlns="" id="{B0C312D1-7451-42D6-8F17-26EE13CDF6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35" y="1950"/>
                <a:ext cx="18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8" name="Line 2497">
                <a:extLst>
                  <a:ext uri="{FF2B5EF4-FFF2-40B4-BE49-F238E27FC236}">
                    <a16:creationId xmlns:a16="http://schemas.microsoft.com/office/drawing/2014/main" xmlns="" id="{1DEC7386-E963-42D4-9D1F-43377D35BA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865" y="1922"/>
                <a:ext cx="152" cy="151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09" name="Freeform 2498">
                <a:extLst>
                  <a:ext uri="{FF2B5EF4-FFF2-40B4-BE49-F238E27FC236}">
                    <a16:creationId xmlns:a16="http://schemas.microsoft.com/office/drawing/2014/main" xmlns="" id="{0D795EC9-1283-426D-BFAA-A3E48746F0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7" y="1713"/>
                <a:ext cx="328" cy="390"/>
              </a:xfrm>
              <a:custGeom>
                <a:avLst/>
                <a:gdLst>
                  <a:gd name="T0" fmla="*/ 271 w 328"/>
                  <a:gd name="T1" fmla="*/ 0 h 390"/>
                  <a:gd name="T2" fmla="*/ 238 w 328"/>
                  <a:gd name="T3" fmla="*/ 147 h 390"/>
                  <a:gd name="T4" fmla="*/ 151 w 328"/>
                  <a:gd name="T5" fmla="*/ 390 h 390"/>
                  <a:gd name="T6" fmla="*/ 328 w 328"/>
                  <a:gd name="T7" fmla="*/ 207 h 390"/>
                  <a:gd name="T8" fmla="*/ 328 w 328"/>
                  <a:gd name="T9" fmla="*/ 389 h 390"/>
                  <a:gd name="T10" fmla="*/ 118 w 328"/>
                  <a:gd name="T11" fmla="*/ 177 h 390"/>
                  <a:gd name="T12" fmla="*/ 58 w 328"/>
                  <a:gd name="T13" fmla="*/ 327 h 390"/>
                  <a:gd name="T14" fmla="*/ 0 w 328"/>
                  <a:gd name="T15" fmla="*/ 18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8" h="390">
                    <a:moveTo>
                      <a:pt x="271" y="0"/>
                    </a:moveTo>
                    <a:lnTo>
                      <a:pt x="238" y="147"/>
                    </a:lnTo>
                    <a:lnTo>
                      <a:pt x="151" y="390"/>
                    </a:lnTo>
                    <a:lnTo>
                      <a:pt x="328" y="207"/>
                    </a:lnTo>
                    <a:lnTo>
                      <a:pt x="328" y="389"/>
                    </a:lnTo>
                    <a:lnTo>
                      <a:pt x="118" y="177"/>
                    </a:lnTo>
                    <a:lnTo>
                      <a:pt x="58" y="327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0" name="Line 2499">
                <a:extLst>
                  <a:ext uri="{FF2B5EF4-FFF2-40B4-BE49-F238E27FC236}">
                    <a16:creationId xmlns:a16="http://schemas.microsoft.com/office/drawing/2014/main" xmlns="" id="{2494AD39-37D6-4A18-B37C-27142FDF3E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348" y="1713"/>
                <a:ext cx="177" cy="119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1" name="Line 2500">
                <a:extLst>
                  <a:ext uri="{FF2B5EF4-FFF2-40B4-BE49-F238E27FC236}">
                    <a16:creationId xmlns:a16="http://schemas.microsoft.com/office/drawing/2014/main" xmlns="" id="{9540DE55-71AF-490C-9D44-161DB2BB5E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315" y="1442"/>
                <a:ext cx="88" cy="118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2" name="Freeform 2501">
                <a:extLst>
                  <a:ext uri="{FF2B5EF4-FFF2-40B4-BE49-F238E27FC236}">
                    <a16:creationId xmlns:a16="http://schemas.microsoft.com/office/drawing/2014/main" xmlns="" id="{7CDB3288-BBCE-4A1D-B460-DED4EEF7D3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780"/>
                <a:ext cx="690" cy="630"/>
              </a:xfrm>
              <a:custGeom>
                <a:avLst/>
                <a:gdLst>
                  <a:gd name="T0" fmla="*/ 660 w 690"/>
                  <a:gd name="T1" fmla="*/ 630 h 630"/>
                  <a:gd name="T2" fmla="*/ 690 w 690"/>
                  <a:gd name="T3" fmla="*/ 390 h 630"/>
                  <a:gd name="T4" fmla="*/ 570 w 690"/>
                  <a:gd name="T5" fmla="*/ 420 h 630"/>
                  <a:gd name="T6" fmla="*/ 450 w 690"/>
                  <a:gd name="T7" fmla="*/ 240 h 630"/>
                  <a:gd name="T8" fmla="*/ 420 w 690"/>
                  <a:gd name="T9" fmla="*/ 420 h 630"/>
                  <a:gd name="T10" fmla="*/ 330 w 690"/>
                  <a:gd name="T11" fmla="*/ 330 h 630"/>
                  <a:gd name="T12" fmla="*/ 210 w 690"/>
                  <a:gd name="T13" fmla="*/ 270 h 630"/>
                  <a:gd name="T14" fmla="*/ 0 w 690"/>
                  <a:gd name="T15" fmla="*/ 210 h 630"/>
                  <a:gd name="T16" fmla="*/ 270 w 690"/>
                  <a:gd name="T17" fmla="*/ 180 h 630"/>
                  <a:gd name="T18" fmla="*/ 180 w 690"/>
                  <a:gd name="T19" fmla="*/ 30 h 630"/>
                  <a:gd name="T20" fmla="*/ 330 w 690"/>
                  <a:gd name="T21" fmla="*/ 0 h 630"/>
                  <a:gd name="T22" fmla="*/ 120 w 690"/>
                  <a:gd name="T23" fmla="*/ 15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90" h="630">
                    <a:moveTo>
                      <a:pt x="660" y="630"/>
                    </a:moveTo>
                    <a:lnTo>
                      <a:pt x="690" y="390"/>
                    </a:lnTo>
                    <a:lnTo>
                      <a:pt x="570" y="420"/>
                    </a:lnTo>
                    <a:lnTo>
                      <a:pt x="450" y="240"/>
                    </a:lnTo>
                    <a:lnTo>
                      <a:pt x="420" y="420"/>
                    </a:lnTo>
                    <a:lnTo>
                      <a:pt x="330" y="330"/>
                    </a:lnTo>
                    <a:lnTo>
                      <a:pt x="210" y="270"/>
                    </a:lnTo>
                    <a:lnTo>
                      <a:pt x="0" y="210"/>
                    </a:lnTo>
                    <a:lnTo>
                      <a:pt x="270" y="180"/>
                    </a:lnTo>
                    <a:lnTo>
                      <a:pt x="180" y="30"/>
                    </a:lnTo>
                    <a:lnTo>
                      <a:pt x="330" y="0"/>
                    </a:lnTo>
                    <a:lnTo>
                      <a:pt x="12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3" name="Line 2502">
                <a:extLst>
                  <a:ext uri="{FF2B5EF4-FFF2-40B4-BE49-F238E27FC236}">
                    <a16:creationId xmlns:a16="http://schemas.microsoft.com/office/drawing/2014/main" xmlns="" id="{13AB2D93-C3EC-484F-8128-C69070FA73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285" y="1290"/>
                <a:ext cx="15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4" name="Freeform 2503">
                <a:extLst>
                  <a:ext uri="{FF2B5EF4-FFF2-40B4-BE49-F238E27FC236}">
                    <a16:creationId xmlns:a16="http://schemas.microsoft.com/office/drawing/2014/main" xmlns="" id="{E79B62DD-1ED8-4B04-A3D8-A8F487B50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1082"/>
                <a:ext cx="120" cy="208"/>
              </a:xfrm>
              <a:custGeom>
                <a:avLst/>
                <a:gdLst>
                  <a:gd name="T0" fmla="*/ 120 w 120"/>
                  <a:gd name="T1" fmla="*/ 208 h 208"/>
                  <a:gd name="T2" fmla="*/ 90 w 120"/>
                  <a:gd name="T3" fmla="*/ 0 h 208"/>
                  <a:gd name="T4" fmla="*/ 0 w 120"/>
                  <a:gd name="T5" fmla="*/ 88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0" h="208">
                    <a:moveTo>
                      <a:pt x="120" y="208"/>
                    </a:moveTo>
                    <a:lnTo>
                      <a:pt x="90" y="0"/>
                    </a:lnTo>
                    <a:lnTo>
                      <a:pt x="0" y="88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5" name="Freeform 2504">
                <a:extLst>
                  <a:ext uri="{FF2B5EF4-FFF2-40B4-BE49-F238E27FC236}">
                    <a16:creationId xmlns:a16="http://schemas.microsoft.com/office/drawing/2014/main" xmlns="" id="{E054FF8A-49B2-456A-B74E-990897C83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1200"/>
                <a:ext cx="240" cy="242"/>
              </a:xfrm>
              <a:custGeom>
                <a:avLst/>
                <a:gdLst>
                  <a:gd name="T0" fmla="*/ 240 w 240"/>
                  <a:gd name="T1" fmla="*/ 90 h 242"/>
                  <a:gd name="T2" fmla="*/ 0 w 240"/>
                  <a:gd name="T3" fmla="*/ 0 h 242"/>
                  <a:gd name="T4" fmla="*/ 208 w 240"/>
                  <a:gd name="T5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0" h="242">
                    <a:moveTo>
                      <a:pt x="240" y="90"/>
                    </a:moveTo>
                    <a:lnTo>
                      <a:pt x="0" y="0"/>
                    </a:lnTo>
                    <a:lnTo>
                      <a:pt x="208" y="242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6" name="Line 2505">
                <a:extLst>
                  <a:ext uri="{FF2B5EF4-FFF2-40B4-BE49-F238E27FC236}">
                    <a16:creationId xmlns:a16="http://schemas.microsoft.com/office/drawing/2014/main" xmlns="" id="{A945A76C-3251-4098-A845-DFDF1DA60A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85" y="1260"/>
                <a:ext cx="30" cy="272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7" name="Freeform 2506">
                <a:extLst>
                  <a:ext uri="{FF2B5EF4-FFF2-40B4-BE49-F238E27FC236}">
                    <a16:creationId xmlns:a16="http://schemas.microsoft.com/office/drawing/2014/main" xmlns="" id="{F8416B36-BAA8-4609-BA62-999BDE6CB5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5" y="450"/>
                <a:ext cx="449" cy="1140"/>
              </a:xfrm>
              <a:custGeom>
                <a:avLst/>
                <a:gdLst>
                  <a:gd name="T0" fmla="*/ 449 w 449"/>
                  <a:gd name="T1" fmla="*/ 1140 h 1140"/>
                  <a:gd name="T2" fmla="*/ 329 w 449"/>
                  <a:gd name="T3" fmla="*/ 930 h 1140"/>
                  <a:gd name="T4" fmla="*/ 419 w 449"/>
                  <a:gd name="T5" fmla="*/ 690 h 1140"/>
                  <a:gd name="T6" fmla="*/ 239 w 449"/>
                  <a:gd name="T7" fmla="*/ 600 h 1140"/>
                  <a:gd name="T8" fmla="*/ 269 w 449"/>
                  <a:gd name="T9" fmla="*/ 780 h 1140"/>
                  <a:gd name="T10" fmla="*/ 389 w 449"/>
                  <a:gd name="T11" fmla="*/ 570 h 1140"/>
                  <a:gd name="T12" fmla="*/ 419 w 449"/>
                  <a:gd name="T13" fmla="*/ 450 h 1140"/>
                  <a:gd name="T14" fmla="*/ 359 w 449"/>
                  <a:gd name="T15" fmla="*/ 330 h 1140"/>
                  <a:gd name="T16" fmla="*/ 389 w 449"/>
                  <a:gd name="T17" fmla="*/ 180 h 1140"/>
                  <a:gd name="T18" fmla="*/ 239 w 449"/>
                  <a:gd name="T19" fmla="*/ 60 h 1140"/>
                  <a:gd name="T20" fmla="*/ 150 w 449"/>
                  <a:gd name="T21" fmla="*/ 180 h 1140"/>
                  <a:gd name="T22" fmla="*/ 0 w 449"/>
                  <a:gd name="T23" fmla="*/ 270 h 1140"/>
                  <a:gd name="T24" fmla="*/ 0 w 449"/>
                  <a:gd name="T25" fmla="*/ 420 h 1140"/>
                  <a:gd name="T26" fmla="*/ 120 w 449"/>
                  <a:gd name="T27" fmla="*/ 330 h 1140"/>
                  <a:gd name="T28" fmla="*/ 269 w 449"/>
                  <a:gd name="T29" fmla="*/ 210 h 1140"/>
                  <a:gd name="T30" fmla="*/ 239 w 449"/>
                  <a:gd name="T31" fmla="*/ 60 h 1140"/>
                  <a:gd name="T32" fmla="*/ 120 w 449"/>
                  <a:gd name="T33" fmla="*/ 0 h 1140"/>
                  <a:gd name="T34" fmla="*/ 30 w 449"/>
                  <a:gd name="T35" fmla="*/ 90 h 1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9" h="1140">
                    <a:moveTo>
                      <a:pt x="449" y="1140"/>
                    </a:moveTo>
                    <a:lnTo>
                      <a:pt x="329" y="930"/>
                    </a:lnTo>
                    <a:lnTo>
                      <a:pt x="419" y="690"/>
                    </a:lnTo>
                    <a:lnTo>
                      <a:pt x="239" y="600"/>
                    </a:lnTo>
                    <a:lnTo>
                      <a:pt x="269" y="780"/>
                    </a:lnTo>
                    <a:lnTo>
                      <a:pt x="389" y="570"/>
                    </a:lnTo>
                    <a:lnTo>
                      <a:pt x="419" y="450"/>
                    </a:lnTo>
                    <a:lnTo>
                      <a:pt x="359" y="330"/>
                    </a:lnTo>
                    <a:lnTo>
                      <a:pt x="389" y="180"/>
                    </a:lnTo>
                    <a:lnTo>
                      <a:pt x="239" y="60"/>
                    </a:lnTo>
                    <a:lnTo>
                      <a:pt x="150" y="180"/>
                    </a:lnTo>
                    <a:lnTo>
                      <a:pt x="0" y="270"/>
                    </a:lnTo>
                    <a:lnTo>
                      <a:pt x="0" y="420"/>
                    </a:lnTo>
                    <a:lnTo>
                      <a:pt x="120" y="330"/>
                    </a:lnTo>
                    <a:lnTo>
                      <a:pt x="269" y="210"/>
                    </a:lnTo>
                    <a:lnTo>
                      <a:pt x="239" y="60"/>
                    </a:lnTo>
                    <a:lnTo>
                      <a:pt x="120" y="0"/>
                    </a:lnTo>
                    <a:lnTo>
                      <a:pt x="3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8" name="Line 2507">
                <a:extLst>
                  <a:ext uri="{FF2B5EF4-FFF2-40B4-BE49-F238E27FC236}">
                    <a16:creationId xmlns:a16="http://schemas.microsoft.com/office/drawing/2014/main" xmlns="" id="{286A39A2-8C80-4F5F-B812-F740D4C5DA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4" y="159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19" name="Freeform 2508">
                <a:extLst>
                  <a:ext uri="{FF2B5EF4-FFF2-40B4-BE49-F238E27FC236}">
                    <a16:creationId xmlns:a16="http://schemas.microsoft.com/office/drawing/2014/main" xmlns="" id="{89DA4A61-5A79-48B2-B6E1-B422E48145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5" y="1740"/>
                <a:ext cx="659" cy="423"/>
              </a:xfrm>
              <a:custGeom>
                <a:avLst/>
                <a:gdLst>
                  <a:gd name="T0" fmla="*/ 300 w 659"/>
                  <a:gd name="T1" fmla="*/ 303 h 423"/>
                  <a:gd name="T2" fmla="*/ 299 w 659"/>
                  <a:gd name="T3" fmla="*/ 150 h 423"/>
                  <a:gd name="T4" fmla="*/ 451 w 659"/>
                  <a:gd name="T5" fmla="*/ 423 h 423"/>
                  <a:gd name="T6" fmla="*/ 483 w 659"/>
                  <a:gd name="T7" fmla="*/ 213 h 423"/>
                  <a:gd name="T8" fmla="*/ 659 w 659"/>
                  <a:gd name="T9" fmla="*/ 300 h 423"/>
                  <a:gd name="T10" fmla="*/ 419 w 659"/>
                  <a:gd name="T11" fmla="*/ 60 h 423"/>
                  <a:gd name="T12" fmla="*/ 479 w 659"/>
                  <a:gd name="T13" fmla="*/ 210 h 423"/>
                  <a:gd name="T14" fmla="*/ 299 w 659"/>
                  <a:gd name="T15" fmla="*/ 0 h 423"/>
                  <a:gd name="T16" fmla="*/ 150 w 659"/>
                  <a:gd name="T17" fmla="*/ 150 h 423"/>
                  <a:gd name="T18" fmla="*/ 0 w 659"/>
                  <a:gd name="T19" fmla="*/ 90 h 4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9" h="423">
                    <a:moveTo>
                      <a:pt x="300" y="303"/>
                    </a:moveTo>
                    <a:lnTo>
                      <a:pt x="299" y="150"/>
                    </a:lnTo>
                    <a:lnTo>
                      <a:pt x="451" y="423"/>
                    </a:lnTo>
                    <a:lnTo>
                      <a:pt x="483" y="213"/>
                    </a:lnTo>
                    <a:lnTo>
                      <a:pt x="659" y="300"/>
                    </a:lnTo>
                    <a:lnTo>
                      <a:pt x="419" y="60"/>
                    </a:lnTo>
                    <a:lnTo>
                      <a:pt x="479" y="210"/>
                    </a:lnTo>
                    <a:lnTo>
                      <a:pt x="299" y="0"/>
                    </a:lnTo>
                    <a:lnTo>
                      <a:pt x="150" y="150"/>
                    </a:lnTo>
                    <a:lnTo>
                      <a:pt x="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0" name="Freeform 2509">
                <a:extLst>
                  <a:ext uri="{FF2B5EF4-FFF2-40B4-BE49-F238E27FC236}">
                    <a16:creationId xmlns:a16="http://schemas.microsoft.com/office/drawing/2014/main" xmlns="" id="{389B0C02-E0F1-4BB9-8B6A-A41CA1C9E3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1860"/>
                <a:ext cx="393" cy="123"/>
              </a:xfrm>
              <a:custGeom>
                <a:avLst/>
                <a:gdLst>
                  <a:gd name="T0" fmla="*/ 393 w 393"/>
                  <a:gd name="T1" fmla="*/ 123 h 123"/>
                  <a:gd name="T2" fmla="*/ 90 w 393"/>
                  <a:gd name="T3" fmla="*/ 60 h 123"/>
                  <a:gd name="T4" fmla="*/ 0 w 393"/>
                  <a:gd name="T5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3" h="123">
                    <a:moveTo>
                      <a:pt x="393" y="123"/>
                    </a:moveTo>
                    <a:lnTo>
                      <a:pt x="9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1" name="Freeform 2510">
                <a:extLst>
                  <a:ext uri="{FF2B5EF4-FFF2-40B4-BE49-F238E27FC236}">
                    <a16:creationId xmlns:a16="http://schemas.microsoft.com/office/drawing/2014/main" xmlns="" id="{7F013949-2F1A-43CC-84B7-66C8E611A5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60"/>
                <a:ext cx="690" cy="600"/>
              </a:xfrm>
              <a:custGeom>
                <a:avLst/>
                <a:gdLst>
                  <a:gd name="T0" fmla="*/ 690 w 690"/>
                  <a:gd name="T1" fmla="*/ 600 h 600"/>
                  <a:gd name="T2" fmla="*/ 630 w 690"/>
                  <a:gd name="T3" fmla="*/ 450 h 600"/>
                  <a:gd name="T4" fmla="*/ 480 w 690"/>
                  <a:gd name="T5" fmla="*/ 210 h 600"/>
                  <a:gd name="T6" fmla="*/ 330 w 690"/>
                  <a:gd name="T7" fmla="*/ 0 h 600"/>
                  <a:gd name="T8" fmla="*/ 150 w 690"/>
                  <a:gd name="T9" fmla="*/ 90 h 600"/>
                  <a:gd name="T10" fmla="*/ 60 w 690"/>
                  <a:gd name="T11" fmla="*/ 210 h 600"/>
                  <a:gd name="T12" fmla="*/ 300 w 690"/>
                  <a:gd name="T13" fmla="*/ 210 h 600"/>
                  <a:gd name="T14" fmla="*/ 330 w 690"/>
                  <a:gd name="T15" fmla="*/ 0 h 600"/>
                  <a:gd name="T16" fmla="*/ 0 w 690"/>
                  <a:gd name="T17" fmla="*/ 60 h 600"/>
                  <a:gd name="T18" fmla="*/ 150 w 690"/>
                  <a:gd name="T19" fmla="*/ 90 h 600"/>
                  <a:gd name="T20" fmla="*/ 180 w 690"/>
                  <a:gd name="T21" fmla="*/ 240 h 600"/>
                  <a:gd name="T22" fmla="*/ 60 w 690"/>
                  <a:gd name="T23" fmla="*/ 210 h 600"/>
                  <a:gd name="T24" fmla="*/ 30 w 690"/>
                  <a:gd name="T25" fmla="*/ 360 h 600"/>
                  <a:gd name="T26" fmla="*/ 60 w 690"/>
                  <a:gd name="T27" fmla="*/ 51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90" h="600">
                    <a:moveTo>
                      <a:pt x="690" y="600"/>
                    </a:moveTo>
                    <a:lnTo>
                      <a:pt x="630" y="450"/>
                    </a:lnTo>
                    <a:lnTo>
                      <a:pt x="480" y="210"/>
                    </a:lnTo>
                    <a:lnTo>
                      <a:pt x="330" y="0"/>
                    </a:lnTo>
                    <a:lnTo>
                      <a:pt x="150" y="90"/>
                    </a:lnTo>
                    <a:lnTo>
                      <a:pt x="60" y="210"/>
                    </a:lnTo>
                    <a:lnTo>
                      <a:pt x="300" y="210"/>
                    </a:lnTo>
                    <a:lnTo>
                      <a:pt x="330" y="0"/>
                    </a:lnTo>
                    <a:lnTo>
                      <a:pt x="0" y="60"/>
                    </a:lnTo>
                    <a:lnTo>
                      <a:pt x="150" y="90"/>
                    </a:lnTo>
                    <a:lnTo>
                      <a:pt x="180" y="240"/>
                    </a:lnTo>
                    <a:lnTo>
                      <a:pt x="60" y="210"/>
                    </a:lnTo>
                    <a:lnTo>
                      <a:pt x="30" y="360"/>
                    </a:lnTo>
                    <a:lnTo>
                      <a:pt x="60" y="5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2" name="Freeform 2511">
                <a:extLst>
                  <a:ext uri="{FF2B5EF4-FFF2-40B4-BE49-F238E27FC236}">
                    <a16:creationId xmlns:a16="http://schemas.microsoft.com/office/drawing/2014/main" xmlns="" id="{55AC3E09-B6A8-4771-9E4C-520D4D70C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2700"/>
                <a:ext cx="600" cy="510"/>
              </a:xfrm>
              <a:custGeom>
                <a:avLst/>
                <a:gdLst>
                  <a:gd name="T0" fmla="*/ 540 w 600"/>
                  <a:gd name="T1" fmla="*/ 90 h 510"/>
                  <a:gd name="T2" fmla="*/ 600 w 600"/>
                  <a:gd name="T3" fmla="*/ 270 h 510"/>
                  <a:gd name="T4" fmla="*/ 480 w 600"/>
                  <a:gd name="T5" fmla="*/ 270 h 510"/>
                  <a:gd name="T6" fmla="*/ 570 w 600"/>
                  <a:gd name="T7" fmla="*/ 420 h 510"/>
                  <a:gd name="T8" fmla="*/ 510 w 600"/>
                  <a:gd name="T9" fmla="*/ 510 h 510"/>
                  <a:gd name="T10" fmla="*/ 420 w 600"/>
                  <a:gd name="T11" fmla="*/ 360 h 510"/>
                  <a:gd name="T12" fmla="*/ 240 w 600"/>
                  <a:gd name="T13" fmla="*/ 450 h 510"/>
                  <a:gd name="T14" fmla="*/ 300 w 600"/>
                  <a:gd name="T15" fmla="*/ 270 h 510"/>
                  <a:gd name="T16" fmla="*/ 150 w 600"/>
                  <a:gd name="T17" fmla="*/ 420 h 510"/>
                  <a:gd name="T18" fmla="*/ 180 w 600"/>
                  <a:gd name="T19" fmla="*/ 300 h 510"/>
                  <a:gd name="T20" fmla="*/ 30 w 600"/>
                  <a:gd name="T21" fmla="*/ 360 h 510"/>
                  <a:gd name="T22" fmla="*/ 0 w 600"/>
                  <a:gd name="T23" fmla="*/ 510 h 510"/>
                  <a:gd name="T24" fmla="*/ 180 w 600"/>
                  <a:gd name="T25" fmla="*/ 210 h 510"/>
                  <a:gd name="T26" fmla="*/ 60 w 600"/>
                  <a:gd name="T27" fmla="*/ 120 h 510"/>
                  <a:gd name="T28" fmla="*/ 0 w 600"/>
                  <a:gd name="T29" fmla="*/ 210 h 510"/>
                  <a:gd name="T30" fmla="*/ 0 w 600"/>
                  <a:gd name="T31" fmla="*/ 0 h 510"/>
                  <a:gd name="T32" fmla="*/ 180 w 600"/>
                  <a:gd name="T33" fmla="*/ 30 h 510"/>
                  <a:gd name="T34" fmla="*/ 270 w 600"/>
                  <a:gd name="T35" fmla="*/ 120 h 510"/>
                  <a:gd name="T36" fmla="*/ 390 w 600"/>
                  <a:gd name="T37" fmla="*/ 150 h 510"/>
                  <a:gd name="T38" fmla="*/ 540 w 600"/>
                  <a:gd name="T39" fmla="*/ 9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00" h="510">
                    <a:moveTo>
                      <a:pt x="540" y="90"/>
                    </a:moveTo>
                    <a:lnTo>
                      <a:pt x="600" y="270"/>
                    </a:lnTo>
                    <a:lnTo>
                      <a:pt x="480" y="270"/>
                    </a:lnTo>
                    <a:lnTo>
                      <a:pt x="570" y="420"/>
                    </a:lnTo>
                    <a:lnTo>
                      <a:pt x="510" y="510"/>
                    </a:lnTo>
                    <a:lnTo>
                      <a:pt x="420" y="360"/>
                    </a:lnTo>
                    <a:lnTo>
                      <a:pt x="240" y="450"/>
                    </a:lnTo>
                    <a:lnTo>
                      <a:pt x="300" y="270"/>
                    </a:lnTo>
                    <a:lnTo>
                      <a:pt x="150" y="420"/>
                    </a:lnTo>
                    <a:lnTo>
                      <a:pt x="180" y="300"/>
                    </a:lnTo>
                    <a:lnTo>
                      <a:pt x="30" y="360"/>
                    </a:lnTo>
                    <a:lnTo>
                      <a:pt x="0" y="510"/>
                    </a:lnTo>
                    <a:lnTo>
                      <a:pt x="180" y="210"/>
                    </a:lnTo>
                    <a:lnTo>
                      <a:pt x="60" y="120"/>
                    </a:lnTo>
                    <a:lnTo>
                      <a:pt x="0" y="210"/>
                    </a:lnTo>
                    <a:lnTo>
                      <a:pt x="0" y="0"/>
                    </a:lnTo>
                    <a:lnTo>
                      <a:pt x="180" y="30"/>
                    </a:lnTo>
                    <a:lnTo>
                      <a:pt x="270" y="120"/>
                    </a:lnTo>
                    <a:lnTo>
                      <a:pt x="390" y="150"/>
                    </a:lnTo>
                    <a:lnTo>
                      <a:pt x="540" y="9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3" name="Freeform 2512">
                <a:extLst>
                  <a:ext uri="{FF2B5EF4-FFF2-40B4-BE49-F238E27FC236}">
                    <a16:creationId xmlns:a16="http://schemas.microsoft.com/office/drawing/2014/main" xmlns="" id="{BFE34CC8-D34E-4EA3-BC20-57CB1B7559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6" y="2700"/>
                <a:ext cx="539" cy="360"/>
              </a:xfrm>
              <a:custGeom>
                <a:avLst/>
                <a:gdLst>
                  <a:gd name="T0" fmla="*/ 90 w 539"/>
                  <a:gd name="T1" fmla="*/ 360 h 360"/>
                  <a:gd name="T2" fmla="*/ 60 w 539"/>
                  <a:gd name="T3" fmla="*/ 150 h 360"/>
                  <a:gd name="T4" fmla="*/ 0 w 539"/>
                  <a:gd name="T5" fmla="*/ 0 h 360"/>
                  <a:gd name="T6" fmla="*/ 210 w 539"/>
                  <a:gd name="T7" fmla="*/ 90 h 360"/>
                  <a:gd name="T8" fmla="*/ 360 w 539"/>
                  <a:gd name="T9" fmla="*/ 180 h 360"/>
                  <a:gd name="T10" fmla="*/ 270 w 539"/>
                  <a:gd name="T11" fmla="*/ 270 h 360"/>
                  <a:gd name="T12" fmla="*/ 450 w 539"/>
                  <a:gd name="T13" fmla="*/ 330 h 360"/>
                  <a:gd name="T14" fmla="*/ 509 w 539"/>
                  <a:gd name="T15" fmla="*/ 210 h 360"/>
                  <a:gd name="T16" fmla="*/ 360 w 539"/>
                  <a:gd name="T17" fmla="*/ 60 h 360"/>
                  <a:gd name="T18" fmla="*/ 539 w 539"/>
                  <a:gd name="T19" fmla="*/ 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9" h="360">
                    <a:moveTo>
                      <a:pt x="90" y="360"/>
                    </a:moveTo>
                    <a:lnTo>
                      <a:pt x="60" y="150"/>
                    </a:lnTo>
                    <a:lnTo>
                      <a:pt x="0" y="0"/>
                    </a:lnTo>
                    <a:lnTo>
                      <a:pt x="210" y="90"/>
                    </a:lnTo>
                    <a:lnTo>
                      <a:pt x="360" y="180"/>
                    </a:lnTo>
                    <a:lnTo>
                      <a:pt x="270" y="270"/>
                    </a:lnTo>
                    <a:lnTo>
                      <a:pt x="450" y="330"/>
                    </a:lnTo>
                    <a:lnTo>
                      <a:pt x="509" y="210"/>
                    </a:lnTo>
                    <a:lnTo>
                      <a:pt x="360" y="60"/>
                    </a:lnTo>
                    <a:lnTo>
                      <a:pt x="539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4" name="Freeform 2513">
                <a:extLst>
                  <a:ext uri="{FF2B5EF4-FFF2-40B4-BE49-F238E27FC236}">
                    <a16:creationId xmlns:a16="http://schemas.microsoft.com/office/drawing/2014/main" xmlns="" id="{B7FE7D6A-C07A-4C29-8501-7526109E26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6" y="3120"/>
                <a:ext cx="360" cy="90"/>
              </a:xfrm>
              <a:custGeom>
                <a:avLst/>
                <a:gdLst>
                  <a:gd name="T0" fmla="*/ 360 w 360"/>
                  <a:gd name="T1" fmla="*/ 90 h 90"/>
                  <a:gd name="T2" fmla="*/ 90 w 360"/>
                  <a:gd name="T3" fmla="*/ 30 h 90"/>
                  <a:gd name="T4" fmla="*/ 0 w 360"/>
                  <a:gd name="T5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90">
                    <a:moveTo>
                      <a:pt x="360" y="90"/>
                    </a:moveTo>
                    <a:lnTo>
                      <a:pt x="90" y="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5" name="Freeform 2514">
                <a:extLst>
                  <a:ext uri="{FF2B5EF4-FFF2-40B4-BE49-F238E27FC236}">
                    <a16:creationId xmlns:a16="http://schemas.microsoft.com/office/drawing/2014/main" xmlns="" id="{AD7F05CC-6F18-499D-8B88-DAA8A4AE69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2820"/>
                <a:ext cx="270" cy="240"/>
              </a:xfrm>
              <a:custGeom>
                <a:avLst/>
                <a:gdLst>
                  <a:gd name="T0" fmla="*/ 30 w 270"/>
                  <a:gd name="T1" fmla="*/ 240 h 240"/>
                  <a:gd name="T2" fmla="*/ 0 w 270"/>
                  <a:gd name="T3" fmla="*/ 90 h 240"/>
                  <a:gd name="T4" fmla="*/ 270 w 270"/>
                  <a:gd name="T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240">
                    <a:moveTo>
                      <a:pt x="30" y="240"/>
                    </a:moveTo>
                    <a:lnTo>
                      <a:pt x="0" y="90"/>
                    </a:lnTo>
                    <a:lnTo>
                      <a:pt x="27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6" name="Freeform 2515">
                <a:extLst>
                  <a:ext uri="{FF2B5EF4-FFF2-40B4-BE49-F238E27FC236}">
                    <a16:creationId xmlns:a16="http://schemas.microsoft.com/office/drawing/2014/main" xmlns="" id="{D56011FC-231A-4F65-893E-058D81B552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90"/>
                <a:ext cx="210" cy="240"/>
              </a:xfrm>
              <a:custGeom>
                <a:avLst/>
                <a:gdLst>
                  <a:gd name="T0" fmla="*/ 0 w 210"/>
                  <a:gd name="T1" fmla="*/ 240 h 240"/>
                  <a:gd name="T2" fmla="*/ 150 w 210"/>
                  <a:gd name="T3" fmla="*/ 210 h 240"/>
                  <a:gd name="T4" fmla="*/ 120 w 210"/>
                  <a:gd name="T5" fmla="*/ 0 h 240"/>
                  <a:gd name="T6" fmla="*/ 210 w 210"/>
                  <a:gd name="T7" fmla="*/ 6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0" h="240">
                    <a:moveTo>
                      <a:pt x="0" y="240"/>
                    </a:moveTo>
                    <a:lnTo>
                      <a:pt x="150" y="210"/>
                    </a:lnTo>
                    <a:lnTo>
                      <a:pt x="120" y="0"/>
                    </a:lnTo>
                    <a:lnTo>
                      <a:pt x="21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7" name="Freeform 2516">
                <a:extLst>
                  <a:ext uri="{FF2B5EF4-FFF2-40B4-BE49-F238E27FC236}">
                    <a16:creationId xmlns:a16="http://schemas.microsoft.com/office/drawing/2014/main" xmlns="" id="{F408D078-7200-44BE-B12B-F70593C6D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2190"/>
                <a:ext cx="510" cy="630"/>
              </a:xfrm>
              <a:custGeom>
                <a:avLst/>
                <a:gdLst>
                  <a:gd name="T0" fmla="*/ 270 w 510"/>
                  <a:gd name="T1" fmla="*/ 450 h 630"/>
                  <a:gd name="T2" fmla="*/ 0 w 510"/>
                  <a:gd name="T3" fmla="*/ 390 h 630"/>
                  <a:gd name="T4" fmla="*/ 30 w 510"/>
                  <a:gd name="T5" fmla="*/ 300 h 630"/>
                  <a:gd name="T6" fmla="*/ 210 w 510"/>
                  <a:gd name="T7" fmla="*/ 330 h 630"/>
                  <a:gd name="T8" fmla="*/ 150 w 510"/>
                  <a:gd name="T9" fmla="*/ 120 h 630"/>
                  <a:gd name="T10" fmla="*/ 90 w 510"/>
                  <a:gd name="T11" fmla="*/ 210 h 630"/>
                  <a:gd name="T12" fmla="*/ 60 w 510"/>
                  <a:gd name="T13" fmla="*/ 120 h 630"/>
                  <a:gd name="T14" fmla="*/ 180 w 510"/>
                  <a:gd name="T15" fmla="*/ 0 h 630"/>
                  <a:gd name="T16" fmla="*/ 300 w 510"/>
                  <a:gd name="T17" fmla="*/ 120 h 630"/>
                  <a:gd name="T18" fmla="*/ 510 w 510"/>
                  <a:gd name="T19" fmla="*/ 150 h 630"/>
                  <a:gd name="T20" fmla="*/ 330 w 510"/>
                  <a:gd name="T21" fmla="*/ 300 h 630"/>
                  <a:gd name="T22" fmla="*/ 270 w 510"/>
                  <a:gd name="T23" fmla="*/ 450 h 630"/>
                  <a:gd name="T24" fmla="*/ 30 w 510"/>
                  <a:gd name="T25" fmla="*/ 510 h 630"/>
                  <a:gd name="T26" fmla="*/ 300 w 510"/>
                  <a:gd name="T27" fmla="*/ 120 h 630"/>
                  <a:gd name="T28" fmla="*/ 30 w 510"/>
                  <a:gd name="T29" fmla="*/ 300 h 630"/>
                  <a:gd name="T30" fmla="*/ 90 w 510"/>
                  <a:gd name="T31" fmla="*/ 210 h 630"/>
                  <a:gd name="T32" fmla="*/ 330 w 510"/>
                  <a:gd name="T33" fmla="*/ 300 h 630"/>
                  <a:gd name="T34" fmla="*/ 210 w 510"/>
                  <a:gd name="T35" fmla="*/ 330 h 630"/>
                  <a:gd name="T36" fmla="*/ 270 w 510"/>
                  <a:gd name="T37" fmla="*/ 450 h 630"/>
                  <a:gd name="T38" fmla="*/ 210 w 510"/>
                  <a:gd name="T39" fmla="*/ 540 h 630"/>
                  <a:gd name="T40" fmla="*/ 90 w 510"/>
                  <a:gd name="T41" fmla="*/ 63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0" h="630">
                    <a:moveTo>
                      <a:pt x="270" y="450"/>
                    </a:moveTo>
                    <a:lnTo>
                      <a:pt x="0" y="390"/>
                    </a:lnTo>
                    <a:lnTo>
                      <a:pt x="30" y="300"/>
                    </a:lnTo>
                    <a:lnTo>
                      <a:pt x="210" y="330"/>
                    </a:lnTo>
                    <a:lnTo>
                      <a:pt x="150" y="120"/>
                    </a:lnTo>
                    <a:lnTo>
                      <a:pt x="90" y="210"/>
                    </a:lnTo>
                    <a:lnTo>
                      <a:pt x="60" y="120"/>
                    </a:lnTo>
                    <a:lnTo>
                      <a:pt x="180" y="0"/>
                    </a:lnTo>
                    <a:lnTo>
                      <a:pt x="300" y="120"/>
                    </a:lnTo>
                    <a:lnTo>
                      <a:pt x="510" y="150"/>
                    </a:lnTo>
                    <a:lnTo>
                      <a:pt x="330" y="300"/>
                    </a:lnTo>
                    <a:lnTo>
                      <a:pt x="270" y="450"/>
                    </a:lnTo>
                    <a:lnTo>
                      <a:pt x="30" y="510"/>
                    </a:lnTo>
                    <a:lnTo>
                      <a:pt x="300" y="120"/>
                    </a:lnTo>
                    <a:lnTo>
                      <a:pt x="30" y="300"/>
                    </a:lnTo>
                    <a:lnTo>
                      <a:pt x="90" y="210"/>
                    </a:lnTo>
                    <a:lnTo>
                      <a:pt x="330" y="300"/>
                    </a:lnTo>
                    <a:lnTo>
                      <a:pt x="210" y="330"/>
                    </a:lnTo>
                    <a:lnTo>
                      <a:pt x="270" y="450"/>
                    </a:lnTo>
                    <a:lnTo>
                      <a:pt x="210" y="540"/>
                    </a:lnTo>
                    <a:lnTo>
                      <a:pt x="90" y="6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8" name="Freeform 2517">
                <a:extLst>
                  <a:ext uri="{FF2B5EF4-FFF2-40B4-BE49-F238E27FC236}">
                    <a16:creationId xmlns:a16="http://schemas.microsoft.com/office/drawing/2014/main" xmlns="" id="{5709CBE7-662C-4D12-AE0B-F37BE4E15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2190"/>
                <a:ext cx="420" cy="480"/>
              </a:xfrm>
              <a:custGeom>
                <a:avLst/>
                <a:gdLst>
                  <a:gd name="T0" fmla="*/ 420 w 420"/>
                  <a:gd name="T1" fmla="*/ 150 h 480"/>
                  <a:gd name="T2" fmla="*/ 120 w 420"/>
                  <a:gd name="T3" fmla="*/ 0 h 480"/>
                  <a:gd name="T4" fmla="*/ 0 w 420"/>
                  <a:gd name="T5" fmla="*/ 120 h 480"/>
                  <a:gd name="T6" fmla="*/ 240 w 420"/>
                  <a:gd name="T7" fmla="*/ 300 h 480"/>
                  <a:gd name="T8" fmla="*/ 120 w 420"/>
                  <a:gd name="T9" fmla="*/ 360 h 480"/>
                  <a:gd name="T10" fmla="*/ 210 w 420"/>
                  <a:gd name="T11" fmla="*/ 48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0" h="480">
                    <a:moveTo>
                      <a:pt x="420" y="150"/>
                    </a:moveTo>
                    <a:lnTo>
                      <a:pt x="120" y="0"/>
                    </a:lnTo>
                    <a:lnTo>
                      <a:pt x="0" y="120"/>
                    </a:lnTo>
                    <a:lnTo>
                      <a:pt x="240" y="300"/>
                    </a:lnTo>
                    <a:lnTo>
                      <a:pt x="120" y="360"/>
                    </a:lnTo>
                    <a:lnTo>
                      <a:pt x="210" y="4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29" name="Freeform 2518">
                <a:extLst>
                  <a:ext uri="{FF2B5EF4-FFF2-40B4-BE49-F238E27FC236}">
                    <a16:creationId xmlns:a16="http://schemas.microsoft.com/office/drawing/2014/main" xmlns="" id="{354420E3-99C4-4AFE-80BA-483FA3699A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1620"/>
                <a:ext cx="420" cy="690"/>
              </a:xfrm>
              <a:custGeom>
                <a:avLst/>
                <a:gdLst>
                  <a:gd name="T0" fmla="*/ 240 w 420"/>
                  <a:gd name="T1" fmla="*/ 690 h 690"/>
                  <a:gd name="T2" fmla="*/ 210 w 420"/>
                  <a:gd name="T3" fmla="*/ 540 h 690"/>
                  <a:gd name="T4" fmla="*/ 150 w 420"/>
                  <a:gd name="T5" fmla="*/ 270 h 690"/>
                  <a:gd name="T6" fmla="*/ 60 w 420"/>
                  <a:gd name="T7" fmla="*/ 0 h 690"/>
                  <a:gd name="T8" fmla="*/ 0 w 420"/>
                  <a:gd name="T9" fmla="*/ 180 h 690"/>
                  <a:gd name="T10" fmla="*/ 150 w 420"/>
                  <a:gd name="T11" fmla="*/ 270 h 690"/>
                  <a:gd name="T12" fmla="*/ 330 w 420"/>
                  <a:gd name="T13" fmla="*/ 390 h 690"/>
                  <a:gd name="T14" fmla="*/ 270 w 420"/>
                  <a:gd name="T15" fmla="*/ 180 h 690"/>
                  <a:gd name="T16" fmla="*/ 420 w 420"/>
                  <a:gd name="T17" fmla="*/ 300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690">
                    <a:moveTo>
                      <a:pt x="240" y="690"/>
                    </a:moveTo>
                    <a:lnTo>
                      <a:pt x="210" y="540"/>
                    </a:lnTo>
                    <a:lnTo>
                      <a:pt x="150" y="270"/>
                    </a:lnTo>
                    <a:lnTo>
                      <a:pt x="60" y="0"/>
                    </a:lnTo>
                    <a:lnTo>
                      <a:pt x="0" y="180"/>
                    </a:lnTo>
                    <a:lnTo>
                      <a:pt x="150" y="270"/>
                    </a:lnTo>
                    <a:lnTo>
                      <a:pt x="330" y="390"/>
                    </a:lnTo>
                    <a:lnTo>
                      <a:pt x="270" y="180"/>
                    </a:lnTo>
                    <a:lnTo>
                      <a:pt x="42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0" name="Freeform 2519">
                <a:extLst>
                  <a:ext uri="{FF2B5EF4-FFF2-40B4-BE49-F238E27FC236}">
                    <a16:creationId xmlns:a16="http://schemas.microsoft.com/office/drawing/2014/main" xmlns="" id="{37A4CDDC-561B-4CD3-8A04-09AA347C13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6" y="2010"/>
                <a:ext cx="420" cy="180"/>
              </a:xfrm>
              <a:custGeom>
                <a:avLst/>
                <a:gdLst>
                  <a:gd name="T0" fmla="*/ 210 w 420"/>
                  <a:gd name="T1" fmla="*/ 150 h 180"/>
                  <a:gd name="T2" fmla="*/ 0 w 420"/>
                  <a:gd name="T3" fmla="*/ 0 h 180"/>
                  <a:gd name="T4" fmla="*/ 30 w 420"/>
                  <a:gd name="T5" fmla="*/ 180 h 180"/>
                  <a:gd name="T6" fmla="*/ 243 w 420"/>
                  <a:gd name="T7" fmla="*/ 3 h 180"/>
                  <a:gd name="T8" fmla="*/ 390 w 420"/>
                  <a:gd name="T9" fmla="*/ 120 h 180"/>
                  <a:gd name="T10" fmla="*/ 420 w 420"/>
                  <a:gd name="T11" fmla="*/ 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0" h="180">
                    <a:moveTo>
                      <a:pt x="210" y="150"/>
                    </a:moveTo>
                    <a:lnTo>
                      <a:pt x="0" y="0"/>
                    </a:lnTo>
                    <a:lnTo>
                      <a:pt x="30" y="180"/>
                    </a:lnTo>
                    <a:lnTo>
                      <a:pt x="243" y="3"/>
                    </a:lnTo>
                    <a:lnTo>
                      <a:pt x="390" y="120"/>
                    </a:lnTo>
                    <a:lnTo>
                      <a:pt x="42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1" name="Line 2520">
                <a:extLst>
                  <a:ext uri="{FF2B5EF4-FFF2-40B4-BE49-F238E27FC236}">
                    <a16:creationId xmlns:a16="http://schemas.microsoft.com/office/drawing/2014/main" xmlns="" id="{55D3A273-7976-4321-ADC2-6CC1D1432F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96" y="2190"/>
                <a:ext cx="0" cy="3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2" name="Line 2521">
                <a:extLst>
                  <a:ext uri="{FF2B5EF4-FFF2-40B4-BE49-F238E27FC236}">
                    <a16:creationId xmlns:a16="http://schemas.microsoft.com/office/drawing/2014/main" xmlns="" id="{9D4F8BA0-7ABB-4CBD-9424-051A138A15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426" y="2310"/>
                <a:ext cx="39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3" name="Freeform 2522">
                <a:extLst>
                  <a:ext uri="{FF2B5EF4-FFF2-40B4-BE49-F238E27FC236}">
                    <a16:creationId xmlns:a16="http://schemas.microsoft.com/office/drawing/2014/main" xmlns="" id="{633F8ACE-7940-42AB-B798-5DC9B87987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950"/>
                <a:ext cx="180" cy="360"/>
              </a:xfrm>
              <a:custGeom>
                <a:avLst/>
                <a:gdLst>
                  <a:gd name="T0" fmla="*/ 180 w 180"/>
                  <a:gd name="T1" fmla="*/ 240 h 360"/>
                  <a:gd name="T2" fmla="*/ 0 w 180"/>
                  <a:gd name="T3" fmla="*/ 210 h 360"/>
                  <a:gd name="T4" fmla="*/ 60 w 180"/>
                  <a:gd name="T5" fmla="*/ 360 h 360"/>
                  <a:gd name="T6" fmla="*/ 180 w 180"/>
                  <a:gd name="T7" fmla="*/ 90 h 360"/>
                  <a:gd name="T8" fmla="*/ 90 w 180"/>
                  <a:gd name="T9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360">
                    <a:moveTo>
                      <a:pt x="180" y="240"/>
                    </a:moveTo>
                    <a:lnTo>
                      <a:pt x="0" y="210"/>
                    </a:lnTo>
                    <a:lnTo>
                      <a:pt x="60" y="360"/>
                    </a:lnTo>
                    <a:lnTo>
                      <a:pt x="180" y="90"/>
                    </a:lnTo>
                    <a:lnTo>
                      <a:pt x="9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4" name="Line 2523">
                <a:extLst>
                  <a:ext uri="{FF2B5EF4-FFF2-40B4-BE49-F238E27FC236}">
                    <a16:creationId xmlns:a16="http://schemas.microsoft.com/office/drawing/2014/main" xmlns="" id="{FAE5ED8C-2B67-4AA2-8187-9F9EFE2125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276" y="2040"/>
                <a:ext cx="18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5" name="Freeform 2524">
                <a:extLst>
                  <a:ext uri="{FF2B5EF4-FFF2-40B4-BE49-F238E27FC236}">
                    <a16:creationId xmlns:a16="http://schemas.microsoft.com/office/drawing/2014/main" xmlns="" id="{7C4482DA-292E-4F59-81E8-299CCFFCD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6" y="1260"/>
                <a:ext cx="180" cy="330"/>
              </a:xfrm>
              <a:custGeom>
                <a:avLst/>
                <a:gdLst>
                  <a:gd name="T0" fmla="*/ 60 w 180"/>
                  <a:gd name="T1" fmla="*/ 0 h 330"/>
                  <a:gd name="T2" fmla="*/ 180 w 180"/>
                  <a:gd name="T3" fmla="*/ 30 h 330"/>
                  <a:gd name="T4" fmla="*/ 0 w 180"/>
                  <a:gd name="T5" fmla="*/ 120 h 330"/>
                  <a:gd name="T6" fmla="*/ 180 w 180"/>
                  <a:gd name="T7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60" y="0"/>
                    </a:moveTo>
                    <a:lnTo>
                      <a:pt x="180" y="30"/>
                    </a:lnTo>
                    <a:lnTo>
                      <a:pt x="0" y="120"/>
                    </a:lnTo>
                    <a:lnTo>
                      <a:pt x="18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6" name="Freeform 2525">
                <a:extLst>
                  <a:ext uri="{FF2B5EF4-FFF2-40B4-BE49-F238E27FC236}">
                    <a16:creationId xmlns:a16="http://schemas.microsoft.com/office/drawing/2014/main" xmlns="" id="{941F5C55-B82E-4F18-87A6-0F7B0F830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1530"/>
                <a:ext cx="180" cy="150"/>
              </a:xfrm>
              <a:custGeom>
                <a:avLst/>
                <a:gdLst>
                  <a:gd name="T0" fmla="*/ 60 w 180"/>
                  <a:gd name="T1" fmla="*/ 0 h 150"/>
                  <a:gd name="T2" fmla="*/ 180 w 180"/>
                  <a:gd name="T3" fmla="*/ 150 h 150"/>
                  <a:gd name="T4" fmla="*/ 0 w 180"/>
                  <a:gd name="T5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60" y="0"/>
                    </a:moveTo>
                    <a:lnTo>
                      <a:pt x="180" y="150"/>
                    </a:lnTo>
                    <a:lnTo>
                      <a:pt x="0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7" name="Freeform 2526">
                <a:extLst>
                  <a:ext uri="{FF2B5EF4-FFF2-40B4-BE49-F238E27FC236}">
                    <a16:creationId xmlns:a16="http://schemas.microsoft.com/office/drawing/2014/main" xmlns="" id="{4568AD27-4896-4288-9782-2E93684E6A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1110"/>
                <a:ext cx="690" cy="300"/>
              </a:xfrm>
              <a:custGeom>
                <a:avLst/>
                <a:gdLst>
                  <a:gd name="T0" fmla="*/ 330 w 690"/>
                  <a:gd name="T1" fmla="*/ 270 h 300"/>
                  <a:gd name="T2" fmla="*/ 240 w 690"/>
                  <a:gd name="T3" fmla="*/ 150 h 300"/>
                  <a:gd name="T4" fmla="*/ 180 w 690"/>
                  <a:gd name="T5" fmla="*/ 300 h 300"/>
                  <a:gd name="T6" fmla="*/ 0 w 690"/>
                  <a:gd name="T7" fmla="*/ 210 h 300"/>
                  <a:gd name="T8" fmla="*/ 60 w 690"/>
                  <a:gd name="T9" fmla="*/ 90 h 300"/>
                  <a:gd name="T10" fmla="*/ 240 w 690"/>
                  <a:gd name="T11" fmla="*/ 150 h 300"/>
                  <a:gd name="T12" fmla="*/ 360 w 690"/>
                  <a:gd name="T13" fmla="*/ 30 h 300"/>
                  <a:gd name="T14" fmla="*/ 390 w 690"/>
                  <a:gd name="T15" fmla="*/ 150 h 300"/>
                  <a:gd name="T16" fmla="*/ 480 w 690"/>
                  <a:gd name="T17" fmla="*/ 30 h 300"/>
                  <a:gd name="T18" fmla="*/ 690 w 690"/>
                  <a:gd name="T19" fmla="*/ 120 h 300"/>
                  <a:gd name="T20" fmla="*/ 600 w 690"/>
                  <a:gd name="T21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0" h="300">
                    <a:moveTo>
                      <a:pt x="330" y="270"/>
                    </a:moveTo>
                    <a:lnTo>
                      <a:pt x="240" y="150"/>
                    </a:lnTo>
                    <a:lnTo>
                      <a:pt x="180" y="300"/>
                    </a:lnTo>
                    <a:lnTo>
                      <a:pt x="0" y="210"/>
                    </a:lnTo>
                    <a:lnTo>
                      <a:pt x="60" y="90"/>
                    </a:lnTo>
                    <a:lnTo>
                      <a:pt x="240" y="150"/>
                    </a:lnTo>
                    <a:lnTo>
                      <a:pt x="360" y="30"/>
                    </a:lnTo>
                    <a:lnTo>
                      <a:pt x="390" y="150"/>
                    </a:lnTo>
                    <a:lnTo>
                      <a:pt x="480" y="30"/>
                    </a:lnTo>
                    <a:lnTo>
                      <a:pt x="690" y="120"/>
                    </a:lnTo>
                    <a:lnTo>
                      <a:pt x="60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8" name="Freeform 2527">
                <a:extLst>
                  <a:ext uri="{FF2B5EF4-FFF2-40B4-BE49-F238E27FC236}">
                    <a16:creationId xmlns:a16="http://schemas.microsoft.com/office/drawing/2014/main" xmlns="" id="{25847310-7E94-4C50-9437-764091E5C7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600"/>
                <a:ext cx="480" cy="600"/>
              </a:xfrm>
              <a:custGeom>
                <a:avLst/>
                <a:gdLst>
                  <a:gd name="T0" fmla="*/ 60 w 480"/>
                  <a:gd name="T1" fmla="*/ 480 h 600"/>
                  <a:gd name="T2" fmla="*/ 180 w 480"/>
                  <a:gd name="T3" fmla="*/ 540 h 600"/>
                  <a:gd name="T4" fmla="*/ 300 w 480"/>
                  <a:gd name="T5" fmla="*/ 420 h 600"/>
                  <a:gd name="T6" fmla="*/ 330 w 480"/>
                  <a:gd name="T7" fmla="*/ 180 h 600"/>
                  <a:gd name="T8" fmla="*/ 390 w 480"/>
                  <a:gd name="T9" fmla="*/ 300 h 600"/>
                  <a:gd name="T10" fmla="*/ 480 w 480"/>
                  <a:gd name="T11" fmla="*/ 210 h 600"/>
                  <a:gd name="T12" fmla="*/ 420 w 480"/>
                  <a:gd name="T13" fmla="*/ 60 h 600"/>
                  <a:gd name="T14" fmla="*/ 300 w 480"/>
                  <a:gd name="T15" fmla="*/ 60 h 600"/>
                  <a:gd name="T16" fmla="*/ 210 w 480"/>
                  <a:gd name="T17" fmla="*/ 0 h 600"/>
                  <a:gd name="T18" fmla="*/ 150 w 480"/>
                  <a:gd name="T19" fmla="*/ 90 h 600"/>
                  <a:gd name="T20" fmla="*/ 180 w 480"/>
                  <a:gd name="T21" fmla="*/ 270 h 600"/>
                  <a:gd name="T22" fmla="*/ 30 w 480"/>
                  <a:gd name="T23" fmla="*/ 150 h 600"/>
                  <a:gd name="T24" fmla="*/ 0 w 480"/>
                  <a:gd name="T25" fmla="*/ 300 h 600"/>
                  <a:gd name="T26" fmla="*/ 120 w 480"/>
                  <a:gd name="T27" fmla="*/ 390 h 600"/>
                  <a:gd name="T28" fmla="*/ 60 w 480"/>
                  <a:gd name="T29" fmla="*/ 480 h 600"/>
                  <a:gd name="T30" fmla="*/ 60 w 480"/>
                  <a:gd name="T31" fmla="*/ 60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0" h="600">
                    <a:moveTo>
                      <a:pt x="60" y="480"/>
                    </a:moveTo>
                    <a:lnTo>
                      <a:pt x="180" y="540"/>
                    </a:lnTo>
                    <a:lnTo>
                      <a:pt x="300" y="420"/>
                    </a:lnTo>
                    <a:lnTo>
                      <a:pt x="330" y="180"/>
                    </a:lnTo>
                    <a:lnTo>
                      <a:pt x="390" y="300"/>
                    </a:lnTo>
                    <a:lnTo>
                      <a:pt x="480" y="210"/>
                    </a:lnTo>
                    <a:lnTo>
                      <a:pt x="420" y="60"/>
                    </a:lnTo>
                    <a:lnTo>
                      <a:pt x="300" y="60"/>
                    </a:lnTo>
                    <a:lnTo>
                      <a:pt x="210" y="0"/>
                    </a:lnTo>
                    <a:lnTo>
                      <a:pt x="150" y="90"/>
                    </a:lnTo>
                    <a:lnTo>
                      <a:pt x="180" y="270"/>
                    </a:lnTo>
                    <a:lnTo>
                      <a:pt x="30" y="150"/>
                    </a:lnTo>
                    <a:lnTo>
                      <a:pt x="0" y="300"/>
                    </a:lnTo>
                    <a:lnTo>
                      <a:pt x="120" y="390"/>
                    </a:lnTo>
                    <a:lnTo>
                      <a:pt x="60" y="480"/>
                    </a:lnTo>
                    <a:lnTo>
                      <a:pt x="60" y="6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39" name="Freeform 2528">
                <a:extLst>
                  <a:ext uri="{FF2B5EF4-FFF2-40B4-BE49-F238E27FC236}">
                    <a16:creationId xmlns:a16="http://schemas.microsoft.com/office/drawing/2014/main" xmlns="" id="{A7545D2F-E4DF-4F0C-AD9B-28321A7E07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450"/>
                <a:ext cx="90" cy="240"/>
              </a:xfrm>
              <a:custGeom>
                <a:avLst/>
                <a:gdLst>
                  <a:gd name="T0" fmla="*/ 0 w 90"/>
                  <a:gd name="T1" fmla="*/ 120 h 240"/>
                  <a:gd name="T2" fmla="*/ 90 w 90"/>
                  <a:gd name="T3" fmla="*/ 240 h 240"/>
                  <a:gd name="T4" fmla="*/ 60 w 90"/>
                  <a:gd name="T5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240">
                    <a:moveTo>
                      <a:pt x="0" y="120"/>
                    </a:moveTo>
                    <a:lnTo>
                      <a:pt x="90" y="240"/>
                    </a:lnTo>
                    <a:lnTo>
                      <a:pt x="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0" name="Freeform 2529">
                <a:extLst>
                  <a:ext uri="{FF2B5EF4-FFF2-40B4-BE49-F238E27FC236}">
                    <a16:creationId xmlns:a16="http://schemas.microsoft.com/office/drawing/2014/main" xmlns="" id="{099591AD-98FA-4887-B4E4-2B9758E6B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6" y="690"/>
                <a:ext cx="180" cy="330"/>
              </a:xfrm>
              <a:custGeom>
                <a:avLst/>
                <a:gdLst>
                  <a:gd name="T0" fmla="*/ 180 w 180"/>
                  <a:gd name="T1" fmla="*/ 90 h 330"/>
                  <a:gd name="T2" fmla="*/ 30 w 180"/>
                  <a:gd name="T3" fmla="*/ 180 h 330"/>
                  <a:gd name="T4" fmla="*/ 150 w 180"/>
                  <a:gd name="T5" fmla="*/ 330 h 330"/>
                  <a:gd name="T6" fmla="*/ 0 w 180"/>
                  <a:gd name="T7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180" y="90"/>
                    </a:moveTo>
                    <a:lnTo>
                      <a:pt x="30" y="180"/>
                    </a:lnTo>
                    <a:lnTo>
                      <a:pt x="150" y="33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1" name="Freeform 2530">
                <a:extLst>
                  <a:ext uri="{FF2B5EF4-FFF2-40B4-BE49-F238E27FC236}">
                    <a16:creationId xmlns:a16="http://schemas.microsoft.com/office/drawing/2014/main" xmlns="" id="{73D51C8C-7161-4667-B936-D9E287074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900"/>
                <a:ext cx="210" cy="240"/>
              </a:xfrm>
              <a:custGeom>
                <a:avLst/>
                <a:gdLst>
                  <a:gd name="T0" fmla="*/ 90 w 210"/>
                  <a:gd name="T1" fmla="*/ 0 h 240"/>
                  <a:gd name="T2" fmla="*/ 60 w 210"/>
                  <a:gd name="T3" fmla="*/ 240 h 240"/>
                  <a:gd name="T4" fmla="*/ 0 w 210"/>
                  <a:gd name="T5" fmla="*/ 120 h 240"/>
                  <a:gd name="T6" fmla="*/ 180 w 210"/>
                  <a:gd name="T7" fmla="*/ 240 h 240"/>
                  <a:gd name="T8" fmla="*/ 210 w 210"/>
                  <a:gd name="T9" fmla="*/ 60 h 240"/>
                  <a:gd name="T10" fmla="*/ 90 w 210"/>
                  <a:gd name="T11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0" h="240">
                    <a:moveTo>
                      <a:pt x="90" y="0"/>
                    </a:moveTo>
                    <a:lnTo>
                      <a:pt x="60" y="240"/>
                    </a:lnTo>
                    <a:lnTo>
                      <a:pt x="0" y="120"/>
                    </a:lnTo>
                    <a:lnTo>
                      <a:pt x="180" y="240"/>
                    </a:lnTo>
                    <a:lnTo>
                      <a:pt x="210" y="60"/>
                    </a:lnTo>
                    <a:lnTo>
                      <a:pt x="9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2" name="Line 2531">
                <a:extLst>
                  <a:ext uri="{FF2B5EF4-FFF2-40B4-BE49-F238E27FC236}">
                    <a16:creationId xmlns:a16="http://schemas.microsoft.com/office/drawing/2014/main" xmlns="" id="{9E32CCDD-2F31-4FB0-B95B-44FC3119C8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576" y="960"/>
                <a:ext cx="21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3" name="Freeform 2532">
                <a:extLst>
                  <a:ext uri="{FF2B5EF4-FFF2-40B4-BE49-F238E27FC236}">
                    <a16:creationId xmlns:a16="http://schemas.microsoft.com/office/drawing/2014/main" xmlns="" id="{0CC01CF7-743A-4172-AC29-D247F576C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990"/>
                <a:ext cx="360" cy="330"/>
              </a:xfrm>
              <a:custGeom>
                <a:avLst/>
                <a:gdLst>
                  <a:gd name="T0" fmla="*/ 120 w 360"/>
                  <a:gd name="T1" fmla="*/ 0 h 330"/>
                  <a:gd name="T2" fmla="*/ 360 w 360"/>
                  <a:gd name="T3" fmla="*/ 150 h 330"/>
                  <a:gd name="T4" fmla="*/ 180 w 360"/>
                  <a:gd name="T5" fmla="*/ 150 h 330"/>
                  <a:gd name="T6" fmla="*/ 240 w 360"/>
                  <a:gd name="T7" fmla="*/ 270 h 330"/>
                  <a:gd name="T8" fmla="*/ 0 w 360"/>
                  <a:gd name="T9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0" h="330">
                    <a:moveTo>
                      <a:pt x="120" y="0"/>
                    </a:moveTo>
                    <a:lnTo>
                      <a:pt x="360" y="150"/>
                    </a:lnTo>
                    <a:lnTo>
                      <a:pt x="180" y="150"/>
                    </a:lnTo>
                    <a:lnTo>
                      <a:pt x="240" y="270"/>
                    </a:lnTo>
                    <a:lnTo>
                      <a:pt x="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4" name="Line 2533">
                <a:extLst>
                  <a:ext uri="{FF2B5EF4-FFF2-40B4-BE49-F238E27FC236}">
                    <a16:creationId xmlns:a16="http://schemas.microsoft.com/office/drawing/2014/main" xmlns="" id="{2831E7E2-6F39-47E2-AAC0-5284361BA2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336" y="1140"/>
                <a:ext cx="120" cy="3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5" name="Freeform 2534">
                <a:extLst>
                  <a:ext uri="{FF2B5EF4-FFF2-40B4-BE49-F238E27FC236}">
                    <a16:creationId xmlns:a16="http://schemas.microsoft.com/office/drawing/2014/main" xmlns="" id="{4501E274-7DE6-4D23-B3BB-9C5AEF520A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1290"/>
                <a:ext cx="450" cy="600"/>
              </a:xfrm>
              <a:custGeom>
                <a:avLst/>
                <a:gdLst>
                  <a:gd name="T0" fmla="*/ 270 w 450"/>
                  <a:gd name="T1" fmla="*/ 510 h 600"/>
                  <a:gd name="T2" fmla="*/ 150 w 450"/>
                  <a:gd name="T3" fmla="*/ 600 h 600"/>
                  <a:gd name="T4" fmla="*/ 270 w 450"/>
                  <a:gd name="T5" fmla="*/ 90 h 600"/>
                  <a:gd name="T6" fmla="*/ 60 w 450"/>
                  <a:gd name="T7" fmla="*/ 330 h 600"/>
                  <a:gd name="T8" fmla="*/ 0 w 450"/>
                  <a:gd name="T9" fmla="*/ 210 h 600"/>
                  <a:gd name="T10" fmla="*/ 120 w 450"/>
                  <a:gd name="T11" fmla="*/ 120 h 600"/>
                  <a:gd name="T12" fmla="*/ 240 w 450"/>
                  <a:gd name="T13" fmla="*/ 390 h 600"/>
                  <a:gd name="T14" fmla="*/ 300 w 450"/>
                  <a:gd name="T15" fmla="*/ 240 h 600"/>
                  <a:gd name="T16" fmla="*/ 450 w 450"/>
                  <a:gd name="T17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0" h="600">
                    <a:moveTo>
                      <a:pt x="270" y="510"/>
                    </a:moveTo>
                    <a:lnTo>
                      <a:pt x="150" y="600"/>
                    </a:lnTo>
                    <a:lnTo>
                      <a:pt x="270" y="90"/>
                    </a:lnTo>
                    <a:lnTo>
                      <a:pt x="60" y="330"/>
                    </a:lnTo>
                    <a:lnTo>
                      <a:pt x="0" y="210"/>
                    </a:lnTo>
                    <a:lnTo>
                      <a:pt x="120" y="120"/>
                    </a:lnTo>
                    <a:lnTo>
                      <a:pt x="240" y="390"/>
                    </a:lnTo>
                    <a:lnTo>
                      <a:pt x="300" y="240"/>
                    </a:lnTo>
                    <a:lnTo>
                      <a:pt x="4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6" name="Freeform 2535">
                <a:extLst>
                  <a:ext uri="{FF2B5EF4-FFF2-40B4-BE49-F238E27FC236}">
                    <a16:creationId xmlns:a16="http://schemas.microsoft.com/office/drawing/2014/main" xmlns="" id="{65855E69-BFAC-4CA9-9B86-ABE93CAA15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60"/>
                <a:ext cx="390" cy="540"/>
              </a:xfrm>
              <a:custGeom>
                <a:avLst/>
                <a:gdLst>
                  <a:gd name="T0" fmla="*/ 90 w 390"/>
                  <a:gd name="T1" fmla="*/ 210 h 540"/>
                  <a:gd name="T2" fmla="*/ 270 w 390"/>
                  <a:gd name="T3" fmla="*/ 0 h 540"/>
                  <a:gd name="T4" fmla="*/ 390 w 390"/>
                  <a:gd name="T5" fmla="*/ 90 h 540"/>
                  <a:gd name="T6" fmla="*/ 360 w 390"/>
                  <a:gd name="T7" fmla="*/ 240 h 540"/>
                  <a:gd name="T8" fmla="*/ 270 w 390"/>
                  <a:gd name="T9" fmla="*/ 210 h 540"/>
                  <a:gd name="T10" fmla="*/ 60 w 390"/>
                  <a:gd name="T11" fmla="*/ 360 h 540"/>
                  <a:gd name="T12" fmla="*/ 90 w 390"/>
                  <a:gd name="T13" fmla="*/ 210 h 540"/>
                  <a:gd name="T14" fmla="*/ 240 w 390"/>
                  <a:gd name="T15" fmla="*/ 300 h 540"/>
                  <a:gd name="T16" fmla="*/ 0 w 390"/>
                  <a:gd name="T17" fmla="*/ 54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0" h="540">
                    <a:moveTo>
                      <a:pt x="90" y="210"/>
                    </a:moveTo>
                    <a:lnTo>
                      <a:pt x="270" y="0"/>
                    </a:lnTo>
                    <a:lnTo>
                      <a:pt x="390" y="90"/>
                    </a:lnTo>
                    <a:lnTo>
                      <a:pt x="360" y="240"/>
                    </a:lnTo>
                    <a:lnTo>
                      <a:pt x="270" y="210"/>
                    </a:lnTo>
                    <a:lnTo>
                      <a:pt x="60" y="360"/>
                    </a:lnTo>
                    <a:lnTo>
                      <a:pt x="90" y="210"/>
                    </a:lnTo>
                    <a:lnTo>
                      <a:pt x="240" y="300"/>
                    </a:lnTo>
                    <a:lnTo>
                      <a:pt x="0" y="5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7" name="Line 2536">
                <a:extLst>
                  <a:ext uri="{FF2B5EF4-FFF2-40B4-BE49-F238E27FC236}">
                    <a16:creationId xmlns:a16="http://schemas.microsoft.com/office/drawing/2014/main" xmlns="" id="{9070869B-C1E4-4AC6-B5EF-F6CC723729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76" y="120"/>
                <a:ext cx="6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8" name="Freeform 2537">
                <a:extLst>
                  <a:ext uri="{FF2B5EF4-FFF2-40B4-BE49-F238E27FC236}">
                    <a16:creationId xmlns:a16="http://schemas.microsoft.com/office/drawing/2014/main" xmlns="" id="{61CFEBAB-E174-48BF-ABBF-F21C43910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" y="420"/>
                <a:ext cx="300" cy="570"/>
              </a:xfrm>
              <a:custGeom>
                <a:avLst/>
                <a:gdLst>
                  <a:gd name="T0" fmla="*/ 90 w 300"/>
                  <a:gd name="T1" fmla="*/ 30 h 570"/>
                  <a:gd name="T2" fmla="*/ 240 w 300"/>
                  <a:gd name="T3" fmla="*/ 0 h 570"/>
                  <a:gd name="T4" fmla="*/ 180 w 300"/>
                  <a:gd name="T5" fmla="*/ 180 h 570"/>
                  <a:gd name="T6" fmla="*/ 90 w 300"/>
                  <a:gd name="T7" fmla="*/ 30 h 570"/>
                  <a:gd name="T8" fmla="*/ 30 w 300"/>
                  <a:gd name="T9" fmla="*/ 150 h 570"/>
                  <a:gd name="T10" fmla="*/ 0 w 300"/>
                  <a:gd name="T11" fmla="*/ 330 h 570"/>
                  <a:gd name="T12" fmla="*/ 90 w 300"/>
                  <a:gd name="T13" fmla="*/ 570 h 570"/>
                  <a:gd name="T14" fmla="*/ 150 w 300"/>
                  <a:gd name="T15" fmla="*/ 450 h 570"/>
                  <a:gd name="T16" fmla="*/ 270 w 300"/>
                  <a:gd name="T17" fmla="*/ 240 h 570"/>
                  <a:gd name="T18" fmla="*/ 300 w 300"/>
                  <a:gd name="T19" fmla="*/ 120 h 570"/>
                  <a:gd name="T20" fmla="*/ 240 w 300"/>
                  <a:gd name="T21" fmla="*/ 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0" h="570">
                    <a:moveTo>
                      <a:pt x="90" y="30"/>
                    </a:moveTo>
                    <a:lnTo>
                      <a:pt x="240" y="0"/>
                    </a:lnTo>
                    <a:lnTo>
                      <a:pt x="180" y="180"/>
                    </a:lnTo>
                    <a:lnTo>
                      <a:pt x="90" y="30"/>
                    </a:lnTo>
                    <a:lnTo>
                      <a:pt x="30" y="150"/>
                    </a:lnTo>
                    <a:lnTo>
                      <a:pt x="0" y="330"/>
                    </a:lnTo>
                    <a:lnTo>
                      <a:pt x="90" y="570"/>
                    </a:lnTo>
                    <a:lnTo>
                      <a:pt x="150" y="450"/>
                    </a:lnTo>
                    <a:lnTo>
                      <a:pt x="270" y="240"/>
                    </a:lnTo>
                    <a:lnTo>
                      <a:pt x="300" y="120"/>
                    </a:lnTo>
                    <a:lnTo>
                      <a:pt x="24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49" name="Freeform 2538">
                <a:extLst>
                  <a:ext uri="{FF2B5EF4-FFF2-40B4-BE49-F238E27FC236}">
                    <a16:creationId xmlns:a16="http://schemas.microsoft.com/office/drawing/2014/main" xmlns="" id="{B301EB76-9BA0-4DB0-ACEC-8A77286E0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300"/>
                <a:ext cx="150" cy="360"/>
              </a:xfrm>
              <a:custGeom>
                <a:avLst/>
                <a:gdLst>
                  <a:gd name="T0" fmla="*/ 0 w 150"/>
                  <a:gd name="T1" fmla="*/ 360 h 360"/>
                  <a:gd name="T2" fmla="*/ 30 w 150"/>
                  <a:gd name="T3" fmla="*/ 180 h 360"/>
                  <a:gd name="T4" fmla="*/ 150 w 150"/>
                  <a:gd name="T5" fmla="*/ 0 h 360"/>
                  <a:gd name="T6" fmla="*/ 30 w 150"/>
                  <a:gd name="T7" fmla="*/ 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0" h="360">
                    <a:moveTo>
                      <a:pt x="0" y="360"/>
                    </a:moveTo>
                    <a:lnTo>
                      <a:pt x="30" y="180"/>
                    </a:lnTo>
                    <a:lnTo>
                      <a:pt x="150" y="0"/>
                    </a:lnTo>
                    <a:lnTo>
                      <a:pt x="3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0" name="Freeform 2539">
                <a:extLst>
                  <a:ext uri="{FF2B5EF4-FFF2-40B4-BE49-F238E27FC236}">
                    <a16:creationId xmlns:a16="http://schemas.microsoft.com/office/drawing/2014/main" xmlns="" id="{9040ABAE-77D7-43E4-914D-22CB4376F8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6" y="60"/>
                <a:ext cx="390" cy="240"/>
              </a:xfrm>
              <a:custGeom>
                <a:avLst/>
                <a:gdLst>
                  <a:gd name="T0" fmla="*/ 390 w 390"/>
                  <a:gd name="T1" fmla="*/ 210 h 240"/>
                  <a:gd name="T2" fmla="*/ 300 w 390"/>
                  <a:gd name="T3" fmla="*/ 0 h 240"/>
                  <a:gd name="T4" fmla="*/ 0 w 390"/>
                  <a:gd name="T5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0" h="240">
                    <a:moveTo>
                      <a:pt x="390" y="210"/>
                    </a:moveTo>
                    <a:lnTo>
                      <a:pt x="300" y="0"/>
                    </a:lnTo>
                    <a:lnTo>
                      <a:pt x="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1" name="Freeform 2540">
                <a:extLst>
                  <a:ext uri="{FF2B5EF4-FFF2-40B4-BE49-F238E27FC236}">
                    <a16:creationId xmlns:a16="http://schemas.microsoft.com/office/drawing/2014/main" xmlns="" id="{E327E3B3-81E0-4A20-918C-55CA9D4A3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2700"/>
                <a:ext cx="480" cy="360"/>
              </a:xfrm>
              <a:custGeom>
                <a:avLst/>
                <a:gdLst>
                  <a:gd name="T0" fmla="*/ 0 w 480"/>
                  <a:gd name="T1" fmla="*/ 300 h 360"/>
                  <a:gd name="T2" fmla="*/ 30 w 480"/>
                  <a:gd name="T3" fmla="*/ 150 h 360"/>
                  <a:gd name="T4" fmla="*/ 180 w 480"/>
                  <a:gd name="T5" fmla="*/ 360 h 360"/>
                  <a:gd name="T6" fmla="*/ 330 w 480"/>
                  <a:gd name="T7" fmla="*/ 300 h 360"/>
                  <a:gd name="T8" fmla="*/ 330 w 480"/>
                  <a:gd name="T9" fmla="*/ 210 h 360"/>
                  <a:gd name="T10" fmla="*/ 150 w 480"/>
                  <a:gd name="T11" fmla="*/ 210 h 360"/>
                  <a:gd name="T12" fmla="*/ 420 w 480"/>
                  <a:gd name="T13" fmla="*/ 120 h 360"/>
                  <a:gd name="T14" fmla="*/ 450 w 480"/>
                  <a:gd name="T15" fmla="*/ 270 h 360"/>
                  <a:gd name="T16" fmla="*/ 480 w 480"/>
                  <a:gd name="T1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0" h="360">
                    <a:moveTo>
                      <a:pt x="0" y="300"/>
                    </a:moveTo>
                    <a:lnTo>
                      <a:pt x="30" y="150"/>
                    </a:lnTo>
                    <a:lnTo>
                      <a:pt x="180" y="360"/>
                    </a:lnTo>
                    <a:lnTo>
                      <a:pt x="330" y="300"/>
                    </a:lnTo>
                    <a:lnTo>
                      <a:pt x="330" y="210"/>
                    </a:lnTo>
                    <a:lnTo>
                      <a:pt x="150" y="210"/>
                    </a:lnTo>
                    <a:lnTo>
                      <a:pt x="420" y="120"/>
                    </a:lnTo>
                    <a:lnTo>
                      <a:pt x="450" y="270"/>
                    </a:lnTo>
                    <a:lnTo>
                      <a:pt x="48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2" name="Freeform 2541">
                <a:extLst>
                  <a:ext uri="{FF2B5EF4-FFF2-40B4-BE49-F238E27FC236}">
                    <a16:creationId xmlns:a16="http://schemas.microsoft.com/office/drawing/2014/main" xmlns="" id="{E7902DDA-BD61-43E0-B090-59FE11167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1950"/>
                <a:ext cx="570" cy="1260"/>
              </a:xfrm>
              <a:custGeom>
                <a:avLst/>
                <a:gdLst>
                  <a:gd name="T0" fmla="*/ 540 w 570"/>
                  <a:gd name="T1" fmla="*/ 1200 h 1260"/>
                  <a:gd name="T2" fmla="*/ 300 w 570"/>
                  <a:gd name="T3" fmla="*/ 1260 h 1260"/>
                  <a:gd name="T4" fmla="*/ 210 w 570"/>
                  <a:gd name="T5" fmla="*/ 1170 h 1260"/>
                  <a:gd name="T6" fmla="*/ 90 w 570"/>
                  <a:gd name="T7" fmla="*/ 1140 h 1260"/>
                  <a:gd name="T8" fmla="*/ 0 w 570"/>
                  <a:gd name="T9" fmla="*/ 990 h 1260"/>
                  <a:gd name="T10" fmla="*/ 180 w 570"/>
                  <a:gd name="T11" fmla="*/ 900 h 1260"/>
                  <a:gd name="T12" fmla="*/ 180 w 570"/>
                  <a:gd name="T13" fmla="*/ 720 h 1260"/>
                  <a:gd name="T14" fmla="*/ 300 w 570"/>
                  <a:gd name="T15" fmla="*/ 960 h 1260"/>
                  <a:gd name="T16" fmla="*/ 300 w 570"/>
                  <a:gd name="T17" fmla="*/ 750 h 1260"/>
                  <a:gd name="T18" fmla="*/ 480 w 570"/>
                  <a:gd name="T19" fmla="*/ 570 h 1260"/>
                  <a:gd name="T20" fmla="*/ 270 w 570"/>
                  <a:gd name="T21" fmla="*/ 630 h 1260"/>
                  <a:gd name="T22" fmla="*/ 150 w 570"/>
                  <a:gd name="T23" fmla="*/ 600 h 1260"/>
                  <a:gd name="T24" fmla="*/ 360 w 570"/>
                  <a:gd name="T25" fmla="*/ 450 h 1260"/>
                  <a:gd name="T26" fmla="*/ 240 w 570"/>
                  <a:gd name="T27" fmla="*/ 300 h 1260"/>
                  <a:gd name="T28" fmla="*/ 120 w 570"/>
                  <a:gd name="T29" fmla="*/ 360 h 1260"/>
                  <a:gd name="T30" fmla="*/ 360 w 570"/>
                  <a:gd name="T31" fmla="*/ 0 h 1260"/>
                  <a:gd name="T32" fmla="*/ 450 w 570"/>
                  <a:gd name="T33" fmla="*/ 210 h 1260"/>
                  <a:gd name="T34" fmla="*/ 570 w 570"/>
                  <a:gd name="T35" fmla="*/ 60 h 1260"/>
                  <a:gd name="T36" fmla="*/ 540 w 570"/>
                  <a:gd name="T37" fmla="*/ 420 h 1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0" h="1260">
                    <a:moveTo>
                      <a:pt x="540" y="1200"/>
                    </a:moveTo>
                    <a:lnTo>
                      <a:pt x="300" y="1260"/>
                    </a:lnTo>
                    <a:lnTo>
                      <a:pt x="210" y="1170"/>
                    </a:lnTo>
                    <a:lnTo>
                      <a:pt x="90" y="1140"/>
                    </a:lnTo>
                    <a:lnTo>
                      <a:pt x="0" y="990"/>
                    </a:lnTo>
                    <a:lnTo>
                      <a:pt x="180" y="900"/>
                    </a:lnTo>
                    <a:lnTo>
                      <a:pt x="180" y="720"/>
                    </a:lnTo>
                    <a:lnTo>
                      <a:pt x="300" y="960"/>
                    </a:lnTo>
                    <a:lnTo>
                      <a:pt x="300" y="750"/>
                    </a:lnTo>
                    <a:lnTo>
                      <a:pt x="480" y="570"/>
                    </a:lnTo>
                    <a:lnTo>
                      <a:pt x="270" y="630"/>
                    </a:lnTo>
                    <a:lnTo>
                      <a:pt x="150" y="600"/>
                    </a:lnTo>
                    <a:lnTo>
                      <a:pt x="360" y="450"/>
                    </a:lnTo>
                    <a:lnTo>
                      <a:pt x="240" y="300"/>
                    </a:lnTo>
                    <a:lnTo>
                      <a:pt x="120" y="360"/>
                    </a:lnTo>
                    <a:lnTo>
                      <a:pt x="360" y="0"/>
                    </a:lnTo>
                    <a:lnTo>
                      <a:pt x="450" y="210"/>
                    </a:lnTo>
                    <a:lnTo>
                      <a:pt x="570" y="60"/>
                    </a:lnTo>
                    <a:lnTo>
                      <a:pt x="540" y="4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3" name="Freeform 2542">
                <a:extLst>
                  <a:ext uri="{FF2B5EF4-FFF2-40B4-BE49-F238E27FC236}">
                    <a16:creationId xmlns:a16="http://schemas.microsoft.com/office/drawing/2014/main" xmlns="" id="{07C9424A-BA75-4A52-AE7C-5C3A0C714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1890"/>
                <a:ext cx="869" cy="1320"/>
              </a:xfrm>
              <a:custGeom>
                <a:avLst/>
                <a:gdLst>
                  <a:gd name="T0" fmla="*/ 869 w 869"/>
                  <a:gd name="T1" fmla="*/ 660 h 1320"/>
                  <a:gd name="T2" fmla="*/ 839 w 869"/>
                  <a:gd name="T3" fmla="*/ 300 h 1320"/>
                  <a:gd name="T4" fmla="*/ 809 w 869"/>
                  <a:gd name="T5" fmla="*/ 120 h 1320"/>
                  <a:gd name="T6" fmla="*/ 719 w 869"/>
                  <a:gd name="T7" fmla="*/ 0 h 1320"/>
                  <a:gd name="T8" fmla="*/ 599 w 869"/>
                  <a:gd name="T9" fmla="*/ 60 h 1320"/>
                  <a:gd name="T10" fmla="*/ 599 w 869"/>
                  <a:gd name="T11" fmla="*/ 150 h 1320"/>
                  <a:gd name="T12" fmla="*/ 509 w 869"/>
                  <a:gd name="T13" fmla="*/ 270 h 1320"/>
                  <a:gd name="T14" fmla="*/ 479 w 869"/>
                  <a:gd name="T15" fmla="*/ 360 h 1320"/>
                  <a:gd name="T16" fmla="*/ 599 w 869"/>
                  <a:gd name="T17" fmla="*/ 300 h 1320"/>
                  <a:gd name="T18" fmla="*/ 689 w 869"/>
                  <a:gd name="T19" fmla="*/ 270 h 1320"/>
                  <a:gd name="T20" fmla="*/ 659 w 869"/>
                  <a:gd name="T21" fmla="*/ 420 h 1320"/>
                  <a:gd name="T22" fmla="*/ 779 w 869"/>
                  <a:gd name="T23" fmla="*/ 480 h 1320"/>
                  <a:gd name="T24" fmla="*/ 869 w 869"/>
                  <a:gd name="T25" fmla="*/ 660 h 1320"/>
                  <a:gd name="T26" fmla="*/ 719 w 869"/>
                  <a:gd name="T27" fmla="*/ 630 h 1320"/>
                  <a:gd name="T28" fmla="*/ 599 w 869"/>
                  <a:gd name="T29" fmla="*/ 510 h 1320"/>
                  <a:gd name="T30" fmla="*/ 539 w 869"/>
                  <a:gd name="T31" fmla="*/ 600 h 1320"/>
                  <a:gd name="T32" fmla="*/ 509 w 869"/>
                  <a:gd name="T33" fmla="*/ 690 h 1320"/>
                  <a:gd name="T34" fmla="*/ 539 w 869"/>
                  <a:gd name="T35" fmla="*/ 810 h 1320"/>
                  <a:gd name="T36" fmla="*/ 269 w 869"/>
                  <a:gd name="T37" fmla="*/ 870 h 1320"/>
                  <a:gd name="T38" fmla="*/ 419 w 869"/>
                  <a:gd name="T39" fmla="*/ 960 h 1320"/>
                  <a:gd name="T40" fmla="*/ 539 w 869"/>
                  <a:gd name="T41" fmla="*/ 1020 h 1320"/>
                  <a:gd name="T42" fmla="*/ 599 w 869"/>
                  <a:gd name="T43" fmla="*/ 930 h 1320"/>
                  <a:gd name="T44" fmla="*/ 719 w 869"/>
                  <a:gd name="T45" fmla="*/ 840 h 1320"/>
                  <a:gd name="T46" fmla="*/ 779 w 869"/>
                  <a:gd name="T47" fmla="*/ 750 h 1320"/>
                  <a:gd name="T48" fmla="*/ 869 w 869"/>
                  <a:gd name="T49" fmla="*/ 810 h 1320"/>
                  <a:gd name="T50" fmla="*/ 809 w 869"/>
                  <a:gd name="T51" fmla="*/ 930 h 1320"/>
                  <a:gd name="T52" fmla="*/ 719 w 869"/>
                  <a:gd name="T53" fmla="*/ 1020 h 1320"/>
                  <a:gd name="T54" fmla="*/ 839 w 869"/>
                  <a:gd name="T55" fmla="*/ 1080 h 1320"/>
                  <a:gd name="T56" fmla="*/ 719 w 869"/>
                  <a:gd name="T57" fmla="*/ 1110 h 1320"/>
                  <a:gd name="T58" fmla="*/ 779 w 869"/>
                  <a:gd name="T59" fmla="*/ 1260 h 1320"/>
                  <a:gd name="T60" fmla="*/ 689 w 869"/>
                  <a:gd name="T61" fmla="*/ 1230 h 1320"/>
                  <a:gd name="T62" fmla="*/ 539 w 869"/>
                  <a:gd name="T63" fmla="*/ 1320 h 1320"/>
                  <a:gd name="T64" fmla="*/ 569 w 869"/>
                  <a:gd name="T65" fmla="*/ 1170 h 1320"/>
                  <a:gd name="T66" fmla="*/ 449 w 869"/>
                  <a:gd name="T67" fmla="*/ 1230 h 1320"/>
                  <a:gd name="T68" fmla="*/ 389 w 869"/>
                  <a:gd name="T69" fmla="*/ 1110 h 1320"/>
                  <a:gd name="T70" fmla="*/ 329 w 869"/>
                  <a:gd name="T71" fmla="*/ 1200 h 1320"/>
                  <a:gd name="T72" fmla="*/ 299 w 869"/>
                  <a:gd name="T73" fmla="*/ 960 h 1320"/>
                  <a:gd name="T74" fmla="*/ 239 w 869"/>
                  <a:gd name="T75" fmla="*/ 1050 h 1320"/>
                  <a:gd name="T76" fmla="*/ 269 w 869"/>
                  <a:gd name="T77" fmla="*/ 870 h 1320"/>
                  <a:gd name="T78" fmla="*/ 419 w 869"/>
                  <a:gd name="T79" fmla="*/ 780 h 1320"/>
                  <a:gd name="T80" fmla="*/ 239 w 869"/>
                  <a:gd name="T81" fmla="*/ 690 h 1320"/>
                  <a:gd name="T82" fmla="*/ 269 w 869"/>
                  <a:gd name="T83" fmla="*/ 870 h 1320"/>
                  <a:gd name="T84" fmla="*/ 389 w 869"/>
                  <a:gd name="T85" fmla="*/ 660 h 1320"/>
                  <a:gd name="T86" fmla="*/ 419 w 869"/>
                  <a:gd name="T87" fmla="*/ 540 h 1320"/>
                  <a:gd name="T88" fmla="*/ 359 w 869"/>
                  <a:gd name="T89" fmla="*/ 420 h 1320"/>
                  <a:gd name="T90" fmla="*/ 389 w 869"/>
                  <a:gd name="T91" fmla="*/ 270 h 1320"/>
                  <a:gd name="T92" fmla="*/ 239 w 869"/>
                  <a:gd name="T93" fmla="*/ 150 h 1320"/>
                  <a:gd name="T94" fmla="*/ 150 w 869"/>
                  <a:gd name="T95" fmla="*/ 270 h 1320"/>
                  <a:gd name="T96" fmla="*/ 0 w 869"/>
                  <a:gd name="T97" fmla="*/ 360 h 1320"/>
                  <a:gd name="T98" fmla="*/ 0 w 869"/>
                  <a:gd name="T99" fmla="*/ 510 h 1320"/>
                  <a:gd name="T100" fmla="*/ 120 w 869"/>
                  <a:gd name="T101" fmla="*/ 420 h 1320"/>
                  <a:gd name="T102" fmla="*/ 269 w 869"/>
                  <a:gd name="T103" fmla="*/ 300 h 1320"/>
                  <a:gd name="T104" fmla="*/ 239 w 869"/>
                  <a:gd name="T105" fmla="*/ 150 h 1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69" h="1320">
                    <a:moveTo>
                      <a:pt x="869" y="660"/>
                    </a:moveTo>
                    <a:lnTo>
                      <a:pt x="839" y="300"/>
                    </a:lnTo>
                    <a:lnTo>
                      <a:pt x="809" y="120"/>
                    </a:lnTo>
                    <a:lnTo>
                      <a:pt x="719" y="0"/>
                    </a:lnTo>
                    <a:lnTo>
                      <a:pt x="599" y="60"/>
                    </a:lnTo>
                    <a:lnTo>
                      <a:pt x="599" y="150"/>
                    </a:lnTo>
                    <a:lnTo>
                      <a:pt x="509" y="270"/>
                    </a:lnTo>
                    <a:lnTo>
                      <a:pt x="479" y="360"/>
                    </a:lnTo>
                    <a:lnTo>
                      <a:pt x="599" y="300"/>
                    </a:lnTo>
                    <a:lnTo>
                      <a:pt x="689" y="270"/>
                    </a:lnTo>
                    <a:lnTo>
                      <a:pt x="659" y="420"/>
                    </a:lnTo>
                    <a:lnTo>
                      <a:pt x="779" y="480"/>
                    </a:lnTo>
                    <a:lnTo>
                      <a:pt x="869" y="660"/>
                    </a:lnTo>
                    <a:lnTo>
                      <a:pt x="719" y="630"/>
                    </a:lnTo>
                    <a:lnTo>
                      <a:pt x="599" y="510"/>
                    </a:lnTo>
                    <a:lnTo>
                      <a:pt x="539" y="600"/>
                    </a:lnTo>
                    <a:lnTo>
                      <a:pt x="509" y="690"/>
                    </a:lnTo>
                    <a:lnTo>
                      <a:pt x="539" y="810"/>
                    </a:lnTo>
                    <a:lnTo>
                      <a:pt x="269" y="870"/>
                    </a:lnTo>
                    <a:lnTo>
                      <a:pt x="419" y="960"/>
                    </a:lnTo>
                    <a:lnTo>
                      <a:pt x="539" y="1020"/>
                    </a:lnTo>
                    <a:lnTo>
                      <a:pt x="599" y="930"/>
                    </a:lnTo>
                    <a:lnTo>
                      <a:pt x="719" y="840"/>
                    </a:lnTo>
                    <a:lnTo>
                      <a:pt x="779" y="750"/>
                    </a:lnTo>
                    <a:lnTo>
                      <a:pt x="869" y="810"/>
                    </a:lnTo>
                    <a:lnTo>
                      <a:pt x="809" y="930"/>
                    </a:lnTo>
                    <a:lnTo>
                      <a:pt x="719" y="1020"/>
                    </a:lnTo>
                    <a:lnTo>
                      <a:pt x="839" y="1080"/>
                    </a:lnTo>
                    <a:lnTo>
                      <a:pt x="719" y="1110"/>
                    </a:lnTo>
                    <a:lnTo>
                      <a:pt x="779" y="1260"/>
                    </a:lnTo>
                    <a:lnTo>
                      <a:pt x="689" y="1230"/>
                    </a:lnTo>
                    <a:lnTo>
                      <a:pt x="539" y="1320"/>
                    </a:lnTo>
                    <a:lnTo>
                      <a:pt x="569" y="1170"/>
                    </a:lnTo>
                    <a:lnTo>
                      <a:pt x="449" y="1230"/>
                    </a:lnTo>
                    <a:lnTo>
                      <a:pt x="389" y="1110"/>
                    </a:lnTo>
                    <a:lnTo>
                      <a:pt x="329" y="1200"/>
                    </a:lnTo>
                    <a:lnTo>
                      <a:pt x="299" y="960"/>
                    </a:lnTo>
                    <a:lnTo>
                      <a:pt x="239" y="1050"/>
                    </a:lnTo>
                    <a:lnTo>
                      <a:pt x="269" y="870"/>
                    </a:lnTo>
                    <a:lnTo>
                      <a:pt x="419" y="780"/>
                    </a:lnTo>
                    <a:lnTo>
                      <a:pt x="239" y="690"/>
                    </a:lnTo>
                    <a:lnTo>
                      <a:pt x="269" y="870"/>
                    </a:lnTo>
                    <a:lnTo>
                      <a:pt x="389" y="660"/>
                    </a:lnTo>
                    <a:lnTo>
                      <a:pt x="419" y="540"/>
                    </a:lnTo>
                    <a:lnTo>
                      <a:pt x="359" y="420"/>
                    </a:lnTo>
                    <a:lnTo>
                      <a:pt x="389" y="270"/>
                    </a:lnTo>
                    <a:lnTo>
                      <a:pt x="239" y="150"/>
                    </a:lnTo>
                    <a:lnTo>
                      <a:pt x="150" y="270"/>
                    </a:lnTo>
                    <a:lnTo>
                      <a:pt x="0" y="360"/>
                    </a:lnTo>
                    <a:lnTo>
                      <a:pt x="0" y="510"/>
                    </a:lnTo>
                    <a:lnTo>
                      <a:pt x="120" y="420"/>
                    </a:lnTo>
                    <a:lnTo>
                      <a:pt x="269" y="300"/>
                    </a:lnTo>
                    <a:lnTo>
                      <a:pt x="239" y="1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4" name="Freeform 2543">
                <a:extLst>
                  <a:ext uri="{FF2B5EF4-FFF2-40B4-BE49-F238E27FC236}">
                    <a16:creationId xmlns:a16="http://schemas.microsoft.com/office/drawing/2014/main" xmlns="" id="{9F714CCA-0BAA-4F3E-BC3D-22DAB60A90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2250"/>
                <a:ext cx="390" cy="570"/>
              </a:xfrm>
              <a:custGeom>
                <a:avLst/>
                <a:gdLst>
                  <a:gd name="T0" fmla="*/ 120 w 390"/>
                  <a:gd name="T1" fmla="*/ 450 h 570"/>
                  <a:gd name="T2" fmla="*/ 300 w 390"/>
                  <a:gd name="T3" fmla="*/ 480 h 570"/>
                  <a:gd name="T4" fmla="*/ 390 w 390"/>
                  <a:gd name="T5" fmla="*/ 570 h 570"/>
                  <a:gd name="T6" fmla="*/ 180 w 390"/>
                  <a:gd name="T7" fmla="*/ 570 h 570"/>
                  <a:gd name="T8" fmla="*/ 300 w 390"/>
                  <a:gd name="T9" fmla="*/ 270 h 570"/>
                  <a:gd name="T10" fmla="*/ 300 w 390"/>
                  <a:gd name="T11" fmla="*/ 480 h 570"/>
                  <a:gd name="T12" fmla="*/ 120 w 390"/>
                  <a:gd name="T13" fmla="*/ 240 h 570"/>
                  <a:gd name="T14" fmla="*/ 60 w 390"/>
                  <a:gd name="T15" fmla="*/ 0 h 570"/>
                  <a:gd name="T16" fmla="*/ 0 w 390"/>
                  <a:gd name="T17" fmla="*/ 180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0" h="570">
                    <a:moveTo>
                      <a:pt x="120" y="450"/>
                    </a:moveTo>
                    <a:lnTo>
                      <a:pt x="300" y="480"/>
                    </a:lnTo>
                    <a:lnTo>
                      <a:pt x="390" y="570"/>
                    </a:lnTo>
                    <a:lnTo>
                      <a:pt x="180" y="570"/>
                    </a:lnTo>
                    <a:lnTo>
                      <a:pt x="300" y="270"/>
                    </a:lnTo>
                    <a:lnTo>
                      <a:pt x="300" y="480"/>
                    </a:lnTo>
                    <a:lnTo>
                      <a:pt x="120" y="240"/>
                    </a:lnTo>
                    <a:lnTo>
                      <a:pt x="60" y="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5" name="Freeform 2544">
                <a:extLst>
                  <a:ext uri="{FF2B5EF4-FFF2-40B4-BE49-F238E27FC236}">
                    <a16:creationId xmlns:a16="http://schemas.microsoft.com/office/drawing/2014/main" xmlns="" id="{CF3D1A4B-6A7C-48CA-8070-CD0E5056A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2850"/>
                <a:ext cx="420" cy="210"/>
              </a:xfrm>
              <a:custGeom>
                <a:avLst/>
                <a:gdLst>
                  <a:gd name="T0" fmla="*/ 0 w 420"/>
                  <a:gd name="T1" fmla="*/ 0 h 210"/>
                  <a:gd name="T2" fmla="*/ 90 w 420"/>
                  <a:gd name="T3" fmla="*/ 150 h 210"/>
                  <a:gd name="T4" fmla="*/ 270 w 420"/>
                  <a:gd name="T5" fmla="*/ 210 h 210"/>
                  <a:gd name="T6" fmla="*/ 420 w 420"/>
                  <a:gd name="T7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0" h="210">
                    <a:moveTo>
                      <a:pt x="0" y="0"/>
                    </a:moveTo>
                    <a:lnTo>
                      <a:pt x="90" y="150"/>
                    </a:lnTo>
                    <a:lnTo>
                      <a:pt x="270" y="210"/>
                    </a:lnTo>
                    <a:lnTo>
                      <a:pt x="42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6" name="Freeform 2545">
                <a:extLst>
                  <a:ext uri="{FF2B5EF4-FFF2-40B4-BE49-F238E27FC236}">
                    <a16:creationId xmlns:a16="http://schemas.microsoft.com/office/drawing/2014/main" xmlns="" id="{2AE60525-0B02-44B1-8504-4B75C72BC5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4" y="2910"/>
                <a:ext cx="180" cy="210"/>
              </a:xfrm>
              <a:custGeom>
                <a:avLst/>
                <a:gdLst>
                  <a:gd name="T0" fmla="*/ 150 w 180"/>
                  <a:gd name="T1" fmla="*/ 210 h 210"/>
                  <a:gd name="T2" fmla="*/ 30 w 180"/>
                  <a:gd name="T3" fmla="*/ 150 h 210"/>
                  <a:gd name="T4" fmla="*/ 0 w 180"/>
                  <a:gd name="T5" fmla="*/ 0 h 210"/>
                  <a:gd name="T6" fmla="*/ 180 w 180"/>
                  <a:gd name="T7" fmla="*/ 9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210">
                    <a:moveTo>
                      <a:pt x="150" y="210"/>
                    </a:moveTo>
                    <a:lnTo>
                      <a:pt x="30" y="150"/>
                    </a:lnTo>
                    <a:lnTo>
                      <a:pt x="0" y="0"/>
                    </a:lnTo>
                    <a:lnTo>
                      <a:pt x="1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7" name="Line 2546">
                <a:extLst>
                  <a:ext uri="{FF2B5EF4-FFF2-40B4-BE49-F238E27FC236}">
                    <a16:creationId xmlns:a16="http://schemas.microsoft.com/office/drawing/2014/main" xmlns="" id="{AE0763DA-79B2-4B34-B118-81E6169BB6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364" y="297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8" name="Freeform 2547">
                <a:extLst>
                  <a:ext uri="{FF2B5EF4-FFF2-40B4-BE49-F238E27FC236}">
                    <a16:creationId xmlns:a16="http://schemas.microsoft.com/office/drawing/2014/main" xmlns="" id="{E2360472-4FE6-4A39-B433-A4C188A50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4" y="2160"/>
                <a:ext cx="300" cy="150"/>
              </a:xfrm>
              <a:custGeom>
                <a:avLst/>
                <a:gdLst>
                  <a:gd name="T0" fmla="*/ 0 w 300"/>
                  <a:gd name="T1" fmla="*/ 150 h 150"/>
                  <a:gd name="T2" fmla="*/ 300 w 300"/>
                  <a:gd name="T3" fmla="*/ 150 h 150"/>
                  <a:gd name="T4" fmla="*/ 240 w 300"/>
                  <a:gd name="T5" fmla="*/ 30 h 150"/>
                  <a:gd name="T6" fmla="*/ 150 w 300"/>
                  <a:gd name="T7" fmla="*/ 0 h 150"/>
                  <a:gd name="T8" fmla="*/ 30 w 300"/>
                  <a:gd name="T9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0" h="150">
                    <a:moveTo>
                      <a:pt x="0" y="150"/>
                    </a:moveTo>
                    <a:lnTo>
                      <a:pt x="300" y="150"/>
                    </a:lnTo>
                    <a:lnTo>
                      <a:pt x="240" y="30"/>
                    </a:lnTo>
                    <a:lnTo>
                      <a:pt x="150" y="0"/>
                    </a:lnTo>
                    <a:lnTo>
                      <a:pt x="3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59" name="Freeform 2548">
                <a:extLst>
                  <a:ext uri="{FF2B5EF4-FFF2-40B4-BE49-F238E27FC236}">
                    <a16:creationId xmlns:a16="http://schemas.microsoft.com/office/drawing/2014/main" xmlns="" id="{6C228944-98FE-4B07-84A0-DB0AFDC852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4" y="510"/>
                <a:ext cx="180" cy="390"/>
              </a:xfrm>
              <a:custGeom>
                <a:avLst/>
                <a:gdLst>
                  <a:gd name="T0" fmla="*/ 0 w 180"/>
                  <a:gd name="T1" fmla="*/ 270 h 390"/>
                  <a:gd name="T2" fmla="*/ 180 w 180"/>
                  <a:gd name="T3" fmla="*/ 390 h 390"/>
                  <a:gd name="T4" fmla="*/ 30 w 180"/>
                  <a:gd name="T5" fmla="*/ 120 h 390"/>
                  <a:gd name="T6" fmla="*/ 150 w 180"/>
                  <a:gd name="T7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90">
                    <a:moveTo>
                      <a:pt x="0" y="270"/>
                    </a:moveTo>
                    <a:lnTo>
                      <a:pt x="180" y="390"/>
                    </a:lnTo>
                    <a:lnTo>
                      <a:pt x="30" y="12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0" name="Freeform 2549">
                <a:extLst>
                  <a:ext uri="{FF2B5EF4-FFF2-40B4-BE49-F238E27FC236}">
                    <a16:creationId xmlns:a16="http://schemas.microsoft.com/office/drawing/2014/main" xmlns="" id="{C201AA5C-8BE3-455A-BCC1-0AC4154D6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870"/>
                <a:ext cx="300" cy="330"/>
              </a:xfrm>
              <a:custGeom>
                <a:avLst/>
                <a:gdLst>
                  <a:gd name="T0" fmla="*/ 300 w 300"/>
                  <a:gd name="T1" fmla="*/ 0 h 330"/>
                  <a:gd name="T2" fmla="*/ 240 w 300"/>
                  <a:gd name="T3" fmla="*/ 120 h 330"/>
                  <a:gd name="T4" fmla="*/ 180 w 300"/>
                  <a:gd name="T5" fmla="*/ 330 h 330"/>
                  <a:gd name="T6" fmla="*/ 0 w 300"/>
                  <a:gd name="T7" fmla="*/ 27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0" h="330">
                    <a:moveTo>
                      <a:pt x="300" y="0"/>
                    </a:moveTo>
                    <a:lnTo>
                      <a:pt x="240" y="120"/>
                    </a:lnTo>
                    <a:lnTo>
                      <a:pt x="180" y="330"/>
                    </a:lnTo>
                    <a:lnTo>
                      <a:pt x="0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1" name="Freeform 2550">
                <a:extLst>
                  <a:ext uri="{FF2B5EF4-FFF2-40B4-BE49-F238E27FC236}">
                    <a16:creationId xmlns:a16="http://schemas.microsoft.com/office/drawing/2014/main" xmlns="" id="{64B2EC25-3FDE-49CC-A99B-C9F9729E2D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1050"/>
                <a:ext cx="600" cy="750"/>
              </a:xfrm>
              <a:custGeom>
                <a:avLst/>
                <a:gdLst>
                  <a:gd name="T0" fmla="*/ 600 w 600"/>
                  <a:gd name="T1" fmla="*/ 750 h 750"/>
                  <a:gd name="T2" fmla="*/ 570 w 600"/>
                  <a:gd name="T3" fmla="*/ 630 h 750"/>
                  <a:gd name="T4" fmla="*/ 330 w 600"/>
                  <a:gd name="T5" fmla="*/ 750 h 750"/>
                  <a:gd name="T6" fmla="*/ 270 w 600"/>
                  <a:gd name="T7" fmla="*/ 660 h 750"/>
                  <a:gd name="T8" fmla="*/ 180 w 600"/>
                  <a:gd name="T9" fmla="*/ 540 h 750"/>
                  <a:gd name="T10" fmla="*/ 150 w 600"/>
                  <a:gd name="T11" fmla="*/ 90 h 750"/>
                  <a:gd name="T12" fmla="*/ 0 w 600"/>
                  <a:gd name="T13" fmla="*/ 180 h 750"/>
                  <a:gd name="T14" fmla="*/ 210 w 600"/>
                  <a:gd name="T15" fmla="*/ 300 h 750"/>
                  <a:gd name="T16" fmla="*/ 240 w 600"/>
                  <a:gd name="T17" fmla="*/ 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0" h="750">
                    <a:moveTo>
                      <a:pt x="600" y="750"/>
                    </a:moveTo>
                    <a:lnTo>
                      <a:pt x="570" y="630"/>
                    </a:lnTo>
                    <a:lnTo>
                      <a:pt x="330" y="750"/>
                    </a:lnTo>
                    <a:lnTo>
                      <a:pt x="270" y="660"/>
                    </a:lnTo>
                    <a:lnTo>
                      <a:pt x="180" y="540"/>
                    </a:lnTo>
                    <a:lnTo>
                      <a:pt x="150" y="90"/>
                    </a:lnTo>
                    <a:lnTo>
                      <a:pt x="0" y="180"/>
                    </a:lnTo>
                    <a:lnTo>
                      <a:pt x="210" y="300"/>
                    </a:lnTo>
                    <a:lnTo>
                      <a:pt x="24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2" name="Freeform 2551">
                <a:extLst>
                  <a:ext uri="{FF2B5EF4-FFF2-40B4-BE49-F238E27FC236}">
                    <a16:creationId xmlns:a16="http://schemas.microsoft.com/office/drawing/2014/main" xmlns="" id="{91902815-383A-491D-AF05-7C9C7F679F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1530"/>
                <a:ext cx="450" cy="420"/>
              </a:xfrm>
              <a:custGeom>
                <a:avLst/>
                <a:gdLst>
                  <a:gd name="T0" fmla="*/ 270 w 450"/>
                  <a:gd name="T1" fmla="*/ 270 h 420"/>
                  <a:gd name="T2" fmla="*/ 60 w 450"/>
                  <a:gd name="T3" fmla="*/ 270 h 420"/>
                  <a:gd name="T4" fmla="*/ 120 w 450"/>
                  <a:gd name="T5" fmla="*/ 60 h 420"/>
                  <a:gd name="T6" fmla="*/ 0 w 450"/>
                  <a:gd name="T7" fmla="*/ 0 h 420"/>
                  <a:gd name="T8" fmla="*/ 300 w 450"/>
                  <a:gd name="T9" fmla="*/ 420 h 420"/>
                  <a:gd name="T10" fmla="*/ 450 w 450"/>
                  <a:gd name="T11" fmla="*/ 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0" h="420">
                    <a:moveTo>
                      <a:pt x="270" y="270"/>
                    </a:moveTo>
                    <a:lnTo>
                      <a:pt x="60" y="270"/>
                    </a:lnTo>
                    <a:lnTo>
                      <a:pt x="120" y="60"/>
                    </a:lnTo>
                    <a:lnTo>
                      <a:pt x="0" y="0"/>
                    </a:lnTo>
                    <a:lnTo>
                      <a:pt x="300" y="420"/>
                    </a:lnTo>
                    <a:lnTo>
                      <a:pt x="4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3" name="Freeform 2552">
                <a:extLst>
                  <a:ext uri="{FF2B5EF4-FFF2-40B4-BE49-F238E27FC236}">
                    <a16:creationId xmlns:a16="http://schemas.microsoft.com/office/drawing/2014/main" xmlns="" id="{339F0E6C-98B3-4BC6-8E1B-116367BB7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1410"/>
                <a:ext cx="210" cy="210"/>
              </a:xfrm>
              <a:custGeom>
                <a:avLst/>
                <a:gdLst>
                  <a:gd name="T0" fmla="*/ 0 w 210"/>
                  <a:gd name="T1" fmla="*/ 180 h 210"/>
                  <a:gd name="T2" fmla="*/ 150 w 210"/>
                  <a:gd name="T3" fmla="*/ 0 h 210"/>
                  <a:gd name="T4" fmla="*/ 210 w 210"/>
                  <a:gd name="T5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210">
                    <a:moveTo>
                      <a:pt x="0" y="180"/>
                    </a:moveTo>
                    <a:lnTo>
                      <a:pt x="150" y="0"/>
                    </a:lnTo>
                    <a:lnTo>
                      <a:pt x="21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4" name="Freeform 2553">
                <a:extLst>
                  <a:ext uri="{FF2B5EF4-FFF2-40B4-BE49-F238E27FC236}">
                    <a16:creationId xmlns:a16="http://schemas.microsoft.com/office/drawing/2014/main" xmlns="" id="{C976AEB4-B06E-45BE-AF57-18F0F03475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4" y="1710"/>
                <a:ext cx="90" cy="450"/>
              </a:xfrm>
              <a:custGeom>
                <a:avLst/>
                <a:gdLst>
                  <a:gd name="T0" fmla="*/ 90 w 90"/>
                  <a:gd name="T1" fmla="*/ 0 h 450"/>
                  <a:gd name="T2" fmla="*/ 0 w 90"/>
                  <a:gd name="T3" fmla="*/ 240 h 450"/>
                  <a:gd name="T4" fmla="*/ 90 w 90"/>
                  <a:gd name="T5" fmla="*/ 450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0" h="450">
                    <a:moveTo>
                      <a:pt x="90" y="0"/>
                    </a:moveTo>
                    <a:lnTo>
                      <a:pt x="0" y="240"/>
                    </a:lnTo>
                    <a:lnTo>
                      <a:pt x="90" y="45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5" name="Freeform 2554">
                <a:extLst>
                  <a:ext uri="{FF2B5EF4-FFF2-40B4-BE49-F238E27FC236}">
                    <a16:creationId xmlns:a16="http://schemas.microsoft.com/office/drawing/2014/main" xmlns="" id="{E4A5CEBC-8DD2-4552-8714-D73A0145AF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4" y="2190"/>
                <a:ext cx="180" cy="330"/>
              </a:xfrm>
              <a:custGeom>
                <a:avLst/>
                <a:gdLst>
                  <a:gd name="T0" fmla="*/ 120 w 180"/>
                  <a:gd name="T1" fmla="*/ 330 h 330"/>
                  <a:gd name="T2" fmla="*/ 180 w 180"/>
                  <a:gd name="T3" fmla="*/ 180 h 330"/>
                  <a:gd name="T4" fmla="*/ 0 w 180"/>
                  <a:gd name="T5" fmla="*/ 210 h 330"/>
                  <a:gd name="T6" fmla="*/ 0 w 180"/>
                  <a:gd name="T7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330">
                    <a:moveTo>
                      <a:pt x="120" y="330"/>
                    </a:moveTo>
                    <a:lnTo>
                      <a:pt x="180" y="180"/>
                    </a:lnTo>
                    <a:lnTo>
                      <a:pt x="0" y="21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6" name="Line 2555">
                <a:extLst>
                  <a:ext uri="{FF2B5EF4-FFF2-40B4-BE49-F238E27FC236}">
                    <a16:creationId xmlns:a16="http://schemas.microsoft.com/office/drawing/2014/main" xmlns="" id="{93B0AE6E-F2A4-4FFF-8090-0C9101FDC5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04" y="2670"/>
                <a:ext cx="18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7" name="Freeform 2556">
                <a:extLst>
                  <a:ext uri="{FF2B5EF4-FFF2-40B4-BE49-F238E27FC236}">
                    <a16:creationId xmlns:a16="http://schemas.microsoft.com/office/drawing/2014/main" xmlns="" id="{9E5C24BE-6636-4B2E-AA12-CBE1940FD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2010"/>
                <a:ext cx="180" cy="300"/>
              </a:xfrm>
              <a:custGeom>
                <a:avLst/>
                <a:gdLst>
                  <a:gd name="T0" fmla="*/ 180 w 180"/>
                  <a:gd name="T1" fmla="*/ 180 h 300"/>
                  <a:gd name="T2" fmla="*/ 0 w 180"/>
                  <a:gd name="T3" fmla="*/ 300 h 300"/>
                  <a:gd name="T4" fmla="*/ 150 w 180"/>
                  <a:gd name="T5" fmla="*/ 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300">
                    <a:moveTo>
                      <a:pt x="180" y="180"/>
                    </a:moveTo>
                    <a:lnTo>
                      <a:pt x="0" y="300"/>
                    </a:lnTo>
                    <a:lnTo>
                      <a:pt x="15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8" name="Freeform 2557">
                <a:extLst>
                  <a:ext uri="{FF2B5EF4-FFF2-40B4-BE49-F238E27FC236}">
                    <a16:creationId xmlns:a16="http://schemas.microsoft.com/office/drawing/2014/main" xmlns="" id="{A35673CD-33EF-4139-9F7F-4DDBCD7120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4" y="1140"/>
                <a:ext cx="180" cy="270"/>
              </a:xfrm>
              <a:custGeom>
                <a:avLst/>
                <a:gdLst>
                  <a:gd name="T0" fmla="*/ 0 w 180"/>
                  <a:gd name="T1" fmla="*/ 0 h 270"/>
                  <a:gd name="T2" fmla="*/ 180 w 180"/>
                  <a:gd name="T3" fmla="*/ 270 h 270"/>
                  <a:gd name="T4" fmla="*/ 180 w 180"/>
                  <a:gd name="T5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70">
                    <a:moveTo>
                      <a:pt x="0" y="0"/>
                    </a:moveTo>
                    <a:lnTo>
                      <a:pt x="180" y="270"/>
                    </a:lnTo>
                    <a:lnTo>
                      <a:pt x="18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69" name="Freeform 2558">
                <a:extLst>
                  <a:ext uri="{FF2B5EF4-FFF2-40B4-BE49-F238E27FC236}">
                    <a16:creationId xmlns:a16="http://schemas.microsoft.com/office/drawing/2014/main" xmlns="" id="{B6913935-7187-42B0-AE79-3886536E94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4" y="60"/>
                <a:ext cx="540" cy="1830"/>
              </a:xfrm>
              <a:custGeom>
                <a:avLst/>
                <a:gdLst>
                  <a:gd name="T0" fmla="*/ 180 w 540"/>
                  <a:gd name="T1" fmla="*/ 990 h 1830"/>
                  <a:gd name="T2" fmla="*/ 330 w 540"/>
                  <a:gd name="T3" fmla="*/ 930 h 1830"/>
                  <a:gd name="T4" fmla="*/ 330 w 540"/>
                  <a:gd name="T5" fmla="*/ 1560 h 1830"/>
                  <a:gd name="T6" fmla="*/ 270 w 540"/>
                  <a:gd name="T7" fmla="*/ 1350 h 1830"/>
                  <a:gd name="T8" fmla="*/ 540 w 540"/>
                  <a:gd name="T9" fmla="*/ 1740 h 1830"/>
                  <a:gd name="T10" fmla="*/ 330 w 540"/>
                  <a:gd name="T11" fmla="*/ 1560 h 1830"/>
                  <a:gd name="T12" fmla="*/ 450 w 540"/>
                  <a:gd name="T13" fmla="*/ 1470 h 1830"/>
                  <a:gd name="T14" fmla="*/ 480 w 540"/>
                  <a:gd name="T15" fmla="*/ 1200 h 1830"/>
                  <a:gd name="T16" fmla="*/ 150 w 540"/>
                  <a:gd name="T17" fmla="*/ 1290 h 1830"/>
                  <a:gd name="T18" fmla="*/ 270 w 540"/>
                  <a:gd name="T19" fmla="*/ 1140 h 1830"/>
                  <a:gd name="T20" fmla="*/ 510 w 540"/>
                  <a:gd name="T21" fmla="*/ 960 h 1830"/>
                  <a:gd name="T22" fmla="*/ 180 w 540"/>
                  <a:gd name="T23" fmla="*/ 990 h 1830"/>
                  <a:gd name="T24" fmla="*/ 390 w 540"/>
                  <a:gd name="T25" fmla="*/ 810 h 1830"/>
                  <a:gd name="T26" fmla="*/ 360 w 540"/>
                  <a:gd name="T27" fmla="*/ 630 h 1830"/>
                  <a:gd name="T28" fmla="*/ 150 w 540"/>
                  <a:gd name="T29" fmla="*/ 630 h 1830"/>
                  <a:gd name="T30" fmla="*/ 270 w 540"/>
                  <a:gd name="T31" fmla="*/ 510 h 1830"/>
                  <a:gd name="T32" fmla="*/ 510 w 540"/>
                  <a:gd name="T33" fmla="*/ 600 h 1830"/>
                  <a:gd name="T34" fmla="*/ 480 w 540"/>
                  <a:gd name="T35" fmla="*/ 360 h 1830"/>
                  <a:gd name="T36" fmla="*/ 240 w 540"/>
                  <a:gd name="T37" fmla="*/ 360 h 1830"/>
                  <a:gd name="T38" fmla="*/ 60 w 540"/>
                  <a:gd name="T39" fmla="*/ 300 h 1830"/>
                  <a:gd name="T40" fmla="*/ 270 w 540"/>
                  <a:gd name="T41" fmla="*/ 210 h 1830"/>
                  <a:gd name="T42" fmla="*/ 90 w 540"/>
                  <a:gd name="T43" fmla="*/ 0 h 1830"/>
                  <a:gd name="T44" fmla="*/ 210 w 540"/>
                  <a:gd name="T45" fmla="*/ 60 h 1830"/>
                  <a:gd name="T46" fmla="*/ 510 w 540"/>
                  <a:gd name="T47" fmla="*/ 210 h 1830"/>
                  <a:gd name="T48" fmla="*/ 390 w 540"/>
                  <a:gd name="T49" fmla="*/ 240 h 1830"/>
                  <a:gd name="T50" fmla="*/ 270 w 540"/>
                  <a:gd name="T51" fmla="*/ 210 h 1830"/>
                  <a:gd name="T52" fmla="*/ 180 w 540"/>
                  <a:gd name="T53" fmla="*/ 240 h 1830"/>
                  <a:gd name="T54" fmla="*/ 60 w 540"/>
                  <a:gd name="T55" fmla="*/ 300 h 1830"/>
                  <a:gd name="T56" fmla="*/ 330 w 540"/>
                  <a:gd name="T57" fmla="*/ 390 h 1830"/>
                  <a:gd name="T58" fmla="*/ 480 w 540"/>
                  <a:gd name="T59" fmla="*/ 360 h 1830"/>
                  <a:gd name="T60" fmla="*/ 360 w 540"/>
                  <a:gd name="T61" fmla="*/ 630 h 1830"/>
                  <a:gd name="T62" fmla="*/ 90 w 540"/>
                  <a:gd name="T63" fmla="*/ 840 h 18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40" h="1830">
                    <a:moveTo>
                      <a:pt x="60" y="960"/>
                    </a:moveTo>
                    <a:lnTo>
                      <a:pt x="180" y="990"/>
                    </a:lnTo>
                    <a:lnTo>
                      <a:pt x="390" y="1080"/>
                    </a:lnTo>
                    <a:lnTo>
                      <a:pt x="330" y="930"/>
                    </a:lnTo>
                    <a:lnTo>
                      <a:pt x="0" y="1320"/>
                    </a:lnTo>
                    <a:lnTo>
                      <a:pt x="330" y="1560"/>
                    </a:lnTo>
                    <a:lnTo>
                      <a:pt x="450" y="1470"/>
                    </a:lnTo>
                    <a:lnTo>
                      <a:pt x="270" y="1350"/>
                    </a:lnTo>
                    <a:lnTo>
                      <a:pt x="210" y="1650"/>
                    </a:lnTo>
                    <a:lnTo>
                      <a:pt x="540" y="1740"/>
                    </a:lnTo>
                    <a:lnTo>
                      <a:pt x="420" y="1830"/>
                    </a:lnTo>
                    <a:lnTo>
                      <a:pt x="330" y="1560"/>
                    </a:lnTo>
                    <a:lnTo>
                      <a:pt x="510" y="1620"/>
                    </a:lnTo>
                    <a:lnTo>
                      <a:pt x="450" y="1470"/>
                    </a:lnTo>
                    <a:lnTo>
                      <a:pt x="420" y="1320"/>
                    </a:lnTo>
                    <a:lnTo>
                      <a:pt x="480" y="1200"/>
                    </a:lnTo>
                    <a:lnTo>
                      <a:pt x="270" y="1350"/>
                    </a:lnTo>
                    <a:lnTo>
                      <a:pt x="150" y="1290"/>
                    </a:lnTo>
                    <a:lnTo>
                      <a:pt x="330" y="1200"/>
                    </a:lnTo>
                    <a:lnTo>
                      <a:pt x="270" y="1140"/>
                    </a:lnTo>
                    <a:lnTo>
                      <a:pt x="390" y="1080"/>
                    </a:lnTo>
                    <a:lnTo>
                      <a:pt x="510" y="960"/>
                    </a:lnTo>
                    <a:lnTo>
                      <a:pt x="330" y="930"/>
                    </a:lnTo>
                    <a:lnTo>
                      <a:pt x="180" y="990"/>
                    </a:lnTo>
                    <a:lnTo>
                      <a:pt x="210" y="840"/>
                    </a:lnTo>
                    <a:lnTo>
                      <a:pt x="390" y="810"/>
                    </a:lnTo>
                    <a:lnTo>
                      <a:pt x="540" y="720"/>
                    </a:lnTo>
                    <a:lnTo>
                      <a:pt x="360" y="630"/>
                    </a:lnTo>
                    <a:lnTo>
                      <a:pt x="240" y="690"/>
                    </a:lnTo>
                    <a:lnTo>
                      <a:pt x="150" y="630"/>
                    </a:lnTo>
                    <a:lnTo>
                      <a:pt x="180" y="450"/>
                    </a:lnTo>
                    <a:lnTo>
                      <a:pt x="270" y="510"/>
                    </a:lnTo>
                    <a:lnTo>
                      <a:pt x="420" y="540"/>
                    </a:lnTo>
                    <a:lnTo>
                      <a:pt x="510" y="600"/>
                    </a:lnTo>
                    <a:lnTo>
                      <a:pt x="540" y="480"/>
                    </a:lnTo>
                    <a:lnTo>
                      <a:pt x="480" y="360"/>
                    </a:lnTo>
                    <a:lnTo>
                      <a:pt x="330" y="390"/>
                    </a:lnTo>
                    <a:lnTo>
                      <a:pt x="240" y="360"/>
                    </a:lnTo>
                    <a:lnTo>
                      <a:pt x="60" y="420"/>
                    </a:lnTo>
                    <a:lnTo>
                      <a:pt x="60" y="300"/>
                    </a:lnTo>
                    <a:lnTo>
                      <a:pt x="180" y="240"/>
                    </a:lnTo>
                    <a:lnTo>
                      <a:pt x="270" y="210"/>
                    </a:lnTo>
                    <a:lnTo>
                      <a:pt x="210" y="60"/>
                    </a:lnTo>
                    <a:lnTo>
                      <a:pt x="90" y="0"/>
                    </a:lnTo>
                    <a:lnTo>
                      <a:pt x="540" y="0"/>
                    </a:lnTo>
                    <a:lnTo>
                      <a:pt x="210" y="60"/>
                    </a:lnTo>
                    <a:lnTo>
                      <a:pt x="360" y="90"/>
                    </a:lnTo>
                    <a:lnTo>
                      <a:pt x="510" y="210"/>
                    </a:lnTo>
                    <a:lnTo>
                      <a:pt x="480" y="360"/>
                    </a:lnTo>
                    <a:lnTo>
                      <a:pt x="390" y="240"/>
                    </a:lnTo>
                    <a:lnTo>
                      <a:pt x="330" y="390"/>
                    </a:lnTo>
                    <a:lnTo>
                      <a:pt x="270" y="210"/>
                    </a:lnTo>
                    <a:lnTo>
                      <a:pt x="240" y="360"/>
                    </a:lnTo>
                    <a:lnTo>
                      <a:pt x="180" y="240"/>
                    </a:lnTo>
                    <a:lnTo>
                      <a:pt x="90" y="210"/>
                    </a:lnTo>
                    <a:lnTo>
                      <a:pt x="60" y="300"/>
                    </a:lnTo>
                    <a:lnTo>
                      <a:pt x="180" y="450"/>
                    </a:lnTo>
                    <a:lnTo>
                      <a:pt x="330" y="390"/>
                    </a:lnTo>
                    <a:lnTo>
                      <a:pt x="420" y="540"/>
                    </a:lnTo>
                    <a:lnTo>
                      <a:pt x="480" y="360"/>
                    </a:lnTo>
                    <a:lnTo>
                      <a:pt x="270" y="510"/>
                    </a:lnTo>
                    <a:lnTo>
                      <a:pt x="360" y="630"/>
                    </a:lnTo>
                    <a:lnTo>
                      <a:pt x="150" y="630"/>
                    </a:lnTo>
                    <a:lnTo>
                      <a:pt x="90" y="840"/>
                    </a:lnTo>
                    <a:lnTo>
                      <a:pt x="330" y="9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0" name="Freeform 2559">
                <a:extLst>
                  <a:ext uri="{FF2B5EF4-FFF2-40B4-BE49-F238E27FC236}">
                    <a16:creationId xmlns:a16="http://schemas.microsoft.com/office/drawing/2014/main" xmlns="" id="{5E52BFFC-5467-43BA-95A9-C2CA6B82EF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600"/>
                <a:ext cx="150" cy="420"/>
              </a:xfrm>
              <a:custGeom>
                <a:avLst/>
                <a:gdLst>
                  <a:gd name="T0" fmla="*/ 30 w 150"/>
                  <a:gd name="T1" fmla="*/ 270 h 420"/>
                  <a:gd name="T2" fmla="*/ 150 w 150"/>
                  <a:gd name="T3" fmla="*/ 420 h 420"/>
                  <a:gd name="T4" fmla="*/ 60 w 150"/>
                  <a:gd name="T5" fmla="*/ 0 h 420"/>
                  <a:gd name="T6" fmla="*/ 0 w 150"/>
                  <a:gd name="T7" fmla="*/ 90 h 420"/>
                  <a:gd name="T8" fmla="*/ 30 w 150"/>
                  <a:gd name="T9" fmla="*/ 27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0" h="420">
                    <a:moveTo>
                      <a:pt x="30" y="270"/>
                    </a:moveTo>
                    <a:lnTo>
                      <a:pt x="150" y="420"/>
                    </a:lnTo>
                    <a:lnTo>
                      <a:pt x="60" y="0"/>
                    </a:lnTo>
                    <a:lnTo>
                      <a:pt x="0" y="90"/>
                    </a:lnTo>
                    <a:lnTo>
                      <a:pt x="30" y="27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1" name="Freeform 2560">
                <a:extLst>
                  <a:ext uri="{FF2B5EF4-FFF2-40B4-BE49-F238E27FC236}">
                    <a16:creationId xmlns:a16="http://schemas.microsoft.com/office/drawing/2014/main" xmlns="" id="{6A5145CE-C936-467B-8592-377281CA5B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4" y="570"/>
                <a:ext cx="180" cy="420"/>
              </a:xfrm>
              <a:custGeom>
                <a:avLst/>
                <a:gdLst>
                  <a:gd name="T0" fmla="*/ 180 w 180"/>
                  <a:gd name="T1" fmla="*/ 300 h 420"/>
                  <a:gd name="T2" fmla="*/ 30 w 180"/>
                  <a:gd name="T3" fmla="*/ 180 h 420"/>
                  <a:gd name="T4" fmla="*/ 0 w 180"/>
                  <a:gd name="T5" fmla="*/ 330 h 420"/>
                  <a:gd name="T6" fmla="*/ 120 w 180"/>
                  <a:gd name="T7" fmla="*/ 420 h 420"/>
                  <a:gd name="T8" fmla="*/ 60 w 180"/>
                  <a:gd name="T9" fmla="*/ 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420">
                    <a:moveTo>
                      <a:pt x="180" y="300"/>
                    </a:moveTo>
                    <a:lnTo>
                      <a:pt x="30" y="180"/>
                    </a:lnTo>
                    <a:lnTo>
                      <a:pt x="0" y="330"/>
                    </a:lnTo>
                    <a:lnTo>
                      <a:pt x="120" y="420"/>
                    </a:lnTo>
                    <a:lnTo>
                      <a:pt x="6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2" name="Freeform 2561">
                <a:extLst>
                  <a:ext uri="{FF2B5EF4-FFF2-40B4-BE49-F238E27FC236}">
                    <a16:creationId xmlns:a16="http://schemas.microsoft.com/office/drawing/2014/main" xmlns="" id="{EB3D75FA-1D70-4E4F-947F-C210370B2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44" y="60"/>
                <a:ext cx="180" cy="240"/>
              </a:xfrm>
              <a:custGeom>
                <a:avLst/>
                <a:gdLst>
                  <a:gd name="T0" fmla="*/ 30 w 180"/>
                  <a:gd name="T1" fmla="*/ 240 h 240"/>
                  <a:gd name="T2" fmla="*/ 0 w 180"/>
                  <a:gd name="T3" fmla="*/ 90 h 240"/>
                  <a:gd name="T4" fmla="*/ 180 w 180"/>
                  <a:gd name="T5" fmla="*/ 0 h 240"/>
                  <a:gd name="T6" fmla="*/ 150 w 180"/>
                  <a:gd name="T7" fmla="*/ 210 h 240"/>
                  <a:gd name="T8" fmla="*/ 30 w 180"/>
                  <a:gd name="T9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240">
                    <a:moveTo>
                      <a:pt x="30" y="240"/>
                    </a:moveTo>
                    <a:lnTo>
                      <a:pt x="0" y="90"/>
                    </a:lnTo>
                    <a:lnTo>
                      <a:pt x="180" y="0"/>
                    </a:lnTo>
                    <a:lnTo>
                      <a:pt x="150" y="210"/>
                    </a:lnTo>
                    <a:lnTo>
                      <a:pt x="30" y="24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3" name="Line 2562">
                <a:extLst>
                  <a:ext uri="{FF2B5EF4-FFF2-40B4-BE49-F238E27FC236}">
                    <a16:creationId xmlns:a16="http://schemas.microsoft.com/office/drawing/2014/main" xmlns="" id="{DD6018AD-168D-4C85-BC07-8FB628C1DD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304" y="54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4" name="Freeform 2563">
                <a:extLst>
                  <a:ext uri="{FF2B5EF4-FFF2-40B4-BE49-F238E27FC236}">
                    <a16:creationId xmlns:a16="http://schemas.microsoft.com/office/drawing/2014/main" xmlns="" id="{5B7BE2A3-83D4-4830-824B-960D39008E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5" y="330"/>
                <a:ext cx="120" cy="210"/>
              </a:xfrm>
              <a:custGeom>
                <a:avLst/>
                <a:gdLst>
                  <a:gd name="T0" fmla="*/ 90 w 120"/>
                  <a:gd name="T1" fmla="*/ 0 h 210"/>
                  <a:gd name="T2" fmla="*/ 0 w 120"/>
                  <a:gd name="T3" fmla="*/ 210 h 210"/>
                  <a:gd name="T4" fmla="*/ 120 w 120"/>
                  <a:gd name="T5" fmla="*/ 180 h 210"/>
                  <a:gd name="T6" fmla="*/ 90 w 120"/>
                  <a:gd name="T7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0" h="210">
                    <a:moveTo>
                      <a:pt x="90" y="0"/>
                    </a:moveTo>
                    <a:lnTo>
                      <a:pt x="0" y="210"/>
                    </a:lnTo>
                    <a:lnTo>
                      <a:pt x="120" y="180"/>
                    </a:lnTo>
                    <a:lnTo>
                      <a:pt x="9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5" name="Freeform 2564">
                <a:extLst>
                  <a:ext uri="{FF2B5EF4-FFF2-40B4-BE49-F238E27FC236}">
                    <a16:creationId xmlns:a16="http://schemas.microsoft.com/office/drawing/2014/main" xmlns="" id="{BD658872-8E15-41ED-B928-62F507830F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240"/>
                <a:ext cx="480" cy="270"/>
              </a:xfrm>
              <a:custGeom>
                <a:avLst/>
                <a:gdLst>
                  <a:gd name="T0" fmla="*/ 0 w 480"/>
                  <a:gd name="T1" fmla="*/ 0 h 270"/>
                  <a:gd name="T2" fmla="*/ 90 w 480"/>
                  <a:gd name="T3" fmla="*/ 240 h 270"/>
                  <a:gd name="T4" fmla="*/ 300 w 480"/>
                  <a:gd name="T5" fmla="*/ 150 h 270"/>
                  <a:gd name="T6" fmla="*/ 480 w 480"/>
                  <a:gd name="T7" fmla="*/ 210 h 270"/>
                  <a:gd name="T8" fmla="*/ 270 w 480"/>
                  <a:gd name="T9" fmla="*/ 270 h 270"/>
                  <a:gd name="T10" fmla="*/ 120 w 480"/>
                  <a:gd name="T11" fmla="*/ 6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0" h="270">
                    <a:moveTo>
                      <a:pt x="0" y="0"/>
                    </a:moveTo>
                    <a:lnTo>
                      <a:pt x="90" y="240"/>
                    </a:lnTo>
                    <a:lnTo>
                      <a:pt x="300" y="150"/>
                    </a:lnTo>
                    <a:lnTo>
                      <a:pt x="480" y="210"/>
                    </a:lnTo>
                    <a:lnTo>
                      <a:pt x="270" y="270"/>
                    </a:lnTo>
                    <a:lnTo>
                      <a:pt x="12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6" name="Freeform 2565">
                <a:extLst>
                  <a:ext uri="{FF2B5EF4-FFF2-40B4-BE49-F238E27FC236}">
                    <a16:creationId xmlns:a16="http://schemas.microsoft.com/office/drawing/2014/main" xmlns="" id="{9A6B4293-4CF4-4B8C-AA07-D4912B8A7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60"/>
                <a:ext cx="1289" cy="300"/>
              </a:xfrm>
              <a:custGeom>
                <a:avLst/>
                <a:gdLst>
                  <a:gd name="T0" fmla="*/ 1169 w 1289"/>
                  <a:gd name="T1" fmla="*/ 210 h 300"/>
                  <a:gd name="T2" fmla="*/ 1169 w 1289"/>
                  <a:gd name="T3" fmla="*/ 0 h 300"/>
                  <a:gd name="T4" fmla="*/ 1049 w 1289"/>
                  <a:gd name="T5" fmla="*/ 90 h 300"/>
                  <a:gd name="T6" fmla="*/ 1169 w 1289"/>
                  <a:gd name="T7" fmla="*/ 210 h 300"/>
                  <a:gd name="T8" fmla="*/ 1289 w 1289"/>
                  <a:gd name="T9" fmla="*/ 60 h 300"/>
                  <a:gd name="T10" fmla="*/ 1259 w 1289"/>
                  <a:gd name="T11" fmla="*/ 240 h 300"/>
                  <a:gd name="T12" fmla="*/ 1169 w 1289"/>
                  <a:gd name="T13" fmla="*/ 0 h 300"/>
                  <a:gd name="T14" fmla="*/ 870 w 1289"/>
                  <a:gd name="T15" fmla="*/ 30 h 300"/>
                  <a:gd name="T16" fmla="*/ 780 w 1289"/>
                  <a:gd name="T17" fmla="*/ 240 h 300"/>
                  <a:gd name="T18" fmla="*/ 660 w 1289"/>
                  <a:gd name="T19" fmla="*/ 90 h 300"/>
                  <a:gd name="T20" fmla="*/ 450 w 1289"/>
                  <a:gd name="T21" fmla="*/ 90 h 300"/>
                  <a:gd name="T22" fmla="*/ 630 w 1289"/>
                  <a:gd name="T23" fmla="*/ 210 h 300"/>
                  <a:gd name="T24" fmla="*/ 390 w 1289"/>
                  <a:gd name="T25" fmla="*/ 180 h 300"/>
                  <a:gd name="T26" fmla="*/ 270 w 1289"/>
                  <a:gd name="T27" fmla="*/ 30 h 300"/>
                  <a:gd name="T28" fmla="*/ 210 w 1289"/>
                  <a:gd name="T29" fmla="*/ 150 h 300"/>
                  <a:gd name="T30" fmla="*/ 90 w 1289"/>
                  <a:gd name="T31" fmla="*/ 210 h 300"/>
                  <a:gd name="T32" fmla="*/ 0 w 1289"/>
                  <a:gd name="T33" fmla="*/ 60 h 300"/>
                  <a:gd name="T34" fmla="*/ 150 w 1289"/>
                  <a:gd name="T35" fmla="*/ 30 h 300"/>
                  <a:gd name="T36" fmla="*/ 150 w 1289"/>
                  <a:gd name="T37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89" h="300">
                    <a:moveTo>
                      <a:pt x="1169" y="210"/>
                    </a:moveTo>
                    <a:lnTo>
                      <a:pt x="1169" y="0"/>
                    </a:lnTo>
                    <a:lnTo>
                      <a:pt x="1049" y="90"/>
                    </a:lnTo>
                    <a:lnTo>
                      <a:pt x="1169" y="210"/>
                    </a:lnTo>
                    <a:lnTo>
                      <a:pt x="1289" y="60"/>
                    </a:lnTo>
                    <a:lnTo>
                      <a:pt x="1259" y="240"/>
                    </a:lnTo>
                    <a:lnTo>
                      <a:pt x="1169" y="0"/>
                    </a:lnTo>
                    <a:lnTo>
                      <a:pt x="870" y="30"/>
                    </a:lnTo>
                    <a:lnTo>
                      <a:pt x="780" y="240"/>
                    </a:lnTo>
                    <a:lnTo>
                      <a:pt x="660" y="90"/>
                    </a:lnTo>
                    <a:lnTo>
                      <a:pt x="450" y="90"/>
                    </a:lnTo>
                    <a:lnTo>
                      <a:pt x="630" y="210"/>
                    </a:lnTo>
                    <a:lnTo>
                      <a:pt x="390" y="180"/>
                    </a:lnTo>
                    <a:lnTo>
                      <a:pt x="270" y="30"/>
                    </a:lnTo>
                    <a:lnTo>
                      <a:pt x="210" y="150"/>
                    </a:lnTo>
                    <a:lnTo>
                      <a:pt x="90" y="210"/>
                    </a:lnTo>
                    <a:lnTo>
                      <a:pt x="0" y="60"/>
                    </a:lnTo>
                    <a:lnTo>
                      <a:pt x="150" y="30"/>
                    </a:lnTo>
                    <a:lnTo>
                      <a:pt x="15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7" name="Freeform 2566">
                <a:extLst>
                  <a:ext uri="{FF2B5EF4-FFF2-40B4-BE49-F238E27FC236}">
                    <a16:creationId xmlns:a16="http://schemas.microsoft.com/office/drawing/2014/main" xmlns="" id="{12EA988E-9BC0-48A9-9EAB-60C7550070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90"/>
                <a:ext cx="269" cy="270"/>
              </a:xfrm>
              <a:custGeom>
                <a:avLst/>
                <a:gdLst>
                  <a:gd name="T0" fmla="*/ 0 w 269"/>
                  <a:gd name="T1" fmla="*/ 0 h 270"/>
                  <a:gd name="T2" fmla="*/ 179 w 269"/>
                  <a:gd name="T3" fmla="*/ 60 h 270"/>
                  <a:gd name="T4" fmla="*/ 269 w 269"/>
                  <a:gd name="T5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69" h="270">
                    <a:moveTo>
                      <a:pt x="0" y="0"/>
                    </a:moveTo>
                    <a:lnTo>
                      <a:pt x="179" y="60"/>
                    </a:lnTo>
                    <a:lnTo>
                      <a:pt x="26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8" name="Freeform 2567">
                <a:extLst>
                  <a:ext uri="{FF2B5EF4-FFF2-40B4-BE49-F238E27FC236}">
                    <a16:creationId xmlns:a16="http://schemas.microsoft.com/office/drawing/2014/main" xmlns="" id="{AB8595E3-056D-4173-A70C-FAC903A16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5" y="30"/>
                <a:ext cx="360" cy="60"/>
              </a:xfrm>
              <a:custGeom>
                <a:avLst/>
                <a:gdLst>
                  <a:gd name="T0" fmla="*/ 360 w 360"/>
                  <a:gd name="T1" fmla="*/ 0 h 60"/>
                  <a:gd name="T2" fmla="*/ 150 w 360"/>
                  <a:gd name="T3" fmla="*/ 60 h 60"/>
                  <a:gd name="T4" fmla="*/ 0 w 360"/>
                  <a:gd name="T5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60">
                    <a:moveTo>
                      <a:pt x="360" y="0"/>
                    </a:moveTo>
                    <a:lnTo>
                      <a:pt x="150" y="6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79" name="Freeform 2568">
                <a:extLst>
                  <a:ext uri="{FF2B5EF4-FFF2-40B4-BE49-F238E27FC236}">
                    <a16:creationId xmlns:a16="http://schemas.microsoft.com/office/drawing/2014/main" xmlns="" id="{8C75A92E-C945-4E61-9166-3D532CED7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6" y="210"/>
                <a:ext cx="389" cy="300"/>
              </a:xfrm>
              <a:custGeom>
                <a:avLst/>
                <a:gdLst>
                  <a:gd name="T0" fmla="*/ 120 w 389"/>
                  <a:gd name="T1" fmla="*/ 150 h 300"/>
                  <a:gd name="T2" fmla="*/ 0 w 389"/>
                  <a:gd name="T3" fmla="*/ 90 h 300"/>
                  <a:gd name="T4" fmla="*/ 60 w 389"/>
                  <a:gd name="T5" fmla="*/ 300 h 300"/>
                  <a:gd name="T6" fmla="*/ 269 w 389"/>
                  <a:gd name="T7" fmla="*/ 120 h 300"/>
                  <a:gd name="T8" fmla="*/ 389 w 389"/>
                  <a:gd name="T9" fmla="*/ 180 h 300"/>
                  <a:gd name="T10" fmla="*/ 210 w 389"/>
                  <a:gd name="T11" fmla="*/ 0 h 300"/>
                  <a:gd name="T12" fmla="*/ 0 w 389"/>
                  <a:gd name="T13" fmla="*/ 9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9" h="300">
                    <a:moveTo>
                      <a:pt x="120" y="150"/>
                    </a:moveTo>
                    <a:lnTo>
                      <a:pt x="0" y="90"/>
                    </a:lnTo>
                    <a:lnTo>
                      <a:pt x="60" y="300"/>
                    </a:lnTo>
                    <a:lnTo>
                      <a:pt x="269" y="120"/>
                    </a:lnTo>
                    <a:lnTo>
                      <a:pt x="389" y="180"/>
                    </a:lnTo>
                    <a:lnTo>
                      <a:pt x="210" y="0"/>
                    </a:lnTo>
                    <a:lnTo>
                      <a:pt x="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0" name="Freeform 2569">
                <a:extLst>
                  <a:ext uri="{FF2B5EF4-FFF2-40B4-BE49-F238E27FC236}">
                    <a16:creationId xmlns:a16="http://schemas.microsoft.com/office/drawing/2014/main" xmlns="" id="{20E2414F-4B98-49AD-B172-A93047461A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6" y="60"/>
                <a:ext cx="149" cy="150"/>
              </a:xfrm>
              <a:custGeom>
                <a:avLst/>
                <a:gdLst>
                  <a:gd name="T0" fmla="*/ 0 w 149"/>
                  <a:gd name="T1" fmla="*/ 0 h 150"/>
                  <a:gd name="T2" fmla="*/ 90 w 149"/>
                  <a:gd name="T3" fmla="*/ 150 h 150"/>
                  <a:gd name="T4" fmla="*/ 149 w 149"/>
                  <a:gd name="T5" fmla="*/ 3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9" h="150">
                    <a:moveTo>
                      <a:pt x="0" y="0"/>
                    </a:moveTo>
                    <a:lnTo>
                      <a:pt x="90" y="150"/>
                    </a:lnTo>
                    <a:lnTo>
                      <a:pt x="149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1" name="Freeform 2570">
                <a:extLst>
                  <a:ext uri="{FF2B5EF4-FFF2-40B4-BE49-F238E27FC236}">
                    <a16:creationId xmlns:a16="http://schemas.microsoft.com/office/drawing/2014/main" xmlns="" id="{B760BAE8-C52B-4A17-A6A1-4E02DCEFC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6" y="210"/>
                <a:ext cx="1649" cy="1050"/>
              </a:xfrm>
              <a:custGeom>
                <a:avLst/>
                <a:gdLst>
                  <a:gd name="T0" fmla="*/ 0 w 1649"/>
                  <a:gd name="T1" fmla="*/ 0 h 1050"/>
                  <a:gd name="T2" fmla="*/ 179 w 1649"/>
                  <a:gd name="T3" fmla="*/ 30 h 1050"/>
                  <a:gd name="T4" fmla="*/ 299 w 1649"/>
                  <a:gd name="T5" fmla="*/ 120 h 1050"/>
                  <a:gd name="T6" fmla="*/ 269 w 1649"/>
                  <a:gd name="T7" fmla="*/ 240 h 1050"/>
                  <a:gd name="T8" fmla="*/ 479 w 1649"/>
                  <a:gd name="T9" fmla="*/ 180 h 1050"/>
                  <a:gd name="T10" fmla="*/ 449 w 1649"/>
                  <a:gd name="T11" fmla="*/ 300 h 1050"/>
                  <a:gd name="T12" fmla="*/ 269 w 1649"/>
                  <a:gd name="T13" fmla="*/ 240 h 1050"/>
                  <a:gd name="T14" fmla="*/ 359 w 1649"/>
                  <a:gd name="T15" fmla="*/ 360 h 1050"/>
                  <a:gd name="T16" fmla="*/ 449 w 1649"/>
                  <a:gd name="T17" fmla="*/ 300 h 1050"/>
                  <a:gd name="T18" fmla="*/ 839 w 1649"/>
                  <a:gd name="T19" fmla="*/ 240 h 1050"/>
                  <a:gd name="T20" fmla="*/ 749 w 1649"/>
                  <a:gd name="T21" fmla="*/ 330 h 1050"/>
                  <a:gd name="T22" fmla="*/ 689 w 1649"/>
                  <a:gd name="T23" fmla="*/ 420 h 1050"/>
                  <a:gd name="T24" fmla="*/ 539 w 1649"/>
                  <a:gd name="T25" fmla="*/ 510 h 1050"/>
                  <a:gd name="T26" fmla="*/ 539 w 1649"/>
                  <a:gd name="T27" fmla="*/ 660 h 1050"/>
                  <a:gd name="T28" fmla="*/ 659 w 1649"/>
                  <a:gd name="T29" fmla="*/ 570 h 1050"/>
                  <a:gd name="T30" fmla="*/ 809 w 1649"/>
                  <a:gd name="T31" fmla="*/ 450 h 1050"/>
                  <a:gd name="T32" fmla="*/ 1049 w 1649"/>
                  <a:gd name="T33" fmla="*/ 300 h 1050"/>
                  <a:gd name="T34" fmla="*/ 1139 w 1649"/>
                  <a:gd name="T35" fmla="*/ 360 h 1050"/>
                  <a:gd name="T36" fmla="*/ 1229 w 1649"/>
                  <a:gd name="T37" fmla="*/ 480 h 1050"/>
                  <a:gd name="T38" fmla="*/ 1319 w 1649"/>
                  <a:gd name="T39" fmla="*/ 360 h 1050"/>
                  <a:gd name="T40" fmla="*/ 1139 w 1649"/>
                  <a:gd name="T41" fmla="*/ 360 h 1050"/>
                  <a:gd name="T42" fmla="*/ 1139 w 1649"/>
                  <a:gd name="T43" fmla="*/ 511 h 1050"/>
                  <a:gd name="T44" fmla="*/ 1049 w 1649"/>
                  <a:gd name="T45" fmla="*/ 480 h 1050"/>
                  <a:gd name="T46" fmla="*/ 1019 w 1649"/>
                  <a:gd name="T47" fmla="*/ 570 h 1050"/>
                  <a:gd name="T48" fmla="*/ 1019 w 1649"/>
                  <a:gd name="T49" fmla="*/ 810 h 1050"/>
                  <a:gd name="T50" fmla="*/ 1139 w 1649"/>
                  <a:gd name="T51" fmla="*/ 720 h 1050"/>
                  <a:gd name="T52" fmla="*/ 1227 w 1649"/>
                  <a:gd name="T53" fmla="*/ 812 h 1050"/>
                  <a:gd name="T54" fmla="*/ 1199 w 1649"/>
                  <a:gd name="T55" fmla="*/ 630 h 1050"/>
                  <a:gd name="T56" fmla="*/ 1289 w 1649"/>
                  <a:gd name="T57" fmla="*/ 570 h 1050"/>
                  <a:gd name="T58" fmla="*/ 1409 w 1649"/>
                  <a:gd name="T59" fmla="*/ 630 h 1050"/>
                  <a:gd name="T60" fmla="*/ 1289 w 1649"/>
                  <a:gd name="T61" fmla="*/ 690 h 1050"/>
                  <a:gd name="T62" fmla="*/ 1379 w 1649"/>
                  <a:gd name="T63" fmla="*/ 750 h 1050"/>
                  <a:gd name="T64" fmla="*/ 1649 w 1649"/>
                  <a:gd name="T65" fmla="*/ 720 h 1050"/>
                  <a:gd name="T66" fmla="*/ 1529 w 1649"/>
                  <a:gd name="T67" fmla="*/ 780 h 1050"/>
                  <a:gd name="T68" fmla="*/ 1559 w 1649"/>
                  <a:gd name="T69" fmla="*/ 1050 h 1050"/>
                  <a:gd name="T70" fmla="*/ 1349 w 1649"/>
                  <a:gd name="T71" fmla="*/ 870 h 10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649" h="1050">
                    <a:moveTo>
                      <a:pt x="0" y="0"/>
                    </a:moveTo>
                    <a:lnTo>
                      <a:pt x="179" y="30"/>
                    </a:lnTo>
                    <a:lnTo>
                      <a:pt x="299" y="120"/>
                    </a:lnTo>
                    <a:lnTo>
                      <a:pt x="269" y="240"/>
                    </a:lnTo>
                    <a:lnTo>
                      <a:pt x="479" y="180"/>
                    </a:lnTo>
                    <a:lnTo>
                      <a:pt x="449" y="300"/>
                    </a:lnTo>
                    <a:lnTo>
                      <a:pt x="269" y="240"/>
                    </a:lnTo>
                    <a:lnTo>
                      <a:pt x="359" y="360"/>
                    </a:lnTo>
                    <a:lnTo>
                      <a:pt x="449" y="300"/>
                    </a:lnTo>
                    <a:lnTo>
                      <a:pt x="839" y="240"/>
                    </a:lnTo>
                    <a:lnTo>
                      <a:pt x="749" y="330"/>
                    </a:lnTo>
                    <a:lnTo>
                      <a:pt x="689" y="420"/>
                    </a:lnTo>
                    <a:lnTo>
                      <a:pt x="539" y="510"/>
                    </a:lnTo>
                    <a:lnTo>
                      <a:pt x="539" y="660"/>
                    </a:lnTo>
                    <a:lnTo>
                      <a:pt x="659" y="570"/>
                    </a:lnTo>
                    <a:lnTo>
                      <a:pt x="809" y="450"/>
                    </a:lnTo>
                    <a:lnTo>
                      <a:pt x="1049" y="300"/>
                    </a:lnTo>
                    <a:lnTo>
                      <a:pt x="1139" y="360"/>
                    </a:lnTo>
                    <a:lnTo>
                      <a:pt x="1229" y="480"/>
                    </a:lnTo>
                    <a:lnTo>
                      <a:pt x="1319" y="360"/>
                    </a:lnTo>
                    <a:lnTo>
                      <a:pt x="1139" y="360"/>
                    </a:lnTo>
                    <a:lnTo>
                      <a:pt x="1139" y="511"/>
                    </a:lnTo>
                    <a:lnTo>
                      <a:pt x="1049" y="480"/>
                    </a:lnTo>
                    <a:lnTo>
                      <a:pt x="1019" y="570"/>
                    </a:lnTo>
                    <a:lnTo>
                      <a:pt x="1019" y="810"/>
                    </a:lnTo>
                    <a:lnTo>
                      <a:pt x="1139" y="720"/>
                    </a:lnTo>
                    <a:lnTo>
                      <a:pt x="1227" y="812"/>
                    </a:lnTo>
                    <a:lnTo>
                      <a:pt x="1199" y="630"/>
                    </a:lnTo>
                    <a:lnTo>
                      <a:pt x="1289" y="570"/>
                    </a:lnTo>
                    <a:lnTo>
                      <a:pt x="1409" y="630"/>
                    </a:lnTo>
                    <a:lnTo>
                      <a:pt x="1289" y="690"/>
                    </a:lnTo>
                    <a:lnTo>
                      <a:pt x="1379" y="750"/>
                    </a:lnTo>
                    <a:lnTo>
                      <a:pt x="1649" y="720"/>
                    </a:lnTo>
                    <a:lnTo>
                      <a:pt x="1529" y="780"/>
                    </a:lnTo>
                    <a:lnTo>
                      <a:pt x="1559" y="1050"/>
                    </a:lnTo>
                    <a:lnTo>
                      <a:pt x="1349" y="8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2" name="Freeform 2571">
                <a:extLst>
                  <a:ext uri="{FF2B5EF4-FFF2-40B4-BE49-F238E27FC236}">
                    <a16:creationId xmlns:a16="http://schemas.microsoft.com/office/drawing/2014/main" xmlns="" id="{F5ECA01B-A71B-4838-898C-7FA4AAC48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5" y="300"/>
                <a:ext cx="270" cy="210"/>
              </a:xfrm>
              <a:custGeom>
                <a:avLst/>
                <a:gdLst>
                  <a:gd name="T0" fmla="*/ 120 w 270"/>
                  <a:gd name="T1" fmla="*/ 0 h 210"/>
                  <a:gd name="T2" fmla="*/ 270 w 270"/>
                  <a:gd name="T3" fmla="*/ 60 h 210"/>
                  <a:gd name="T4" fmla="*/ 0 w 270"/>
                  <a:gd name="T5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210">
                    <a:moveTo>
                      <a:pt x="120" y="0"/>
                    </a:moveTo>
                    <a:lnTo>
                      <a:pt x="270" y="6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3" name="Freeform 2572">
                <a:extLst>
                  <a:ext uri="{FF2B5EF4-FFF2-40B4-BE49-F238E27FC236}">
                    <a16:creationId xmlns:a16="http://schemas.microsoft.com/office/drawing/2014/main" xmlns="" id="{491EBD2A-E5CE-484B-9965-9138AB4B35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5" y="360"/>
                <a:ext cx="180" cy="90"/>
              </a:xfrm>
              <a:custGeom>
                <a:avLst/>
                <a:gdLst>
                  <a:gd name="T0" fmla="*/ 120 w 180"/>
                  <a:gd name="T1" fmla="*/ 90 h 90"/>
                  <a:gd name="T2" fmla="*/ 0 w 180"/>
                  <a:gd name="T3" fmla="*/ 0 h 90"/>
                  <a:gd name="T4" fmla="*/ 180 w 180"/>
                  <a:gd name="T5" fmla="*/ 0 h 90"/>
                  <a:gd name="T6" fmla="*/ 120 w 180"/>
                  <a:gd name="T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90">
                    <a:moveTo>
                      <a:pt x="120" y="90"/>
                    </a:moveTo>
                    <a:lnTo>
                      <a:pt x="0" y="0"/>
                    </a:lnTo>
                    <a:lnTo>
                      <a:pt x="180" y="0"/>
                    </a:lnTo>
                    <a:lnTo>
                      <a:pt x="120" y="9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4" name="Freeform 2573">
                <a:extLst>
                  <a:ext uri="{FF2B5EF4-FFF2-40B4-BE49-F238E27FC236}">
                    <a16:creationId xmlns:a16="http://schemas.microsoft.com/office/drawing/2014/main" xmlns="" id="{80C0CC92-850E-42D6-ABF4-DC988BC6FE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5" y="30"/>
                <a:ext cx="210" cy="150"/>
              </a:xfrm>
              <a:custGeom>
                <a:avLst/>
                <a:gdLst>
                  <a:gd name="T0" fmla="*/ 120 w 210"/>
                  <a:gd name="T1" fmla="*/ 60 h 150"/>
                  <a:gd name="T2" fmla="*/ 210 w 210"/>
                  <a:gd name="T3" fmla="*/ 90 h 150"/>
                  <a:gd name="T4" fmla="*/ 0 w 210"/>
                  <a:gd name="T5" fmla="*/ 150 h 150"/>
                  <a:gd name="T6" fmla="*/ 0 w 210"/>
                  <a:gd name="T7" fmla="*/ 0 h 150"/>
                  <a:gd name="T8" fmla="*/ 120 w 210"/>
                  <a:gd name="T9" fmla="*/ 6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0" h="150">
                    <a:moveTo>
                      <a:pt x="120" y="60"/>
                    </a:moveTo>
                    <a:lnTo>
                      <a:pt x="210" y="90"/>
                    </a:lnTo>
                    <a:lnTo>
                      <a:pt x="0" y="150"/>
                    </a:lnTo>
                    <a:lnTo>
                      <a:pt x="0" y="0"/>
                    </a:lnTo>
                    <a:lnTo>
                      <a:pt x="120" y="6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5" name="Line 2574">
                <a:extLst>
                  <a:ext uri="{FF2B5EF4-FFF2-40B4-BE49-F238E27FC236}">
                    <a16:creationId xmlns:a16="http://schemas.microsoft.com/office/drawing/2014/main" xmlns="" id="{E7EF79C8-28F4-4FBE-87AB-BADAB398C1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385" y="15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6" name="Freeform 2575">
                <a:extLst>
                  <a:ext uri="{FF2B5EF4-FFF2-40B4-BE49-F238E27FC236}">
                    <a16:creationId xmlns:a16="http://schemas.microsoft.com/office/drawing/2014/main" xmlns="" id="{017E3464-3FE4-4F2E-9EF7-BD8E66D07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6" y="30"/>
                <a:ext cx="2398" cy="390"/>
              </a:xfrm>
              <a:custGeom>
                <a:avLst/>
                <a:gdLst>
                  <a:gd name="T0" fmla="*/ 509 w 2398"/>
                  <a:gd name="T1" fmla="*/ 60 h 390"/>
                  <a:gd name="T2" fmla="*/ 419 w 2398"/>
                  <a:gd name="T3" fmla="*/ 120 h 390"/>
                  <a:gd name="T4" fmla="*/ 239 w 2398"/>
                  <a:gd name="T5" fmla="*/ 60 h 390"/>
                  <a:gd name="T6" fmla="*/ 90 w 2398"/>
                  <a:gd name="T7" fmla="*/ 30 h 390"/>
                  <a:gd name="T8" fmla="*/ 0 w 2398"/>
                  <a:gd name="T9" fmla="*/ 120 h 390"/>
                  <a:gd name="T10" fmla="*/ 180 w 2398"/>
                  <a:gd name="T11" fmla="*/ 180 h 390"/>
                  <a:gd name="T12" fmla="*/ 90 w 2398"/>
                  <a:gd name="T13" fmla="*/ 330 h 390"/>
                  <a:gd name="T14" fmla="*/ 239 w 2398"/>
                  <a:gd name="T15" fmla="*/ 300 h 390"/>
                  <a:gd name="T16" fmla="*/ 239 w 2398"/>
                  <a:gd name="T17" fmla="*/ 60 h 390"/>
                  <a:gd name="T18" fmla="*/ 359 w 2398"/>
                  <a:gd name="T19" fmla="*/ 210 h 390"/>
                  <a:gd name="T20" fmla="*/ 359 w 2398"/>
                  <a:gd name="T21" fmla="*/ 360 h 390"/>
                  <a:gd name="T22" fmla="*/ 479 w 2398"/>
                  <a:gd name="T23" fmla="*/ 300 h 390"/>
                  <a:gd name="T24" fmla="*/ 419 w 2398"/>
                  <a:gd name="T25" fmla="*/ 120 h 390"/>
                  <a:gd name="T26" fmla="*/ 509 w 2398"/>
                  <a:gd name="T27" fmla="*/ 180 h 390"/>
                  <a:gd name="T28" fmla="*/ 509 w 2398"/>
                  <a:gd name="T29" fmla="*/ 60 h 390"/>
                  <a:gd name="T30" fmla="*/ 629 w 2398"/>
                  <a:gd name="T31" fmla="*/ 30 h 390"/>
                  <a:gd name="T32" fmla="*/ 719 w 2398"/>
                  <a:gd name="T33" fmla="*/ 0 h 390"/>
                  <a:gd name="T34" fmla="*/ 629 w 2398"/>
                  <a:gd name="T35" fmla="*/ 120 h 390"/>
                  <a:gd name="T36" fmla="*/ 719 w 2398"/>
                  <a:gd name="T37" fmla="*/ 150 h 390"/>
                  <a:gd name="T38" fmla="*/ 599 w 2398"/>
                  <a:gd name="T39" fmla="*/ 240 h 390"/>
                  <a:gd name="T40" fmla="*/ 659 w 2398"/>
                  <a:gd name="T41" fmla="*/ 360 h 390"/>
                  <a:gd name="T42" fmla="*/ 749 w 2398"/>
                  <a:gd name="T43" fmla="*/ 270 h 390"/>
                  <a:gd name="T44" fmla="*/ 839 w 2398"/>
                  <a:gd name="T45" fmla="*/ 60 h 390"/>
                  <a:gd name="T46" fmla="*/ 869 w 2398"/>
                  <a:gd name="T47" fmla="*/ 210 h 390"/>
                  <a:gd name="T48" fmla="*/ 929 w 2398"/>
                  <a:gd name="T49" fmla="*/ 90 h 390"/>
                  <a:gd name="T50" fmla="*/ 899 w 2398"/>
                  <a:gd name="T51" fmla="*/ 330 h 390"/>
                  <a:gd name="T52" fmla="*/ 1019 w 2398"/>
                  <a:gd name="T53" fmla="*/ 240 h 390"/>
                  <a:gd name="T54" fmla="*/ 1079 w 2398"/>
                  <a:gd name="T55" fmla="*/ 330 h 390"/>
                  <a:gd name="T56" fmla="*/ 1139 w 2398"/>
                  <a:gd name="T57" fmla="*/ 180 h 390"/>
                  <a:gd name="T58" fmla="*/ 1079 w 2398"/>
                  <a:gd name="T59" fmla="*/ 60 h 390"/>
                  <a:gd name="T60" fmla="*/ 1199 w 2398"/>
                  <a:gd name="T61" fmla="*/ 60 h 390"/>
                  <a:gd name="T62" fmla="*/ 1319 w 2398"/>
                  <a:gd name="T63" fmla="*/ 0 h 390"/>
                  <a:gd name="T64" fmla="*/ 1319 w 2398"/>
                  <a:gd name="T65" fmla="*/ 210 h 390"/>
                  <a:gd name="T66" fmla="*/ 1199 w 2398"/>
                  <a:gd name="T67" fmla="*/ 300 h 390"/>
                  <a:gd name="T68" fmla="*/ 1319 w 2398"/>
                  <a:gd name="T69" fmla="*/ 360 h 390"/>
                  <a:gd name="T70" fmla="*/ 1439 w 2398"/>
                  <a:gd name="T71" fmla="*/ 270 h 390"/>
                  <a:gd name="T72" fmla="*/ 1379 w 2398"/>
                  <a:gd name="T73" fmla="*/ 120 h 390"/>
                  <a:gd name="T74" fmla="*/ 1469 w 2398"/>
                  <a:gd name="T75" fmla="*/ 60 h 390"/>
                  <a:gd name="T76" fmla="*/ 1589 w 2398"/>
                  <a:gd name="T77" fmla="*/ 120 h 390"/>
                  <a:gd name="T78" fmla="*/ 1559 w 2398"/>
                  <a:gd name="T79" fmla="*/ 240 h 390"/>
                  <a:gd name="T80" fmla="*/ 1619 w 2398"/>
                  <a:gd name="T81" fmla="*/ 360 h 390"/>
                  <a:gd name="T82" fmla="*/ 1709 w 2398"/>
                  <a:gd name="T83" fmla="*/ 270 h 390"/>
                  <a:gd name="T84" fmla="*/ 1679 w 2398"/>
                  <a:gd name="T85" fmla="*/ 150 h 390"/>
                  <a:gd name="T86" fmla="*/ 1679 w 2398"/>
                  <a:gd name="T87" fmla="*/ 0 h 390"/>
                  <a:gd name="T88" fmla="*/ 1799 w 2398"/>
                  <a:gd name="T89" fmla="*/ 60 h 390"/>
                  <a:gd name="T90" fmla="*/ 1829 w 2398"/>
                  <a:gd name="T91" fmla="*/ 210 h 390"/>
                  <a:gd name="T92" fmla="*/ 1978 w 2398"/>
                  <a:gd name="T93" fmla="*/ 120 h 390"/>
                  <a:gd name="T94" fmla="*/ 1948 w 2398"/>
                  <a:gd name="T95" fmla="*/ 240 h 390"/>
                  <a:gd name="T96" fmla="*/ 1888 w 2398"/>
                  <a:gd name="T97" fmla="*/ 360 h 390"/>
                  <a:gd name="T98" fmla="*/ 2068 w 2398"/>
                  <a:gd name="T99" fmla="*/ 330 h 390"/>
                  <a:gd name="T100" fmla="*/ 2248 w 2398"/>
                  <a:gd name="T101" fmla="*/ 390 h 390"/>
                  <a:gd name="T102" fmla="*/ 2398 w 2398"/>
                  <a:gd name="T103" fmla="*/ 270 h 390"/>
                  <a:gd name="T104" fmla="*/ 2278 w 2398"/>
                  <a:gd name="T105" fmla="*/ 240 h 390"/>
                  <a:gd name="T106" fmla="*/ 2368 w 2398"/>
                  <a:gd name="T107" fmla="*/ 12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98" h="390">
                    <a:moveTo>
                      <a:pt x="509" y="60"/>
                    </a:moveTo>
                    <a:lnTo>
                      <a:pt x="419" y="120"/>
                    </a:lnTo>
                    <a:lnTo>
                      <a:pt x="239" y="60"/>
                    </a:lnTo>
                    <a:lnTo>
                      <a:pt x="90" y="30"/>
                    </a:lnTo>
                    <a:lnTo>
                      <a:pt x="0" y="120"/>
                    </a:lnTo>
                    <a:lnTo>
                      <a:pt x="180" y="180"/>
                    </a:lnTo>
                    <a:lnTo>
                      <a:pt x="90" y="330"/>
                    </a:lnTo>
                    <a:lnTo>
                      <a:pt x="239" y="300"/>
                    </a:lnTo>
                    <a:lnTo>
                      <a:pt x="239" y="60"/>
                    </a:lnTo>
                    <a:lnTo>
                      <a:pt x="359" y="210"/>
                    </a:lnTo>
                    <a:lnTo>
                      <a:pt x="359" y="360"/>
                    </a:lnTo>
                    <a:lnTo>
                      <a:pt x="479" y="300"/>
                    </a:lnTo>
                    <a:lnTo>
                      <a:pt x="419" y="120"/>
                    </a:lnTo>
                    <a:lnTo>
                      <a:pt x="509" y="180"/>
                    </a:lnTo>
                    <a:lnTo>
                      <a:pt x="509" y="60"/>
                    </a:lnTo>
                    <a:lnTo>
                      <a:pt x="629" y="30"/>
                    </a:lnTo>
                    <a:lnTo>
                      <a:pt x="719" y="0"/>
                    </a:lnTo>
                    <a:lnTo>
                      <a:pt x="629" y="120"/>
                    </a:lnTo>
                    <a:lnTo>
                      <a:pt x="719" y="150"/>
                    </a:lnTo>
                    <a:lnTo>
                      <a:pt x="599" y="240"/>
                    </a:lnTo>
                    <a:lnTo>
                      <a:pt x="659" y="360"/>
                    </a:lnTo>
                    <a:lnTo>
                      <a:pt x="749" y="270"/>
                    </a:lnTo>
                    <a:lnTo>
                      <a:pt x="839" y="60"/>
                    </a:lnTo>
                    <a:lnTo>
                      <a:pt x="869" y="210"/>
                    </a:lnTo>
                    <a:lnTo>
                      <a:pt x="929" y="90"/>
                    </a:lnTo>
                    <a:lnTo>
                      <a:pt x="899" y="330"/>
                    </a:lnTo>
                    <a:lnTo>
                      <a:pt x="1019" y="240"/>
                    </a:lnTo>
                    <a:lnTo>
                      <a:pt x="1079" y="330"/>
                    </a:lnTo>
                    <a:lnTo>
                      <a:pt x="1139" y="180"/>
                    </a:lnTo>
                    <a:lnTo>
                      <a:pt x="1079" y="60"/>
                    </a:lnTo>
                    <a:lnTo>
                      <a:pt x="1199" y="60"/>
                    </a:lnTo>
                    <a:lnTo>
                      <a:pt x="1319" y="0"/>
                    </a:lnTo>
                    <a:lnTo>
                      <a:pt x="1319" y="210"/>
                    </a:lnTo>
                    <a:lnTo>
                      <a:pt x="1199" y="300"/>
                    </a:lnTo>
                    <a:lnTo>
                      <a:pt x="1319" y="360"/>
                    </a:lnTo>
                    <a:lnTo>
                      <a:pt x="1439" y="270"/>
                    </a:lnTo>
                    <a:lnTo>
                      <a:pt x="1379" y="120"/>
                    </a:lnTo>
                    <a:lnTo>
                      <a:pt x="1469" y="60"/>
                    </a:lnTo>
                    <a:lnTo>
                      <a:pt x="1589" y="120"/>
                    </a:lnTo>
                    <a:lnTo>
                      <a:pt x="1559" y="240"/>
                    </a:lnTo>
                    <a:lnTo>
                      <a:pt x="1619" y="360"/>
                    </a:lnTo>
                    <a:lnTo>
                      <a:pt x="1709" y="270"/>
                    </a:lnTo>
                    <a:lnTo>
                      <a:pt x="1679" y="150"/>
                    </a:lnTo>
                    <a:lnTo>
                      <a:pt x="1679" y="0"/>
                    </a:lnTo>
                    <a:lnTo>
                      <a:pt x="1799" y="60"/>
                    </a:lnTo>
                    <a:lnTo>
                      <a:pt x="1829" y="210"/>
                    </a:lnTo>
                    <a:lnTo>
                      <a:pt x="1978" y="120"/>
                    </a:lnTo>
                    <a:lnTo>
                      <a:pt x="1948" y="240"/>
                    </a:lnTo>
                    <a:lnTo>
                      <a:pt x="1888" y="360"/>
                    </a:lnTo>
                    <a:lnTo>
                      <a:pt x="2068" y="330"/>
                    </a:lnTo>
                    <a:lnTo>
                      <a:pt x="2248" y="390"/>
                    </a:lnTo>
                    <a:lnTo>
                      <a:pt x="2398" y="270"/>
                    </a:lnTo>
                    <a:lnTo>
                      <a:pt x="2278" y="240"/>
                    </a:lnTo>
                    <a:lnTo>
                      <a:pt x="2368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7" name="Line 2576">
                <a:extLst>
                  <a:ext uri="{FF2B5EF4-FFF2-40B4-BE49-F238E27FC236}">
                    <a16:creationId xmlns:a16="http://schemas.microsoft.com/office/drawing/2014/main" xmlns="" id="{8DBF2DF5-1590-440E-A50F-C4126532EE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35" y="150"/>
                <a:ext cx="60" cy="9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8" name="Freeform 2577">
                <a:extLst>
                  <a:ext uri="{FF2B5EF4-FFF2-40B4-BE49-F238E27FC236}">
                    <a16:creationId xmlns:a16="http://schemas.microsoft.com/office/drawing/2014/main" xmlns="" id="{C65A8C78-B657-4918-82D9-4BF9B381C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5" y="210"/>
                <a:ext cx="180" cy="360"/>
              </a:xfrm>
              <a:custGeom>
                <a:avLst/>
                <a:gdLst>
                  <a:gd name="T0" fmla="*/ 180 w 180"/>
                  <a:gd name="T1" fmla="*/ 180 h 360"/>
                  <a:gd name="T2" fmla="*/ 0 w 180"/>
                  <a:gd name="T3" fmla="*/ 120 h 360"/>
                  <a:gd name="T4" fmla="*/ 30 w 180"/>
                  <a:gd name="T5" fmla="*/ 0 h 360"/>
                  <a:gd name="T6" fmla="*/ 120 w 180"/>
                  <a:gd name="T7" fmla="*/ 60 h 360"/>
                  <a:gd name="T8" fmla="*/ 60 w 180"/>
                  <a:gd name="T9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360">
                    <a:moveTo>
                      <a:pt x="180" y="180"/>
                    </a:moveTo>
                    <a:lnTo>
                      <a:pt x="0" y="120"/>
                    </a:lnTo>
                    <a:lnTo>
                      <a:pt x="30" y="0"/>
                    </a:lnTo>
                    <a:lnTo>
                      <a:pt x="120" y="60"/>
                    </a:lnTo>
                    <a:lnTo>
                      <a:pt x="60" y="3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89" name="Line 2578">
                <a:extLst>
                  <a:ext uri="{FF2B5EF4-FFF2-40B4-BE49-F238E27FC236}">
                    <a16:creationId xmlns:a16="http://schemas.microsoft.com/office/drawing/2014/main" xmlns="" id="{41AD668A-7D9D-45E3-AE5B-9C587F264E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35" y="390"/>
                <a:ext cx="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90" name="Freeform 2579">
                <a:extLst>
                  <a:ext uri="{FF2B5EF4-FFF2-40B4-BE49-F238E27FC236}">
                    <a16:creationId xmlns:a16="http://schemas.microsoft.com/office/drawing/2014/main" xmlns="" id="{FE0ED69F-107E-45EA-9B41-DB628022BB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" y="300"/>
                <a:ext cx="180" cy="330"/>
              </a:xfrm>
              <a:custGeom>
                <a:avLst/>
                <a:gdLst>
                  <a:gd name="T0" fmla="*/ 180 w 180"/>
                  <a:gd name="T1" fmla="*/ 240 h 330"/>
                  <a:gd name="T2" fmla="*/ 0 w 180"/>
                  <a:gd name="T3" fmla="*/ 0 h 330"/>
                  <a:gd name="T4" fmla="*/ 120 w 180"/>
                  <a:gd name="T5" fmla="*/ 33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330">
                    <a:moveTo>
                      <a:pt x="180" y="240"/>
                    </a:moveTo>
                    <a:lnTo>
                      <a:pt x="0" y="0"/>
                    </a:lnTo>
                    <a:lnTo>
                      <a:pt x="120" y="3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91" name="Line 2580">
                <a:extLst>
                  <a:ext uri="{FF2B5EF4-FFF2-40B4-BE49-F238E27FC236}">
                    <a16:creationId xmlns:a16="http://schemas.microsoft.com/office/drawing/2014/main" xmlns="" id="{9B4AE8E5-A80D-4ACB-A0D3-298B880940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5" y="180"/>
                <a:ext cx="3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grpSp>
          <p:nvGrpSpPr>
            <p:cNvPr id="2605" name="Group 2782">
              <a:extLst>
                <a:ext uri="{FF2B5EF4-FFF2-40B4-BE49-F238E27FC236}">
                  <a16:creationId xmlns:a16="http://schemas.microsoft.com/office/drawing/2014/main" xmlns="" id="{A556337D-0371-43B3-996A-8EDCA23E7E4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46" y="0"/>
              <a:ext cx="3268" cy="3210"/>
              <a:chOff x="1246" y="0"/>
              <a:chExt cx="3268" cy="3210"/>
            </a:xfrm>
          </p:grpSpPr>
          <p:sp>
            <p:nvSpPr>
              <p:cNvPr id="2992" name="Freeform 2582">
                <a:extLst>
                  <a:ext uri="{FF2B5EF4-FFF2-40B4-BE49-F238E27FC236}">
                    <a16:creationId xmlns:a16="http://schemas.microsoft.com/office/drawing/2014/main" xmlns="" id="{11A3552C-3620-4963-A46F-DE2C924C5D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90"/>
                <a:ext cx="180" cy="240"/>
              </a:xfrm>
              <a:custGeom>
                <a:avLst/>
                <a:gdLst>
                  <a:gd name="T0" fmla="*/ 180 w 180"/>
                  <a:gd name="T1" fmla="*/ 0 h 240"/>
                  <a:gd name="T2" fmla="*/ 180 w 180"/>
                  <a:gd name="T3" fmla="*/ 240 h 240"/>
                  <a:gd name="T4" fmla="*/ 0 w 180"/>
                  <a:gd name="T5" fmla="*/ 18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240">
                    <a:moveTo>
                      <a:pt x="180" y="0"/>
                    </a:moveTo>
                    <a:lnTo>
                      <a:pt x="180" y="240"/>
                    </a:lnTo>
                    <a:lnTo>
                      <a:pt x="0" y="18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3" name="Freeform 2583">
                <a:extLst>
                  <a:ext uri="{FF2B5EF4-FFF2-40B4-BE49-F238E27FC236}">
                    <a16:creationId xmlns:a16="http://schemas.microsoft.com/office/drawing/2014/main" xmlns="" id="{36185F14-2C67-45D8-88A4-FA649636A9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20"/>
                <a:ext cx="450" cy="90"/>
              </a:xfrm>
              <a:custGeom>
                <a:avLst/>
                <a:gdLst>
                  <a:gd name="T0" fmla="*/ 0 w 450"/>
                  <a:gd name="T1" fmla="*/ 0 h 90"/>
                  <a:gd name="T2" fmla="*/ 210 w 450"/>
                  <a:gd name="T3" fmla="*/ 90 h 90"/>
                  <a:gd name="T4" fmla="*/ 450 w 450"/>
                  <a:gd name="T5" fmla="*/ 3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50" h="90">
                    <a:moveTo>
                      <a:pt x="0" y="0"/>
                    </a:moveTo>
                    <a:lnTo>
                      <a:pt x="210" y="90"/>
                    </a:lnTo>
                    <a:lnTo>
                      <a:pt x="45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4" name="Freeform 2584">
                <a:extLst>
                  <a:ext uri="{FF2B5EF4-FFF2-40B4-BE49-F238E27FC236}">
                    <a16:creationId xmlns:a16="http://schemas.microsoft.com/office/drawing/2014/main" xmlns="" id="{0386EE2F-5186-4568-9CBE-E9FD42A954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270"/>
                <a:ext cx="480" cy="240"/>
              </a:xfrm>
              <a:custGeom>
                <a:avLst/>
                <a:gdLst>
                  <a:gd name="T0" fmla="*/ 480 w 480"/>
                  <a:gd name="T1" fmla="*/ 0 h 240"/>
                  <a:gd name="T2" fmla="*/ 330 w 480"/>
                  <a:gd name="T3" fmla="*/ 210 h 240"/>
                  <a:gd name="T4" fmla="*/ 0 w 480"/>
                  <a:gd name="T5" fmla="*/ 90 h 240"/>
                  <a:gd name="T6" fmla="*/ 150 w 480"/>
                  <a:gd name="T7" fmla="*/ 24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0" h="240">
                    <a:moveTo>
                      <a:pt x="480" y="0"/>
                    </a:moveTo>
                    <a:lnTo>
                      <a:pt x="330" y="210"/>
                    </a:lnTo>
                    <a:lnTo>
                      <a:pt x="0" y="90"/>
                    </a:lnTo>
                    <a:lnTo>
                      <a:pt x="150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5" name="Line 2585">
                <a:extLst>
                  <a:ext uri="{FF2B5EF4-FFF2-40B4-BE49-F238E27FC236}">
                    <a16:creationId xmlns:a16="http://schemas.microsoft.com/office/drawing/2014/main" xmlns="" id="{AB9ED66E-AFF3-471F-BCE5-DD2EC76B8E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465" y="390"/>
                <a:ext cx="30" cy="12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6" name="Freeform 2586">
                <a:extLst>
                  <a:ext uri="{FF2B5EF4-FFF2-40B4-BE49-F238E27FC236}">
                    <a16:creationId xmlns:a16="http://schemas.microsoft.com/office/drawing/2014/main" xmlns="" id="{CA91E15D-D39D-4B3C-894C-6F6E654CB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240"/>
                <a:ext cx="209" cy="270"/>
              </a:xfrm>
              <a:custGeom>
                <a:avLst/>
                <a:gdLst>
                  <a:gd name="T0" fmla="*/ 0 w 209"/>
                  <a:gd name="T1" fmla="*/ 60 h 270"/>
                  <a:gd name="T2" fmla="*/ 90 w 209"/>
                  <a:gd name="T3" fmla="*/ 210 h 270"/>
                  <a:gd name="T4" fmla="*/ 120 w 209"/>
                  <a:gd name="T5" fmla="*/ 0 h 270"/>
                  <a:gd name="T6" fmla="*/ 179 w 209"/>
                  <a:gd name="T7" fmla="*/ 150 h 270"/>
                  <a:gd name="T8" fmla="*/ 209 w 209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9" h="270">
                    <a:moveTo>
                      <a:pt x="0" y="60"/>
                    </a:moveTo>
                    <a:lnTo>
                      <a:pt x="90" y="210"/>
                    </a:lnTo>
                    <a:lnTo>
                      <a:pt x="120" y="0"/>
                    </a:lnTo>
                    <a:lnTo>
                      <a:pt x="179" y="150"/>
                    </a:lnTo>
                    <a:lnTo>
                      <a:pt x="20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7" name="Freeform 2587">
                <a:extLst>
                  <a:ext uri="{FF2B5EF4-FFF2-40B4-BE49-F238E27FC236}">
                    <a16:creationId xmlns:a16="http://schemas.microsoft.com/office/drawing/2014/main" xmlns="" id="{14509826-1DA0-4F79-AD17-92ACC9BC17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5" y="90"/>
                <a:ext cx="389" cy="270"/>
              </a:xfrm>
              <a:custGeom>
                <a:avLst/>
                <a:gdLst>
                  <a:gd name="T0" fmla="*/ 150 w 389"/>
                  <a:gd name="T1" fmla="*/ 150 h 270"/>
                  <a:gd name="T2" fmla="*/ 0 w 389"/>
                  <a:gd name="T3" fmla="*/ 90 h 270"/>
                  <a:gd name="T4" fmla="*/ 120 w 389"/>
                  <a:gd name="T5" fmla="*/ 0 h 270"/>
                  <a:gd name="T6" fmla="*/ 269 w 389"/>
                  <a:gd name="T7" fmla="*/ 180 h 270"/>
                  <a:gd name="T8" fmla="*/ 389 w 389"/>
                  <a:gd name="T9" fmla="*/ 27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9" h="270">
                    <a:moveTo>
                      <a:pt x="150" y="150"/>
                    </a:moveTo>
                    <a:lnTo>
                      <a:pt x="0" y="90"/>
                    </a:lnTo>
                    <a:lnTo>
                      <a:pt x="120" y="0"/>
                    </a:lnTo>
                    <a:lnTo>
                      <a:pt x="269" y="180"/>
                    </a:lnTo>
                    <a:lnTo>
                      <a:pt x="389" y="27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8" name="Freeform 2588">
                <a:extLst>
                  <a:ext uri="{FF2B5EF4-FFF2-40B4-BE49-F238E27FC236}">
                    <a16:creationId xmlns:a16="http://schemas.microsoft.com/office/drawing/2014/main" xmlns="" id="{26BDDB77-C01D-4AE1-9CE0-7A51CDB294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390"/>
                <a:ext cx="360" cy="360"/>
              </a:xfrm>
              <a:custGeom>
                <a:avLst/>
                <a:gdLst>
                  <a:gd name="T0" fmla="*/ 0 w 360"/>
                  <a:gd name="T1" fmla="*/ 0 h 360"/>
                  <a:gd name="T2" fmla="*/ 180 w 360"/>
                  <a:gd name="T3" fmla="*/ 90 h 360"/>
                  <a:gd name="T4" fmla="*/ 360 w 360"/>
                  <a:gd name="T5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0" h="360">
                    <a:moveTo>
                      <a:pt x="0" y="0"/>
                    </a:moveTo>
                    <a:lnTo>
                      <a:pt x="180" y="90"/>
                    </a:lnTo>
                    <a:lnTo>
                      <a:pt x="360" y="3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9" name="Freeform 2589">
                <a:extLst>
                  <a:ext uri="{FF2B5EF4-FFF2-40B4-BE49-F238E27FC236}">
                    <a16:creationId xmlns:a16="http://schemas.microsoft.com/office/drawing/2014/main" xmlns="" id="{2661C854-7E6A-4D6A-BEA5-303BE20BE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4" y="60"/>
                <a:ext cx="600" cy="240"/>
              </a:xfrm>
              <a:custGeom>
                <a:avLst/>
                <a:gdLst>
                  <a:gd name="T0" fmla="*/ 600 w 600"/>
                  <a:gd name="T1" fmla="*/ 0 h 240"/>
                  <a:gd name="T2" fmla="*/ 450 w 600"/>
                  <a:gd name="T3" fmla="*/ 240 h 240"/>
                  <a:gd name="T4" fmla="*/ 270 w 600"/>
                  <a:gd name="T5" fmla="*/ 60 h 240"/>
                  <a:gd name="T6" fmla="*/ 0 w 600"/>
                  <a:gd name="T7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0" h="240">
                    <a:moveTo>
                      <a:pt x="600" y="0"/>
                    </a:moveTo>
                    <a:lnTo>
                      <a:pt x="450" y="240"/>
                    </a:lnTo>
                    <a:lnTo>
                      <a:pt x="270" y="6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0" name="Freeform 2590">
                <a:extLst>
                  <a:ext uri="{FF2B5EF4-FFF2-40B4-BE49-F238E27FC236}">
                    <a16:creationId xmlns:a16="http://schemas.microsoft.com/office/drawing/2014/main" xmlns="" id="{199825CB-C6C4-48FD-B2B7-BD2B664A67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2550"/>
                <a:ext cx="2338" cy="660"/>
              </a:xfrm>
              <a:custGeom>
                <a:avLst/>
                <a:gdLst>
                  <a:gd name="T0" fmla="*/ 30 w 2338"/>
                  <a:gd name="T1" fmla="*/ 420 h 660"/>
                  <a:gd name="T2" fmla="*/ 0 w 2338"/>
                  <a:gd name="T3" fmla="*/ 270 h 660"/>
                  <a:gd name="T4" fmla="*/ 150 w 2338"/>
                  <a:gd name="T5" fmla="*/ 510 h 660"/>
                  <a:gd name="T6" fmla="*/ 210 w 2338"/>
                  <a:gd name="T7" fmla="*/ 420 h 660"/>
                  <a:gd name="T8" fmla="*/ 210 w 2338"/>
                  <a:gd name="T9" fmla="*/ 120 h 660"/>
                  <a:gd name="T10" fmla="*/ 60 w 2338"/>
                  <a:gd name="T11" fmla="*/ 150 h 660"/>
                  <a:gd name="T12" fmla="*/ 120 w 2338"/>
                  <a:gd name="T13" fmla="*/ 0 h 660"/>
                  <a:gd name="T14" fmla="*/ 330 w 2338"/>
                  <a:gd name="T15" fmla="*/ 90 h 660"/>
                  <a:gd name="T16" fmla="*/ 420 w 2338"/>
                  <a:gd name="T17" fmla="*/ 210 h 660"/>
                  <a:gd name="T18" fmla="*/ 210 w 2338"/>
                  <a:gd name="T19" fmla="*/ 120 h 660"/>
                  <a:gd name="T20" fmla="*/ 270 w 2338"/>
                  <a:gd name="T21" fmla="*/ 240 h 660"/>
                  <a:gd name="T22" fmla="*/ 420 w 2338"/>
                  <a:gd name="T23" fmla="*/ 210 h 660"/>
                  <a:gd name="T24" fmla="*/ 510 w 2338"/>
                  <a:gd name="T25" fmla="*/ 120 h 660"/>
                  <a:gd name="T26" fmla="*/ 599 w 2338"/>
                  <a:gd name="T27" fmla="*/ 210 h 660"/>
                  <a:gd name="T28" fmla="*/ 809 w 2338"/>
                  <a:gd name="T29" fmla="*/ 150 h 660"/>
                  <a:gd name="T30" fmla="*/ 719 w 2338"/>
                  <a:gd name="T31" fmla="*/ 240 h 660"/>
                  <a:gd name="T32" fmla="*/ 510 w 2338"/>
                  <a:gd name="T33" fmla="*/ 480 h 660"/>
                  <a:gd name="T34" fmla="*/ 689 w 2338"/>
                  <a:gd name="T35" fmla="*/ 510 h 660"/>
                  <a:gd name="T36" fmla="*/ 689 w 2338"/>
                  <a:gd name="T37" fmla="*/ 660 h 660"/>
                  <a:gd name="T38" fmla="*/ 569 w 2338"/>
                  <a:gd name="T39" fmla="*/ 600 h 660"/>
                  <a:gd name="T40" fmla="*/ 300 w 2338"/>
                  <a:gd name="T41" fmla="*/ 570 h 660"/>
                  <a:gd name="T42" fmla="*/ 420 w 2338"/>
                  <a:gd name="T43" fmla="*/ 330 h 660"/>
                  <a:gd name="T44" fmla="*/ 569 w 2338"/>
                  <a:gd name="T45" fmla="*/ 360 h 660"/>
                  <a:gd name="T46" fmla="*/ 599 w 2338"/>
                  <a:gd name="T47" fmla="*/ 210 h 660"/>
                  <a:gd name="T48" fmla="*/ 749 w 2338"/>
                  <a:gd name="T49" fmla="*/ 420 h 660"/>
                  <a:gd name="T50" fmla="*/ 689 w 2338"/>
                  <a:gd name="T51" fmla="*/ 510 h 660"/>
                  <a:gd name="T52" fmla="*/ 809 w 2338"/>
                  <a:gd name="T53" fmla="*/ 600 h 660"/>
                  <a:gd name="T54" fmla="*/ 929 w 2338"/>
                  <a:gd name="T55" fmla="*/ 540 h 660"/>
                  <a:gd name="T56" fmla="*/ 1079 w 2338"/>
                  <a:gd name="T57" fmla="*/ 570 h 660"/>
                  <a:gd name="T58" fmla="*/ 1049 w 2338"/>
                  <a:gd name="T59" fmla="*/ 450 h 660"/>
                  <a:gd name="T60" fmla="*/ 959 w 2338"/>
                  <a:gd name="T61" fmla="*/ 420 h 660"/>
                  <a:gd name="T62" fmla="*/ 1049 w 2338"/>
                  <a:gd name="T63" fmla="*/ 300 h 660"/>
                  <a:gd name="T64" fmla="*/ 1169 w 2338"/>
                  <a:gd name="T65" fmla="*/ 360 h 660"/>
                  <a:gd name="T66" fmla="*/ 1259 w 2338"/>
                  <a:gd name="T67" fmla="*/ 390 h 660"/>
                  <a:gd name="T68" fmla="*/ 1199 w 2338"/>
                  <a:gd name="T69" fmla="*/ 510 h 660"/>
                  <a:gd name="T70" fmla="*/ 1349 w 2338"/>
                  <a:gd name="T71" fmla="*/ 540 h 660"/>
                  <a:gd name="T72" fmla="*/ 1409 w 2338"/>
                  <a:gd name="T73" fmla="*/ 360 h 660"/>
                  <a:gd name="T74" fmla="*/ 1469 w 2338"/>
                  <a:gd name="T75" fmla="*/ 480 h 660"/>
                  <a:gd name="T76" fmla="*/ 1529 w 2338"/>
                  <a:gd name="T77" fmla="*/ 360 h 660"/>
                  <a:gd name="T78" fmla="*/ 1529 w 2338"/>
                  <a:gd name="T79" fmla="*/ 600 h 660"/>
                  <a:gd name="T80" fmla="*/ 1409 w 2338"/>
                  <a:gd name="T81" fmla="*/ 630 h 660"/>
                  <a:gd name="T82" fmla="*/ 1649 w 2338"/>
                  <a:gd name="T83" fmla="*/ 300 h 660"/>
                  <a:gd name="T84" fmla="*/ 1649 w 2338"/>
                  <a:gd name="T85" fmla="*/ 510 h 660"/>
                  <a:gd name="T86" fmla="*/ 1709 w 2338"/>
                  <a:gd name="T87" fmla="*/ 420 h 660"/>
                  <a:gd name="T88" fmla="*/ 1799 w 2338"/>
                  <a:gd name="T89" fmla="*/ 360 h 660"/>
                  <a:gd name="T90" fmla="*/ 1799 w 2338"/>
                  <a:gd name="T91" fmla="*/ 480 h 660"/>
                  <a:gd name="T92" fmla="*/ 1739 w 2338"/>
                  <a:gd name="T93" fmla="*/ 600 h 660"/>
                  <a:gd name="T94" fmla="*/ 1889 w 2338"/>
                  <a:gd name="T95" fmla="*/ 540 h 660"/>
                  <a:gd name="T96" fmla="*/ 1949 w 2338"/>
                  <a:gd name="T97" fmla="*/ 660 h 660"/>
                  <a:gd name="T98" fmla="*/ 2039 w 2338"/>
                  <a:gd name="T99" fmla="*/ 570 h 660"/>
                  <a:gd name="T100" fmla="*/ 2009 w 2338"/>
                  <a:gd name="T101" fmla="*/ 450 h 660"/>
                  <a:gd name="T102" fmla="*/ 1919 w 2338"/>
                  <a:gd name="T103" fmla="*/ 420 h 660"/>
                  <a:gd name="T104" fmla="*/ 2009 w 2338"/>
                  <a:gd name="T105" fmla="*/ 300 h 660"/>
                  <a:gd name="T106" fmla="*/ 2129 w 2338"/>
                  <a:gd name="T107" fmla="*/ 360 h 660"/>
                  <a:gd name="T108" fmla="*/ 2159 w 2338"/>
                  <a:gd name="T109" fmla="*/ 510 h 660"/>
                  <a:gd name="T110" fmla="*/ 2338 w 2338"/>
                  <a:gd name="T111" fmla="*/ 540 h 660"/>
                  <a:gd name="T112" fmla="*/ 2218 w 2338"/>
                  <a:gd name="T113" fmla="*/ 660 h 660"/>
                  <a:gd name="T114" fmla="*/ 2248 w 2338"/>
                  <a:gd name="T115" fmla="*/ 390 h 660"/>
                  <a:gd name="T116" fmla="*/ 2069 w 2338"/>
                  <a:gd name="T117" fmla="*/ 240 h 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38" h="660">
                    <a:moveTo>
                      <a:pt x="30" y="420"/>
                    </a:moveTo>
                    <a:lnTo>
                      <a:pt x="0" y="270"/>
                    </a:lnTo>
                    <a:lnTo>
                      <a:pt x="150" y="510"/>
                    </a:lnTo>
                    <a:lnTo>
                      <a:pt x="210" y="420"/>
                    </a:lnTo>
                    <a:lnTo>
                      <a:pt x="210" y="120"/>
                    </a:lnTo>
                    <a:lnTo>
                      <a:pt x="60" y="150"/>
                    </a:lnTo>
                    <a:lnTo>
                      <a:pt x="120" y="0"/>
                    </a:lnTo>
                    <a:lnTo>
                      <a:pt x="330" y="90"/>
                    </a:lnTo>
                    <a:lnTo>
                      <a:pt x="420" y="210"/>
                    </a:lnTo>
                    <a:lnTo>
                      <a:pt x="210" y="120"/>
                    </a:lnTo>
                    <a:lnTo>
                      <a:pt x="270" y="240"/>
                    </a:lnTo>
                    <a:lnTo>
                      <a:pt x="420" y="210"/>
                    </a:lnTo>
                    <a:lnTo>
                      <a:pt x="510" y="120"/>
                    </a:lnTo>
                    <a:lnTo>
                      <a:pt x="599" y="210"/>
                    </a:lnTo>
                    <a:lnTo>
                      <a:pt x="809" y="150"/>
                    </a:lnTo>
                    <a:lnTo>
                      <a:pt x="719" y="240"/>
                    </a:lnTo>
                    <a:lnTo>
                      <a:pt x="510" y="480"/>
                    </a:lnTo>
                    <a:lnTo>
                      <a:pt x="689" y="510"/>
                    </a:lnTo>
                    <a:lnTo>
                      <a:pt x="689" y="660"/>
                    </a:lnTo>
                    <a:lnTo>
                      <a:pt x="569" y="600"/>
                    </a:lnTo>
                    <a:lnTo>
                      <a:pt x="300" y="570"/>
                    </a:lnTo>
                    <a:lnTo>
                      <a:pt x="420" y="330"/>
                    </a:lnTo>
                    <a:lnTo>
                      <a:pt x="569" y="360"/>
                    </a:lnTo>
                    <a:lnTo>
                      <a:pt x="599" y="210"/>
                    </a:lnTo>
                    <a:lnTo>
                      <a:pt x="749" y="420"/>
                    </a:lnTo>
                    <a:lnTo>
                      <a:pt x="689" y="510"/>
                    </a:lnTo>
                    <a:lnTo>
                      <a:pt x="809" y="600"/>
                    </a:lnTo>
                    <a:lnTo>
                      <a:pt x="929" y="540"/>
                    </a:lnTo>
                    <a:lnTo>
                      <a:pt x="1079" y="570"/>
                    </a:lnTo>
                    <a:lnTo>
                      <a:pt x="1049" y="450"/>
                    </a:lnTo>
                    <a:lnTo>
                      <a:pt x="959" y="420"/>
                    </a:lnTo>
                    <a:lnTo>
                      <a:pt x="1049" y="300"/>
                    </a:lnTo>
                    <a:lnTo>
                      <a:pt x="1169" y="360"/>
                    </a:lnTo>
                    <a:lnTo>
                      <a:pt x="1259" y="390"/>
                    </a:lnTo>
                    <a:lnTo>
                      <a:pt x="1199" y="510"/>
                    </a:lnTo>
                    <a:lnTo>
                      <a:pt x="1349" y="540"/>
                    </a:lnTo>
                    <a:lnTo>
                      <a:pt x="1409" y="360"/>
                    </a:lnTo>
                    <a:lnTo>
                      <a:pt x="1469" y="480"/>
                    </a:lnTo>
                    <a:lnTo>
                      <a:pt x="1529" y="360"/>
                    </a:lnTo>
                    <a:lnTo>
                      <a:pt x="1529" y="600"/>
                    </a:lnTo>
                    <a:lnTo>
                      <a:pt x="1409" y="630"/>
                    </a:lnTo>
                    <a:lnTo>
                      <a:pt x="1649" y="300"/>
                    </a:lnTo>
                    <a:lnTo>
                      <a:pt x="1649" y="510"/>
                    </a:lnTo>
                    <a:lnTo>
                      <a:pt x="1709" y="420"/>
                    </a:lnTo>
                    <a:lnTo>
                      <a:pt x="1799" y="360"/>
                    </a:lnTo>
                    <a:lnTo>
                      <a:pt x="1799" y="480"/>
                    </a:lnTo>
                    <a:lnTo>
                      <a:pt x="1739" y="600"/>
                    </a:lnTo>
                    <a:lnTo>
                      <a:pt x="1889" y="540"/>
                    </a:lnTo>
                    <a:lnTo>
                      <a:pt x="1949" y="660"/>
                    </a:lnTo>
                    <a:lnTo>
                      <a:pt x="2039" y="570"/>
                    </a:lnTo>
                    <a:lnTo>
                      <a:pt x="2009" y="450"/>
                    </a:lnTo>
                    <a:lnTo>
                      <a:pt x="1919" y="420"/>
                    </a:lnTo>
                    <a:lnTo>
                      <a:pt x="2009" y="300"/>
                    </a:lnTo>
                    <a:lnTo>
                      <a:pt x="2129" y="360"/>
                    </a:lnTo>
                    <a:lnTo>
                      <a:pt x="2159" y="510"/>
                    </a:lnTo>
                    <a:lnTo>
                      <a:pt x="2338" y="540"/>
                    </a:lnTo>
                    <a:lnTo>
                      <a:pt x="2218" y="660"/>
                    </a:lnTo>
                    <a:lnTo>
                      <a:pt x="2248" y="390"/>
                    </a:lnTo>
                    <a:lnTo>
                      <a:pt x="2069" y="24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1" name="Freeform 2591">
                <a:extLst>
                  <a:ext uri="{FF2B5EF4-FFF2-40B4-BE49-F238E27FC236}">
                    <a16:creationId xmlns:a16="http://schemas.microsoft.com/office/drawing/2014/main" xmlns="" id="{6CF449F6-A821-45CC-9658-C228D2577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" y="2760"/>
                <a:ext cx="269" cy="300"/>
              </a:xfrm>
              <a:custGeom>
                <a:avLst/>
                <a:gdLst>
                  <a:gd name="T0" fmla="*/ 269 w 269"/>
                  <a:gd name="T1" fmla="*/ 0 h 300"/>
                  <a:gd name="T2" fmla="*/ 120 w 269"/>
                  <a:gd name="T3" fmla="*/ 150 h 300"/>
                  <a:gd name="T4" fmla="*/ 0 w 269"/>
                  <a:gd name="T5" fmla="*/ 240 h 300"/>
                  <a:gd name="T6" fmla="*/ 150 w 269"/>
                  <a:gd name="T7" fmla="*/ 300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9" h="300">
                    <a:moveTo>
                      <a:pt x="269" y="0"/>
                    </a:moveTo>
                    <a:lnTo>
                      <a:pt x="120" y="150"/>
                    </a:lnTo>
                    <a:lnTo>
                      <a:pt x="0" y="240"/>
                    </a:lnTo>
                    <a:lnTo>
                      <a:pt x="150" y="30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2" name="Freeform 2592">
                <a:extLst>
                  <a:ext uri="{FF2B5EF4-FFF2-40B4-BE49-F238E27FC236}">
                    <a16:creationId xmlns:a16="http://schemas.microsoft.com/office/drawing/2014/main" xmlns="" id="{6BB7F0A7-0F82-457D-BB07-74F64BF68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2790"/>
                <a:ext cx="1289" cy="420"/>
              </a:xfrm>
              <a:custGeom>
                <a:avLst/>
                <a:gdLst>
                  <a:gd name="T0" fmla="*/ 210 w 1289"/>
                  <a:gd name="T1" fmla="*/ 240 h 420"/>
                  <a:gd name="T2" fmla="*/ 150 w 1289"/>
                  <a:gd name="T3" fmla="*/ 390 h 420"/>
                  <a:gd name="T4" fmla="*/ 90 w 1289"/>
                  <a:gd name="T5" fmla="*/ 300 h 420"/>
                  <a:gd name="T6" fmla="*/ 0 w 1289"/>
                  <a:gd name="T7" fmla="*/ 150 h 420"/>
                  <a:gd name="T8" fmla="*/ 150 w 1289"/>
                  <a:gd name="T9" fmla="*/ 120 h 420"/>
                  <a:gd name="T10" fmla="*/ 300 w 1289"/>
                  <a:gd name="T11" fmla="*/ 30 h 420"/>
                  <a:gd name="T12" fmla="*/ 390 w 1289"/>
                  <a:gd name="T13" fmla="*/ 60 h 420"/>
                  <a:gd name="T14" fmla="*/ 450 w 1289"/>
                  <a:gd name="T15" fmla="*/ 180 h 420"/>
                  <a:gd name="T16" fmla="*/ 480 w 1289"/>
                  <a:gd name="T17" fmla="*/ 30 h 420"/>
                  <a:gd name="T18" fmla="*/ 600 w 1289"/>
                  <a:gd name="T19" fmla="*/ 0 h 420"/>
                  <a:gd name="T20" fmla="*/ 540 w 1289"/>
                  <a:gd name="T21" fmla="*/ 120 h 420"/>
                  <a:gd name="T22" fmla="*/ 660 w 1289"/>
                  <a:gd name="T23" fmla="*/ 180 h 420"/>
                  <a:gd name="T24" fmla="*/ 630 w 1289"/>
                  <a:gd name="T25" fmla="*/ 300 h 420"/>
                  <a:gd name="T26" fmla="*/ 780 w 1289"/>
                  <a:gd name="T27" fmla="*/ 330 h 420"/>
                  <a:gd name="T28" fmla="*/ 959 w 1289"/>
                  <a:gd name="T29" fmla="*/ 420 h 420"/>
                  <a:gd name="T30" fmla="*/ 1289 w 1289"/>
                  <a:gd name="T31" fmla="*/ 420 h 4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89" h="420">
                    <a:moveTo>
                      <a:pt x="210" y="240"/>
                    </a:moveTo>
                    <a:lnTo>
                      <a:pt x="150" y="390"/>
                    </a:lnTo>
                    <a:lnTo>
                      <a:pt x="90" y="300"/>
                    </a:lnTo>
                    <a:lnTo>
                      <a:pt x="0" y="150"/>
                    </a:lnTo>
                    <a:lnTo>
                      <a:pt x="150" y="120"/>
                    </a:lnTo>
                    <a:lnTo>
                      <a:pt x="300" y="30"/>
                    </a:lnTo>
                    <a:lnTo>
                      <a:pt x="390" y="60"/>
                    </a:lnTo>
                    <a:lnTo>
                      <a:pt x="450" y="180"/>
                    </a:lnTo>
                    <a:lnTo>
                      <a:pt x="480" y="30"/>
                    </a:lnTo>
                    <a:lnTo>
                      <a:pt x="600" y="0"/>
                    </a:lnTo>
                    <a:lnTo>
                      <a:pt x="540" y="120"/>
                    </a:lnTo>
                    <a:lnTo>
                      <a:pt x="660" y="180"/>
                    </a:lnTo>
                    <a:lnTo>
                      <a:pt x="630" y="300"/>
                    </a:lnTo>
                    <a:lnTo>
                      <a:pt x="780" y="330"/>
                    </a:lnTo>
                    <a:lnTo>
                      <a:pt x="959" y="420"/>
                    </a:lnTo>
                    <a:lnTo>
                      <a:pt x="1289" y="4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3" name="Freeform 2593">
                <a:extLst>
                  <a:ext uri="{FF2B5EF4-FFF2-40B4-BE49-F238E27FC236}">
                    <a16:creationId xmlns:a16="http://schemas.microsoft.com/office/drawing/2014/main" xmlns="" id="{70F71936-7E99-4FCF-B968-21B474C10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6" y="2130"/>
                <a:ext cx="629" cy="720"/>
              </a:xfrm>
              <a:custGeom>
                <a:avLst/>
                <a:gdLst>
                  <a:gd name="T0" fmla="*/ 629 w 629"/>
                  <a:gd name="T1" fmla="*/ 720 h 720"/>
                  <a:gd name="T2" fmla="*/ 479 w 629"/>
                  <a:gd name="T3" fmla="*/ 690 h 720"/>
                  <a:gd name="T4" fmla="*/ 599 w 629"/>
                  <a:gd name="T5" fmla="*/ 510 h 720"/>
                  <a:gd name="T6" fmla="*/ 389 w 629"/>
                  <a:gd name="T7" fmla="*/ 570 h 720"/>
                  <a:gd name="T8" fmla="*/ 269 w 629"/>
                  <a:gd name="T9" fmla="*/ 510 h 720"/>
                  <a:gd name="T10" fmla="*/ 90 w 629"/>
                  <a:gd name="T11" fmla="*/ 540 h 720"/>
                  <a:gd name="T12" fmla="*/ 0 w 629"/>
                  <a:gd name="T13" fmla="*/ 390 h 720"/>
                  <a:gd name="T14" fmla="*/ 0 w 629"/>
                  <a:gd name="T15" fmla="*/ 630 h 720"/>
                  <a:gd name="T16" fmla="*/ 90 w 629"/>
                  <a:gd name="T17" fmla="*/ 300 h 720"/>
                  <a:gd name="T18" fmla="*/ 0 w 629"/>
                  <a:gd name="T19" fmla="*/ 210 h 720"/>
                  <a:gd name="T20" fmla="*/ 0 w 629"/>
                  <a:gd name="T21" fmla="*/ 60 h 720"/>
                  <a:gd name="T22" fmla="*/ 60 w 629"/>
                  <a:gd name="T23" fmla="*/ 0 h 720"/>
                  <a:gd name="T24" fmla="*/ 149 w 629"/>
                  <a:gd name="T25" fmla="*/ 180 h 720"/>
                  <a:gd name="T26" fmla="*/ 329 w 629"/>
                  <a:gd name="T27" fmla="*/ 240 h 720"/>
                  <a:gd name="T28" fmla="*/ 359 w 629"/>
                  <a:gd name="T29" fmla="*/ 9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29" h="720">
                    <a:moveTo>
                      <a:pt x="629" y="720"/>
                    </a:moveTo>
                    <a:lnTo>
                      <a:pt x="479" y="690"/>
                    </a:lnTo>
                    <a:lnTo>
                      <a:pt x="599" y="510"/>
                    </a:lnTo>
                    <a:lnTo>
                      <a:pt x="389" y="570"/>
                    </a:lnTo>
                    <a:lnTo>
                      <a:pt x="269" y="510"/>
                    </a:lnTo>
                    <a:lnTo>
                      <a:pt x="90" y="540"/>
                    </a:lnTo>
                    <a:lnTo>
                      <a:pt x="0" y="390"/>
                    </a:lnTo>
                    <a:lnTo>
                      <a:pt x="0" y="630"/>
                    </a:lnTo>
                    <a:lnTo>
                      <a:pt x="90" y="300"/>
                    </a:lnTo>
                    <a:lnTo>
                      <a:pt x="0" y="210"/>
                    </a:lnTo>
                    <a:lnTo>
                      <a:pt x="0" y="60"/>
                    </a:lnTo>
                    <a:lnTo>
                      <a:pt x="60" y="0"/>
                    </a:lnTo>
                    <a:lnTo>
                      <a:pt x="149" y="180"/>
                    </a:lnTo>
                    <a:lnTo>
                      <a:pt x="329" y="240"/>
                    </a:lnTo>
                    <a:lnTo>
                      <a:pt x="359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4" name="Freeform 2594">
                <a:extLst>
                  <a:ext uri="{FF2B5EF4-FFF2-40B4-BE49-F238E27FC236}">
                    <a16:creationId xmlns:a16="http://schemas.microsoft.com/office/drawing/2014/main" xmlns="" id="{BCABA6C8-6824-4965-9B6A-FC52BD6D0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5" y="2640"/>
                <a:ext cx="780" cy="480"/>
              </a:xfrm>
              <a:custGeom>
                <a:avLst/>
                <a:gdLst>
                  <a:gd name="T0" fmla="*/ 330 w 780"/>
                  <a:gd name="T1" fmla="*/ 360 h 480"/>
                  <a:gd name="T2" fmla="*/ 210 w 780"/>
                  <a:gd name="T3" fmla="*/ 450 h 480"/>
                  <a:gd name="T4" fmla="*/ 120 w 780"/>
                  <a:gd name="T5" fmla="*/ 390 h 480"/>
                  <a:gd name="T6" fmla="*/ 120 w 780"/>
                  <a:gd name="T7" fmla="*/ 270 h 480"/>
                  <a:gd name="T8" fmla="*/ 180 w 780"/>
                  <a:gd name="T9" fmla="*/ 180 h 480"/>
                  <a:gd name="T10" fmla="*/ 0 w 780"/>
                  <a:gd name="T11" fmla="*/ 150 h 480"/>
                  <a:gd name="T12" fmla="*/ 30 w 780"/>
                  <a:gd name="T13" fmla="*/ 330 h 480"/>
                  <a:gd name="T14" fmla="*/ 120 w 780"/>
                  <a:gd name="T15" fmla="*/ 270 h 480"/>
                  <a:gd name="T16" fmla="*/ 240 w 780"/>
                  <a:gd name="T17" fmla="*/ 330 h 480"/>
                  <a:gd name="T18" fmla="*/ 360 w 780"/>
                  <a:gd name="T19" fmla="*/ 480 h 480"/>
                  <a:gd name="T20" fmla="*/ 480 w 780"/>
                  <a:gd name="T21" fmla="*/ 420 h 480"/>
                  <a:gd name="T22" fmla="*/ 330 w 780"/>
                  <a:gd name="T23" fmla="*/ 360 h 480"/>
                  <a:gd name="T24" fmla="*/ 450 w 780"/>
                  <a:gd name="T25" fmla="*/ 270 h 480"/>
                  <a:gd name="T26" fmla="*/ 510 w 780"/>
                  <a:gd name="T27" fmla="*/ 90 h 480"/>
                  <a:gd name="T28" fmla="*/ 690 w 780"/>
                  <a:gd name="T29" fmla="*/ 0 h 480"/>
                  <a:gd name="T30" fmla="*/ 450 w 780"/>
                  <a:gd name="T31" fmla="*/ 0 h 480"/>
                  <a:gd name="T32" fmla="*/ 780 w 780"/>
                  <a:gd name="T33" fmla="*/ 9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80" h="480">
                    <a:moveTo>
                      <a:pt x="330" y="360"/>
                    </a:moveTo>
                    <a:lnTo>
                      <a:pt x="210" y="450"/>
                    </a:lnTo>
                    <a:lnTo>
                      <a:pt x="120" y="390"/>
                    </a:lnTo>
                    <a:lnTo>
                      <a:pt x="120" y="270"/>
                    </a:lnTo>
                    <a:lnTo>
                      <a:pt x="180" y="180"/>
                    </a:lnTo>
                    <a:lnTo>
                      <a:pt x="0" y="150"/>
                    </a:lnTo>
                    <a:lnTo>
                      <a:pt x="30" y="330"/>
                    </a:lnTo>
                    <a:lnTo>
                      <a:pt x="120" y="270"/>
                    </a:lnTo>
                    <a:lnTo>
                      <a:pt x="240" y="330"/>
                    </a:lnTo>
                    <a:lnTo>
                      <a:pt x="360" y="480"/>
                    </a:lnTo>
                    <a:lnTo>
                      <a:pt x="480" y="420"/>
                    </a:lnTo>
                    <a:lnTo>
                      <a:pt x="330" y="360"/>
                    </a:lnTo>
                    <a:lnTo>
                      <a:pt x="450" y="270"/>
                    </a:lnTo>
                    <a:lnTo>
                      <a:pt x="510" y="90"/>
                    </a:lnTo>
                    <a:lnTo>
                      <a:pt x="690" y="0"/>
                    </a:lnTo>
                    <a:lnTo>
                      <a:pt x="450" y="0"/>
                    </a:lnTo>
                    <a:lnTo>
                      <a:pt x="78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5" name="Line 2595">
                <a:extLst>
                  <a:ext uri="{FF2B5EF4-FFF2-40B4-BE49-F238E27FC236}">
                    <a16:creationId xmlns:a16="http://schemas.microsoft.com/office/drawing/2014/main" xmlns="" id="{CEB6E236-D662-41DC-A6E7-02A5C700235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325" y="2970"/>
                <a:ext cx="60" cy="18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6" name="Freeform 2596">
                <a:extLst>
                  <a:ext uri="{FF2B5EF4-FFF2-40B4-BE49-F238E27FC236}">
                    <a16:creationId xmlns:a16="http://schemas.microsoft.com/office/drawing/2014/main" xmlns="" id="{08236DA8-477E-42FA-8FE9-720CCC4FE9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6" y="2820"/>
                <a:ext cx="449" cy="390"/>
              </a:xfrm>
              <a:custGeom>
                <a:avLst/>
                <a:gdLst>
                  <a:gd name="T0" fmla="*/ 179 w 449"/>
                  <a:gd name="T1" fmla="*/ 390 h 390"/>
                  <a:gd name="T2" fmla="*/ 329 w 449"/>
                  <a:gd name="T3" fmla="*/ 210 h 390"/>
                  <a:gd name="T4" fmla="*/ 449 w 449"/>
                  <a:gd name="T5" fmla="*/ 150 h 390"/>
                  <a:gd name="T6" fmla="*/ 389 w 449"/>
                  <a:gd name="T7" fmla="*/ 0 h 390"/>
                  <a:gd name="T8" fmla="*/ 0 w 449"/>
                  <a:gd name="T9" fmla="*/ 21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9" h="390">
                    <a:moveTo>
                      <a:pt x="179" y="390"/>
                    </a:moveTo>
                    <a:lnTo>
                      <a:pt x="329" y="210"/>
                    </a:lnTo>
                    <a:lnTo>
                      <a:pt x="449" y="150"/>
                    </a:lnTo>
                    <a:lnTo>
                      <a:pt x="389" y="0"/>
                    </a:lnTo>
                    <a:lnTo>
                      <a:pt x="0" y="21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7" name="Freeform 2597">
                <a:extLst>
                  <a:ext uri="{FF2B5EF4-FFF2-40B4-BE49-F238E27FC236}">
                    <a16:creationId xmlns:a16="http://schemas.microsoft.com/office/drawing/2014/main" xmlns="" id="{42E0A9FD-A2D7-4CC6-9D1F-06C5FFB66A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5" y="2310"/>
                <a:ext cx="870" cy="600"/>
              </a:xfrm>
              <a:custGeom>
                <a:avLst/>
                <a:gdLst>
                  <a:gd name="T0" fmla="*/ 0 w 870"/>
                  <a:gd name="T1" fmla="*/ 480 h 600"/>
                  <a:gd name="T2" fmla="*/ 60 w 870"/>
                  <a:gd name="T3" fmla="*/ 600 h 600"/>
                  <a:gd name="T4" fmla="*/ 270 w 870"/>
                  <a:gd name="T5" fmla="*/ 480 h 600"/>
                  <a:gd name="T6" fmla="*/ 390 w 870"/>
                  <a:gd name="T7" fmla="*/ 420 h 600"/>
                  <a:gd name="T8" fmla="*/ 540 w 870"/>
                  <a:gd name="T9" fmla="*/ 420 h 600"/>
                  <a:gd name="T10" fmla="*/ 750 w 870"/>
                  <a:gd name="T11" fmla="*/ 480 h 600"/>
                  <a:gd name="T12" fmla="*/ 870 w 870"/>
                  <a:gd name="T13" fmla="*/ 330 h 600"/>
                  <a:gd name="T14" fmla="*/ 660 w 870"/>
                  <a:gd name="T15" fmla="*/ 390 h 600"/>
                  <a:gd name="T16" fmla="*/ 540 w 870"/>
                  <a:gd name="T17" fmla="*/ 330 h 600"/>
                  <a:gd name="T18" fmla="*/ 420 w 870"/>
                  <a:gd name="T19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70" h="600">
                    <a:moveTo>
                      <a:pt x="0" y="480"/>
                    </a:moveTo>
                    <a:lnTo>
                      <a:pt x="60" y="600"/>
                    </a:lnTo>
                    <a:lnTo>
                      <a:pt x="270" y="480"/>
                    </a:lnTo>
                    <a:lnTo>
                      <a:pt x="390" y="420"/>
                    </a:lnTo>
                    <a:lnTo>
                      <a:pt x="540" y="420"/>
                    </a:lnTo>
                    <a:lnTo>
                      <a:pt x="750" y="480"/>
                    </a:lnTo>
                    <a:lnTo>
                      <a:pt x="870" y="330"/>
                    </a:lnTo>
                    <a:lnTo>
                      <a:pt x="660" y="390"/>
                    </a:lnTo>
                    <a:lnTo>
                      <a:pt x="540" y="330"/>
                    </a:lnTo>
                    <a:lnTo>
                      <a:pt x="42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8" name="Line 2598">
                <a:extLst>
                  <a:ext uri="{FF2B5EF4-FFF2-40B4-BE49-F238E27FC236}">
                    <a16:creationId xmlns:a16="http://schemas.microsoft.com/office/drawing/2014/main" xmlns="" id="{9640FB84-59F0-4FB1-A2E8-323290DF3FE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745" y="2910"/>
                <a:ext cx="30" cy="15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09" name="Freeform 2599">
                <a:extLst>
                  <a:ext uri="{FF2B5EF4-FFF2-40B4-BE49-F238E27FC236}">
                    <a16:creationId xmlns:a16="http://schemas.microsoft.com/office/drawing/2014/main" xmlns="" id="{4CAAD0DC-EBF5-48B6-86C4-02DF29F50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5" y="3060"/>
                <a:ext cx="210" cy="90"/>
              </a:xfrm>
              <a:custGeom>
                <a:avLst/>
                <a:gdLst>
                  <a:gd name="T0" fmla="*/ 0 w 210"/>
                  <a:gd name="T1" fmla="*/ 90 h 90"/>
                  <a:gd name="T2" fmla="*/ 120 w 210"/>
                  <a:gd name="T3" fmla="*/ 0 h 90"/>
                  <a:gd name="T4" fmla="*/ 210 w 210"/>
                  <a:gd name="T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0" h="90">
                    <a:moveTo>
                      <a:pt x="0" y="90"/>
                    </a:moveTo>
                    <a:lnTo>
                      <a:pt x="120" y="0"/>
                    </a:lnTo>
                    <a:lnTo>
                      <a:pt x="210" y="9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0" name="Line 2600">
                <a:extLst>
                  <a:ext uri="{FF2B5EF4-FFF2-40B4-BE49-F238E27FC236}">
                    <a16:creationId xmlns:a16="http://schemas.microsoft.com/office/drawing/2014/main" xmlns="" id="{4DE8794E-B5B8-4E02-BC95-71B303CEB5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805" y="2730"/>
                <a:ext cx="30" cy="21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1" name="Freeform 2601">
                <a:extLst>
                  <a:ext uri="{FF2B5EF4-FFF2-40B4-BE49-F238E27FC236}">
                    <a16:creationId xmlns:a16="http://schemas.microsoft.com/office/drawing/2014/main" xmlns="" id="{EC0282BB-8456-4F25-A34B-3570822D2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5" y="2730"/>
                <a:ext cx="90" cy="120"/>
              </a:xfrm>
              <a:custGeom>
                <a:avLst/>
                <a:gdLst>
                  <a:gd name="T0" fmla="*/ 0 w 90"/>
                  <a:gd name="T1" fmla="*/ 0 h 120"/>
                  <a:gd name="T2" fmla="*/ 90 w 90"/>
                  <a:gd name="T3" fmla="*/ 90 h 120"/>
                  <a:gd name="T4" fmla="*/ 0 w 90"/>
                  <a:gd name="T5" fmla="*/ 120 h 120"/>
                  <a:gd name="T6" fmla="*/ 0 w 90"/>
                  <a:gd name="T7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0" h="120">
                    <a:moveTo>
                      <a:pt x="0" y="0"/>
                    </a:moveTo>
                    <a:lnTo>
                      <a:pt x="90" y="90"/>
                    </a:lnTo>
                    <a:lnTo>
                      <a:pt x="0" y="12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2" name="Freeform 2602">
                <a:extLst>
                  <a:ext uri="{FF2B5EF4-FFF2-40B4-BE49-F238E27FC236}">
                    <a16:creationId xmlns:a16="http://schemas.microsoft.com/office/drawing/2014/main" xmlns="" id="{C92778BF-2A79-43BE-A847-AFF9DB4CD6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" y="2820"/>
                <a:ext cx="270" cy="90"/>
              </a:xfrm>
              <a:custGeom>
                <a:avLst/>
                <a:gdLst>
                  <a:gd name="T0" fmla="*/ 60 w 270"/>
                  <a:gd name="T1" fmla="*/ 90 h 90"/>
                  <a:gd name="T2" fmla="*/ 0 w 270"/>
                  <a:gd name="T3" fmla="*/ 0 h 90"/>
                  <a:gd name="T4" fmla="*/ 270 w 270"/>
                  <a:gd name="T5" fmla="*/ 3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0" h="90">
                    <a:moveTo>
                      <a:pt x="60" y="90"/>
                    </a:moveTo>
                    <a:lnTo>
                      <a:pt x="0" y="0"/>
                    </a:lnTo>
                    <a:lnTo>
                      <a:pt x="27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3" name="Freeform 2603">
                <a:extLst>
                  <a:ext uri="{FF2B5EF4-FFF2-40B4-BE49-F238E27FC236}">
                    <a16:creationId xmlns:a16="http://schemas.microsoft.com/office/drawing/2014/main" xmlns="" id="{29D76AD4-1C22-4F8C-9386-3A4BCF370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" y="2730"/>
                <a:ext cx="540" cy="330"/>
              </a:xfrm>
              <a:custGeom>
                <a:avLst/>
                <a:gdLst>
                  <a:gd name="T0" fmla="*/ 540 w 540"/>
                  <a:gd name="T1" fmla="*/ 240 h 330"/>
                  <a:gd name="T2" fmla="*/ 420 w 540"/>
                  <a:gd name="T3" fmla="*/ 300 h 330"/>
                  <a:gd name="T4" fmla="*/ 270 w 540"/>
                  <a:gd name="T5" fmla="*/ 330 h 330"/>
                  <a:gd name="T6" fmla="*/ 150 w 540"/>
                  <a:gd name="T7" fmla="*/ 180 h 330"/>
                  <a:gd name="T8" fmla="*/ 180 w 540"/>
                  <a:gd name="T9" fmla="*/ 90 h 330"/>
                  <a:gd name="T10" fmla="*/ 120 w 540"/>
                  <a:gd name="T11" fmla="*/ 0 h 330"/>
                  <a:gd name="T12" fmla="*/ 30 w 540"/>
                  <a:gd name="T13" fmla="*/ 180 h 330"/>
                  <a:gd name="T14" fmla="*/ 0 w 540"/>
                  <a:gd name="T15" fmla="*/ 6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0" h="330">
                    <a:moveTo>
                      <a:pt x="540" y="240"/>
                    </a:moveTo>
                    <a:lnTo>
                      <a:pt x="420" y="300"/>
                    </a:lnTo>
                    <a:lnTo>
                      <a:pt x="270" y="330"/>
                    </a:lnTo>
                    <a:lnTo>
                      <a:pt x="150" y="180"/>
                    </a:lnTo>
                    <a:lnTo>
                      <a:pt x="180" y="90"/>
                    </a:lnTo>
                    <a:lnTo>
                      <a:pt x="120" y="0"/>
                    </a:lnTo>
                    <a:lnTo>
                      <a:pt x="30" y="180"/>
                    </a:lnTo>
                    <a:lnTo>
                      <a:pt x="0" y="6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4" name="Line 2604">
                <a:extLst>
                  <a:ext uri="{FF2B5EF4-FFF2-40B4-BE49-F238E27FC236}">
                    <a16:creationId xmlns:a16="http://schemas.microsoft.com/office/drawing/2014/main" xmlns="" id="{9AB400F5-307F-4DEF-989C-79F846EAEC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95" y="153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5" name="Freeform 2605">
                <a:extLst>
                  <a:ext uri="{FF2B5EF4-FFF2-40B4-BE49-F238E27FC236}">
                    <a16:creationId xmlns:a16="http://schemas.microsoft.com/office/drawing/2014/main" xmlns="" id="{B2C89CC1-2810-4E61-9D8E-FFC3385A7A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5" y="1620"/>
                <a:ext cx="180" cy="150"/>
              </a:xfrm>
              <a:custGeom>
                <a:avLst/>
                <a:gdLst>
                  <a:gd name="T0" fmla="*/ 0 w 180"/>
                  <a:gd name="T1" fmla="*/ 0 h 150"/>
                  <a:gd name="T2" fmla="*/ 180 w 180"/>
                  <a:gd name="T3" fmla="*/ 150 h 150"/>
                  <a:gd name="T4" fmla="*/ 120 w 180"/>
                  <a:gd name="T5" fmla="*/ 3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0" h="150">
                    <a:moveTo>
                      <a:pt x="0" y="0"/>
                    </a:moveTo>
                    <a:lnTo>
                      <a:pt x="180" y="150"/>
                    </a:lnTo>
                    <a:lnTo>
                      <a:pt x="120" y="3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6" name="Line 2606">
                <a:extLst>
                  <a:ext uri="{FF2B5EF4-FFF2-40B4-BE49-F238E27FC236}">
                    <a16:creationId xmlns:a16="http://schemas.microsoft.com/office/drawing/2014/main" xmlns="" id="{37346514-AA4F-4C60-8FAE-A786B693B0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985" y="1650"/>
                <a:ext cx="12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7" name="Line 2607">
                <a:extLst>
                  <a:ext uri="{FF2B5EF4-FFF2-40B4-BE49-F238E27FC236}">
                    <a16:creationId xmlns:a16="http://schemas.microsoft.com/office/drawing/2014/main" xmlns="" id="{1186D136-84DD-4CAF-9EC7-2A1007C137E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15" y="159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8" name="Line 2608">
                <a:extLst>
                  <a:ext uri="{FF2B5EF4-FFF2-40B4-BE49-F238E27FC236}">
                    <a16:creationId xmlns:a16="http://schemas.microsoft.com/office/drawing/2014/main" xmlns="" id="{8F32698A-EB22-4B97-98B6-3A5FDCF7E1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85" y="150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19" name="Freeform 2609">
                <a:extLst>
                  <a:ext uri="{FF2B5EF4-FFF2-40B4-BE49-F238E27FC236}">
                    <a16:creationId xmlns:a16="http://schemas.microsoft.com/office/drawing/2014/main" xmlns="" id="{2F6A8FDD-5833-4B06-B59D-E0587B533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1470"/>
                <a:ext cx="330" cy="210"/>
              </a:xfrm>
              <a:custGeom>
                <a:avLst/>
                <a:gdLst>
                  <a:gd name="T0" fmla="*/ 0 w 330"/>
                  <a:gd name="T1" fmla="*/ 150 h 210"/>
                  <a:gd name="T2" fmla="*/ 60 w 330"/>
                  <a:gd name="T3" fmla="*/ 210 h 210"/>
                  <a:gd name="T4" fmla="*/ 150 w 330"/>
                  <a:gd name="T5" fmla="*/ 150 h 210"/>
                  <a:gd name="T6" fmla="*/ 210 w 330"/>
                  <a:gd name="T7" fmla="*/ 60 h 210"/>
                  <a:gd name="T8" fmla="*/ 330 w 330"/>
                  <a:gd name="T9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0" h="210">
                    <a:moveTo>
                      <a:pt x="0" y="150"/>
                    </a:moveTo>
                    <a:lnTo>
                      <a:pt x="60" y="210"/>
                    </a:lnTo>
                    <a:lnTo>
                      <a:pt x="150" y="150"/>
                    </a:lnTo>
                    <a:lnTo>
                      <a:pt x="210" y="60"/>
                    </a:lnTo>
                    <a:lnTo>
                      <a:pt x="33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0" name="Freeform 2610">
                <a:extLst>
                  <a:ext uri="{FF2B5EF4-FFF2-40B4-BE49-F238E27FC236}">
                    <a16:creationId xmlns:a16="http://schemas.microsoft.com/office/drawing/2014/main" xmlns="" id="{B7831F3E-2ADE-4C7E-892E-036F48A115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5" y="1500"/>
                <a:ext cx="270" cy="150"/>
              </a:xfrm>
              <a:custGeom>
                <a:avLst/>
                <a:gdLst>
                  <a:gd name="T0" fmla="*/ 270 w 270"/>
                  <a:gd name="T1" fmla="*/ 90 h 150"/>
                  <a:gd name="T2" fmla="*/ 150 w 270"/>
                  <a:gd name="T3" fmla="*/ 150 h 150"/>
                  <a:gd name="T4" fmla="*/ 30 w 270"/>
                  <a:gd name="T5" fmla="*/ 120 h 150"/>
                  <a:gd name="T6" fmla="*/ 0 w 270"/>
                  <a:gd name="T7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0" h="150">
                    <a:moveTo>
                      <a:pt x="270" y="90"/>
                    </a:moveTo>
                    <a:lnTo>
                      <a:pt x="150" y="150"/>
                    </a:lnTo>
                    <a:lnTo>
                      <a:pt x="30" y="120"/>
                    </a:lnTo>
                    <a:lnTo>
                      <a:pt x="0" y="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1" name="Line 2611">
                <a:extLst>
                  <a:ext uri="{FF2B5EF4-FFF2-40B4-BE49-F238E27FC236}">
                    <a16:creationId xmlns:a16="http://schemas.microsoft.com/office/drawing/2014/main" xmlns="" id="{672F47E1-254D-450A-B333-D663E2916D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5" y="1470"/>
                <a:ext cx="0" cy="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2" name="Line 2612">
                <a:extLst>
                  <a:ext uri="{FF2B5EF4-FFF2-40B4-BE49-F238E27FC236}">
                    <a16:creationId xmlns:a16="http://schemas.microsoft.com/office/drawing/2014/main" xmlns="" id="{2D57A2CA-D306-4731-ABCE-F4218B5F90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75" y="1410"/>
                <a:ext cx="60" cy="9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3" name="Line 2613">
                <a:extLst>
                  <a:ext uri="{FF2B5EF4-FFF2-40B4-BE49-F238E27FC236}">
                    <a16:creationId xmlns:a16="http://schemas.microsoft.com/office/drawing/2014/main" xmlns="" id="{447AACF8-56F8-48D6-B0B6-BA37037E01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65" y="1560"/>
                <a:ext cx="150" cy="60"/>
              </a:xfrm>
              <a:prstGeom prst="line">
                <a:avLst/>
              </a:pr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4" name="Freeform 2614">
                <a:extLst>
                  <a:ext uri="{FF2B5EF4-FFF2-40B4-BE49-F238E27FC236}">
                    <a16:creationId xmlns:a16="http://schemas.microsoft.com/office/drawing/2014/main" xmlns="" id="{D5230537-3937-4D5B-A036-5FC4DD5B3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5" y="1500"/>
                <a:ext cx="180" cy="120"/>
              </a:xfrm>
              <a:custGeom>
                <a:avLst/>
                <a:gdLst>
                  <a:gd name="T0" fmla="*/ 150 w 180"/>
                  <a:gd name="T1" fmla="*/ 0 h 120"/>
                  <a:gd name="T2" fmla="*/ 0 w 180"/>
                  <a:gd name="T3" fmla="*/ 0 h 120"/>
                  <a:gd name="T4" fmla="*/ 30 w 180"/>
                  <a:gd name="T5" fmla="*/ 120 h 120"/>
                  <a:gd name="T6" fmla="*/ 180 w 180"/>
                  <a:gd name="T7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0" h="120">
                    <a:moveTo>
                      <a:pt x="150" y="0"/>
                    </a:moveTo>
                    <a:lnTo>
                      <a:pt x="0" y="0"/>
                    </a:lnTo>
                    <a:lnTo>
                      <a:pt x="30" y="120"/>
                    </a:lnTo>
                    <a:lnTo>
                      <a:pt x="180" y="120"/>
                    </a:lnTo>
                  </a:path>
                </a:pathLst>
              </a:custGeom>
              <a:noFill/>
              <a:ln w="4763" cap="flat">
                <a:solidFill>
                  <a:srgbClr val="E2E2E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5" name="Freeform 2615">
                <a:extLst>
                  <a:ext uri="{FF2B5EF4-FFF2-40B4-BE49-F238E27FC236}">
                    <a16:creationId xmlns:a16="http://schemas.microsoft.com/office/drawing/2014/main" xmlns="" id="{186E4826-6C5D-4BB3-9336-5F870F7847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4" y="125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6" name="Freeform 2616">
                <a:extLst>
                  <a:ext uri="{FF2B5EF4-FFF2-40B4-BE49-F238E27FC236}">
                    <a16:creationId xmlns:a16="http://schemas.microsoft.com/office/drawing/2014/main" xmlns="" id="{C391CB45-9C8F-4C7B-B441-0F9D361A36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4" y="206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7" name="Freeform 2617">
                <a:extLst>
                  <a:ext uri="{FF2B5EF4-FFF2-40B4-BE49-F238E27FC236}">
                    <a16:creationId xmlns:a16="http://schemas.microsoft.com/office/drawing/2014/main" xmlns="" id="{89D46438-51F6-4F28-B1AE-86F690732B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" y="206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8" name="Freeform 2618">
                <a:extLst>
                  <a:ext uri="{FF2B5EF4-FFF2-40B4-BE49-F238E27FC236}">
                    <a16:creationId xmlns:a16="http://schemas.microsoft.com/office/drawing/2014/main" xmlns="" id="{C65614BE-7849-44CF-ABFF-BD36FA370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4" y="53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29" name="Freeform 2619">
                <a:extLst>
                  <a:ext uri="{FF2B5EF4-FFF2-40B4-BE49-F238E27FC236}">
                    <a16:creationId xmlns:a16="http://schemas.microsoft.com/office/drawing/2014/main" xmlns="" id="{7F66261F-B6AB-4DE7-8D2E-0EB94C1775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3" y="531"/>
                <a:ext cx="3" cy="2"/>
              </a:xfrm>
              <a:custGeom>
                <a:avLst/>
                <a:gdLst>
                  <a:gd name="T0" fmla="*/ 0 w 4"/>
                  <a:gd name="T1" fmla="*/ 3 h 3"/>
                  <a:gd name="T2" fmla="*/ 4 w 4"/>
                  <a:gd name="T3" fmla="*/ 0 h 3"/>
                  <a:gd name="T4" fmla="*/ 0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cubicBezTo>
                      <a:pt x="2" y="2"/>
                      <a:pt x="3" y="1"/>
                      <a:pt x="4" y="0"/>
                    </a:cubicBezTo>
                    <a:cubicBezTo>
                      <a:pt x="3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0" name="Oval 2620">
                <a:extLst>
                  <a:ext uri="{FF2B5EF4-FFF2-40B4-BE49-F238E27FC236}">
                    <a16:creationId xmlns:a16="http://schemas.microsoft.com/office/drawing/2014/main" xmlns="" id="{7D5AA986-53FA-4BDF-9D06-A34318F8EE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1" name="Oval 2621">
                <a:extLst>
                  <a:ext uri="{FF2B5EF4-FFF2-40B4-BE49-F238E27FC236}">
                    <a16:creationId xmlns:a16="http://schemas.microsoft.com/office/drawing/2014/main" xmlns="" id="{0017B849-E83B-4EEC-AAC3-FCF881455A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2" name="Oval 2622">
                <a:extLst>
                  <a:ext uri="{FF2B5EF4-FFF2-40B4-BE49-F238E27FC236}">
                    <a16:creationId xmlns:a16="http://schemas.microsoft.com/office/drawing/2014/main" xmlns="" id="{3840FCEA-BA07-48A6-8628-E0530CA4C6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3" name="Oval 2623">
                <a:extLst>
                  <a:ext uri="{FF2B5EF4-FFF2-40B4-BE49-F238E27FC236}">
                    <a16:creationId xmlns:a16="http://schemas.microsoft.com/office/drawing/2014/main" xmlns="" id="{8517C6AB-78DA-4EA2-ACC3-DB70EB9D63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4" name="Oval 2624">
                <a:extLst>
                  <a:ext uri="{FF2B5EF4-FFF2-40B4-BE49-F238E27FC236}">
                    <a16:creationId xmlns:a16="http://schemas.microsoft.com/office/drawing/2014/main" xmlns="" id="{151474C7-4BA3-4526-8789-3F588F2756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4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5" name="Oval 2625">
                <a:extLst>
                  <a:ext uri="{FF2B5EF4-FFF2-40B4-BE49-F238E27FC236}">
                    <a16:creationId xmlns:a16="http://schemas.microsoft.com/office/drawing/2014/main" xmlns="" id="{637A3E53-B5F7-4D2B-9D6F-D26428ADEC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4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6" name="Oval 2626">
                <a:extLst>
                  <a:ext uri="{FF2B5EF4-FFF2-40B4-BE49-F238E27FC236}">
                    <a16:creationId xmlns:a16="http://schemas.microsoft.com/office/drawing/2014/main" xmlns="" id="{BE75D479-27A3-4C86-B393-C2C6DBBF63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24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7" name="Oval 2627">
                <a:extLst>
                  <a:ext uri="{FF2B5EF4-FFF2-40B4-BE49-F238E27FC236}">
                    <a16:creationId xmlns:a16="http://schemas.microsoft.com/office/drawing/2014/main" xmlns="" id="{25FF4F16-B447-4F77-A242-12E9C26807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8" name="Oval 2628">
                <a:extLst>
                  <a:ext uri="{FF2B5EF4-FFF2-40B4-BE49-F238E27FC236}">
                    <a16:creationId xmlns:a16="http://schemas.microsoft.com/office/drawing/2014/main" xmlns="" id="{B5D1B9AD-6869-407C-80A8-FD31F9F73F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39" name="Oval 2629">
                <a:extLst>
                  <a:ext uri="{FF2B5EF4-FFF2-40B4-BE49-F238E27FC236}">
                    <a16:creationId xmlns:a16="http://schemas.microsoft.com/office/drawing/2014/main" xmlns="" id="{45171956-4028-4070-B968-3152716A16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4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0" name="Oval 2630">
                <a:extLst>
                  <a:ext uri="{FF2B5EF4-FFF2-40B4-BE49-F238E27FC236}">
                    <a16:creationId xmlns:a16="http://schemas.microsoft.com/office/drawing/2014/main" xmlns="" id="{C1141C36-7341-4522-8B29-6748769B44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1" name="Oval 2631">
                <a:extLst>
                  <a:ext uri="{FF2B5EF4-FFF2-40B4-BE49-F238E27FC236}">
                    <a16:creationId xmlns:a16="http://schemas.microsoft.com/office/drawing/2014/main" xmlns="" id="{91584CD1-C5EF-46AE-8C88-49E9CB02FC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4" y="26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2" name="Oval 2632">
                <a:extLst>
                  <a:ext uri="{FF2B5EF4-FFF2-40B4-BE49-F238E27FC236}">
                    <a16:creationId xmlns:a16="http://schemas.microsoft.com/office/drawing/2014/main" xmlns="" id="{E9BDD82E-503D-4EAF-9953-37AF36E075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4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3" name="Oval 2633">
                <a:extLst>
                  <a:ext uri="{FF2B5EF4-FFF2-40B4-BE49-F238E27FC236}">
                    <a16:creationId xmlns:a16="http://schemas.microsoft.com/office/drawing/2014/main" xmlns="" id="{5B6431FE-D37E-4069-BF8D-3D01FB5339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4" name="Oval 2634">
                <a:extLst>
                  <a:ext uri="{FF2B5EF4-FFF2-40B4-BE49-F238E27FC236}">
                    <a16:creationId xmlns:a16="http://schemas.microsoft.com/office/drawing/2014/main" xmlns="" id="{BA825897-6B4B-4030-A1A2-7AA30656BB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5" name="Oval 2635">
                <a:extLst>
                  <a:ext uri="{FF2B5EF4-FFF2-40B4-BE49-F238E27FC236}">
                    <a16:creationId xmlns:a16="http://schemas.microsoft.com/office/drawing/2014/main" xmlns="" id="{B1A1C359-E6F2-4727-8D79-3D12BDD77C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6" name="Oval 2636">
                <a:extLst>
                  <a:ext uri="{FF2B5EF4-FFF2-40B4-BE49-F238E27FC236}">
                    <a16:creationId xmlns:a16="http://schemas.microsoft.com/office/drawing/2014/main" xmlns="" id="{741D9434-FA10-4A3F-92AF-C1B0E7D9A6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7" name="Oval 2637">
                <a:extLst>
                  <a:ext uri="{FF2B5EF4-FFF2-40B4-BE49-F238E27FC236}">
                    <a16:creationId xmlns:a16="http://schemas.microsoft.com/office/drawing/2014/main" xmlns="" id="{3DA66931-F40B-4EED-86FE-7A252A8974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4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8" name="Oval 2638">
                <a:extLst>
                  <a:ext uri="{FF2B5EF4-FFF2-40B4-BE49-F238E27FC236}">
                    <a16:creationId xmlns:a16="http://schemas.microsoft.com/office/drawing/2014/main" xmlns="" id="{3C22C594-1BE9-4FD9-B0E4-6FCDFDB591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49" name="Oval 2639">
                <a:extLst>
                  <a:ext uri="{FF2B5EF4-FFF2-40B4-BE49-F238E27FC236}">
                    <a16:creationId xmlns:a16="http://schemas.microsoft.com/office/drawing/2014/main" xmlns="" id="{F5FE1887-5518-465C-80B3-108151ADCC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0" name="Oval 2640">
                <a:extLst>
                  <a:ext uri="{FF2B5EF4-FFF2-40B4-BE49-F238E27FC236}">
                    <a16:creationId xmlns:a16="http://schemas.microsoft.com/office/drawing/2014/main" xmlns="" id="{2B7C877B-4647-4AB8-83B1-F58FA6863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1" name="Oval 2641">
                <a:extLst>
                  <a:ext uri="{FF2B5EF4-FFF2-40B4-BE49-F238E27FC236}">
                    <a16:creationId xmlns:a16="http://schemas.microsoft.com/office/drawing/2014/main" xmlns="" id="{EBCAA00A-78BC-45EB-B158-3A5DA8224E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4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2" name="Oval 2642">
                <a:extLst>
                  <a:ext uri="{FF2B5EF4-FFF2-40B4-BE49-F238E27FC236}">
                    <a16:creationId xmlns:a16="http://schemas.microsoft.com/office/drawing/2014/main" xmlns="" id="{495F5092-9079-4B2A-A0F7-8182E30DF5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3" name="Oval 2643">
                <a:extLst>
                  <a:ext uri="{FF2B5EF4-FFF2-40B4-BE49-F238E27FC236}">
                    <a16:creationId xmlns:a16="http://schemas.microsoft.com/office/drawing/2014/main" xmlns="" id="{8C20932A-E594-4D00-9F68-B0101A2F04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4" name="Oval 2644">
                <a:extLst>
                  <a:ext uri="{FF2B5EF4-FFF2-40B4-BE49-F238E27FC236}">
                    <a16:creationId xmlns:a16="http://schemas.microsoft.com/office/drawing/2014/main" xmlns="" id="{BB7F1A50-0074-4369-B07E-06F15C5387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04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5" name="Oval 2645">
                <a:extLst>
                  <a:ext uri="{FF2B5EF4-FFF2-40B4-BE49-F238E27FC236}">
                    <a16:creationId xmlns:a16="http://schemas.microsoft.com/office/drawing/2014/main" xmlns="" id="{7F8812FE-24EF-4904-BDA7-BC9DE4C74D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4" y="13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6" name="Oval 2646">
                <a:extLst>
                  <a:ext uri="{FF2B5EF4-FFF2-40B4-BE49-F238E27FC236}">
                    <a16:creationId xmlns:a16="http://schemas.microsoft.com/office/drawing/2014/main" xmlns="" id="{B13DEA20-F35F-4359-A1A4-633C9B722B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7" name="Oval 2647">
                <a:extLst>
                  <a:ext uri="{FF2B5EF4-FFF2-40B4-BE49-F238E27FC236}">
                    <a16:creationId xmlns:a16="http://schemas.microsoft.com/office/drawing/2014/main" xmlns="" id="{BDC5020D-B699-44AF-8737-E950DE8BA5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4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8" name="Oval 2648">
                <a:extLst>
                  <a:ext uri="{FF2B5EF4-FFF2-40B4-BE49-F238E27FC236}">
                    <a16:creationId xmlns:a16="http://schemas.microsoft.com/office/drawing/2014/main" xmlns="" id="{5AE417E4-66A6-4247-8C60-C1D60C76B9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59" name="Oval 2649">
                <a:extLst>
                  <a:ext uri="{FF2B5EF4-FFF2-40B4-BE49-F238E27FC236}">
                    <a16:creationId xmlns:a16="http://schemas.microsoft.com/office/drawing/2014/main" xmlns="" id="{AA9D20CC-F7B7-4AAF-805F-23F3A8CCB1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0" name="Oval 2650">
                <a:extLst>
                  <a:ext uri="{FF2B5EF4-FFF2-40B4-BE49-F238E27FC236}">
                    <a16:creationId xmlns:a16="http://schemas.microsoft.com/office/drawing/2014/main" xmlns="" id="{3F04D762-EC50-471C-BF02-B34545D0F4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4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1" name="Oval 2651">
                <a:extLst>
                  <a:ext uri="{FF2B5EF4-FFF2-40B4-BE49-F238E27FC236}">
                    <a16:creationId xmlns:a16="http://schemas.microsoft.com/office/drawing/2014/main" xmlns="" id="{D03537D8-0B86-4936-A6EE-7BF6FDFF63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2" name="Oval 2652">
                <a:extLst>
                  <a:ext uri="{FF2B5EF4-FFF2-40B4-BE49-F238E27FC236}">
                    <a16:creationId xmlns:a16="http://schemas.microsoft.com/office/drawing/2014/main" xmlns="" id="{FD2E68EB-D294-4846-9D99-2759059857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3" name="Oval 2653">
                <a:extLst>
                  <a:ext uri="{FF2B5EF4-FFF2-40B4-BE49-F238E27FC236}">
                    <a16:creationId xmlns:a16="http://schemas.microsoft.com/office/drawing/2014/main" xmlns="" id="{4FDC08F2-B7CF-4762-9E55-51243FA28A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4" name="Oval 2654">
                <a:extLst>
                  <a:ext uri="{FF2B5EF4-FFF2-40B4-BE49-F238E27FC236}">
                    <a16:creationId xmlns:a16="http://schemas.microsoft.com/office/drawing/2014/main" xmlns="" id="{0D504A83-0C88-4FBC-BAB4-19FA5E5AFC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5" name="Oval 2655">
                <a:extLst>
                  <a:ext uri="{FF2B5EF4-FFF2-40B4-BE49-F238E27FC236}">
                    <a16:creationId xmlns:a16="http://schemas.microsoft.com/office/drawing/2014/main" xmlns="" id="{60B827BD-7EAB-47B5-9B94-F2027A863C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4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6" name="Oval 2656">
                <a:extLst>
                  <a:ext uri="{FF2B5EF4-FFF2-40B4-BE49-F238E27FC236}">
                    <a16:creationId xmlns:a16="http://schemas.microsoft.com/office/drawing/2014/main" xmlns="" id="{209F3275-34A0-409C-B35E-F3F39A16FA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7" name="Oval 2657">
                <a:extLst>
                  <a:ext uri="{FF2B5EF4-FFF2-40B4-BE49-F238E27FC236}">
                    <a16:creationId xmlns:a16="http://schemas.microsoft.com/office/drawing/2014/main" xmlns="" id="{4B220A02-F739-4766-967A-C0D8693F1D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4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8" name="Oval 2658">
                <a:extLst>
                  <a:ext uri="{FF2B5EF4-FFF2-40B4-BE49-F238E27FC236}">
                    <a16:creationId xmlns:a16="http://schemas.microsoft.com/office/drawing/2014/main" xmlns="" id="{8656B4CD-A562-4E52-95AF-9A4A064410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14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69" name="Oval 2659">
                <a:extLst>
                  <a:ext uri="{FF2B5EF4-FFF2-40B4-BE49-F238E27FC236}">
                    <a16:creationId xmlns:a16="http://schemas.microsoft.com/office/drawing/2014/main" xmlns="" id="{F9B50E16-AC90-4702-A2B0-1CF07FCE2A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4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0" name="Oval 2660">
                <a:extLst>
                  <a:ext uri="{FF2B5EF4-FFF2-40B4-BE49-F238E27FC236}">
                    <a16:creationId xmlns:a16="http://schemas.microsoft.com/office/drawing/2014/main" xmlns="" id="{2A42687A-7FC7-4936-B9A7-BB3F72A714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1" name="Oval 2661">
                <a:extLst>
                  <a:ext uri="{FF2B5EF4-FFF2-40B4-BE49-F238E27FC236}">
                    <a16:creationId xmlns:a16="http://schemas.microsoft.com/office/drawing/2014/main" xmlns="" id="{A1D30381-3ABE-4656-A0A5-14B3342D28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4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2" name="Oval 2662">
                <a:extLst>
                  <a:ext uri="{FF2B5EF4-FFF2-40B4-BE49-F238E27FC236}">
                    <a16:creationId xmlns:a16="http://schemas.microsoft.com/office/drawing/2014/main" xmlns="" id="{7903DEAB-164A-4F5C-BFD0-DC9291899F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3" name="Oval 2663">
                <a:extLst>
                  <a:ext uri="{FF2B5EF4-FFF2-40B4-BE49-F238E27FC236}">
                    <a16:creationId xmlns:a16="http://schemas.microsoft.com/office/drawing/2014/main" xmlns="" id="{DC511BCB-AF2C-4B34-B87E-A6D4A6B459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34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4" name="Oval 2664">
                <a:extLst>
                  <a:ext uri="{FF2B5EF4-FFF2-40B4-BE49-F238E27FC236}">
                    <a16:creationId xmlns:a16="http://schemas.microsoft.com/office/drawing/2014/main" xmlns="" id="{080E606A-C7A6-476E-85AE-6A8C50CCAC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4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5" name="Oval 2665">
                <a:extLst>
                  <a:ext uri="{FF2B5EF4-FFF2-40B4-BE49-F238E27FC236}">
                    <a16:creationId xmlns:a16="http://schemas.microsoft.com/office/drawing/2014/main" xmlns="" id="{21623BEC-FC00-4378-9263-4322CD2C35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4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6" name="Oval 2666">
                <a:extLst>
                  <a:ext uri="{FF2B5EF4-FFF2-40B4-BE49-F238E27FC236}">
                    <a16:creationId xmlns:a16="http://schemas.microsoft.com/office/drawing/2014/main" xmlns="" id="{D84F49A1-396E-45B9-B4E0-401FF6E9F2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4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7" name="Oval 2667">
                <a:extLst>
                  <a:ext uri="{FF2B5EF4-FFF2-40B4-BE49-F238E27FC236}">
                    <a16:creationId xmlns:a16="http://schemas.microsoft.com/office/drawing/2014/main" xmlns="" id="{60E73FD3-7058-40CE-BB0C-44E1ADEEF2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8" name="Oval 2668">
                <a:extLst>
                  <a:ext uri="{FF2B5EF4-FFF2-40B4-BE49-F238E27FC236}">
                    <a16:creationId xmlns:a16="http://schemas.microsoft.com/office/drawing/2014/main" xmlns="" id="{26A07F9E-3012-4F03-AB25-5ED984DF0A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79" name="Oval 2669">
                <a:extLst>
                  <a:ext uri="{FF2B5EF4-FFF2-40B4-BE49-F238E27FC236}">
                    <a16:creationId xmlns:a16="http://schemas.microsoft.com/office/drawing/2014/main" xmlns="" id="{A3DF7859-55F5-4B18-9FCC-F5DD563253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0" name="Oval 2670">
                <a:extLst>
                  <a:ext uri="{FF2B5EF4-FFF2-40B4-BE49-F238E27FC236}">
                    <a16:creationId xmlns:a16="http://schemas.microsoft.com/office/drawing/2014/main" xmlns="" id="{F5CE45F5-9A75-414D-980F-01C215706D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5" y="36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1" name="Oval 2671">
                <a:extLst>
                  <a:ext uri="{FF2B5EF4-FFF2-40B4-BE49-F238E27FC236}">
                    <a16:creationId xmlns:a16="http://schemas.microsoft.com/office/drawing/2014/main" xmlns="" id="{F46F04BB-5693-467C-BAD9-A6BB54CA54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4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2" name="Oval 2672">
                <a:extLst>
                  <a:ext uri="{FF2B5EF4-FFF2-40B4-BE49-F238E27FC236}">
                    <a16:creationId xmlns:a16="http://schemas.microsoft.com/office/drawing/2014/main" xmlns="" id="{0BB9E677-68C3-48E8-AE28-62CD1B695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4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3" name="Oval 2673">
                <a:extLst>
                  <a:ext uri="{FF2B5EF4-FFF2-40B4-BE49-F238E27FC236}">
                    <a16:creationId xmlns:a16="http://schemas.microsoft.com/office/drawing/2014/main" xmlns="" id="{E3D7340E-A0CA-4428-8751-562A0D8FF3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5" y="78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4" name="Oval 2674">
                <a:extLst>
                  <a:ext uri="{FF2B5EF4-FFF2-40B4-BE49-F238E27FC236}">
                    <a16:creationId xmlns:a16="http://schemas.microsoft.com/office/drawing/2014/main" xmlns="" id="{D6560FF2-8BF4-4037-94A2-82543D1D2A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5" name="Oval 2675">
                <a:extLst>
                  <a:ext uri="{FF2B5EF4-FFF2-40B4-BE49-F238E27FC236}">
                    <a16:creationId xmlns:a16="http://schemas.microsoft.com/office/drawing/2014/main" xmlns="" id="{D05B4ADF-A837-415C-8AD8-CE0D147BB3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6" name="Oval 2676">
                <a:extLst>
                  <a:ext uri="{FF2B5EF4-FFF2-40B4-BE49-F238E27FC236}">
                    <a16:creationId xmlns:a16="http://schemas.microsoft.com/office/drawing/2014/main" xmlns="" id="{7778E4F6-96FE-44BA-9B42-04D03C9D37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7" name="Oval 2677">
                <a:extLst>
                  <a:ext uri="{FF2B5EF4-FFF2-40B4-BE49-F238E27FC236}">
                    <a16:creationId xmlns:a16="http://schemas.microsoft.com/office/drawing/2014/main" xmlns="" id="{60316479-79A0-44A8-B232-BDA9D5D192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1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8" name="Oval 2678">
                <a:extLst>
                  <a:ext uri="{FF2B5EF4-FFF2-40B4-BE49-F238E27FC236}">
                    <a16:creationId xmlns:a16="http://schemas.microsoft.com/office/drawing/2014/main" xmlns="" id="{CD05EBF5-D554-4EA3-98D5-E26C301145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5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89" name="Oval 2679">
                <a:extLst>
                  <a:ext uri="{FF2B5EF4-FFF2-40B4-BE49-F238E27FC236}">
                    <a16:creationId xmlns:a16="http://schemas.microsoft.com/office/drawing/2014/main" xmlns="" id="{77ACF15D-A01F-4843-BBC9-B366E91347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0" name="Oval 2680">
                <a:extLst>
                  <a:ext uri="{FF2B5EF4-FFF2-40B4-BE49-F238E27FC236}">
                    <a16:creationId xmlns:a16="http://schemas.microsoft.com/office/drawing/2014/main" xmlns="" id="{06AC55C3-5040-426E-ABF9-325D81F8F1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5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1" name="Oval 2681">
                <a:extLst>
                  <a:ext uri="{FF2B5EF4-FFF2-40B4-BE49-F238E27FC236}">
                    <a16:creationId xmlns:a16="http://schemas.microsoft.com/office/drawing/2014/main" xmlns="" id="{68A2CC6C-1E64-4601-A15D-FBCD531279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5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2" name="Oval 2682">
                <a:extLst>
                  <a:ext uri="{FF2B5EF4-FFF2-40B4-BE49-F238E27FC236}">
                    <a16:creationId xmlns:a16="http://schemas.microsoft.com/office/drawing/2014/main" xmlns="" id="{F683C56B-3054-4C7E-853C-E5DC694ECD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3" name="Oval 2683">
                <a:extLst>
                  <a:ext uri="{FF2B5EF4-FFF2-40B4-BE49-F238E27FC236}">
                    <a16:creationId xmlns:a16="http://schemas.microsoft.com/office/drawing/2014/main" xmlns="" id="{2C5584A2-A521-4B91-B6DA-857A3FC49A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4" name="Oval 2684">
                <a:extLst>
                  <a:ext uri="{FF2B5EF4-FFF2-40B4-BE49-F238E27FC236}">
                    <a16:creationId xmlns:a16="http://schemas.microsoft.com/office/drawing/2014/main" xmlns="" id="{CB8ABF81-4790-4849-81AF-6A4C3766A4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4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5" name="Oval 2685">
                <a:extLst>
                  <a:ext uri="{FF2B5EF4-FFF2-40B4-BE49-F238E27FC236}">
                    <a16:creationId xmlns:a16="http://schemas.microsoft.com/office/drawing/2014/main" xmlns="" id="{446DE32C-08E9-4CCC-A723-A7A37B12D8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5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6" name="Oval 2686">
                <a:extLst>
                  <a:ext uri="{FF2B5EF4-FFF2-40B4-BE49-F238E27FC236}">
                    <a16:creationId xmlns:a16="http://schemas.microsoft.com/office/drawing/2014/main" xmlns="" id="{910FCAC9-DB9F-4660-B7E4-8CA59C4B2B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7" name="Oval 2687">
                <a:extLst>
                  <a:ext uri="{FF2B5EF4-FFF2-40B4-BE49-F238E27FC236}">
                    <a16:creationId xmlns:a16="http://schemas.microsoft.com/office/drawing/2014/main" xmlns="" id="{943D6649-3DFB-4883-8D4F-878EAC4CAC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8" name="Oval 2688">
                <a:extLst>
                  <a:ext uri="{FF2B5EF4-FFF2-40B4-BE49-F238E27FC236}">
                    <a16:creationId xmlns:a16="http://schemas.microsoft.com/office/drawing/2014/main" xmlns="" id="{21657494-DDB5-415B-BB35-2E0774436A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3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99" name="Oval 2689">
                <a:extLst>
                  <a:ext uri="{FF2B5EF4-FFF2-40B4-BE49-F238E27FC236}">
                    <a16:creationId xmlns:a16="http://schemas.microsoft.com/office/drawing/2014/main" xmlns="" id="{0112293C-561F-49E7-93EE-CFCE0B8A4D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0" name="Oval 2690">
                <a:extLst>
                  <a:ext uri="{FF2B5EF4-FFF2-40B4-BE49-F238E27FC236}">
                    <a16:creationId xmlns:a16="http://schemas.microsoft.com/office/drawing/2014/main" xmlns="" id="{8E5A77F9-1ACD-49B2-A12A-492ACFC523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1" name="Oval 2691">
                <a:extLst>
                  <a:ext uri="{FF2B5EF4-FFF2-40B4-BE49-F238E27FC236}">
                    <a16:creationId xmlns:a16="http://schemas.microsoft.com/office/drawing/2014/main" xmlns="" id="{FF17AD6B-9F6D-4F1E-AA03-ADE70A3575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2" name="Oval 2692">
                <a:extLst>
                  <a:ext uri="{FF2B5EF4-FFF2-40B4-BE49-F238E27FC236}">
                    <a16:creationId xmlns:a16="http://schemas.microsoft.com/office/drawing/2014/main" xmlns="" id="{49DE2702-D92F-4EE9-9F8A-23B564032D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4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3" name="Oval 2693">
                <a:extLst>
                  <a:ext uri="{FF2B5EF4-FFF2-40B4-BE49-F238E27FC236}">
                    <a16:creationId xmlns:a16="http://schemas.microsoft.com/office/drawing/2014/main" xmlns="" id="{1D7256C6-5486-4072-887D-A6532826DA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4" name="Oval 2694">
                <a:extLst>
                  <a:ext uri="{FF2B5EF4-FFF2-40B4-BE49-F238E27FC236}">
                    <a16:creationId xmlns:a16="http://schemas.microsoft.com/office/drawing/2014/main" xmlns="" id="{451C7BF0-BA39-4F01-A0B4-0D128BBF73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5" name="Oval 2695">
                <a:extLst>
                  <a:ext uri="{FF2B5EF4-FFF2-40B4-BE49-F238E27FC236}">
                    <a16:creationId xmlns:a16="http://schemas.microsoft.com/office/drawing/2014/main" xmlns="" id="{86ECAB5E-51BD-4FBC-B0D7-0098773882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6" name="Oval 2696">
                <a:extLst>
                  <a:ext uri="{FF2B5EF4-FFF2-40B4-BE49-F238E27FC236}">
                    <a16:creationId xmlns:a16="http://schemas.microsoft.com/office/drawing/2014/main" xmlns="" id="{6D986BE1-C7A1-4D07-958C-B4C1055B2C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7" name="Oval 2697">
                <a:extLst>
                  <a:ext uri="{FF2B5EF4-FFF2-40B4-BE49-F238E27FC236}">
                    <a16:creationId xmlns:a16="http://schemas.microsoft.com/office/drawing/2014/main" xmlns="" id="{1B20F3AC-1660-475F-A4EF-B4923B45C9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8" name="Oval 2698">
                <a:extLst>
                  <a:ext uri="{FF2B5EF4-FFF2-40B4-BE49-F238E27FC236}">
                    <a16:creationId xmlns:a16="http://schemas.microsoft.com/office/drawing/2014/main" xmlns="" id="{DD26C94B-36CF-4FBD-9C1D-B2456BF3A9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09" name="Oval 2699">
                <a:extLst>
                  <a:ext uri="{FF2B5EF4-FFF2-40B4-BE49-F238E27FC236}">
                    <a16:creationId xmlns:a16="http://schemas.microsoft.com/office/drawing/2014/main" xmlns="" id="{5A84D512-EFA8-4F97-873E-07070CFEEB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0" name="Oval 2700">
                <a:extLst>
                  <a:ext uri="{FF2B5EF4-FFF2-40B4-BE49-F238E27FC236}">
                    <a16:creationId xmlns:a16="http://schemas.microsoft.com/office/drawing/2014/main" xmlns="" id="{8D32CF99-1D10-419D-AB15-BADA616E17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1" name="Oval 2701">
                <a:extLst>
                  <a:ext uri="{FF2B5EF4-FFF2-40B4-BE49-F238E27FC236}">
                    <a16:creationId xmlns:a16="http://schemas.microsoft.com/office/drawing/2014/main" xmlns="" id="{A109D0F7-4B75-4F8B-96DA-59CAD206A8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2" name="Oval 2702">
                <a:extLst>
                  <a:ext uri="{FF2B5EF4-FFF2-40B4-BE49-F238E27FC236}">
                    <a16:creationId xmlns:a16="http://schemas.microsoft.com/office/drawing/2014/main" xmlns="" id="{EDF558AF-25C5-47BB-A7D0-3F3DA26282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15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3" name="Oval 2703">
                <a:extLst>
                  <a:ext uri="{FF2B5EF4-FFF2-40B4-BE49-F238E27FC236}">
                    <a16:creationId xmlns:a16="http://schemas.microsoft.com/office/drawing/2014/main" xmlns="" id="{1132C05F-2222-4348-ABA0-C33BB62987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4" name="Oval 2704">
                <a:extLst>
                  <a:ext uri="{FF2B5EF4-FFF2-40B4-BE49-F238E27FC236}">
                    <a16:creationId xmlns:a16="http://schemas.microsoft.com/office/drawing/2014/main" xmlns="" id="{9C96B3DA-6976-465A-83B1-2D43FA9760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5" name="Oval 2705">
                <a:extLst>
                  <a:ext uri="{FF2B5EF4-FFF2-40B4-BE49-F238E27FC236}">
                    <a16:creationId xmlns:a16="http://schemas.microsoft.com/office/drawing/2014/main" xmlns="" id="{E8637EC7-FC83-449E-B35E-A48F4E94BB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6" name="Oval 2706">
                <a:extLst>
                  <a:ext uri="{FF2B5EF4-FFF2-40B4-BE49-F238E27FC236}">
                    <a16:creationId xmlns:a16="http://schemas.microsoft.com/office/drawing/2014/main" xmlns="" id="{AF18984A-5140-4DF7-8B08-ABDE10473B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7" name="Oval 2707">
                <a:extLst>
                  <a:ext uri="{FF2B5EF4-FFF2-40B4-BE49-F238E27FC236}">
                    <a16:creationId xmlns:a16="http://schemas.microsoft.com/office/drawing/2014/main" xmlns="" id="{B8AC8FCF-4456-462B-B0C0-14A9244CC5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10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8" name="Oval 2708">
                <a:extLst>
                  <a:ext uri="{FF2B5EF4-FFF2-40B4-BE49-F238E27FC236}">
                    <a16:creationId xmlns:a16="http://schemas.microsoft.com/office/drawing/2014/main" xmlns="" id="{736FB248-8A0C-4017-A971-A060567253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19" name="Oval 2709">
                <a:extLst>
                  <a:ext uri="{FF2B5EF4-FFF2-40B4-BE49-F238E27FC236}">
                    <a16:creationId xmlns:a16="http://schemas.microsoft.com/office/drawing/2014/main" xmlns="" id="{F389423D-2FE8-4DB2-9284-BD04D78F61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0" name="Oval 2710">
                <a:extLst>
                  <a:ext uri="{FF2B5EF4-FFF2-40B4-BE49-F238E27FC236}">
                    <a16:creationId xmlns:a16="http://schemas.microsoft.com/office/drawing/2014/main" xmlns="" id="{63F7FADE-7E3F-427F-A206-EBAC1E2CBE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1" name="Oval 2711">
                <a:extLst>
                  <a:ext uri="{FF2B5EF4-FFF2-40B4-BE49-F238E27FC236}">
                    <a16:creationId xmlns:a16="http://schemas.microsoft.com/office/drawing/2014/main" xmlns="" id="{FD345648-B9DC-489A-8614-982BED7689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2" name="Oval 2712">
                <a:extLst>
                  <a:ext uri="{FF2B5EF4-FFF2-40B4-BE49-F238E27FC236}">
                    <a16:creationId xmlns:a16="http://schemas.microsoft.com/office/drawing/2014/main" xmlns="" id="{A5BE3984-DE21-4625-B11A-15D495CC38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3" name="Oval 2713">
                <a:extLst>
                  <a:ext uri="{FF2B5EF4-FFF2-40B4-BE49-F238E27FC236}">
                    <a16:creationId xmlns:a16="http://schemas.microsoft.com/office/drawing/2014/main" xmlns="" id="{357E5CC3-A010-4400-BC1C-0CA954A136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4" name="Oval 2714">
                <a:extLst>
                  <a:ext uri="{FF2B5EF4-FFF2-40B4-BE49-F238E27FC236}">
                    <a16:creationId xmlns:a16="http://schemas.microsoft.com/office/drawing/2014/main" xmlns="" id="{F02EE3A0-43DB-4000-8335-C0568CB097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1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5" name="Oval 2715">
                <a:extLst>
                  <a:ext uri="{FF2B5EF4-FFF2-40B4-BE49-F238E27FC236}">
                    <a16:creationId xmlns:a16="http://schemas.microsoft.com/office/drawing/2014/main" xmlns="" id="{D022DCDE-7ACF-4CC7-9A53-B1632919EA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6" name="Oval 2716">
                <a:extLst>
                  <a:ext uri="{FF2B5EF4-FFF2-40B4-BE49-F238E27FC236}">
                    <a16:creationId xmlns:a16="http://schemas.microsoft.com/office/drawing/2014/main" xmlns="" id="{FD5212BA-CB10-46E2-AE10-378896581A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7" name="Oval 2717">
                <a:extLst>
                  <a:ext uri="{FF2B5EF4-FFF2-40B4-BE49-F238E27FC236}">
                    <a16:creationId xmlns:a16="http://schemas.microsoft.com/office/drawing/2014/main" xmlns="" id="{6122A88E-D886-4B51-9F85-89967668EE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8" name="Oval 2718">
                <a:extLst>
                  <a:ext uri="{FF2B5EF4-FFF2-40B4-BE49-F238E27FC236}">
                    <a16:creationId xmlns:a16="http://schemas.microsoft.com/office/drawing/2014/main" xmlns="" id="{A43094B7-2E51-4596-99BD-7F567D4AD8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29" name="Oval 2719">
                <a:extLst>
                  <a:ext uri="{FF2B5EF4-FFF2-40B4-BE49-F238E27FC236}">
                    <a16:creationId xmlns:a16="http://schemas.microsoft.com/office/drawing/2014/main" xmlns="" id="{1CA2DECB-8761-4F56-950A-2D73E5231C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0" name="Oval 2720">
                <a:extLst>
                  <a:ext uri="{FF2B5EF4-FFF2-40B4-BE49-F238E27FC236}">
                    <a16:creationId xmlns:a16="http://schemas.microsoft.com/office/drawing/2014/main" xmlns="" id="{80C12790-C7A5-4DF0-AB85-A0DBC7F3B0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1" name="Oval 2721">
                <a:extLst>
                  <a:ext uri="{FF2B5EF4-FFF2-40B4-BE49-F238E27FC236}">
                    <a16:creationId xmlns:a16="http://schemas.microsoft.com/office/drawing/2014/main" xmlns="" id="{1A58D89D-1A19-4BA9-BFEF-830A0D569F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2" name="Oval 2722">
                <a:extLst>
                  <a:ext uri="{FF2B5EF4-FFF2-40B4-BE49-F238E27FC236}">
                    <a16:creationId xmlns:a16="http://schemas.microsoft.com/office/drawing/2014/main" xmlns="" id="{4F3BEDFD-89C6-4C30-91D0-BD31B3C90F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3" name="Oval 2723">
                <a:extLst>
                  <a:ext uri="{FF2B5EF4-FFF2-40B4-BE49-F238E27FC236}">
                    <a16:creationId xmlns:a16="http://schemas.microsoft.com/office/drawing/2014/main" xmlns="" id="{FC59098B-80F6-4858-984D-90AA991622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4" name="Oval 2724">
                <a:extLst>
                  <a:ext uri="{FF2B5EF4-FFF2-40B4-BE49-F238E27FC236}">
                    <a16:creationId xmlns:a16="http://schemas.microsoft.com/office/drawing/2014/main" xmlns="" id="{1F861820-FD06-42AB-BE24-1E4485E1E8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5" name="Oval 2725">
                <a:extLst>
                  <a:ext uri="{FF2B5EF4-FFF2-40B4-BE49-F238E27FC236}">
                    <a16:creationId xmlns:a16="http://schemas.microsoft.com/office/drawing/2014/main" xmlns="" id="{2A081706-3ED1-412C-B142-C8C2D67EA2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6" name="Oval 2726">
                <a:extLst>
                  <a:ext uri="{FF2B5EF4-FFF2-40B4-BE49-F238E27FC236}">
                    <a16:creationId xmlns:a16="http://schemas.microsoft.com/office/drawing/2014/main" xmlns="" id="{BDA03BDF-4CD8-4D07-BC62-0938C6F1D3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7" name="Oval 2727">
                <a:extLst>
                  <a:ext uri="{FF2B5EF4-FFF2-40B4-BE49-F238E27FC236}">
                    <a16:creationId xmlns:a16="http://schemas.microsoft.com/office/drawing/2014/main" xmlns="" id="{CA602E85-B624-4A06-AC46-AEC6BEDA23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8" name="Oval 2728">
                <a:extLst>
                  <a:ext uri="{FF2B5EF4-FFF2-40B4-BE49-F238E27FC236}">
                    <a16:creationId xmlns:a16="http://schemas.microsoft.com/office/drawing/2014/main" xmlns="" id="{4F1250A6-3752-4183-B4D9-5300A4536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39" name="Oval 2729">
                <a:extLst>
                  <a:ext uri="{FF2B5EF4-FFF2-40B4-BE49-F238E27FC236}">
                    <a16:creationId xmlns:a16="http://schemas.microsoft.com/office/drawing/2014/main" xmlns="" id="{DED79C39-0757-4EF4-82BD-D87B7BBB2C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0" name="Oval 2730">
                <a:extLst>
                  <a:ext uri="{FF2B5EF4-FFF2-40B4-BE49-F238E27FC236}">
                    <a16:creationId xmlns:a16="http://schemas.microsoft.com/office/drawing/2014/main" xmlns="" id="{D9DF39CB-E626-43AF-AA6E-5F457DC3D3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1" name="Oval 2731">
                <a:extLst>
                  <a:ext uri="{FF2B5EF4-FFF2-40B4-BE49-F238E27FC236}">
                    <a16:creationId xmlns:a16="http://schemas.microsoft.com/office/drawing/2014/main" xmlns="" id="{CE8E430F-0566-44E0-A831-A618E87492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8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2" name="Oval 2732">
                <a:extLst>
                  <a:ext uri="{FF2B5EF4-FFF2-40B4-BE49-F238E27FC236}">
                    <a16:creationId xmlns:a16="http://schemas.microsoft.com/office/drawing/2014/main" xmlns="" id="{04D3182D-3F11-4CB6-8C21-B1E15336D6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3" name="Oval 2733">
                <a:extLst>
                  <a:ext uri="{FF2B5EF4-FFF2-40B4-BE49-F238E27FC236}">
                    <a16:creationId xmlns:a16="http://schemas.microsoft.com/office/drawing/2014/main" xmlns="" id="{D93C89EE-F466-4458-B25E-D0FD17E887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4" name="Oval 2734">
                <a:extLst>
                  <a:ext uri="{FF2B5EF4-FFF2-40B4-BE49-F238E27FC236}">
                    <a16:creationId xmlns:a16="http://schemas.microsoft.com/office/drawing/2014/main" xmlns="" id="{88701911-5AF5-4905-8C8F-A68D937CEC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5" name="Oval 2735">
                <a:extLst>
                  <a:ext uri="{FF2B5EF4-FFF2-40B4-BE49-F238E27FC236}">
                    <a16:creationId xmlns:a16="http://schemas.microsoft.com/office/drawing/2014/main" xmlns="" id="{13AFC4E8-9765-44FA-9075-D1ACE32BF3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6" name="Oval 2736">
                <a:extLst>
                  <a:ext uri="{FF2B5EF4-FFF2-40B4-BE49-F238E27FC236}">
                    <a16:creationId xmlns:a16="http://schemas.microsoft.com/office/drawing/2014/main" xmlns="" id="{FE9C3BE2-C0BB-4E84-A617-6D78892021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7" name="Oval 2737">
                <a:extLst>
                  <a:ext uri="{FF2B5EF4-FFF2-40B4-BE49-F238E27FC236}">
                    <a16:creationId xmlns:a16="http://schemas.microsoft.com/office/drawing/2014/main" xmlns="" id="{0E21BB0F-784F-4BCF-88A9-801E0F2F13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8" name="Oval 2738">
                <a:extLst>
                  <a:ext uri="{FF2B5EF4-FFF2-40B4-BE49-F238E27FC236}">
                    <a16:creationId xmlns:a16="http://schemas.microsoft.com/office/drawing/2014/main" xmlns="" id="{89565C82-67C4-43E1-9A08-EE552666B0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49" name="Oval 2739">
                <a:extLst>
                  <a:ext uri="{FF2B5EF4-FFF2-40B4-BE49-F238E27FC236}">
                    <a16:creationId xmlns:a16="http://schemas.microsoft.com/office/drawing/2014/main" xmlns="" id="{B39F0999-C685-47F6-BEC8-F5D03355FC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0" name="Oval 2740">
                <a:extLst>
                  <a:ext uri="{FF2B5EF4-FFF2-40B4-BE49-F238E27FC236}">
                    <a16:creationId xmlns:a16="http://schemas.microsoft.com/office/drawing/2014/main" xmlns="" id="{6B49215F-0DBA-4E4B-A0E4-6E8F412E6B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1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1" name="Oval 2741">
                <a:extLst>
                  <a:ext uri="{FF2B5EF4-FFF2-40B4-BE49-F238E27FC236}">
                    <a16:creationId xmlns:a16="http://schemas.microsoft.com/office/drawing/2014/main" xmlns="" id="{36CA39AB-8BF4-4DB7-AA4F-45DA2F5C76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2" name="Oval 2742">
                <a:extLst>
                  <a:ext uri="{FF2B5EF4-FFF2-40B4-BE49-F238E27FC236}">
                    <a16:creationId xmlns:a16="http://schemas.microsoft.com/office/drawing/2014/main" xmlns="" id="{C54D577F-BB37-4669-8B81-9ACA2D4104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3" name="Oval 2743">
                <a:extLst>
                  <a:ext uri="{FF2B5EF4-FFF2-40B4-BE49-F238E27FC236}">
                    <a16:creationId xmlns:a16="http://schemas.microsoft.com/office/drawing/2014/main" xmlns="" id="{5C8A0734-252E-4ABC-B5DF-FCCA0C4F44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4" name="Oval 2744">
                <a:extLst>
                  <a:ext uri="{FF2B5EF4-FFF2-40B4-BE49-F238E27FC236}">
                    <a16:creationId xmlns:a16="http://schemas.microsoft.com/office/drawing/2014/main" xmlns="" id="{B62FDB66-6213-493A-BF7E-9FB5B504EF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5" name="Oval 2745">
                <a:extLst>
                  <a:ext uri="{FF2B5EF4-FFF2-40B4-BE49-F238E27FC236}">
                    <a16:creationId xmlns:a16="http://schemas.microsoft.com/office/drawing/2014/main" xmlns="" id="{0410AA02-A4E7-4569-AC79-C60FDB3D59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99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6" name="Oval 2746">
                <a:extLst>
                  <a:ext uri="{FF2B5EF4-FFF2-40B4-BE49-F238E27FC236}">
                    <a16:creationId xmlns:a16="http://schemas.microsoft.com/office/drawing/2014/main" xmlns="" id="{6D69BCB2-A536-445B-BE8D-000C9548B7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7" name="Oval 2747">
                <a:extLst>
                  <a:ext uri="{FF2B5EF4-FFF2-40B4-BE49-F238E27FC236}">
                    <a16:creationId xmlns:a16="http://schemas.microsoft.com/office/drawing/2014/main" xmlns="" id="{78C68E1F-29E7-43A9-95F5-491ED00E82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12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8" name="Oval 2748">
                <a:extLst>
                  <a:ext uri="{FF2B5EF4-FFF2-40B4-BE49-F238E27FC236}">
                    <a16:creationId xmlns:a16="http://schemas.microsoft.com/office/drawing/2014/main" xmlns="" id="{0D703754-AC39-467E-A8BE-DCE818EBFF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59" name="Oval 2749">
                <a:extLst>
                  <a:ext uri="{FF2B5EF4-FFF2-40B4-BE49-F238E27FC236}">
                    <a16:creationId xmlns:a16="http://schemas.microsoft.com/office/drawing/2014/main" xmlns="" id="{75C696DB-E599-49A6-8FE4-6B24C4BDE5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4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0" name="Oval 2750">
                <a:extLst>
                  <a:ext uri="{FF2B5EF4-FFF2-40B4-BE49-F238E27FC236}">
                    <a16:creationId xmlns:a16="http://schemas.microsoft.com/office/drawing/2014/main" xmlns="" id="{B69F038A-97A9-429C-BBEA-60CB85DD17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45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1" name="Oval 2751">
                <a:extLst>
                  <a:ext uri="{FF2B5EF4-FFF2-40B4-BE49-F238E27FC236}">
                    <a16:creationId xmlns:a16="http://schemas.microsoft.com/office/drawing/2014/main" xmlns="" id="{72528DD1-FA07-4C69-87E0-D739B00818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3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2" name="Oval 2752">
                <a:extLst>
                  <a:ext uri="{FF2B5EF4-FFF2-40B4-BE49-F238E27FC236}">
                    <a16:creationId xmlns:a16="http://schemas.microsoft.com/office/drawing/2014/main" xmlns="" id="{8DD67A1F-CB3E-4886-A558-F8FF7CD2F5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3" name="Oval 2753">
                <a:extLst>
                  <a:ext uri="{FF2B5EF4-FFF2-40B4-BE49-F238E27FC236}">
                    <a16:creationId xmlns:a16="http://schemas.microsoft.com/office/drawing/2014/main" xmlns="" id="{ED81BB88-3C40-4372-97D2-2ABEA677C3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4" name="Oval 2754">
                <a:extLst>
                  <a:ext uri="{FF2B5EF4-FFF2-40B4-BE49-F238E27FC236}">
                    <a16:creationId xmlns:a16="http://schemas.microsoft.com/office/drawing/2014/main" xmlns="" id="{77CACFD9-90F3-422C-9BF3-6667FA3568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6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5" name="Oval 2755">
                <a:extLst>
                  <a:ext uri="{FF2B5EF4-FFF2-40B4-BE49-F238E27FC236}">
                    <a16:creationId xmlns:a16="http://schemas.microsoft.com/office/drawing/2014/main" xmlns="" id="{336062DC-B4A7-41ED-8041-DF3A261E3E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6" name="Oval 2756">
                <a:extLst>
                  <a:ext uri="{FF2B5EF4-FFF2-40B4-BE49-F238E27FC236}">
                    <a16:creationId xmlns:a16="http://schemas.microsoft.com/office/drawing/2014/main" xmlns="" id="{65F1C575-0C77-4054-8F46-2E38B071FD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7" name="Oval 2757">
                <a:extLst>
                  <a:ext uri="{FF2B5EF4-FFF2-40B4-BE49-F238E27FC236}">
                    <a16:creationId xmlns:a16="http://schemas.microsoft.com/office/drawing/2014/main" xmlns="" id="{B0BCDA78-2793-4A81-8574-B90E706B2B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8" name="Oval 2758">
                <a:extLst>
                  <a:ext uri="{FF2B5EF4-FFF2-40B4-BE49-F238E27FC236}">
                    <a16:creationId xmlns:a16="http://schemas.microsoft.com/office/drawing/2014/main" xmlns="" id="{1786878B-CCF3-4B87-8DA0-21440914F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69" name="Oval 2759">
                <a:extLst>
                  <a:ext uri="{FF2B5EF4-FFF2-40B4-BE49-F238E27FC236}">
                    <a16:creationId xmlns:a16="http://schemas.microsoft.com/office/drawing/2014/main" xmlns="" id="{9CA1D9B3-E7C7-4C64-A880-7228DDEC2E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0" name="Oval 2760">
                <a:extLst>
                  <a:ext uri="{FF2B5EF4-FFF2-40B4-BE49-F238E27FC236}">
                    <a16:creationId xmlns:a16="http://schemas.microsoft.com/office/drawing/2014/main" xmlns="" id="{62B8C270-3B81-4563-A6F5-64268454E2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1" name="Oval 2761">
                <a:extLst>
                  <a:ext uri="{FF2B5EF4-FFF2-40B4-BE49-F238E27FC236}">
                    <a16:creationId xmlns:a16="http://schemas.microsoft.com/office/drawing/2014/main" xmlns="" id="{6EF8C317-1700-44E8-96E0-0EDBB16F78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2" name="Oval 2762">
                <a:extLst>
                  <a:ext uri="{FF2B5EF4-FFF2-40B4-BE49-F238E27FC236}">
                    <a16:creationId xmlns:a16="http://schemas.microsoft.com/office/drawing/2014/main" xmlns="" id="{1F2C46FC-4275-4454-A274-6C659A2A5B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3" name="Oval 2763">
                <a:extLst>
                  <a:ext uri="{FF2B5EF4-FFF2-40B4-BE49-F238E27FC236}">
                    <a16:creationId xmlns:a16="http://schemas.microsoft.com/office/drawing/2014/main" xmlns="" id="{9D8C38EC-92D3-4FA3-A4DE-2496C3C236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2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4" name="Oval 2764">
                <a:extLst>
                  <a:ext uri="{FF2B5EF4-FFF2-40B4-BE49-F238E27FC236}">
                    <a16:creationId xmlns:a16="http://schemas.microsoft.com/office/drawing/2014/main" xmlns="" id="{424BC905-3B9C-44C2-9ACA-7487D15E95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5" name="Oval 2765">
                <a:extLst>
                  <a:ext uri="{FF2B5EF4-FFF2-40B4-BE49-F238E27FC236}">
                    <a16:creationId xmlns:a16="http://schemas.microsoft.com/office/drawing/2014/main" xmlns="" id="{DA8A04D8-CEF9-4FFA-9FC7-4D9D89D341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4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6" name="Oval 2766">
                <a:extLst>
                  <a:ext uri="{FF2B5EF4-FFF2-40B4-BE49-F238E27FC236}">
                    <a16:creationId xmlns:a16="http://schemas.microsoft.com/office/drawing/2014/main" xmlns="" id="{2DB2FD82-82AD-4376-971F-8FDBD44D5E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7" name="Oval 2767">
                <a:extLst>
                  <a:ext uri="{FF2B5EF4-FFF2-40B4-BE49-F238E27FC236}">
                    <a16:creationId xmlns:a16="http://schemas.microsoft.com/office/drawing/2014/main" xmlns="" id="{C2B9C4DC-AD22-492B-8212-FF8DD98A1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8" name="Oval 2768">
                <a:extLst>
                  <a:ext uri="{FF2B5EF4-FFF2-40B4-BE49-F238E27FC236}">
                    <a16:creationId xmlns:a16="http://schemas.microsoft.com/office/drawing/2014/main" xmlns="" id="{29B415E0-CC5D-4160-BF54-4C5AAE6CC2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79" name="Oval 2769">
                <a:extLst>
                  <a:ext uri="{FF2B5EF4-FFF2-40B4-BE49-F238E27FC236}">
                    <a16:creationId xmlns:a16="http://schemas.microsoft.com/office/drawing/2014/main" xmlns="" id="{889F0758-F4D2-48E6-9CB7-17BBA3439F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0" name="Oval 2770">
                <a:extLst>
                  <a:ext uri="{FF2B5EF4-FFF2-40B4-BE49-F238E27FC236}">
                    <a16:creationId xmlns:a16="http://schemas.microsoft.com/office/drawing/2014/main" xmlns="" id="{D661B9DA-28D8-4CAE-8396-EAE1CFE585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9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1" name="Oval 2771">
                <a:extLst>
                  <a:ext uri="{FF2B5EF4-FFF2-40B4-BE49-F238E27FC236}">
                    <a16:creationId xmlns:a16="http://schemas.microsoft.com/office/drawing/2014/main" xmlns="" id="{ED260909-BAD8-400F-AA13-5E7F669008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2" name="Oval 2772">
                <a:extLst>
                  <a:ext uri="{FF2B5EF4-FFF2-40B4-BE49-F238E27FC236}">
                    <a16:creationId xmlns:a16="http://schemas.microsoft.com/office/drawing/2014/main" xmlns="" id="{8660C176-9321-4B70-85C2-5986117710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3" name="Oval 2773">
                <a:extLst>
                  <a:ext uri="{FF2B5EF4-FFF2-40B4-BE49-F238E27FC236}">
                    <a16:creationId xmlns:a16="http://schemas.microsoft.com/office/drawing/2014/main" xmlns="" id="{405BCF63-53AF-4FFC-A73F-2D0776247D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9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4" name="Oval 2774">
                <a:extLst>
                  <a:ext uri="{FF2B5EF4-FFF2-40B4-BE49-F238E27FC236}">
                    <a16:creationId xmlns:a16="http://schemas.microsoft.com/office/drawing/2014/main" xmlns="" id="{6F5AA934-4F34-49C6-BE79-D335C041E4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5" name="Oval 2775">
                <a:extLst>
                  <a:ext uri="{FF2B5EF4-FFF2-40B4-BE49-F238E27FC236}">
                    <a16:creationId xmlns:a16="http://schemas.microsoft.com/office/drawing/2014/main" xmlns="" id="{E362C7F4-9373-4BE6-AD8A-930E45AD85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6" name="Oval 2776">
                <a:extLst>
                  <a:ext uri="{FF2B5EF4-FFF2-40B4-BE49-F238E27FC236}">
                    <a16:creationId xmlns:a16="http://schemas.microsoft.com/office/drawing/2014/main" xmlns="" id="{435B7E98-9856-444E-B541-162CB16797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4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7" name="Oval 2777">
                <a:extLst>
                  <a:ext uri="{FF2B5EF4-FFF2-40B4-BE49-F238E27FC236}">
                    <a16:creationId xmlns:a16="http://schemas.microsoft.com/office/drawing/2014/main" xmlns="" id="{4186FA8C-CF2E-4D32-A4A4-3603C39B0B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8" name="Oval 2778">
                <a:extLst>
                  <a:ext uri="{FF2B5EF4-FFF2-40B4-BE49-F238E27FC236}">
                    <a16:creationId xmlns:a16="http://schemas.microsoft.com/office/drawing/2014/main" xmlns="" id="{034127AE-3E9A-472B-93F6-103E1325CD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6" y="12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89" name="Oval 2779">
                <a:extLst>
                  <a:ext uri="{FF2B5EF4-FFF2-40B4-BE49-F238E27FC236}">
                    <a16:creationId xmlns:a16="http://schemas.microsoft.com/office/drawing/2014/main" xmlns="" id="{8B4862D2-2A20-49E1-A3E9-E81F980A27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12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0" name="Oval 2780">
                <a:extLst>
                  <a:ext uri="{FF2B5EF4-FFF2-40B4-BE49-F238E27FC236}">
                    <a16:creationId xmlns:a16="http://schemas.microsoft.com/office/drawing/2014/main" xmlns="" id="{ABF13899-165B-4373-8753-8F42F6857B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0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91" name="Oval 2781">
                <a:extLst>
                  <a:ext uri="{FF2B5EF4-FFF2-40B4-BE49-F238E27FC236}">
                    <a16:creationId xmlns:a16="http://schemas.microsoft.com/office/drawing/2014/main" xmlns="" id="{198F927F-9885-4D2C-AA3F-5666115234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11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grpSp>
          <p:nvGrpSpPr>
            <p:cNvPr id="2606" name="Group 2983">
              <a:extLst>
                <a:ext uri="{FF2B5EF4-FFF2-40B4-BE49-F238E27FC236}">
                  <a16:creationId xmlns:a16="http://schemas.microsoft.com/office/drawing/2014/main" xmlns="" id="{61AA66A9-2F9C-41CA-9900-9A1767E4DA1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46" y="120"/>
              <a:ext cx="1979" cy="3120"/>
              <a:chOff x="1246" y="120"/>
              <a:chExt cx="1979" cy="3120"/>
            </a:xfrm>
          </p:grpSpPr>
          <p:sp>
            <p:nvSpPr>
              <p:cNvPr id="2792" name="Oval 2783">
                <a:extLst>
                  <a:ext uri="{FF2B5EF4-FFF2-40B4-BE49-F238E27FC236}">
                    <a16:creationId xmlns:a16="http://schemas.microsoft.com/office/drawing/2014/main" xmlns="" id="{0D772049-A969-4853-A807-C5221EC6E4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793" name="Oval 2784">
                <a:extLst>
                  <a:ext uri="{FF2B5EF4-FFF2-40B4-BE49-F238E27FC236}">
                    <a16:creationId xmlns:a16="http://schemas.microsoft.com/office/drawing/2014/main" xmlns="" id="{1FE068D8-3803-4AB8-AD39-4A9CE09267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794" name="Oval 2785">
                <a:extLst>
                  <a:ext uri="{FF2B5EF4-FFF2-40B4-BE49-F238E27FC236}">
                    <a16:creationId xmlns:a16="http://schemas.microsoft.com/office/drawing/2014/main" xmlns="" id="{57B0ACF4-FD32-4FDE-8841-09DB22C412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795" name="Oval 2786">
                <a:extLst>
                  <a:ext uri="{FF2B5EF4-FFF2-40B4-BE49-F238E27FC236}">
                    <a16:creationId xmlns:a16="http://schemas.microsoft.com/office/drawing/2014/main" xmlns="" id="{DD132A6D-0D8E-4CFC-AF98-AC4E5C12D0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796" name="Oval 2787">
                <a:extLst>
                  <a:ext uri="{FF2B5EF4-FFF2-40B4-BE49-F238E27FC236}">
                    <a16:creationId xmlns:a16="http://schemas.microsoft.com/office/drawing/2014/main" xmlns="" id="{A2A33441-277D-4349-B43A-ECFF67CB14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3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797" name="Oval 2788">
                <a:extLst>
                  <a:ext uri="{FF2B5EF4-FFF2-40B4-BE49-F238E27FC236}">
                    <a16:creationId xmlns:a16="http://schemas.microsoft.com/office/drawing/2014/main" xmlns="" id="{5B671F36-904D-40B2-8D86-C45FDCEE24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798" name="Oval 2789">
                <a:extLst>
                  <a:ext uri="{FF2B5EF4-FFF2-40B4-BE49-F238E27FC236}">
                    <a16:creationId xmlns:a16="http://schemas.microsoft.com/office/drawing/2014/main" xmlns="" id="{0A2B99D6-F833-4E06-BB34-D585896EA8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7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799" name="Oval 2790">
                <a:extLst>
                  <a:ext uri="{FF2B5EF4-FFF2-40B4-BE49-F238E27FC236}">
                    <a16:creationId xmlns:a16="http://schemas.microsoft.com/office/drawing/2014/main" xmlns="" id="{85EB187E-E9FF-470D-85B0-870D18B55D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0" name="Oval 2791">
                <a:extLst>
                  <a:ext uri="{FF2B5EF4-FFF2-40B4-BE49-F238E27FC236}">
                    <a16:creationId xmlns:a16="http://schemas.microsoft.com/office/drawing/2014/main" xmlns="" id="{4D9AF970-C3CA-4AFD-AC14-1348D9C6C2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1" name="Oval 2792">
                <a:extLst>
                  <a:ext uri="{FF2B5EF4-FFF2-40B4-BE49-F238E27FC236}">
                    <a16:creationId xmlns:a16="http://schemas.microsoft.com/office/drawing/2014/main" xmlns="" id="{A364CE03-A0E6-4CB1-85D4-7E85F50DF9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13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2" name="Oval 2793">
                <a:extLst>
                  <a:ext uri="{FF2B5EF4-FFF2-40B4-BE49-F238E27FC236}">
                    <a16:creationId xmlns:a16="http://schemas.microsoft.com/office/drawing/2014/main" xmlns="" id="{8F676246-2784-4A65-9966-E756CCF896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15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3" name="Oval 2794">
                <a:extLst>
                  <a:ext uri="{FF2B5EF4-FFF2-40B4-BE49-F238E27FC236}">
                    <a16:creationId xmlns:a16="http://schemas.microsoft.com/office/drawing/2014/main" xmlns="" id="{1331C03A-277A-445E-BC67-A1BC3E2726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15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4" name="Oval 2795">
                <a:extLst>
                  <a:ext uri="{FF2B5EF4-FFF2-40B4-BE49-F238E27FC236}">
                    <a16:creationId xmlns:a16="http://schemas.microsoft.com/office/drawing/2014/main" xmlns="" id="{76657A6B-3E94-4F03-A696-D12049C026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5" name="Oval 2796">
                <a:extLst>
                  <a:ext uri="{FF2B5EF4-FFF2-40B4-BE49-F238E27FC236}">
                    <a16:creationId xmlns:a16="http://schemas.microsoft.com/office/drawing/2014/main" xmlns="" id="{516E9942-EC58-42C6-AD5A-3F00135498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6" name="Oval 2797">
                <a:extLst>
                  <a:ext uri="{FF2B5EF4-FFF2-40B4-BE49-F238E27FC236}">
                    <a16:creationId xmlns:a16="http://schemas.microsoft.com/office/drawing/2014/main" xmlns="" id="{EC52A1F4-DC9E-4F04-AA05-FFDB7F2FEB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6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7" name="Oval 2798">
                <a:extLst>
                  <a:ext uri="{FF2B5EF4-FFF2-40B4-BE49-F238E27FC236}">
                    <a16:creationId xmlns:a16="http://schemas.microsoft.com/office/drawing/2014/main" xmlns="" id="{9EC7A489-408D-4A5F-94D5-2A55CEC2B7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8" name="Oval 2799">
                <a:extLst>
                  <a:ext uri="{FF2B5EF4-FFF2-40B4-BE49-F238E27FC236}">
                    <a16:creationId xmlns:a16="http://schemas.microsoft.com/office/drawing/2014/main" xmlns="" id="{95659B63-CB82-426F-9176-16E13149F0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09" name="Oval 2800">
                <a:extLst>
                  <a:ext uri="{FF2B5EF4-FFF2-40B4-BE49-F238E27FC236}">
                    <a16:creationId xmlns:a16="http://schemas.microsoft.com/office/drawing/2014/main" xmlns="" id="{03BB9CC8-D3BB-4F9B-BCB6-DCF93FFF43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0" name="Oval 2801">
                <a:extLst>
                  <a:ext uri="{FF2B5EF4-FFF2-40B4-BE49-F238E27FC236}">
                    <a16:creationId xmlns:a16="http://schemas.microsoft.com/office/drawing/2014/main" xmlns="" id="{9F1EEA1D-01C6-4834-98D7-E70590F34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1" name="Oval 2802">
                <a:extLst>
                  <a:ext uri="{FF2B5EF4-FFF2-40B4-BE49-F238E27FC236}">
                    <a16:creationId xmlns:a16="http://schemas.microsoft.com/office/drawing/2014/main" xmlns="" id="{CDD88DF9-910C-4929-A29A-3D526EF048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6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2" name="Oval 2803">
                <a:extLst>
                  <a:ext uri="{FF2B5EF4-FFF2-40B4-BE49-F238E27FC236}">
                    <a16:creationId xmlns:a16="http://schemas.microsoft.com/office/drawing/2014/main" xmlns="" id="{0695A538-8399-48BB-BE53-2E68B7F3C0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8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3" name="Oval 2804">
                <a:extLst>
                  <a:ext uri="{FF2B5EF4-FFF2-40B4-BE49-F238E27FC236}">
                    <a16:creationId xmlns:a16="http://schemas.microsoft.com/office/drawing/2014/main" xmlns="" id="{96849FD4-DE1F-4D37-A9F8-5D24B1A266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4" name="Oval 2805">
                <a:extLst>
                  <a:ext uri="{FF2B5EF4-FFF2-40B4-BE49-F238E27FC236}">
                    <a16:creationId xmlns:a16="http://schemas.microsoft.com/office/drawing/2014/main" xmlns="" id="{2061F435-8C91-4936-8470-0949F73622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6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5" name="Oval 2806">
                <a:extLst>
                  <a:ext uri="{FF2B5EF4-FFF2-40B4-BE49-F238E27FC236}">
                    <a16:creationId xmlns:a16="http://schemas.microsoft.com/office/drawing/2014/main" xmlns="" id="{7067F547-A8DB-46AA-B5C1-9DEAF3F95C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6" name="Oval 2807">
                <a:extLst>
                  <a:ext uri="{FF2B5EF4-FFF2-40B4-BE49-F238E27FC236}">
                    <a16:creationId xmlns:a16="http://schemas.microsoft.com/office/drawing/2014/main" xmlns="" id="{88D60458-D445-4712-9E24-292E8731D6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7" name="Oval 2808">
                <a:extLst>
                  <a:ext uri="{FF2B5EF4-FFF2-40B4-BE49-F238E27FC236}">
                    <a16:creationId xmlns:a16="http://schemas.microsoft.com/office/drawing/2014/main" xmlns="" id="{1310FDAD-2CCA-43B1-BBA3-204CBD8A9C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8" name="Oval 2809">
                <a:extLst>
                  <a:ext uri="{FF2B5EF4-FFF2-40B4-BE49-F238E27FC236}">
                    <a16:creationId xmlns:a16="http://schemas.microsoft.com/office/drawing/2014/main" xmlns="" id="{0E5D87A0-1C1C-4195-839B-CCF1E5B11C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19" name="Oval 2810">
                <a:extLst>
                  <a:ext uri="{FF2B5EF4-FFF2-40B4-BE49-F238E27FC236}">
                    <a16:creationId xmlns:a16="http://schemas.microsoft.com/office/drawing/2014/main" xmlns="" id="{2E066F40-3C7F-42C0-A109-5ABA40E389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0" name="Oval 2811">
                <a:extLst>
                  <a:ext uri="{FF2B5EF4-FFF2-40B4-BE49-F238E27FC236}">
                    <a16:creationId xmlns:a16="http://schemas.microsoft.com/office/drawing/2014/main" xmlns="" id="{478CF495-B5CD-4A0E-B1B1-43BBD7D1FE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1" name="Oval 2812">
                <a:extLst>
                  <a:ext uri="{FF2B5EF4-FFF2-40B4-BE49-F238E27FC236}">
                    <a16:creationId xmlns:a16="http://schemas.microsoft.com/office/drawing/2014/main" xmlns="" id="{BE01D9F8-749F-4BCB-A9A1-2AAD769580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2" name="Oval 2813">
                <a:extLst>
                  <a:ext uri="{FF2B5EF4-FFF2-40B4-BE49-F238E27FC236}">
                    <a16:creationId xmlns:a16="http://schemas.microsoft.com/office/drawing/2014/main" xmlns="" id="{E728FD31-8C2D-4667-82BB-D94B7B41B3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3" name="Oval 2814">
                <a:extLst>
                  <a:ext uri="{FF2B5EF4-FFF2-40B4-BE49-F238E27FC236}">
                    <a16:creationId xmlns:a16="http://schemas.microsoft.com/office/drawing/2014/main" xmlns="" id="{4853CF3C-758C-476F-88E9-1EA572A9FE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4" name="Oval 2815">
                <a:extLst>
                  <a:ext uri="{FF2B5EF4-FFF2-40B4-BE49-F238E27FC236}">
                    <a16:creationId xmlns:a16="http://schemas.microsoft.com/office/drawing/2014/main" xmlns="" id="{51FDDDDB-99AC-4F6C-B15D-388060854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5" name="Oval 2816">
                <a:extLst>
                  <a:ext uri="{FF2B5EF4-FFF2-40B4-BE49-F238E27FC236}">
                    <a16:creationId xmlns:a16="http://schemas.microsoft.com/office/drawing/2014/main" xmlns="" id="{903B6DBA-2BA0-4670-BB0E-44DC95ADFE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6" name="Oval 2817">
                <a:extLst>
                  <a:ext uri="{FF2B5EF4-FFF2-40B4-BE49-F238E27FC236}">
                    <a16:creationId xmlns:a16="http://schemas.microsoft.com/office/drawing/2014/main" xmlns="" id="{D23B8104-9D8A-40AF-806E-6F1B0468E0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7" name="Oval 2818">
                <a:extLst>
                  <a:ext uri="{FF2B5EF4-FFF2-40B4-BE49-F238E27FC236}">
                    <a16:creationId xmlns:a16="http://schemas.microsoft.com/office/drawing/2014/main" xmlns="" id="{9E588A3B-6E2F-4233-B5CC-20E16AFB1F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8" name="Oval 2819">
                <a:extLst>
                  <a:ext uri="{FF2B5EF4-FFF2-40B4-BE49-F238E27FC236}">
                    <a16:creationId xmlns:a16="http://schemas.microsoft.com/office/drawing/2014/main" xmlns="" id="{4F94432C-1D3B-4A36-9753-7446CD37E8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6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29" name="Oval 2820">
                <a:extLst>
                  <a:ext uri="{FF2B5EF4-FFF2-40B4-BE49-F238E27FC236}">
                    <a16:creationId xmlns:a16="http://schemas.microsoft.com/office/drawing/2014/main" xmlns="" id="{26F439E5-D21A-434A-A4EC-C3B499415A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0" name="Oval 2821">
                <a:extLst>
                  <a:ext uri="{FF2B5EF4-FFF2-40B4-BE49-F238E27FC236}">
                    <a16:creationId xmlns:a16="http://schemas.microsoft.com/office/drawing/2014/main" xmlns="" id="{868176EB-7958-4ED6-874C-1771E515E6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6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1" name="Oval 2822">
                <a:extLst>
                  <a:ext uri="{FF2B5EF4-FFF2-40B4-BE49-F238E27FC236}">
                    <a16:creationId xmlns:a16="http://schemas.microsoft.com/office/drawing/2014/main" xmlns="" id="{0CCEA681-107D-4125-B4C3-9FB74A2C44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2" name="Oval 2823">
                <a:extLst>
                  <a:ext uri="{FF2B5EF4-FFF2-40B4-BE49-F238E27FC236}">
                    <a16:creationId xmlns:a16="http://schemas.microsoft.com/office/drawing/2014/main" xmlns="" id="{32A05AA8-4FF1-4EDC-8D1F-F1359639B8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3" name="Oval 2824">
                <a:extLst>
                  <a:ext uri="{FF2B5EF4-FFF2-40B4-BE49-F238E27FC236}">
                    <a16:creationId xmlns:a16="http://schemas.microsoft.com/office/drawing/2014/main" xmlns="" id="{27433B23-A21E-42B8-9064-1FD9FEAC78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4" name="Oval 2825">
                <a:extLst>
                  <a:ext uri="{FF2B5EF4-FFF2-40B4-BE49-F238E27FC236}">
                    <a16:creationId xmlns:a16="http://schemas.microsoft.com/office/drawing/2014/main" xmlns="" id="{44426377-7A96-4582-9FE1-2B8DFC18E4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5" name="Oval 2826">
                <a:extLst>
                  <a:ext uri="{FF2B5EF4-FFF2-40B4-BE49-F238E27FC236}">
                    <a16:creationId xmlns:a16="http://schemas.microsoft.com/office/drawing/2014/main" xmlns="" id="{00AE6228-EFE2-4F48-9047-DC8FE170CB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6" name="Oval 2827">
                <a:extLst>
                  <a:ext uri="{FF2B5EF4-FFF2-40B4-BE49-F238E27FC236}">
                    <a16:creationId xmlns:a16="http://schemas.microsoft.com/office/drawing/2014/main" xmlns="" id="{3FF9B01F-7EFF-4DE6-B215-353182D599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6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7" name="Oval 2828">
                <a:extLst>
                  <a:ext uri="{FF2B5EF4-FFF2-40B4-BE49-F238E27FC236}">
                    <a16:creationId xmlns:a16="http://schemas.microsoft.com/office/drawing/2014/main" xmlns="" id="{CFDC902C-7C0E-4B37-9183-816542FD7B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8" name="Oval 2829">
                <a:extLst>
                  <a:ext uri="{FF2B5EF4-FFF2-40B4-BE49-F238E27FC236}">
                    <a16:creationId xmlns:a16="http://schemas.microsoft.com/office/drawing/2014/main" xmlns="" id="{B2A5CCE5-AC50-4AAC-BD6E-214644643C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0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39" name="Oval 2830">
                <a:extLst>
                  <a:ext uri="{FF2B5EF4-FFF2-40B4-BE49-F238E27FC236}">
                    <a16:creationId xmlns:a16="http://schemas.microsoft.com/office/drawing/2014/main" xmlns="" id="{8D2EBB3B-0AC1-48FB-840A-A0E95D1EF6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0" name="Oval 2831">
                <a:extLst>
                  <a:ext uri="{FF2B5EF4-FFF2-40B4-BE49-F238E27FC236}">
                    <a16:creationId xmlns:a16="http://schemas.microsoft.com/office/drawing/2014/main" xmlns="" id="{FCEB5FE0-CB81-4D46-8AF7-1E89D43F31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1" name="Oval 2832">
                <a:extLst>
                  <a:ext uri="{FF2B5EF4-FFF2-40B4-BE49-F238E27FC236}">
                    <a16:creationId xmlns:a16="http://schemas.microsoft.com/office/drawing/2014/main" xmlns="" id="{D8265628-6521-42F6-875E-7ACE23B41A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2" name="Oval 2833">
                <a:extLst>
                  <a:ext uri="{FF2B5EF4-FFF2-40B4-BE49-F238E27FC236}">
                    <a16:creationId xmlns:a16="http://schemas.microsoft.com/office/drawing/2014/main" xmlns="" id="{E23769AB-85BA-4573-8D27-9C9992791E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3" name="Oval 2834">
                <a:extLst>
                  <a:ext uri="{FF2B5EF4-FFF2-40B4-BE49-F238E27FC236}">
                    <a16:creationId xmlns:a16="http://schemas.microsoft.com/office/drawing/2014/main" xmlns="" id="{9827C4B2-38A1-4DFF-93F1-87658EF11F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4" name="Oval 2835">
                <a:extLst>
                  <a:ext uri="{FF2B5EF4-FFF2-40B4-BE49-F238E27FC236}">
                    <a16:creationId xmlns:a16="http://schemas.microsoft.com/office/drawing/2014/main" xmlns="" id="{81B71D78-0F15-406C-BC60-6FDE98E18B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6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5" name="Oval 2836">
                <a:extLst>
                  <a:ext uri="{FF2B5EF4-FFF2-40B4-BE49-F238E27FC236}">
                    <a16:creationId xmlns:a16="http://schemas.microsoft.com/office/drawing/2014/main" xmlns="" id="{581F50A6-68EA-442B-A814-79BDC1B78D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6" name="Oval 2837">
                <a:extLst>
                  <a:ext uri="{FF2B5EF4-FFF2-40B4-BE49-F238E27FC236}">
                    <a16:creationId xmlns:a16="http://schemas.microsoft.com/office/drawing/2014/main" xmlns="" id="{7D4E501C-D9A9-4909-918F-F098ADFB8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6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7" name="Oval 2838">
                <a:extLst>
                  <a:ext uri="{FF2B5EF4-FFF2-40B4-BE49-F238E27FC236}">
                    <a16:creationId xmlns:a16="http://schemas.microsoft.com/office/drawing/2014/main" xmlns="" id="{92DE0C6A-5EC2-4E98-A1F2-7995010FFF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6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8" name="Oval 2839">
                <a:extLst>
                  <a:ext uri="{FF2B5EF4-FFF2-40B4-BE49-F238E27FC236}">
                    <a16:creationId xmlns:a16="http://schemas.microsoft.com/office/drawing/2014/main" xmlns="" id="{0A3AFEFC-1E87-461E-BCBB-6D0BABF56C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6" y="7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49" name="Oval 2840">
                <a:extLst>
                  <a:ext uri="{FF2B5EF4-FFF2-40B4-BE49-F238E27FC236}">
                    <a16:creationId xmlns:a16="http://schemas.microsoft.com/office/drawing/2014/main" xmlns="" id="{F7BB7845-B6C3-495B-84DB-6868353856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76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0" name="Oval 2841">
                <a:extLst>
                  <a:ext uri="{FF2B5EF4-FFF2-40B4-BE49-F238E27FC236}">
                    <a16:creationId xmlns:a16="http://schemas.microsoft.com/office/drawing/2014/main" xmlns="" id="{F0CCACB5-A3F0-48B4-A2EC-7D715AD496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1" name="Oval 2842">
                <a:extLst>
                  <a:ext uri="{FF2B5EF4-FFF2-40B4-BE49-F238E27FC236}">
                    <a16:creationId xmlns:a16="http://schemas.microsoft.com/office/drawing/2014/main" xmlns="" id="{7C32428E-47B1-4189-A299-75B8DBCD2F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2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2" name="Oval 2843">
                <a:extLst>
                  <a:ext uri="{FF2B5EF4-FFF2-40B4-BE49-F238E27FC236}">
                    <a16:creationId xmlns:a16="http://schemas.microsoft.com/office/drawing/2014/main" xmlns="" id="{228DAD51-D8FF-4B6F-B61B-21F193F455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3" name="Oval 2844">
                <a:extLst>
                  <a:ext uri="{FF2B5EF4-FFF2-40B4-BE49-F238E27FC236}">
                    <a16:creationId xmlns:a16="http://schemas.microsoft.com/office/drawing/2014/main" xmlns="" id="{D29FE72A-37A4-49D6-B65A-16DA28ADD7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6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4" name="Oval 2845">
                <a:extLst>
                  <a:ext uri="{FF2B5EF4-FFF2-40B4-BE49-F238E27FC236}">
                    <a16:creationId xmlns:a16="http://schemas.microsoft.com/office/drawing/2014/main" xmlns="" id="{1EB23FB0-45BE-4129-8BAC-898AFF2594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75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5" name="Oval 2846">
                <a:extLst>
                  <a:ext uri="{FF2B5EF4-FFF2-40B4-BE49-F238E27FC236}">
                    <a16:creationId xmlns:a16="http://schemas.microsoft.com/office/drawing/2014/main" xmlns="" id="{2BF66118-7851-4988-BF7C-B33CD5B7DF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6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6" name="Oval 2847">
                <a:extLst>
                  <a:ext uri="{FF2B5EF4-FFF2-40B4-BE49-F238E27FC236}">
                    <a16:creationId xmlns:a16="http://schemas.microsoft.com/office/drawing/2014/main" xmlns="" id="{64D79C42-65F9-4B26-992D-E179ABDB5F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6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7" name="Oval 2848">
                <a:extLst>
                  <a:ext uri="{FF2B5EF4-FFF2-40B4-BE49-F238E27FC236}">
                    <a16:creationId xmlns:a16="http://schemas.microsoft.com/office/drawing/2014/main" xmlns="" id="{C3517A56-BAF8-40B6-8B3C-28980746EE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6" y="8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8" name="Oval 2849">
                <a:extLst>
                  <a:ext uri="{FF2B5EF4-FFF2-40B4-BE49-F238E27FC236}">
                    <a16:creationId xmlns:a16="http://schemas.microsoft.com/office/drawing/2014/main" xmlns="" id="{F6D235F7-CE4E-4B56-8662-42117E9466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8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59" name="Oval 2850">
                <a:extLst>
                  <a:ext uri="{FF2B5EF4-FFF2-40B4-BE49-F238E27FC236}">
                    <a16:creationId xmlns:a16="http://schemas.microsoft.com/office/drawing/2014/main" xmlns="" id="{4F21C202-78A8-48EA-8DDB-45CE186FF7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0" name="Oval 2851">
                <a:extLst>
                  <a:ext uri="{FF2B5EF4-FFF2-40B4-BE49-F238E27FC236}">
                    <a16:creationId xmlns:a16="http://schemas.microsoft.com/office/drawing/2014/main" xmlns="" id="{61FDF714-3093-4CF8-8976-5CA615EFEE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10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1" name="Oval 2852">
                <a:extLst>
                  <a:ext uri="{FF2B5EF4-FFF2-40B4-BE49-F238E27FC236}">
                    <a16:creationId xmlns:a16="http://schemas.microsoft.com/office/drawing/2014/main" xmlns="" id="{BC0E7A67-7122-44E0-BA9A-85C3A5CD5E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9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2" name="Oval 2853">
                <a:extLst>
                  <a:ext uri="{FF2B5EF4-FFF2-40B4-BE49-F238E27FC236}">
                    <a16:creationId xmlns:a16="http://schemas.microsoft.com/office/drawing/2014/main" xmlns="" id="{59199D29-4D75-4A8A-A983-22C1EBC217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3" name="Oval 2854">
                <a:extLst>
                  <a:ext uri="{FF2B5EF4-FFF2-40B4-BE49-F238E27FC236}">
                    <a16:creationId xmlns:a16="http://schemas.microsoft.com/office/drawing/2014/main" xmlns="" id="{C8A70D15-F98C-4B57-AE92-4B06D1E347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5" y="5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4" name="Oval 2855">
                <a:extLst>
                  <a:ext uri="{FF2B5EF4-FFF2-40B4-BE49-F238E27FC236}">
                    <a16:creationId xmlns:a16="http://schemas.microsoft.com/office/drawing/2014/main" xmlns="" id="{AC013C42-2619-4E47-BAF8-DE17C5AE8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5" name="Oval 2856">
                <a:extLst>
                  <a:ext uri="{FF2B5EF4-FFF2-40B4-BE49-F238E27FC236}">
                    <a16:creationId xmlns:a16="http://schemas.microsoft.com/office/drawing/2014/main" xmlns="" id="{9A174792-39AA-47BA-9E53-96A4E7D93D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6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6" name="Oval 2857">
                <a:extLst>
                  <a:ext uri="{FF2B5EF4-FFF2-40B4-BE49-F238E27FC236}">
                    <a16:creationId xmlns:a16="http://schemas.microsoft.com/office/drawing/2014/main" xmlns="" id="{21C0AAC1-1F6F-4017-90C9-8C050E0FC7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3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7" name="Oval 2858">
                <a:extLst>
                  <a:ext uri="{FF2B5EF4-FFF2-40B4-BE49-F238E27FC236}">
                    <a16:creationId xmlns:a16="http://schemas.microsoft.com/office/drawing/2014/main" xmlns="" id="{04E22DEC-658D-4261-B376-9E0C071E10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4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8" name="Oval 2859">
                <a:extLst>
                  <a:ext uri="{FF2B5EF4-FFF2-40B4-BE49-F238E27FC236}">
                    <a16:creationId xmlns:a16="http://schemas.microsoft.com/office/drawing/2014/main" xmlns="" id="{383CB2AB-1EAF-434C-B475-E65F999380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69" name="Oval 2860">
                <a:extLst>
                  <a:ext uri="{FF2B5EF4-FFF2-40B4-BE49-F238E27FC236}">
                    <a16:creationId xmlns:a16="http://schemas.microsoft.com/office/drawing/2014/main" xmlns="" id="{D0FF22DC-471D-41F8-AAF7-544F875203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3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0" name="Oval 2861">
                <a:extLst>
                  <a:ext uri="{FF2B5EF4-FFF2-40B4-BE49-F238E27FC236}">
                    <a16:creationId xmlns:a16="http://schemas.microsoft.com/office/drawing/2014/main" xmlns="" id="{7B2A3491-1A5D-4926-9F98-85BADFEFCF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5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1" name="Oval 2862">
                <a:extLst>
                  <a:ext uri="{FF2B5EF4-FFF2-40B4-BE49-F238E27FC236}">
                    <a16:creationId xmlns:a16="http://schemas.microsoft.com/office/drawing/2014/main" xmlns="" id="{9D23DCA7-F34F-4BA5-9BDE-DDA13547A4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05" y="6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2" name="Oval 2863">
                <a:extLst>
                  <a:ext uri="{FF2B5EF4-FFF2-40B4-BE49-F238E27FC236}">
                    <a16:creationId xmlns:a16="http://schemas.microsoft.com/office/drawing/2014/main" xmlns="" id="{D1E3DD51-76B1-4264-8DA4-0606F8AE58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3" name="Oval 2864">
                <a:extLst>
                  <a:ext uri="{FF2B5EF4-FFF2-40B4-BE49-F238E27FC236}">
                    <a16:creationId xmlns:a16="http://schemas.microsoft.com/office/drawing/2014/main" xmlns="" id="{226A55B7-1547-4A7B-8BF4-F95C2B4592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4" name="Oval 2865">
                <a:extLst>
                  <a:ext uri="{FF2B5EF4-FFF2-40B4-BE49-F238E27FC236}">
                    <a16:creationId xmlns:a16="http://schemas.microsoft.com/office/drawing/2014/main" xmlns="" id="{E5E59396-68BB-46FA-AEAB-31259CCAC7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3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5" name="Oval 2866">
                <a:extLst>
                  <a:ext uri="{FF2B5EF4-FFF2-40B4-BE49-F238E27FC236}">
                    <a16:creationId xmlns:a16="http://schemas.microsoft.com/office/drawing/2014/main" xmlns="" id="{F73EFD56-980F-46DE-A442-29174D22C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5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6" name="Oval 2867">
                <a:extLst>
                  <a:ext uri="{FF2B5EF4-FFF2-40B4-BE49-F238E27FC236}">
                    <a16:creationId xmlns:a16="http://schemas.microsoft.com/office/drawing/2014/main" xmlns="" id="{A7857A68-E134-497C-8B11-BC88DD293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6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7" name="Oval 2868">
                <a:extLst>
                  <a:ext uri="{FF2B5EF4-FFF2-40B4-BE49-F238E27FC236}">
                    <a16:creationId xmlns:a16="http://schemas.microsoft.com/office/drawing/2014/main" xmlns="" id="{680771A5-FA66-4D93-AD62-CD47FE3BEF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7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8" name="Oval 2869">
                <a:extLst>
                  <a:ext uri="{FF2B5EF4-FFF2-40B4-BE49-F238E27FC236}">
                    <a16:creationId xmlns:a16="http://schemas.microsoft.com/office/drawing/2014/main" xmlns="" id="{3ABE1EEA-EF8F-44A2-A119-AF7B87897D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9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79" name="Oval 2870">
                <a:extLst>
                  <a:ext uri="{FF2B5EF4-FFF2-40B4-BE49-F238E27FC236}">
                    <a16:creationId xmlns:a16="http://schemas.microsoft.com/office/drawing/2014/main" xmlns="" id="{BCD03EC3-CB26-4235-91EF-71AE86D2DA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10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0" name="Oval 2871">
                <a:extLst>
                  <a:ext uri="{FF2B5EF4-FFF2-40B4-BE49-F238E27FC236}">
                    <a16:creationId xmlns:a16="http://schemas.microsoft.com/office/drawing/2014/main" xmlns="" id="{AFEC504F-09CD-4DFD-A286-88E385037D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12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1" name="Oval 2872">
                <a:extLst>
                  <a:ext uri="{FF2B5EF4-FFF2-40B4-BE49-F238E27FC236}">
                    <a16:creationId xmlns:a16="http://schemas.microsoft.com/office/drawing/2014/main" xmlns="" id="{E843F484-CEFF-423A-A045-2E6A6930B4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2" name="Oval 2873">
                <a:extLst>
                  <a:ext uri="{FF2B5EF4-FFF2-40B4-BE49-F238E27FC236}">
                    <a16:creationId xmlns:a16="http://schemas.microsoft.com/office/drawing/2014/main" xmlns="" id="{8404F9E6-BF00-491D-BBDC-AB1ABD8FD2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4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3" name="Oval 2874">
                <a:extLst>
                  <a:ext uri="{FF2B5EF4-FFF2-40B4-BE49-F238E27FC236}">
                    <a16:creationId xmlns:a16="http://schemas.microsoft.com/office/drawing/2014/main" xmlns="" id="{270D8579-5715-4ABA-A31E-5AD480584F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4" name="Oval 2875">
                <a:extLst>
                  <a:ext uri="{FF2B5EF4-FFF2-40B4-BE49-F238E27FC236}">
                    <a16:creationId xmlns:a16="http://schemas.microsoft.com/office/drawing/2014/main" xmlns="" id="{15E423C9-B041-4FAA-8CC5-E1A4D16A14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5" name="Oval 2876">
                <a:extLst>
                  <a:ext uri="{FF2B5EF4-FFF2-40B4-BE49-F238E27FC236}">
                    <a16:creationId xmlns:a16="http://schemas.microsoft.com/office/drawing/2014/main" xmlns="" id="{81C7870D-2DAB-4006-BAB7-A8C820EDD8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6" name="Oval 2877">
                <a:extLst>
                  <a:ext uri="{FF2B5EF4-FFF2-40B4-BE49-F238E27FC236}">
                    <a16:creationId xmlns:a16="http://schemas.microsoft.com/office/drawing/2014/main" xmlns="" id="{38AEB002-0EDD-4FB8-A42A-9B4142578E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7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7" name="Oval 2878">
                <a:extLst>
                  <a:ext uri="{FF2B5EF4-FFF2-40B4-BE49-F238E27FC236}">
                    <a16:creationId xmlns:a16="http://schemas.microsoft.com/office/drawing/2014/main" xmlns="" id="{881DA672-3D14-41E2-B489-B18C4CF6A8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8" name="Oval 2879">
                <a:extLst>
                  <a:ext uri="{FF2B5EF4-FFF2-40B4-BE49-F238E27FC236}">
                    <a16:creationId xmlns:a16="http://schemas.microsoft.com/office/drawing/2014/main" xmlns="" id="{40DBC6A2-7C9E-444F-A020-185BBC115C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89" name="Oval 2880">
                <a:extLst>
                  <a:ext uri="{FF2B5EF4-FFF2-40B4-BE49-F238E27FC236}">
                    <a16:creationId xmlns:a16="http://schemas.microsoft.com/office/drawing/2014/main" xmlns="" id="{BC049EA0-AF2D-4044-96BB-F731C3A87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0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0" name="Oval 2881">
                <a:extLst>
                  <a:ext uri="{FF2B5EF4-FFF2-40B4-BE49-F238E27FC236}">
                    <a16:creationId xmlns:a16="http://schemas.microsoft.com/office/drawing/2014/main" xmlns="" id="{58CBE8B0-4BB5-4B81-91A6-987A2AB5B9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1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1" name="Oval 2882">
                <a:extLst>
                  <a:ext uri="{FF2B5EF4-FFF2-40B4-BE49-F238E27FC236}">
                    <a16:creationId xmlns:a16="http://schemas.microsoft.com/office/drawing/2014/main" xmlns="" id="{08F51A0B-4274-492C-BF5E-3D77E021D0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2" name="Oval 2883">
                <a:extLst>
                  <a:ext uri="{FF2B5EF4-FFF2-40B4-BE49-F238E27FC236}">
                    <a16:creationId xmlns:a16="http://schemas.microsoft.com/office/drawing/2014/main" xmlns="" id="{723EAAB5-7D55-4C34-8DD1-545F93C33B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3" name="Oval 2884">
                <a:extLst>
                  <a:ext uri="{FF2B5EF4-FFF2-40B4-BE49-F238E27FC236}">
                    <a16:creationId xmlns:a16="http://schemas.microsoft.com/office/drawing/2014/main" xmlns="" id="{45DA67B8-9F7E-4022-AB7B-F6A63CD9F9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4" name="Oval 2885">
                <a:extLst>
                  <a:ext uri="{FF2B5EF4-FFF2-40B4-BE49-F238E27FC236}">
                    <a16:creationId xmlns:a16="http://schemas.microsoft.com/office/drawing/2014/main" xmlns="" id="{636C8AF7-1177-4A5C-8758-09B571BD0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18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5" name="Oval 2886">
                <a:extLst>
                  <a:ext uri="{FF2B5EF4-FFF2-40B4-BE49-F238E27FC236}">
                    <a16:creationId xmlns:a16="http://schemas.microsoft.com/office/drawing/2014/main" xmlns="" id="{5AC4A67F-7B55-437F-BC57-FF785E9707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6" name="Oval 2887">
                <a:extLst>
                  <a:ext uri="{FF2B5EF4-FFF2-40B4-BE49-F238E27FC236}">
                    <a16:creationId xmlns:a16="http://schemas.microsoft.com/office/drawing/2014/main" xmlns="" id="{7BCB48F4-5A1D-4263-A0A1-60F4A68688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7" name="Oval 2888">
                <a:extLst>
                  <a:ext uri="{FF2B5EF4-FFF2-40B4-BE49-F238E27FC236}">
                    <a16:creationId xmlns:a16="http://schemas.microsoft.com/office/drawing/2014/main" xmlns="" id="{88F4D7CB-A70E-4036-9358-8BF55F4D23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8" name="Oval 2889">
                <a:extLst>
                  <a:ext uri="{FF2B5EF4-FFF2-40B4-BE49-F238E27FC236}">
                    <a16:creationId xmlns:a16="http://schemas.microsoft.com/office/drawing/2014/main" xmlns="" id="{411FF6B9-008B-41AF-88B2-AB19178505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99" name="Oval 2890">
                <a:extLst>
                  <a:ext uri="{FF2B5EF4-FFF2-40B4-BE49-F238E27FC236}">
                    <a16:creationId xmlns:a16="http://schemas.microsoft.com/office/drawing/2014/main" xmlns="" id="{F731392F-6559-4288-B4EB-F5869C3179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0" name="Oval 2891">
                <a:extLst>
                  <a:ext uri="{FF2B5EF4-FFF2-40B4-BE49-F238E27FC236}">
                    <a16:creationId xmlns:a16="http://schemas.microsoft.com/office/drawing/2014/main" xmlns="" id="{45003271-6ADB-46CE-8D43-BD3532519B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24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1" name="Oval 2892">
                <a:extLst>
                  <a:ext uri="{FF2B5EF4-FFF2-40B4-BE49-F238E27FC236}">
                    <a16:creationId xmlns:a16="http://schemas.microsoft.com/office/drawing/2014/main" xmlns="" id="{F3CDD557-6677-4BE0-BE45-D17B0B7373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2" name="Oval 2893">
                <a:extLst>
                  <a:ext uri="{FF2B5EF4-FFF2-40B4-BE49-F238E27FC236}">
                    <a16:creationId xmlns:a16="http://schemas.microsoft.com/office/drawing/2014/main" xmlns="" id="{D322BF32-0FEE-411F-A9F6-E36C7A89E0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3" name="Oval 2894">
                <a:extLst>
                  <a:ext uri="{FF2B5EF4-FFF2-40B4-BE49-F238E27FC236}">
                    <a16:creationId xmlns:a16="http://schemas.microsoft.com/office/drawing/2014/main" xmlns="" id="{B95E5DC4-5246-4D8A-B364-EC50865F08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5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4" name="Oval 2895">
                <a:extLst>
                  <a:ext uri="{FF2B5EF4-FFF2-40B4-BE49-F238E27FC236}">
                    <a16:creationId xmlns:a16="http://schemas.microsoft.com/office/drawing/2014/main" xmlns="" id="{E1F12BC7-0953-43F7-A49C-43C956C7F7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5" name="Oval 2896">
                <a:extLst>
                  <a:ext uri="{FF2B5EF4-FFF2-40B4-BE49-F238E27FC236}">
                    <a16:creationId xmlns:a16="http://schemas.microsoft.com/office/drawing/2014/main" xmlns="" id="{E48B5825-A428-4528-8CCA-DED2D471BB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6" name="Oval 2897">
                <a:extLst>
                  <a:ext uri="{FF2B5EF4-FFF2-40B4-BE49-F238E27FC236}">
                    <a16:creationId xmlns:a16="http://schemas.microsoft.com/office/drawing/2014/main" xmlns="" id="{36C588A5-375A-4BD9-B273-011DBA7AC8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7" name="Oval 2898">
                <a:extLst>
                  <a:ext uri="{FF2B5EF4-FFF2-40B4-BE49-F238E27FC236}">
                    <a16:creationId xmlns:a16="http://schemas.microsoft.com/office/drawing/2014/main" xmlns="" id="{BBE64F6D-54AA-4AFB-B7DE-8BA153CCC9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25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8" name="Oval 2899">
                <a:extLst>
                  <a:ext uri="{FF2B5EF4-FFF2-40B4-BE49-F238E27FC236}">
                    <a16:creationId xmlns:a16="http://schemas.microsoft.com/office/drawing/2014/main" xmlns="" id="{D504BCAD-831B-479A-80F1-7ADBE056C1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09" name="Oval 2900">
                <a:extLst>
                  <a:ext uri="{FF2B5EF4-FFF2-40B4-BE49-F238E27FC236}">
                    <a16:creationId xmlns:a16="http://schemas.microsoft.com/office/drawing/2014/main" xmlns="" id="{2421940F-5B94-49C4-91ED-48F21D10BF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0" name="Oval 2901">
                <a:extLst>
                  <a:ext uri="{FF2B5EF4-FFF2-40B4-BE49-F238E27FC236}">
                    <a16:creationId xmlns:a16="http://schemas.microsoft.com/office/drawing/2014/main" xmlns="" id="{C8EDA3E6-0112-4EB9-88D1-A10BA6F142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24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1" name="Oval 2902">
                <a:extLst>
                  <a:ext uri="{FF2B5EF4-FFF2-40B4-BE49-F238E27FC236}">
                    <a16:creationId xmlns:a16="http://schemas.microsoft.com/office/drawing/2014/main" xmlns="" id="{86D33BFE-B9CB-4E1A-ADB0-D13B7D8A51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2" name="Oval 2903">
                <a:extLst>
                  <a:ext uri="{FF2B5EF4-FFF2-40B4-BE49-F238E27FC236}">
                    <a16:creationId xmlns:a16="http://schemas.microsoft.com/office/drawing/2014/main" xmlns="" id="{ED9FC8E5-D626-4802-971F-EDD24E6661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3" name="Oval 2904">
                <a:extLst>
                  <a:ext uri="{FF2B5EF4-FFF2-40B4-BE49-F238E27FC236}">
                    <a16:creationId xmlns:a16="http://schemas.microsoft.com/office/drawing/2014/main" xmlns="" id="{F359FB28-3542-4CB2-A167-57FF1B4586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21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4" name="Oval 2905">
                <a:extLst>
                  <a:ext uri="{FF2B5EF4-FFF2-40B4-BE49-F238E27FC236}">
                    <a16:creationId xmlns:a16="http://schemas.microsoft.com/office/drawing/2014/main" xmlns="" id="{908A61E3-3F4D-4A92-9966-85BB24342E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2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5" name="Oval 2906">
                <a:extLst>
                  <a:ext uri="{FF2B5EF4-FFF2-40B4-BE49-F238E27FC236}">
                    <a16:creationId xmlns:a16="http://schemas.microsoft.com/office/drawing/2014/main" xmlns="" id="{FB69BFB2-F81E-4A46-BC06-E8D832B4CC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6" name="Oval 2907">
                <a:extLst>
                  <a:ext uri="{FF2B5EF4-FFF2-40B4-BE49-F238E27FC236}">
                    <a16:creationId xmlns:a16="http://schemas.microsoft.com/office/drawing/2014/main" xmlns="" id="{E10DCC3B-FA60-4916-9780-EA59DCA3E7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20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7" name="Oval 2908">
                <a:extLst>
                  <a:ext uri="{FF2B5EF4-FFF2-40B4-BE49-F238E27FC236}">
                    <a16:creationId xmlns:a16="http://schemas.microsoft.com/office/drawing/2014/main" xmlns="" id="{FD9AC08C-D289-45AD-BD2F-46962A0C36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5" y="19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8" name="Oval 2909">
                <a:extLst>
                  <a:ext uri="{FF2B5EF4-FFF2-40B4-BE49-F238E27FC236}">
                    <a16:creationId xmlns:a16="http://schemas.microsoft.com/office/drawing/2014/main" xmlns="" id="{C78302BA-115A-4ECE-975F-6B1049C69C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18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19" name="Oval 2910">
                <a:extLst>
                  <a:ext uri="{FF2B5EF4-FFF2-40B4-BE49-F238E27FC236}">
                    <a16:creationId xmlns:a16="http://schemas.microsoft.com/office/drawing/2014/main" xmlns="" id="{93EADD7A-E1AE-41CB-A954-8076593254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0" name="Oval 2911">
                <a:extLst>
                  <a:ext uri="{FF2B5EF4-FFF2-40B4-BE49-F238E27FC236}">
                    <a16:creationId xmlns:a16="http://schemas.microsoft.com/office/drawing/2014/main" xmlns="" id="{C631353E-68CD-4924-93FF-30CCC30EFB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1" name="Oval 2912">
                <a:extLst>
                  <a:ext uri="{FF2B5EF4-FFF2-40B4-BE49-F238E27FC236}">
                    <a16:creationId xmlns:a16="http://schemas.microsoft.com/office/drawing/2014/main" xmlns="" id="{7BE88486-A027-4C1A-ADC2-18B0640B15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2" name="Oval 2913">
                <a:extLst>
                  <a:ext uri="{FF2B5EF4-FFF2-40B4-BE49-F238E27FC236}">
                    <a16:creationId xmlns:a16="http://schemas.microsoft.com/office/drawing/2014/main" xmlns="" id="{E87554F1-66E3-4332-A97E-076FE957A3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3" name="Oval 2914">
                <a:extLst>
                  <a:ext uri="{FF2B5EF4-FFF2-40B4-BE49-F238E27FC236}">
                    <a16:creationId xmlns:a16="http://schemas.microsoft.com/office/drawing/2014/main" xmlns="" id="{10818E67-D711-4C6C-8AEF-099DC7C4CA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8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4" name="Oval 2915">
                <a:extLst>
                  <a:ext uri="{FF2B5EF4-FFF2-40B4-BE49-F238E27FC236}">
                    <a16:creationId xmlns:a16="http://schemas.microsoft.com/office/drawing/2014/main" xmlns="" id="{AF4522B3-9628-4091-B2F8-70C96087FB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5" y="29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5" name="Oval 2916">
                <a:extLst>
                  <a:ext uri="{FF2B5EF4-FFF2-40B4-BE49-F238E27FC236}">
                    <a16:creationId xmlns:a16="http://schemas.microsoft.com/office/drawing/2014/main" xmlns="" id="{0D7519BC-0E92-4520-8241-D8F8DCE653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6" name="Oval 2917">
                <a:extLst>
                  <a:ext uri="{FF2B5EF4-FFF2-40B4-BE49-F238E27FC236}">
                    <a16:creationId xmlns:a16="http://schemas.microsoft.com/office/drawing/2014/main" xmlns="" id="{3490953F-E176-404B-B0BB-A199FB53B2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30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7" name="Oval 2918">
                <a:extLst>
                  <a:ext uri="{FF2B5EF4-FFF2-40B4-BE49-F238E27FC236}">
                    <a16:creationId xmlns:a16="http://schemas.microsoft.com/office/drawing/2014/main" xmlns="" id="{F0FB05B2-2EE8-46F4-A528-38BF6EB50B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30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8" name="Oval 2919">
                <a:extLst>
                  <a:ext uri="{FF2B5EF4-FFF2-40B4-BE49-F238E27FC236}">
                    <a16:creationId xmlns:a16="http://schemas.microsoft.com/office/drawing/2014/main" xmlns="" id="{EA2D072E-D6C6-45F3-AEEB-8406A38637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29" name="Oval 2920">
                <a:extLst>
                  <a:ext uri="{FF2B5EF4-FFF2-40B4-BE49-F238E27FC236}">
                    <a16:creationId xmlns:a16="http://schemas.microsoft.com/office/drawing/2014/main" xmlns="" id="{AA18448D-5795-4562-B98B-E5F51927A2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29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0" name="Oval 2921">
                <a:extLst>
                  <a:ext uri="{FF2B5EF4-FFF2-40B4-BE49-F238E27FC236}">
                    <a16:creationId xmlns:a16="http://schemas.microsoft.com/office/drawing/2014/main" xmlns="" id="{23C259ED-3D44-4063-8810-316E13C2A5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5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1" name="Oval 2922">
                <a:extLst>
                  <a:ext uri="{FF2B5EF4-FFF2-40B4-BE49-F238E27FC236}">
                    <a16:creationId xmlns:a16="http://schemas.microsoft.com/office/drawing/2014/main" xmlns="" id="{139CDA34-664B-44A2-A4DB-06FB08E08C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5" y="31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2" name="Oval 2923">
                <a:extLst>
                  <a:ext uri="{FF2B5EF4-FFF2-40B4-BE49-F238E27FC236}">
                    <a16:creationId xmlns:a16="http://schemas.microsoft.com/office/drawing/2014/main" xmlns="" id="{DD27D70B-7C4F-45C7-B245-C398F413D4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5" y="27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3" name="Oval 2924">
                <a:extLst>
                  <a:ext uri="{FF2B5EF4-FFF2-40B4-BE49-F238E27FC236}">
                    <a16:creationId xmlns:a16="http://schemas.microsoft.com/office/drawing/2014/main" xmlns="" id="{45626ADB-1F1F-40B1-B4F6-79EEEAC663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" y="16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4" name="Oval 2925">
                <a:extLst>
                  <a:ext uri="{FF2B5EF4-FFF2-40B4-BE49-F238E27FC236}">
                    <a16:creationId xmlns:a16="http://schemas.microsoft.com/office/drawing/2014/main" xmlns="" id="{298B77E5-9331-4F91-9A01-95DA4D59D4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16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5" name="Oval 2926">
                <a:extLst>
                  <a:ext uri="{FF2B5EF4-FFF2-40B4-BE49-F238E27FC236}">
                    <a16:creationId xmlns:a16="http://schemas.microsoft.com/office/drawing/2014/main" xmlns="" id="{6F591789-3901-482E-A2B1-EC84F1477A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6" name="Oval 2927">
                <a:extLst>
                  <a:ext uri="{FF2B5EF4-FFF2-40B4-BE49-F238E27FC236}">
                    <a16:creationId xmlns:a16="http://schemas.microsoft.com/office/drawing/2014/main" xmlns="" id="{92783266-F533-43A5-8C3C-4190F0EED9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5" y="17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7" name="Oval 2928">
                <a:extLst>
                  <a:ext uri="{FF2B5EF4-FFF2-40B4-BE49-F238E27FC236}">
                    <a16:creationId xmlns:a16="http://schemas.microsoft.com/office/drawing/2014/main" xmlns="" id="{4DBD4FAD-4274-4084-BF1B-ACE320F8CE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1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8" name="Oval 2929">
                <a:extLst>
                  <a:ext uri="{FF2B5EF4-FFF2-40B4-BE49-F238E27FC236}">
                    <a16:creationId xmlns:a16="http://schemas.microsoft.com/office/drawing/2014/main" xmlns="" id="{C0A9DE48-427F-41AB-8962-EF0866E14C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5" y="13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39" name="Oval 2930">
                <a:extLst>
                  <a:ext uri="{FF2B5EF4-FFF2-40B4-BE49-F238E27FC236}">
                    <a16:creationId xmlns:a16="http://schemas.microsoft.com/office/drawing/2014/main" xmlns="" id="{F5FBC60B-B5A6-4A63-B235-C32469EB55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12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0" name="Oval 2931">
                <a:extLst>
                  <a:ext uri="{FF2B5EF4-FFF2-40B4-BE49-F238E27FC236}">
                    <a16:creationId xmlns:a16="http://schemas.microsoft.com/office/drawing/2014/main" xmlns="" id="{8580DABD-3E38-4F35-9FF5-DDB4400D48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1" name="Oval 2932">
                <a:extLst>
                  <a:ext uri="{FF2B5EF4-FFF2-40B4-BE49-F238E27FC236}">
                    <a16:creationId xmlns:a16="http://schemas.microsoft.com/office/drawing/2014/main" xmlns="" id="{3AD543BF-F288-4D35-B46A-12E60477D0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2" name="Oval 2933">
                <a:extLst>
                  <a:ext uri="{FF2B5EF4-FFF2-40B4-BE49-F238E27FC236}">
                    <a16:creationId xmlns:a16="http://schemas.microsoft.com/office/drawing/2014/main" xmlns="" id="{02A676AE-377F-42EE-BAED-23F39393CB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5" y="13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3" name="Oval 2934">
                <a:extLst>
                  <a:ext uri="{FF2B5EF4-FFF2-40B4-BE49-F238E27FC236}">
                    <a16:creationId xmlns:a16="http://schemas.microsoft.com/office/drawing/2014/main" xmlns="" id="{D1F1B4EE-C4C5-4A5B-86E7-BEC1CC6D51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14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4" name="Oval 2935">
                <a:extLst>
                  <a:ext uri="{FF2B5EF4-FFF2-40B4-BE49-F238E27FC236}">
                    <a16:creationId xmlns:a16="http://schemas.microsoft.com/office/drawing/2014/main" xmlns="" id="{6F87A672-022D-4F4F-A75A-D60F2E4895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15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5" name="Oval 2936">
                <a:extLst>
                  <a:ext uri="{FF2B5EF4-FFF2-40B4-BE49-F238E27FC236}">
                    <a16:creationId xmlns:a16="http://schemas.microsoft.com/office/drawing/2014/main" xmlns="" id="{D8984A34-68F0-41A5-B46C-D1F41D2503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5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6" name="Oval 2937">
                <a:extLst>
                  <a:ext uri="{FF2B5EF4-FFF2-40B4-BE49-F238E27FC236}">
                    <a16:creationId xmlns:a16="http://schemas.microsoft.com/office/drawing/2014/main" xmlns="" id="{BB40DEC9-0B76-4183-A606-711EDDEF9F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6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7" name="Oval 2938">
                <a:extLst>
                  <a:ext uri="{FF2B5EF4-FFF2-40B4-BE49-F238E27FC236}">
                    <a16:creationId xmlns:a16="http://schemas.microsoft.com/office/drawing/2014/main" xmlns="" id="{AC589DD6-2B2B-4565-B342-49EC62FED8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17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8" name="Oval 2939">
                <a:extLst>
                  <a:ext uri="{FF2B5EF4-FFF2-40B4-BE49-F238E27FC236}">
                    <a16:creationId xmlns:a16="http://schemas.microsoft.com/office/drawing/2014/main" xmlns="" id="{F829549F-F2BE-4BB9-8B0C-828C49D31A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18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49" name="Oval 2940">
                <a:extLst>
                  <a:ext uri="{FF2B5EF4-FFF2-40B4-BE49-F238E27FC236}">
                    <a16:creationId xmlns:a16="http://schemas.microsoft.com/office/drawing/2014/main" xmlns="" id="{4B3B6947-F4AB-4D53-BC65-92DCA034AC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19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0" name="Oval 2941">
                <a:extLst>
                  <a:ext uri="{FF2B5EF4-FFF2-40B4-BE49-F238E27FC236}">
                    <a16:creationId xmlns:a16="http://schemas.microsoft.com/office/drawing/2014/main" xmlns="" id="{75AE08F0-B66F-4659-8E4B-33663CF7ED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5" y="21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1" name="Oval 2942">
                <a:extLst>
                  <a:ext uri="{FF2B5EF4-FFF2-40B4-BE49-F238E27FC236}">
                    <a16:creationId xmlns:a16="http://schemas.microsoft.com/office/drawing/2014/main" xmlns="" id="{9BBEFD94-C246-4E4B-AFF0-CD04FB9FB7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1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2" name="Oval 2943">
                <a:extLst>
                  <a:ext uri="{FF2B5EF4-FFF2-40B4-BE49-F238E27FC236}">
                    <a16:creationId xmlns:a16="http://schemas.microsoft.com/office/drawing/2014/main" xmlns="" id="{5BF4AB5A-EEAD-4A78-8914-423590E777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3" name="Oval 2944">
                <a:extLst>
                  <a:ext uri="{FF2B5EF4-FFF2-40B4-BE49-F238E27FC236}">
                    <a16:creationId xmlns:a16="http://schemas.microsoft.com/office/drawing/2014/main" xmlns="" id="{E7B7B262-3A8C-43E4-BBD8-E84D7CABE4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4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4" name="Oval 2945">
                <a:extLst>
                  <a:ext uri="{FF2B5EF4-FFF2-40B4-BE49-F238E27FC236}">
                    <a16:creationId xmlns:a16="http://schemas.microsoft.com/office/drawing/2014/main" xmlns="" id="{EDB5F04B-AFDC-4419-A65D-1B5554F5E6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5" name="Oval 2946">
                <a:extLst>
                  <a:ext uri="{FF2B5EF4-FFF2-40B4-BE49-F238E27FC236}">
                    <a16:creationId xmlns:a16="http://schemas.microsoft.com/office/drawing/2014/main" xmlns="" id="{4248DD78-B065-44F8-A74C-CAB50F4124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6" name="Oval 2947">
                <a:extLst>
                  <a:ext uri="{FF2B5EF4-FFF2-40B4-BE49-F238E27FC236}">
                    <a16:creationId xmlns:a16="http://schemas.microsoft.com/office/drawing/2014/main" xmlns="" id="{2EEF27A6-421F-4D2A-A086-3CD0618C34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7" name="Oval 2948">
                <a:extLst>
                  <a:ext uri="{FF2B5EF4-FFF2-40B4-BE49-F238E27FC236}">
                    <a16:creationId xmlns:a16="http://schemas.microsoft.com/office/drawing/2014/main" xmlns="" id="{96194F9C-591C-4A2A-B9D8-3F9F61EB36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5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8" name="Oval 2949">
                <a:extLst>
                  <a:ext uri="{FF2B5EF4-FFF2-40B4-BE49-F238E27FC236}">
                    <a16:creationId xmlns:a16="http://schemas.microsoft.com/office/drawing/2014/main" xmlns="" id="{5023FF7E-BE81-4DCD-8A38-2B056F65B2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24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59" name="Oval 2950">
                <a:extLst>
                  <a:ext uri="{FF2B5EF4-FFF2-40B4-BE49-F238E27FC236}">
                    <a16:creationId xmlns:a16="http://schemas.microsoft.com/office/drawing/2014/main" xmlns="" id="{4B1E874A-AB47-48E2-B979-8133E40C1F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0" name="Oval 2951">
                <a:extLst>
                  <a:ext uri="{FF2B5EF4-FFF2-40B4-BE49-F238E27FC236}">
                    <a16:creationId xmlns:a16="http://schemas.microsoft.com/office/drawing/2014/main" xmlns="" id="{B0D0BBD4-18B2-4378-8041-C40D75EC37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26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1" name="Oval 2952">
                <a:extLst>
                  <a:ext uri="{FF2B5EF4-FFF2-40B4-BE49-F238E27FC236}">
                    <a16:creationId xmlns:a16="http://schemas.microsoft.com/office/drawing/2014/main" xmlns="" id="{AFAE9ABC-0507-406C-9330-B9EB354A44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5" y="27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2" name="Oval 2953">
                <a:extLst>
                  <a:ext uri="{FF2B5EF4-FFF2-40B4-BE49-F238E27FC236}">
                    <a16:creationId xmlns:a16="http://schemas.microsoft.com/office/drawing/2014/main" xmlns="" id="{560FDE4A-E135-4306-BAF1-278B18B6C0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5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3" name="Oval 2954">
                <a:extLst>
                  <a:ext uri="{FF2B5EF4-FFF2-40B4-BE49-F238E27FC236}">
                    <a16:creationId xmlns:a16="http://schemas.microsoft.com/office/drawing/2014/main" xmlns="" id="{9291E4A4-ABBC-4346-8083-E51324B02E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75" y="30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4" name="Oval 2955">
                <a:extLst>
                  <a:ext uri="{FF2B5EF4-FFF2-40B4-BE49-F238E27FC236}">
                    <a16:creationId xmlns:a16="http://schemas.microsoft.com/office/drawing/2014/main" xmlns="" id="{8C3D7A7F-921A-4743-91B6-84A97359C3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5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5" name="Oval 2956">
                <a:extLst>
                  <a:ext uri="{FF2B5EF4-FFF2-40B4-BE49-F238E27FC236}">
                    <a16:creationId xmlns:a16="http://schemas.microsoft.com/office/drawing/2014/main" xmlns="" id="{4248B621-6F0B-4EE2-A867-CC7F12AB66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6" name="Oval 2957">
                <a:extLst>
                  <a:ext uri="{FF2B5EF4-FFF2-40B4-BE49-F238E27FC236}">
                    <a16:creationId xmlns:a16="http://schemas.microsoft.com/office/drawing/2014/main" xmlns="" id="{EF1519CC-DA48-49C3-BDA1-B261CF84C1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30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7" name="Oval 2958">
                <a:extLst>
                  <a:ext uri="{FF2B5EF4-FFF2-40B4-BE49-F238E27FC236}">
                    <a16:creationId xmlns:a16="http://schemas.microsoft.com/office/drawing/2014/main" xmlns="" id="{3A65BF1B-D4A3-4695-B20F-070046F9C1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5" y="31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8" name="Oval 2959">
                <a:extLst>
                  <a:ext uri="{FF2B5EF4-FFF2-40B4-BE49-F238E27FC236}">
                    <a16:creationId xmlns:a16="http://schemas.microsoft.com/office/drawing/2014/main" xmlns="" id="{FAF6D771-4DA4-46DA-B8BA-B37182DFF6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31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69" name="Oval 2960">
                <a:extLst>
                  <a:ext uri="{FF2B5EF4-FFF2-40B4-BE49-F238E27FC236}">
                    <a16:creationId xmlns:a16="http://schemas.microsoft.com/office/drawing/2014/main" xmlns="" id="{57C175A7-63FC-423C-A3B5-A911C6954E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0" name="Oval 2961">
                <a:extLst>
                  <a:ext uri="{FF2B5EF4-FFF2-40B4-BE49-F238E27FC236}">
                    <a16:creationId xmlns:a16="http://schemas.microsoft.com/office/drawing/2014/main" xmlns="" id="{2AAD92E5-CAE6-4360-9382-FE0D004455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28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1" name="Oval 2962">
                <a:extLst>
                  <a:ext uri="{FF2B5EF4-FFF2-40B4-BE49-F238E27FC236}">
                    <a16:creationId xmlns:a16="http://schemas.microsoft.com/office/drawing/2014/main" xmlns="" id="{2E77C209-7EE6-468E-8785-175B3E0F7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5" y="300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2" name="Oval 2963">
                <a:extLst>
                  <a:ext uri="{FF2B5EF4-FFF2-40B4-BE49-F238E27FC236}">
                    <a16:creationId xmlns:a16="http://schemas.microsoft.com/office/drawing/2014/main" xmlns="" id="{F7402052-359B-4268-A8C2-A8FFC477B9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5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3" name="Oval 2964">
                <a:extLst>
                  <a:ext uri="{FF2B5EF4-FFF2-40B4-BE49-F238E27FC236}">
                    <a16:creationId xmlns:a16="http://schemas.microsoft.com/office/drawing/2014/main" xmlns="" id="{2DB17923-39CA-40B6-9A4A-4306222740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45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4" name="Oval 2965">
                <a:extLst>
                  <a:ext uri="{FF2B5EF4-FFF2-40B4-BE49-F238E27FC236}">
                    <a16:creationId xmlns:a16="http://schemas.microsoft.com/office/drawing/2014/main" xmlns="" id="{928009B1-DDE3-4AD5-A924-04DD98FD09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30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5" name="Oval 2966">
                <a:extLst>
                  <a:ext uri="{FF2B5EF4-FFF2-40B4-BE49-F238E27FC236}">
                    <a16:creationId xmlns:a16="http://schemas.microsoft.com/office/drawing/2014/main" xmlns="" id="{417302F4-2475-4E4A-B3C2-F31DB0C848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85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6" name="Oval 2967">
                <a:extLst>
                  <a:ext uri="{FF2B5EF4-FFF2-40B4-BE49-F238E27FC236}">
                    <a16:creationId xmlns:a16="http://schemas.microsoft.com/office/drawing/2014/main" xmlns="" id="{439E8F78-75DF-4D30-BE54-AC9B98F9E0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73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7" name="Oval 2968">
                <a:extLst>
                  <a:ext uri="{FF2B5EF4-FFF2-40B4-BE49-F238E27FC236}">
                    <a16:creationId xmlns:a16="http://schemas.microsoft.com/office/drawing/2014/main" xmlns="" id="{6CA48E93-94EF-4D7A-BCAB-C5F15F2195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264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8" name="Oval 2969">
                <a:extLst>
                  <a:ext uri="{FF2B5EF4-FFF2-40B4-BE49-F238E27FC236}">
                    <a16:creationId xmlns:a16="http://schemas.microsoft.com/office/drawing/2014/main" xmlns="" id="{34C1C4D3-D295-4BD2-84AC-C961EDE5F5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5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79" name="Oval 2970">
                <a:extLst>
                  <a:ext uri="{FF2B5EF4-FFF2-40B4-BE49-F238E27FC236}">
                    <a16:creationId xmlns:a16="http://schemas.microsoft.com/office/drawing/2014/main" xmlns="" id="{662EA6A7-4375-458E-87AA-4F15F87700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4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0" name="Oval 2971">
                <a:extLst>
                  <a:ext uri="{FF2B5EF4-FFF2-40B4-BE49-F238E27FC236}">
                    <a16:creationId xmlns:a16="http://schemas.microsoft.com/office/drawing/2014/main" xmlns="" id="{78471533-4705-47CE-A66B-A2306AC01A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6" y="2400"/>
                <a:ext cx="59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1" name="Oval 2972">
                <a:extLst>
                  <a:ext uri="{FF2B5EF4-FFF2-40B4-BE49-F238E27FC236}">
                    <a16:creationId xmlns:a16="http://schemas.microsoft.com/office/drawing/2014/main" xmlns="" id="{9CFEDEAF-BF3D-4F52-9F00-1B75663FC3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5" y="228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2" name="Oval 2973">
                <a:extLst>
                  <a:ext uri="{FF2B5EF4-FFF2-40B4-BE49-F238E27FC236}">
                    <a16:creationId xmlns:a16="http://schemas.microsoft.com/office/drawing/2014/main" xmlns="" id="{A2DB9682-BBA0-4832-9C63-9FA40A04D8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6" y="23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3" name="Oval 2974">
                <a:extLst>
                  <a:ext uri="{FF2B5EF4-FFF2-40B4-BE49-F238E27FC236}">
                    <a16:creationId xmlns:a16="http://schemas.microsoft.com/office/drawing/2014/main" xmlns="" id="{AB09A07A-BC86-4BC4-A6A0-E14343CB7C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37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4" name="Oval 2975">
                <a:extLst>
                  <a:ext uri="{FF2B5EF4-FFF2-40B4-BE49-F238E27FC236}">
                    <a16:creationId xmlns:a16="http://schemas.microsoft.com/office/drawing/2014/main" xmlns="" id="{75C44ACB-D1C8-4FFB-AAC5-59796680C4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6" y="24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5" name="Oval 2976">
                <a:extLst>
                  <a:ext uri="{FF2B5EF4-FFF2-40B4-BE49-F238E27FC236}">
                    <a16:creationId xmlns:a16="http://schemas.microsoft.com/office/drawing/2014/main" xmlns="" id="{EF97FC4C-7F4A-498F-8EE4-E11CA9F83F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6" y="26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6" name="Oval 2977">
                <a:extLst>
                  <a:ext uri="{FF2B5EF4-FFF2-40B4-BE49-F238E27FC236}">
                    <a16:creationId xmlns:a16="http://schemas.microsoft.com/office/drawing/2014/main" xmlns="" id="{7004B5A2-4474-467F-B46A-7E4BBEDAD2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61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7" name="Oval 2978">
                <a:extLst>
                  <a:ext uri="{FF2B5EF4-FFF2-40B4-BE49-F238E27FC236}">
                    <a16:creationId xmlns:a16="http://schemas.microsoft.com/office/drawing/2014/main" xmlns="" id="{B3C38E0E-1651-4782-99D5-DA5A430E74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6" y="276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8" name="Oval 2979">
                <a:extLst>
                  <a:ext uri="{FF2B5EF4-FFF2-40B4-BE49-F238E27FC236}">
                    <a16:creationId xmlns:a16="http://schemas.microsoft.com/office/drawing/2014/main" xmlns="" id="{3982CDCF-659C-4248-BFBA-530C286176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9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89" name="Oval 2980">
                <a:extLst>
                  <a:ext uri="{FF2B5EF4-FFF2-40B4-BE49-F238E27FC236}">
                    <a16:creationId xmlns:a16="http://schemas.microsoft.com/office/drawing/2014/main" xmlns="" id="{066C74C9-9569-4AD9-9A84-038123AC7C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6" y="309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0" name="Oval 2981">
                <a:extLst>
                  <a:ext uri="{FF2B5EF4-FFF2-40B4-BE49-F238E27FC236}">
                    <a16:creationId xmlns:a16="http://schemas.microsoft.com/office/drawing/2014/main" xmlns="" id="{43F17E57-EFB2-4055-918B-0201A2CFC4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5" y="234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91" name="Oval 2982">
                <a:extLst>
                  <a:ext uri="{FF2B5EF4-FFF2-40B4-BE49-F238E27FC236}">
                    <a16:creationId xmlns:a16="http://schemas.microsoft.com/office/drawing/2014/main" xmlns="" id="{AE933B88-BE52-4EEB-893C-1F61DF22EE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5" y="1920"/>
                <a:ext cx="60" cy="60"/>
              </a:xfrm>
              <a:prstGeom prst="ellipse">
                <a:avLst/>
              </a:prstGeom>
              <a:solidFill>
                <a:srgbClr val="F2F2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sp>
          <p:nvSpPr>
            <p:cNvPr id="2607" name="Oval 2984">
              <a:extLst>
                <a:ext uri="{FF2B5EF4-FFF2-40B4-BE49-F238E27FC236}">
                  <a16:creationId xmlns:a16="http://schemas.microsoft.com/office/drawing/2014/main" xmlns="" id="{B310FD13-8104-414F-B319-F7EA9DB1B3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08" name="Oval 2985">
              <a:extLst>
                <a:ext uri="{FF2B5EF4-FFF2-40B4-BE49-F238E27FC236}">
                  <a16:creationId xmlns:a16="http://schemas.microsoft.com/office/drawing/2014/main" xmlns="" id="{7B09CB79-B807-4760-AF3D-EA8344139B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09" name="Oval 2986">
              <a:extLst>
                <a:ext uri="{FF2B5EF4-FFF2-40B4-BE49-F238E27FC236}">
                  <a16:creationId xmlns:a16="http://schemas.microsoft.com/office/drawing/2014/main" xmlns="" id="{06F24C27-6489-4388-B79B-702E2ECF2E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21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0" name="Oval 2987">
              <a:extLst>
                <a:ext uri="{FF2B5EF4-FFF2-40B4-BE49-F238E27FC236}">
                  <a16:creationId xmlns:a16="http://schemas.microsoft.com/office/drawing/2014/main" xmlns="" id="{E5F1D6B3-EF02-48EB-AE70-03B98F580B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6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1" name="Oval 2988">
              <a:extLst>
                <a:ext uri="{FF2B5EF4-FFF2-40B4-BE49-F238E27FC236}">
                  <a16:creationId xmlns:a16="http://schemas.microsoft.com/office/drawing/2014/main" xmlns="" id="{D3FD35A0-2ECB-4B5F-BD3D-9FE35E6FD2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6" y="198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2" name="Oval 2989">
              <a:extLst>
                <a:ext uri="{FF2B5EF4-FFF2-40B4-BE49-F238E27FC236}">
                  <a16:creationId xmlns:a16="http://schemas.microsoft.com/office/drawing/2014/main" xmlns="" id="{FE4B1BFF-475D-442A-A04D-DF933772D0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6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3" name="Oval 2990">
              <a:extLst>
                <a:ext uri="{FF2B5EF4-FFF2-40B4-BE49-F238E27FC236}">
                  <a16:creationId xmlns:a16="http://schemas.microsoft.com/office/drawing/2014/main" xmlns="" id="{2B8C1CA5-7DA5-4AEE-BED3-17701AE6B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4" name="Oval 2991">
              <a:extLst>
                <a:ext uri="{FF2B5EF4-FFF2-40B4-BE49-F238E27FC236}">
                  <a16:creationId xmlns:a16="http://schemas.microsoft.com/office/drawing/2014/main" xmlns="" id="{CB01D10D-BF65-461B-85B6-DEC830AED2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5" y="17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5" name="Oval 2992">
              <a:extLst>
                <a:ext uri="{FF2B5EF4-FFF2-40B4-BE49-F238E27FC236}">
                  <a16:creationId xmlns:a16="http://schemas.microsoft.com/office/drawing/2014/main" xmlns="" id="{62E0AC6D-3937-4D80-B2D1-1AD035DFB4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5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6" name="Oval 2993">
              <a:extLst>
                <a:ext uri="{FF2B5EF4-FFF2-40B4-BE49-F238E27FC236}">
                  <a16:creationId xmlns:a16="http://schemas.microsoft.com/office/drawing/2014/main" xmlns="" id="{CA81E157-52E6-49A3-9E44-DC773CAA52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86" y="159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7" name="Oval 2994">
              <a:extLst>
                <a:ext uri="{FF2B5EF4-FFF2-40B4-BE49-F238E27FC236}">
                  <a16:creationId xmlns:a16="http://schemas.microsoft.com/office/drawing/2014/main" xmlns="" id="{C7752D20-A552-4BC0-AE66-A3173AAC2A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5" y="13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8" name="Oval 2995">
              <a:extLst>
                <a:ext uri="{FF2B5EF4-FFF2-40B4-BE49-F238E27FC236}">
                  <a16:creationId xmlns:a16="http://schemas.microsoft.com/office/drawing/2014/main" xmlns="" id="{D17B062A-C983-4CD1-9CC6-AF0A901C8E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19" name="Oval 2996">
              <a:extLst>
                <a:ext uri="{FF2B5EF4-FFF2-40B4-BE49-F238E27FC236}">
                  <a16:creationId xmlns:a16="http://schemas.microsoft.com/office/drawing/2014/main" xmlns="" id="{963DCA3B-884B-4FF4-8B17-9A7C270C2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14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0" name="Oval 2997">
              <a:extLst>
                <a:ext uri="{FF2B5EF4-FFF2-40B4-BE49-F238E27FC236}">
                  <a16:creationId xmlns:a16="http://schemas.microsoft.com/office/drawing/2014/main" xmlns="" id="{4D9F04F8-8241-4035-B3D1-FC9DD683D3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6" y="12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1" name="Oval 2998">
              <a:extLst>
                <a:ext uri="{FF2B5EF4-FFF2-40B4-BE49-F238E27FC236}">
                  <a16:creationId xmlns:a16="http://schemas.microsoft.com/office/drawing/2014/main" xmlns="" id="{FD0E6989-FEC9-4459-ADC6-021DCFEEC1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6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2" name="Oval 2999">
              <a:extLst>
                <a:ext uri="{FF2B5EF4-FFF2-40B4-BE49-F238E27FC236}">
                  <a16:creationId xmlns:a16="http://schemas.microsoft.com/office/drawing/2014/main" xmlns="" id="{5B17C7C8-E6E7-40C5-B6E9-6D0D2741FB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6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3" name="Oval 3000">
              <a:extLst>
                <a:ext uri="{FF2B5EF4-FFF2-40B4-BE49-F238E27FC236}">
                  <a16:creationId xmlns:a16="http://schemas.microsoft.com/office/drawing/2014/main" xmlns="" id="{7B16AB51-982A-4961-B8E1-6A9165C2D9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4" name="Oval 3001">
              <a:extLst>
                <a:ext uri="{FF2B5EF4-FFF2-40B4-BE49-F238E27FC236}">
                  <a16:creationId xmlns:a16="http://schemas.microsoft.com/office/drawing/2014/main" xmlns="" id="{775F59A4-EC3F-4C72-8810-7ED5EF4C2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6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5" name="Oval 3002">
              <a:extLst>
                <a:ext uri="{FF2B5EF4-FFF2-40B4-BE49-F238E27FC236}">
                  <a16:creationId xmlns:a16="http://schemas.microsoft.com/office/drawing/2014/main" xmlns="" id="{9582C577-A83F-4C5E-A2B1-E687F23B4C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6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6" name="Oval 3003">
              <a:extLst>
                <a:ext uri="{FF2B5EF4-FFF2-40B4-BE49-F238E27FC236}">
                  <a16:creationId xmlns:a16="http://schemas.microsoft.com/office/drawing/2014/main" xmlns="" id="{1C7C4A05-34BF-4021-AF89-E03B5FB9BF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6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7" name="Oval 3004">
              <a:extLst>
                <a:ext uri="{FF2B5EF4-FFF2-40B4-BE49-F238E27FC236}">
                  <a16:creationId xmlns:a16="http://schemas.microsoft.com/office/drawing/2014/main" xmlns="" id="{214190C0-5DDA-4336-86CF-FA2054AC5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19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8" name="Oval 3005">
              <a:extLst>
                <a:ext uri="{FF2B5EF4-FFF2-40B4-BE49-F238E27FC236}">
                  <a16:creationId xmlns:a16="http://schemas.microsoft.com/office/drawing/2014/main" xmlns="" id="{9E04DE5C-D63C-4433-95A9-47B0248E90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6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29" name="Oval 3006">
              <a:extLst>
                <a:ext uri="{FF2B5EF4-FFF2-40B4-BE49-F238E27FC236}">
                  <a16:creationId xmlns:a16="http://schemas.microsoft.com/office/drawing/2014/main" xmlns="" id="{81A3C943-78D7-4ED5-8815-130890FA2F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5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0" name="Oval 3007">
              <a:extLst>
                <a:ext uri="{FF2B5EF4-FFF2-40B4-BE49-F238E27FC236}">
                  <a16:creationId xmlns:a16="http://schemas.microsoft.com/office/drawing/2014/main" xmlns="" id="{241E86BD-4442-410A-AECB-EE0F12A1D1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1" name="Oval 3008">
              <a:extLst>
                <a:ext uri="{FF2B5EF4-FFF2-40B4-BE49-F238E27FC236}">
                  <a16:creationId xmlns:a16="http://schemas.microsoft.com/office/drawing/2014/main" xmlns="" id="{8CE4DC89-104A-47BD-8903-35CF05DCF9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2" name="Oval 3009">
              <a:extLst>
                <a:ext uri="{FF2B5EF4-FFF2-40B4-BE49-F238E27FC236}">
                  <a16:creationId xmlns:a16="http://schemas.microsoft.com/office/drawing/2014/main" xmlns="" id="{BB97E780-D427-4346-AD3D-E30564FA2C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3" name="Oval 3010">
              <a:extLst>
                <a:ext uri="{FF2B5EF4-FFF2-40B4-BE49-F238E27FC236}">
                  <a16:creationId xmlns:a16="http://schemas.microsoft.com/office/drawing/2014/main" xmlns="" id="{A7C60487-A107-4136-83E6-3568C9BB97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5" y="15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4" name="Oval 3011">
              <a:extLst>
                <a:ext uri="{FF2B5EF4-FFF2-40B4-BE49-F238E27FC236}">
                  <a16:creationId xmlns:a16="http://schemas.microsoft.com/office/drawing/2014/main" xmlns="" id="{0DC53904-9447-4CE7-BCD4-9ECCA48CF9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5" y="14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5" name="Oval 3012">
              <a:extLst>
                <a:ext uri="{FF2B5EF4-FFF2-40B4-BE49-F238E27FC236}">
                  <a16:creationId xmlns:a16="http://schemas.microsoft.com/office/drawing/2014/main" xmlns="" id="{11279C95-9CE3-48E7-8E49-A97AB42A95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5" y="15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6" name="Oval 3013">
              <a:extLst>
                <a:ext uri="{FF2B5EF4-FFF2-40B4-BE49-F238E27FC236}">
                  <a16:creationId xmlns:a16="http://schemas.microsoft.com/office/drawing/2014/main" xmlns="" id="{0C1A72B8-5CC7-4915-B504-E8397B983E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7" name="Oval 3014">
              <a:extLst>
                <a:ext uri="{FF2B5EF4-FFF2-40B4-BE49-F238E27FC236}">
                  <a16:creationId xmlns:a16="http://schemas.microsoft.com/office/drawing/2014/main" xmlns="" id="{461D233F-CB47-4762-8B8F-EDA320CB22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5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8" name="Oval 3015">
              <a:extLst>
                <a:ext uri="{FF2B5EF4-FFF2-40B4-BE49-F238E27FC236}">
                  <a16:creationId xmlns:a16="http://schemas.microsoft.com/office/drawing/2014/main" xmlns="" id="{816540C4-086E-4A36-8496-2241D7B4B7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5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39" name="Oval 3016">
              <a:extLst>
                <a:ext uri="{FF2B5EF4-FFF2-40B4-BE49-F238E27FC236}">
                  <a16:creationId xmlns:a16="http://schemas.microsoft.com/office/drawing/2014/main" xmlns="" id="{9F68BDEC-8383-44EF-9D0F-55091A101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0" name="Oval 3017">
              <a:extLst>
                <a:ext uri="{FF2B5EF4-FFF2-40B4-BE49-F238E27FC236}">
                  <a16:creationId xmlns:a16="http://schemas.microsoft.com/office/drawing/2014/main" xmlns="" id="{142F5190-7A67-4279-BB00-ECC0774409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1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1" name="Oval 3018">
              <a:extLst>
                <a:ext uri="{FF2B5EF4-FFF2-40B4-BE49-F238E27FC236}">
                  <a16:creationId xmlns:a16="http://schemas.microsoft.com/office/drawing/2014/main" xmlns="" id="{86761E9B-2345-4654-AA6A-392A9592B1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2" name="Oval 3019">
              <a:extLst>
                <a:ext uri="{FF2B5EF4-FFF2-40B4-BE49-F238E27FC236}">
                  <a16:creationId xmlns:a16="http://schemas.microsoft.com/office/drawing/2014/main" xmlns="" id="{5CF505DD-767B-4EE7-A1C7-345A097388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3" name="Oval 3020">
              <a:extLst>
                <a:ext uri="{FF2B5EF4-FFF2-40B4-BE49-F238E27FC236}">
                  <a16:creationId xmlns:a16="http://schemas.microsoft.com/office/drawing/2014/main" xmlns="" id="{7A7C6960-11BA-49C5-83F4-5544D3FE0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4" name="Oval 3021">
              <a:extLst>
                <a:ext uri="{FF2B5EF4-FFF2-40B4-BE49-F238E27FC236}">
                  <a16:creationId xmlns:a16="http://schemas.microsoft.com/office/drawing/2014/main" xmlns="" id="{A299362F-C77E-4FFB-A8B0-FDC3F28605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" y="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5" name="Oval 3022">
              <a:extLst>
                <a:ext uri="{FF2B5EF4-FFF2-40B4-BE49-F238E27FC236}">
                  <a16:creationId xmlns:a16="http://schemas.microsoft.com/office/drawing/2014/main" xmlns="" id="{4BEDAAB5-5C09-4E1D-8729-835628027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5" y="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6" name="Oval 3023">
              <a:extLst>
                <a:ext uri="{FF2B5EF4-FFF2-40B4-BE49-F238E27FC236}">
                  <a16:creationId xmlns:a16="http://schemas.microsoft.com/office/drawing/2014/main" xmlns="" id="{6666CEA9-89D6-40AD-93F4-CE0FC35CC2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" y="3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7" name="Oval 3024">
              <a:extLst>
                <a:ext uri="{FF2B5EF4-FFF2-40B4-BE49-F238E27FC236}">
                  <a16:creationId xmlns:a16="http://schemas.microsoft.com/office/drawing/2014/main" xmlns="" id="{C3961067-103E-4E0D-B62E-0C2687DDC3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8" name="Oval 3025">
              <a:extLst>
                <a:ext uri="{FF2B5EF4-FFF2-40B4-BE49-F238E27FC236}">
                  <a16:creationId xmlns:a16="http://schemas.microsoft.com/office/drawing/2014/main" xmlns="" id="{FF98C343-8784-40FA-9ABE-B7FFD3388F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4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49" name="Oval 3026">
              <a:extLst>
                <a:ext uri="{FF2B5EF4-FFF2-40B4-BE49-F238E27FC236}">
                  <a16:creationId xmlns:a16="http://schemas.microsoft.com/office/drawing/2014/main" xmlns="" id="{104C7E08-5D88-4B56-BECF-4ED5F6233A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0" name="Oval 3027">
              <a:extLst>
                <a:ext uri="{FF2B5EF4-FFF2-40B4-BE49-F238E27FC236}">
                  <a16:creationId xmlns:a16="http://schemas.microsoft.com/office/drawing/2014/main" xmlns="" id="{84015CAC-FBF9-495E-A11D-8C75D0783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5" y="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1" name="Oval 3028">
              <a:extLst>
                <a:ext uri="{FF2B5EF4-FFF2-40B4-BE49-F238E27FC236}">
                  <a16:creationId xmlns:a16="http://schemas.microsoft.com/office/drawing/2014/main" xmlns="" id="{3D465E52-FFB8-4111-89BC-FCABEEE84B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2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2" name="Oval 3029">
              <a:extLst>
                <a:ext uri="{FF2B5EF4-FFF2-40B4-BE49-F238E27FC236}">
                  <a16:creationId xmlns:a16="http://schemas.microsoft.com/office/drawing/2014/main" xmlns="" id="{80220D5E-E3C9-4FF0-8C4F-0F40F3B817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3" name="Oval 3030">
              <a:extLst>
                <a:ext uri="{FF2B5EF4-FFF2-40B4-BE49-F238E27FC236}">
                  <a16:creationId xmlns:a16="http://schemas.microsoft.com/office/drawing/2014/main" xmlns="" id="{8BAB14B7-2A0B-4868-A36B-DC4C7D9138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4" name="Oval 3031">
              <a:extLst>
                <a:ext uri="{FF2B5EF4-FFF2-40B4-BE49-F238E27FC236}">
                  <a16:creationId xmlns:a16="http://schemas.microsoft.com/office/drawing/2014/main" xmlns="" id="{ACAB0E9A-24DD-42E5-91A3-695962550F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3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5" name="Oval 3032">
              <a:extLst>
                <a:ext uri="{FF2B5EF4-FFF2-40B4-BE49-F238E27FC236}">
                  <a16:creationId xmlns:a16="http://schemas.microsoft.com/office/drawing/2014/main" xmlns="" id="{0B81CDA6-BE68-46F6-BE97-82E3963038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2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6" name="Oval 3033">
              <a:extLst>
                <a:ext uri="{FF2B5EF4-FFF2-40B4-BE49-F238E27FC236}">
                  <a16:creationId xmlns:a16="http://schemas.microsoft.com/office/drawing/2014/main" xmlns="" id="{6A5375A0-DF24-40B6-A850-2D3F3539F5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4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7" name="Oval 3034">
              <a:extLst>
                <a:ext uri="{FF2B5EF4-FFF2-40B4-BE49-F238E27FC236}">
                  <a16:creationId xmlns:a16="http://schemas.microsoft.com/office/drawing/2014/main" xmlns="" id="{61B510F5-2264-46A8-8173-B1BB5D1A72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6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8" name="Oval 3035">
              <a:extLst>
                <a:ext uri="{FF2B5EF4-FFF2-40B4-BE49-F238E27FC236}">
                  <a16:creationId xmlns:a16="http://schemas.microsoft.com/office/drawing/2014/main" xmlns="" id="{DC826A6B-CF7A-4EFF-B872-C2241C03B7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4" y="7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59" name="Oval 3036">
              <a:extLst>
                <a:ext uri="{FF2B5EF4-FFF2-40B4-BE49-F238E27FC236}">
                  <a16:creationId xmlns:a16="http://schemas.microsoft.com/office/drawing/2014/main" xmlns="" id="{D776AC49-7687-4DCA-9322-F2413F2A5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9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0" name="Oval 3037">
              <a:extLst>
                <a:ext uri="{FF2B5EF4-FFF2-40B4-BE49-F238E27FC236}">
                  <a16:creationId xmlns:a16="http://schemas.microsoft.com/office/drawing/2014/main" xmlns="" id="{CC039493-FE8D-4AA8-8FAC-9A7BA3C21D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0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1" name="Oval 3038">
              <a:extLst>
                <a:ext uri="{FF2B5EF4-FFF2-40B4-BE49-F238E27FC236}">
                  <a16:creationId xmlns:a16="http://schemas.microsoft.com/office/drawing/2014/main" xmlns="" id="{D4340834-F1B1-4821-9964-DEAD910C77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2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2" name="Oval 3039">
              <a:extLst>
                <a:ext uri="{FF2B5EF4-FFF2-40B4-BE49-F238E27FC236}">
                  <a16:creationId xmlns:a16="http://schemas.microsoft.com/office/drawing/2014/main" xmlns="" id="{CCBC0F96-1B57-4A6B-A142-19A3275808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3" name="Oval 3040">
              <a:extLst>
                <a:ext uri="{FF2B5EF4-FFF2-40B4-BE49-F238E27FC236}">
                  <a16:creationId xmlns:a16="http://schemas.microsoft.com/office/drawing/2014/main" xmlns="" id="{7B3F753C-B01D-4660-B855-928AE3C00C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4" y="9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4" name="Oval 3041">
              <a:extLst>
                <a:ext uri="{FF2B5EF4-FFF2-40B4-BE49-F238E27FC236}">
                  <a16:creationId xmlns:a16="http://schemas.microsoft.com/office/drawing/2014/main" xmlns="" id="{5BBDF909-44F5-4F08-8712-F94071DEA1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5" name="Oval 3042">
              <a:extLst>
                <a:ext uri="{FF2B5EF4-FFF2-40B4-BE49-F238E27FC236}">
                  <a16:creationId xmlns:a16="http://schemas.microsoft.com/office/drawing/2014/main" xmlns="" id="{43146686-50AB-49C4-9121-25FE65B281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10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6" name="Oval 3043">
              <a:extLst>
                <a:ext uri="{FF2B5EF4-FFF2-40B4-BE49-F238E27FC236}">
                  <a16:creationId xmlns:a16="http://schemas.microsoft.com/office/drawing/2014/main" xmlns="" id="{A596A95B-0678-4B0C-AD88-83E21D7185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10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7" name="Oval 3044">
              <a:extLst>
                <a:ext uri="{FF2B5EF4-FFF2-40B4-BE49-F238E27FC236}">
                  <a16:creationId xmlns:a16="http://schemas.microsoft.com/office/drawing/2014/main" xmlns="" id="{96E4D5DA-5305-4409-83A3-7D4F266971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11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8" name="Oval 3045">
              <a:extLst>
                <a:ext uri="{FF2B5EF4-FFF2-40B4-BE49-F238E27FC236}">
                  <a16:creationId xmlns:a16="http://schemas.microsoft.com/office/drawing/2014/main" xmlns="" id="{87151FD1-900E-44FB-A98B-7732C7C0AB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2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69" name="Oval 3046">
              <a:extLst>
                <a:ext uri="{FF2B5EF4-FFF2-40B4-BE49-F238E27FC236}">
                  <a16:creationId xmlns:a16="http://schemas.microsoft.com/office/drawing/2014/main" xmlns="" id="{C58E9B85-0297-4A30-8978-B09B6FAAAA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0" name="Oval 3047">
              <a:extLst>
                <a:ext uri="{FF2B5EF4-FFF2-40B4-BE49-F238E27FC236}">
                  <a16:creationId xmlns:a16="http://schemas.microsoft.com/office/drawing/2014/main" xmlns="" id="{4F7F30BD-8F75-4D7D-8EF2-B215F56BD8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4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1" name="Oval 3048">
              <a:extLst>
                <a:ext uri="{FF2B5EF4-FFF2-40B4-BE49-F238E27FC236}">
                  <a16:creationId xmlns:a16="http://schemas.microsoft.com/office/drawing/2014/main" xmlns="" id="{EB7D61B2-CFAA-4354-BA8D-BB42BEF2CA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2" name="Oval 3049">
              <a:extLst>
                <a:ext uri="{FF2B5EF4-FFF2-40B4-BE49-F238E27FC236}">
                  <a16:creationId xmlns:a16="http://schemas.microsoft.com/office/drawing/2014/main" xmlns="" id="{E86DD210-FE77-49D6-9A8B-0B9C554710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3" name="Oval 3050">
              <a:extLst>
                <a:ext uri="{FF2B5EF4-FFF2-40B4-BE49-F238E27FC236}">
                  <a16:creationId xmlns:a16="http://schemas.microsoft.com/office/drawing/2014/main" xmlns="" id="{AE391646-EFC3-40F1-B1F2-1EFC496AB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8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4" name="Oval 3051">
              <a:extLst>
                <a:ext uri="{FF2B5EF4-FFF2-40B4-BE49-F238E27FC236}">
                  <a16:creationId xmlns:a16="http://schemas.microsoft.com/office/drawing/2014/main" xmlns="" id="{8C2DD63E-26A0-48CC-9460-C97AFB20D9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8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5" name="Oval 3052">
              <a:extLst>
                <a:ext uri="{FF2B5EF4-FFF2-40B4-BE49-F238E27FC236}">
                  <a16:creationId xmlns:a16="http://schemas.microsoft.com/office/drawing/2014/main" xmlns="" id="{FB21D351-1D70-4375-867D-7B490F843D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6" name="Oval 3053">
              <a:extLst>
                <a:ext uri="{FF2B5EF4-FFF2-40B4-BE49-F238E27FC236}">
                  <a16:creationId xmlns:a16="http://schemas.microsoft.com/office/drawing/2014/main" xmlns="" id="{219FE068-3072-4226-8167-336263DC97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5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7" name="Oval 3054">
              <a:extLst>
                <a:ext uri="{FF2B5EF4-FFF2-40B4-BE49-F238E27FC236}">
                  <a16:creationId xmlns:a16="http://schemas.microsoft.com/office/drawing/2014/main" xmlns="" id="{D447D7F8-77A4-4361-A673-F25662C19E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14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8" name="Oval 3055">
              <a:extLst>
                <a:ext uri="{FF2B5EF4-FFF2-40B4-BE49-F238E27FC236}">
                  <a16:creationId xmlns:a16="http://schemas.microsoft.com/office/drawing/2014/main" xmlns="" id="{5161D2A6-E5EB-4093-B915-BBEC4FDD14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79" name="Oval 3056">
              <a:extLst>
                <a:ext uri="{FF2B5EF4-FFF2-40B4-BE49-F238E27FC236}">
                  <a16:creationId xmlns:a16="http://schemas.microsoft.com/office/drawing/2014/main" xmlns="" id="{461A7FD2-4B63-44B0-AE56-A379D9B958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0" name="Oval 3057">
              <a:extLst>
                <a:ext uri="{FF2B5EF4-FFF2-40B4-BE49-F238E27FC236}">
                  <a16:creationId xmlns:a16="http://schemas.microsoft.com/office/drawing/2014/main" xmlns="" id="{A1CC5DA8-E610-4C7E-B25B-4620F8EAA3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4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1" name="Oval 3058">
              <a:extLst>
                <a:ext uri="{FF2B5EF4-FFF2-40B4-BE49-F238E27FC236}">
                  <a16:creationId xmlns:a16="http://schemas.microsoft.com/office/drawing/2014/main" xmlns="" id="{B5E4578F-D687-42A9-8DA3-0EA0F7DCD9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12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2" name="Oval 3059">
              <a:extLst>
                <a:ext uri="{FF2B5EF4-FFF2-40B4-BE49-F238E27FC236}">
                  <a16:creationId xmlns:a16="http://schemas.microsoft.com/office/drawing/2014/main" xmlns="" id="{B640CD62-3349-425D-A54E-2D026B98B6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5" y="12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3" name="Oval 3060">
              <a:extLst>
                <a:ext uri="{FF2B5EF4-FFF2-40B4-BE49-F238E27FC236}">
                  <a16:creationId xmlns:a16="http://schemas.microsoft.com/office/drawing/2014/main" xmlns="" id="{6ACFA51A-B1DB-4C78-841F-061585FDED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5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4" name="Oval 3061">
              <a:extLst>
                <a:ext uri="{FF2B5EF4-FFF2-40B4-BE49-F238E27FC236}">
                  <a16:creationId xmlns:a16="http://schemas.microsoft.com/office/drawing/2014/main" xmlns="" id="{33307EF6-8529-44B5-B304-D59D5260E6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5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5" name="Oval 3062">
              <a:extLst>
                <a:ext uri="{FF2B5EF4-FFF2-40B4-BE49-F238E27FC236}">
                  <a16:creationId xmlns:a16="http://schemas.microsoft.com/office/drawing/2014/main" xmlns="" id="{E3E45E8C-B6C8-4044-AC67-1784FB063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11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6" name="Oval 3063">
              <a:extLst>
                <a:ext uri="{FF2B5EF4-FFF2-40B4-BE49-F238E27FC236}">
                  <a16:creationId xmlns:a16="http://schemas.microsoft.com/office/drawing/2014/main" xmlns="" id="{FC7AFD9E-5FA0-4B2A-9E45-90984FA0B9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8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7" name="Oval 3064">
              <a:extLst>
                <a:ext uri="{FF2B5EF4-FFF2-40B4-BE49-F238E27FC236}">
                  <a16:creationId xmlns:a16="http://schemas.microsoft.com/office/drawing/2014/main" xmlns="" id="{60F9ADC8-6FAA-470B-B05E-4347418362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5" y="159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8" name="Oval 3065">
              <a:extLst>
                <a:ext uri="{FF2B5EF4-FFF2-40B4-BE49-F238E27FC236}">
                  <a16:creationId xmlns:a16="http://schemas.microsoft.com/office/drawing/2014/main" xmlns="" id="{8EBA26E3-73C9-4531-BB7E-FA8EAD4ACB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12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89" name="Oval 3066">
              <a:extLst>
                <a:ext uri="{FF2B5EF4-FFF2-40B4-BE49-F238E27FC236}">
                  <a16:creationId xmlns:a16="http://schemas.microsoft.com/office/drawing/2014/main" xmlns="" id="{31E82EA7-443C-4A2B-8F37-498AD82100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9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0" name="Oval 3067">
              <a:extLst>
                <a:ext uri="{FF2B5EF4-FFF2-40B4-BE49-F238E27FC236}">
                  <a16:creationId xmlns:a16="http://schemas.microsoft.com/office/drawing/2014/main" xmlns="" id="{5EEF1AB7-8A72-4852-86E9-099B1D2B9A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10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1" name="Oval 3068">
              <a:extLst>
                <a:ext uri="{FF2B5EF4-FFF2-40B4-BE49-F238E27FC236}">
                  <a16:creationId xmlns:a16="http://schemas.microsoft.com/office/drawing/2014/main" xmlns="" id="{F8CE69D3-8147-4B43-BBD7-40B787216D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10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2" name="Oval 3069">
              <a:extLst>
                <a:ext uri="{FF2B5EF4-FFF2-40B4-BE49-F238E27FC236}">
                  <a16:creationId xmlns:a16="http://schemas.microsoft.com/office/drawing/2014/main" xmlns="" id="{A606068B-AD19-478D-B7AD-6B7C73CD1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9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3" name="Oval 3070">
              <a:extLst>
                <a:ext uri="{FF2B5EF4-FFF2-40B4-BE49-F238E27FC236}">
                  <a16:creationId xmlns:a16="http://schemas.microsoft.com/office/drawing/2014/main" xmlns="" id="{321B20D4-A361-45BA-ACA3-C4D41D4A18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9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4" name="Oval 3071">
              <a:extLst>
                <a:ext uri="{FF2B5EF4-FFF2-40B4-BE49-F238E27FC236}">
                  <a16:creationId xmlns:a16="http://schemas.microsoft.com/office/drawing/2014/main" xmlns="" id="{3B1BA6E6-5347-4F13-A1A1-A487ED57F7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5" y="8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5" name="Oval 3072">
              <a:extLst>
                <a:ext uri="{FF2B5EF4-FFF2-40B4-BE49-F238E27FC236}">
                  <a16:creationId xmlns:a16="http://schemas.microsoft.com/office/drawing/2014/main" xmlns="" id="{62137C6A-F579-4CB2-A834-BD3C2E40FE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6" name="Oval 3073">
              <a:extLst>
                <a:ext uri="{FF2B5EF4-FFF2-40B4-BE49-F238E27FC236}">
                  <a16:creationId xmlns:a16="http://schemas.microsoft.com/office/drawing/2014/main" xmlns="" id="{EE76FAE0-EE8D-48CE-80D5-4F28CED128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8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7" name="Oval 3074">
              <a:extLst>
                <a:ext uri="{FF2B5EF4-FFF2-40B4-BE49-F238E27FC236}">
                  <a16:creationId xmlns:a16="http://schemas.microsoft.com/office/drawing/2014/main" xmlns="" id="{5804C624-E8AF-4796-A2D1-5FCD387BDF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6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8" name="Oval 3075">
              <a:extLst>
                <a:ext uri="{FF2B5EF4-FFF2-40B4-BE49-F238E27FC236}">
                  <a16:creationId xmlns:a16="http://schemas.microsoft.com/office/drawing/2014/main" xmlns="" id="{46364144-C139-46E2-BF8B-1E95ABE729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5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99" name="Oval 3076">
              <a:extLst>
                <a:ext uri="{FF2B5EF4-FFF2-40B4-BE49-F238E27FC236}">
                  <a16:creationId xmlns:a16="http://schemas.microsoft.com/office/drawing/2014/main" xmlns="" id="{492A8816-23B4-4612-9589-47443CE4B5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4" y="4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0" name="Oval 3077">
              <a:extLst>
                <a:ext uri="{FF2B5EF4-FFF2-40B4-BE49-F238E27FC236}">
                  <a16:creationId xmlns:a16="http://schemas.microsoft.com/office/drawing/2014/main" xmlns="" id="{BDDDF3C2-81C9-48FE-B5BA-419ED8C9F2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4" y="6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1" name="Oval 3078">
              <a:extLst>
                <a:ext uri="{FF2B5EF4-FFF2-40B4-BE49-F238E27FC236}">
                  <a16:creationId xmlns:a16="http://schemas.microsoft.com/office/drawing/2014/main" xmlns="" id="{7C5B4B53-FAE3-473F-9AA0-E5A3C55FE5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4" y="8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2" name="Oval 3079">
              <a:extLst>
                <a:ext uri="{FF2B5EF4-FFF2-40B4-BE49-F238E27FC236}">
                  <a16:creationId xmlns:a16="http://schemas.microsoft.com/office/drawing/2014/main" xmlns="" id="{E5F49272-435D-4D7D-B853-A096FDD8DE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7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3" name="Oval 3080">
              <a:extLst>
                <a:ext uri="{FF2B5EF4-FFF2-40B4-BE49-F238E27FC236}">
                  <a16:creationId xmlns:a16="http://schemas.microsoft.com/office/drawing/2014/main" xmlns="" id="{810A574F-D2D2-4813-B8F2-1819C43290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8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4" name="Oval 3081">
              <a:extLst>
                <a:ext uri="{FF2B5EF4-FFF2-40B4-BE49-F238E27FC236}">
                  <a16:creationId xmlns:a16="http://schemas.microsoft.com/office/drawing/2014/main" xmlns="" id="{17DCBE32-5B94-45FE-BF86-88DAE6E280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13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5" name="Oval 3082">
              <a:extLst>
                <a:ext uri="{FF2B5EF4-FFF2-40B4-BE49-F238E27FC236}">
                  <a16:creationId xmlns:a16="http://schemas.microsoft.com/office/drawing/2014/main" xmlns="" id="{67A16FF7-8088-45AB-AF27-640C51C498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13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6" name="Oval 3083">
              <a:extLst>
                <a:ext uri="{FF2B5EF4-FFF2-40B4-BE49-F238E27FC236}">
                  <a16:creationId xmlns:a16="http://schemas.microsoft.com/office/drawing/2014/main" xmlns="" id="{6D6A2322-CF8D-468D-A53F-4443487571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4" y="15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7" name="Oval 3084">
              <a:extLst>
                <a:ext uri="{FF2B5EF4-FFF2-40B4-BE49-F238E27FC236}">
                  <a16:creationId xmlns:a16="http://schemas.microsoft.com/office/drawing/2014/main" xmlns="" id="{E7909EA4-8AE0-4865-A736-83AD218E1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4" y="13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8" name="Oval 3085">
              <a:extLst>
                <a:ext uri="{FF2B5EF4-FFF2-40B4-BE49-F238E27FC236}">
                  <a16:creationId xmlns:a16="http://schemas.microsoft.com/office/drawing/2014/main" xmlns="" id="{17C8FCC0-348C-4B4F-94BE-280DE55B2C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16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09" name="Oval 3086">
              <a:extLst>
                <a:ext uri="{FF2B5EF4-FFF2-40B4-BE49-F238E27FC236}">
                  <a16:creationId xmlns:a16="http://schemas.microsoft.com/office/drawing/2014/main" xmlns="" id="{13559A23-D408-4E7B-A1EA-255D6F8AB9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15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0" name="Oval 3087">
              <a:extLst>
                <a:ext uri="{FF2B5EF4-FFF2-40B4-BE49-F238E27FC236}">
                  <a16:creationId xmlns:a16="http://schemas.microsoft.com/office/drawing/2014/main" xmlns="" id="{D0BD3322-8672-4FD5-8454-EBA23C648D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15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1" name="Oval 3088">
              <a:extLst>
                <a:ext uri="{FF2B5EF4-FFF2-40B4-BE49-F238E27FC236}">
                  <a16:creationId xmlns:a16="http://schemas.microsoft.com/office/drawing/2014/main" xmlns="" id="{DB4AE540-74CC-4A2E-BE76-BC061D102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2" name="Oval 3089">
              <a:extLst>
                <a:ext uri="{FF2B5EF4-FFF2-40B4-BE49-F238E27FC236}">
                  <a16:creationId xmlns:a16="http://schemas.microsoft.com/office/drawing/2014/main" xmlns="" id="{4E0EB6B6-5FA7-4730-88B1-80255CB051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19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3" name="Oval 3090">
              <a:extLst>
                <a:ext uri="{FF2B5EF4-FFF2-40B4-BE49-F238E27FC236}">
                  <a16:creationId xmlns:a16="http://schemas.microsoft.com/office/drawing/2014/main" xmlns="" id="{A9BA1F96-500B-4E36-8AA8-147380D4B5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20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4" name="Oval 3091">
              <a:extLst>
                <a:ext uri="{FF2B5EF4-FFF2-40B4-BE49-F238E27FC236}">
                  <a16:creationId xmlns:a16="http://schemas.microsoft.com/office/drawing/2014/main" xmlns="" id="{4810616B-D730-4CF5-B545-5E161D77CE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5" name="Oval 3092">
              <a:extLst>
                <a:ext uri="{FF2B5EF4-FFF2-40B4-BE49-F238E27FC236}">
                  <a16:creationId xmlns:a16="http://schemas.microsoft.com/office/drawing/2014/main" xmlns="" id="{0760CD4D-8D73-4F27-A9E6-FDAAE8CA26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3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6" name="Oval 3093">
              <a:extLst>
                <a:ext uri="{FF2B5EF4-FFF2-40B4-BE49-F238E27FC236}">
                  <a16:creationId xmlns:a16="http://schemas.microsoft.com/office/drawing/2014/main" xmlns="" id="{6126C524-B836-4044-965D-F6736E6D95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24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7" name="Oval 3094">
              <a:extLst>
                <a:ext uri="{FF2B5EF4-FFF2-40B4-BE49-F238E27FC236}">
                  <a16:creationId xmlns:a16="http://schemas.microsoft.com/office/drawing/2014/main" xmlns="" id="{9ED4A760-075D-4BCF-92DC-8DFE91BC7C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24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8" name="Oval 3095">
              <a:extLst>
                <a:ext uri="{FF2B5EF4-FFF2-40B4-BE49-F238E27FC236}">
                  <a16:creationId xmlns:a16="http://schemas.microsoft.com/office/drawing/2014/main" xmlns="" id="{B14114AE-51AC-4A86-A759-ED51CA5F00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5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19" name="Oval 3096">
              <a:extLst>
                <a:ext uri="{FF2B5EF4-FFF2-40B4-BE49-F238E27FC236}">
                  <a16:creationId xmlns:a16="http://schemas.microsoft.com/office/drawing/2014/main" xmlns="" id="{FC64DDE5-BC18-4B59-910A-692F9ED2E5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5" y="26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0" name="Oval 3097">
              <a:extLst>
                <a:ext uri="{FF2B5EF4-FFF2-40B4-BE49-F238E27FC236}">
                  <a16:creationId xmlns:a16="http://schemas.microsoft.com/office/drawing/2014/main" xmlns="" id="{7E9F26B3-E632-40D2-A790-633F14986F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7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1" name="Oval 3098">
              <a:extLst>
                <a:ext uri="{FF2B5EF4-FFF2-40B4-BE49-F238E27FC236}">
                  <a16:creationId xmlns:a16="http://schemas.microsoft.com/office/drawing/2014/main" xmlns="" id="{92DF911C-245A-43C7-9D5F-2F1990CB0B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7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2" name="Oval 3099">
              <a:extLst>
                <a:ext uri="{FF2B5EF4-FFF2-40B4-BE49-F238E27FC236}">
                  <a16:creationId xmlns:a16="http://schemas.microsoft.com/office/drawing/2014/main" xmlns="" id="{52EACC82-023A-45E1-9288-5126924F5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3" name="Oval 3100">
              <a:extLst>
                <a:ext uri="{FF2B5EF4-FFF2-40B4-BE49-F238E27FC236}">
                  <a16:creationId xmlns:a16="http://schemas.microsoft.com/office/drawing/2014/main" xmlns="" id="{9BAFA051-63F0-4A00-BD37-C149858AC4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30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4" name="Oval 3101">
              <a:extLst>
                <a:ext uri="{FF2B5EF4-FFF2-40B4-BE49-F238E27FC236}">
                  <a16:creationId xmlns:a16="http://schemas.microsoft.com/office/drawing/2014/main" xmlns="" id="{5CAAA34A-62F4-4CED-B8B5-39BA8B4AF6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29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5" name="Oval 3102">
              <a:extLst>
                <a:ext uri="{FF2B5EF4-FFF2-40B4-BE49-F238E27FC236}">
                  <a16:creationId xmlns:a16="http://schemas.microsoft.com/office/drawing/2014/main" xmlns="" id="{C6C64E70-75A4-4F45-8D97-5F1D0FA87B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30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6" name="Oval 3103">
              <a:extLst>
                <a:ext uri="{FF2B5EF4-FFF2-40B4-BE49-F238E27FC236}">
                  <a16:creationId xmlns:a16="http://schemas.microsoft.com/office/drawing/2014/main" xmlns="" id="{F1AD139B-ECE0-4D54-92EA-352615593F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7" name="Oval 3104">
              <a:extLst>
                <a:ext uri="{FF2B5EF4-FFF2-40B4-BE49-F238E27FC236}">
                  <a16:creationId xmlns:a16="http://schemas.microsoft.com/office/drawing/2014/main" xmlns="" id="{FECDB099-9C83-4254-A18D-81110A5F63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7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8" name="Oval 3105">
              <a:extLst>
                <a:ext uri="{FF2B5EF4-FFF2-40B4-BE49-F238E27FC236}">
                  <a16:creationId xmlns:a16="http://schemas.microsoft.com/office/drawing/2014/main" xmlns="" id="{48491760-D022-4151-88A7-685571CB9D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29" name="Oval 3106">
              <a:extLst>
                <a:ext uri="{FF2B5EF4-FFF2-40B4-BE49-F238E27FC236}">
                  <a16:creationId xmlns:a16="http://schemas.microsoft.com/office/drawing/2014/main" xmlns="" id="{E177A318-59F9-4DE0-86DA-8AD8703459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4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0" name="Oval 3107">
              <a:extLst>
                <a:ext uri="{FF2B5EF4-FFF2-40B4-BE49-F238E27FC236}">
                  <a16:creationId xmlns:a16="http://schemas.microsoft.com/office/drawing/2014/main" xmlns="" id="{97554C76-4725-4176-A5E0-FA59E5D7A0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1" name="Oval 3108">
              <a:extLst>
                <a:ext uri="{FF2B5EF4-FFF2-40B4-BE49-F238E27FC236}">
                  <a16:creationId xmlns:a16="http://schemas.microsoft.com/office/drawing/2014/main" xmlns="" id="{AB3C0DC0-F573-4608-BA38-E424E78E64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2" name="Oval 3109">
              <a:extLst>
                <a:ext uri="{FF2B5EF4-FFF2-40B4-BE49-F238E27FC236}">
                  <a16:creationId xmlns:a16="http://schemas.microsoft.com/office/drawing/2014/main" xmlns="" id="{D1F9DF7E-ADEB-4039-8F6E-2242827FEB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" y="17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3" name="Oval 3110">
              <a:extLst>
                <a:ext uri="{FF2B5EF4-FFF2-40B4-BE49-F238E27FC236}">
                  <a16:creationId xmlns:a16="http://schemas.microsoft.com/office/drawing/2014/main" xmlns="" id="{45DD3D4F-1BD7-4A8D-A23E-F27A13F331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4" name="Oval 3111">
              <a:extLst>
                <a:ext uri="{FF2B5EF4-FFF2-40B4-BE49-F238E27FC236}">
                  <a16:creationId xmlns:a16="http://schemas.microsoft.com/office/drawing/2014/main" xmlns="" id="{2A12949F-61C9-437A-815F-F780017A89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1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5" name="Oval 3112">
              <a:extLst>
                <a:ext uri="{FF2B5EF4-FFF2-40B4-BE49-F238E27FC236}">
                  <a16:creationId xmlns:a16="http://schemas.microsoft.com/office/drawing/2014/main" xmlns="" id="{9C232A9A-0109-4CFA-832C-C603AD7755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" y="23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6" name="Oval 3113">
              <a:extLst>
                <a:ext uri="{FF2B5EF4-FFF2-40B4-BE49-F238E27FC236}">
                  <a16:creationId xmlns:a16="http://schemas.microsoft.com/office/drawing/2014/main" xmlns="" id="{04B835F3-19FA-4160-8657-19370E29E3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31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7" name="Oval 3114">
              <a:extLst>
                <a:ext uri="{FF2B5EF4-FFF2-40B4-BE49-F238E27FC236}">
                  <a16:creationId xmlns:a16="http://schemas.microsoft.com/office/drawing/2014/main" xmlns="" id="{A28BC890-5EA3-47BE-AC7B-611FFDF1D7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8" name="Oval 3115">
              <a:extLst>
                <a:ext uri="{FF2B5EF4-FFF2-40B4-BE49-F238E27FC236}">
                  <a16:creationId xmlns:a16="http://schemas.microsoft.com/office/drawing/2014/main" xmlns="" id="{530C9BAE-6C06-4AA6-A1C5-3A122447C6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5" y="21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39" name="Oval 3116">
              <a:extLst>
                <a:ext uri="{FF2B5EF4-FFF2-40B4-BE49-F238E27FC236}">
                  <a16:creationId xmlns:a16="http://schemas.microsoft.com/office/drawing/2014/main" xmlns="" id="{1CE74192-2956-487B-88EC-6235E48EAA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0" name="Oval 3117">
              <a:extLst>
                <a:ext uri="{FF2B5EF4-FFF2-40B4-BE49-F238E27FC236}">
                  <a16:creationId xmlns:a16="http://schemas.microsoft.com/office/drawing/2014/main" xmlns="" id="{447E941A-8901-41DC-B73E-00C970963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3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1" name="Oval 3118">
              <a:extLst>
                <a:ext uri="{FF2B5EF4-FFF2-40B4-BE49-F238E27FC236}">
                  <a16:creationId xmlns:a16="http://schemas.microsoft.com/office/drawing/2014/main" xmlns="" id="{8686BA11-AC69-4C48-A888-78B1E6EBE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2" name="Oval 3119">
              <a:extLst>
                <a:ext uri="{FF2B5EF4-FFF2-40B4-BE49-F238E27FC236}">
                  <a16:creationId xmlns:a16="http://schemas.microsoft.com/office/drawing/2014/main" xmlns="" id="{41262B00-B166-4BED-B75E-7042B15E22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5" y="24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3" name="Oval 3120">
              <a:extLst>
                <a:ext uri="{FF2B5EF4-FFF2-40B4-BE49-F238E27FC236}">
                  <a16:creationId xmlns:a16="http://schemas.microsoft.com/office/drawing/2014/main" xmlns="" id="{42EA8083-31D2-4B7E-8008-2AD2359F19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" y="25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4" name="Oval 3121">
              <a:extLst>
                <a:ext uri="{FF2B5EF4-FFF2-40B4-BE49-F238E27FC236}">
                  <a16:creationId xmlns:a16="http://schemas.microsoft.com/office/drawing/2014/main" xmlns="" id="{A9C3F8BD-25D6-46FE-AE7B-ED1CE53534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" y="20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5" name="Oval 3122">
              <a:extLst>
                <a:ext uri="{FF2B5EF4-FFF2-40B4-BE49-F238E27FC236}">
                  <a16:creationId xmlns:a16="http://schemas.microsoft.com/office/drawing/2014/main" xmlns="" id="{E7FCFC41-E526-4005-93AD-B345A3651A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5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6" name="Oval 3123">
              <a:extLst>
                <a:ext uri="{FF2B5EF4-FFF2-40B4-BE49-F238E27FC236}">
                  <a16:creationId xmlns:a16="http://schemas.microsoft.com/office/drawing/2014/main" xmlns="" id="{C5764111-6871-4885-9013-0F546A51EA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7" name="Oval 3124">
              <a:extLst>
                <a:ext uri="{FF2B5EF4-FFF2-40B4-BE49-F238E27FC236}">
                  <a16:creationId xmlns:a16="http://schemas.microsoft.com/office/drawing/2014/main" xmlns="" id="{37FF6907-A4DF-4EBE-A0D1-6C5260F024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16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8" name="Oval 3125">
              <a:extLst>
                <a:ext uri="{FF2B5EF4-FFF2-40B4-BE49-F238E27FC236}">
                  <a16:creationId xmlns:a16="http://schemas.microsoft.com/office/drawing/2014/main" xmlns="" id="{290ABC34-3954-48A3-9637-65A0D5942C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19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49" name="Oval 3126">
              <a:extLst>
                <a:ext uri="{FF2B5EF4-FFF2-40B4-BE49-F238E27FC236}">
                  <a16:creationId xmlns:a16="http://schemas.microsoft.com/office/drawing/2014/main" xmlns="" id="{175ADE90-DAD2-4A1C-BEB5-A9E426054B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0" name="Oval 3127">
              <a:extLst>
                <a:ext uri="{FF2B5EF4-FFF2-40B4-BE49-F238E27FC236}">
                  <a16:creationId xmlns:a16="http://schemas.microsoft.com/office/drawing/2014/main" xmlns="" id="{346F84E2-C28B-4AC2-A5D1-B05AF1E535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1" name="Oval 3128">
              <a:extLst>
                <a:ext uri="{FF2B5EF4-FFF2-40B4-BE49-F238E27FC236}">
                  <a16:creationId xmlns:a16="http://schemas.microsoft.com/office/drawing/2014/main" xmlns="" id="{F7C7065E-A557-446A-8CAA-D93DF24F50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4" y="17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2" name="Oval 3129">
              <a:extLst>
                <a:ext uri="{FF2B5EF4-FFF2-40B4-BE49-F238E27FC236}">
                  <a16:creationId xmlns:a16="http://schemas.microsoft.com/office/drawing/2014/main" xmlns="" id="{AA657277-906E-4FB7-8CAC-40CB9043FB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8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3" name="Oval 3130">
              <a:extLst>
                <a:ext uri="{FF2B5EF4-FFF2-40B4-BE49-F238E27FC236}">
                  <a16:creationId xmlns:a16="http://schemas.microsoft.com/office/drawing/2014/main" xmlns="" id="{BA796E87-F32A-457B-A09D-A82C965747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17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4" name="Oval 3131">
              <a:extLst>
                <a:ext uri="{FF2B5EF4-FFF2-40B4-BE49-F238E27FC236}">
                  <a16:creationId xmlns:a16="http://schemas.microsoft.com/office/drawing/2014/main" xmlns="" id="{1076C74B-AB82-4214-9611-6C65392F95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0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5" name="Oval 3132">
              <a:extLst>
                <a:ext uri="{FF2B5EF4-FFF2-40B4-BE49-F238E27FC236}">
                  <a16:creationId xmlns:a16="http://schemas.microsoft.com/office/drawing/2014/main" xmlns="" id="{2CECC33E-78A5-4DFD-84C2-5251E4E011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4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6" name="Oval 3133">
              <a:extLst>
                <a:ext uri="{FF2B5EF4-FFF2-40B4-BE49-F238E27FC236}">
                  <a16:creationId xmlns:a16="http://schemas.microsoft.com/office/drawing/2014/main" xmlns="" id="{E9E93BC7-74A5-4F50-BCB0-B4858E9187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" y="22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7" name="Oval 3134">
              <a:extLst>
                <a:ext uri="{FF2B5EF4-FFF2-40B4-BE49-F238E27FC236}">
                  <a16:creationId xmlns:a16="http://schemas.microsoft.com/office/drawing/2014/main" xmlns="" id="{F4478692-25C7-46EB-BAA7-A4F462F073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24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8" name="Oval 3135">
              <a:extLst>
                <a:ext uri="{FF2B5EF4-FFF2-40B4-BE49-F238E27FC236}">
                  <a16:creationId xmlns:a16="http://schemas.microsoft.com/office/drawing/2014/main" xmlns="" id="{065020F9-D81F-487A-9728-44C850C52B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5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59" name="Oval 3136">
              <a:extLst>
                <a:ext uri="{FF2B5EF4-FFF2-40B4-BE49-F238E27FC236}">
                  <a16:creationId xmlns:a16="http://schemas.microsoft.com/office/drawing/2014/main" xmlns="" id="{292E6F45-4503-4B2F-8145-1E3DD5A7A7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55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0" name="Oval 3137">
              <a:extLst>
                <a:ext uri="{FF2B5EF4-FFF2-40B4-BE49-F238E27FC236}">
                  <a16:creationId xmlns:a16="http://schemas.microsoft.com/office/drawing/2014/main" xmlns="" id="{7F8C174F-1F82-4F47-AE4D-C38F37CA34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24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1" name="Oval 3138">
              <a:extLst>
                <a:ext uri="{FF2B5EF4-FFF2-40B4-BE49-F238E27FC236}">
                  <a16:creationId xmlns:a16="http://schemas.microsoft.com/office/drawing/2014/main" xmlns="" id="{D40A6F7C-872C-4D61-AC52-98E3B7C65F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23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2" name="Oval 3139">
              <a:extLst>
                <a:ext uri="{FF2B5EF4-FFF2-40B4-BE49-F238E27FC236}">
                  <a16:creationId xmlns:a16="http://schemas.microsoft.com/office/drawing/2014/main" xmlns="" id="{ECAFF863-340A-44B0-8701-322082B1D7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24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3" name="Oval 3140">
              <a:extLst>
                <a:ext uri="{FF2B5EF4-FFF2-40B4-BE49-F238E27FC236}">
                  <a16:creationId xmlns:a16="http://schemas.microsoft.com/office/drawing/2014/main" xmlns="" id="{0C688072-C3E7-4EA3-9BB7-0C28B90249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6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4" name="Oval 3141">
              <a:extLst>
                <a:ext uri="{FF2B5EF4-FFF2-40B4-BE49-F238E27FC236}">
                  <a16:creationId xmlns:a16="http://schemas.microsoft.com/office/drawing/2014/main" xmlns="" id="{976FFA0E-66E3-41E9-81C2-79F69F299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5" y="27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5" name="Oval 3142">
              <a:extLst>
                <a:ext uri="{FF2B5EF4-FFF2-40B4-BE49-F238E27FC236}">
                  <a16:creationId xmlns:a16="http://schemas.microsoft.com/office/drawing/2014/main" xmlns="" id="{577C6548-3332-449A-9EA5-1CDD5665D6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6" name="Oval 3143">
              <a:extLst>
                <a:ext uri="{FF2B5EF4-FFF2-40B4-BE49-F238E27FC236}">
                  <a16:creationId xmlns:a16="http://schemas.microsoft.com/office/drawing/2014/main" xmlns="" id="{3B5DBB04-FCED-4B9B-B2CA-1756586960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" y="294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7" name="Oval 3144">
              <a:extLst>
                <a:ext uri="{FF2B5EF4-FFF2-40B4-BE49-F238E27FC236}">
                  <a16:creationId xmlns:a16="http://schemas.microsoft.com/office/drawing/2014/main" xmlns="" id="{F2922A1B-383A-4D88-B0CF-558B342FF6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30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8" name="Oval 3145">
              <a:extLst>
                <a:ext uri="{FF2B5EF4-FFF2-40B4-BE49-F238E27FC236}">
                  <a16:creationId xmlns:a16="http://schemas.microsoft.com/office/drawing/2014/main" xmlns="" id="{24435BC1-3BF6-440E-AC69-4A6D02A87B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1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69" name="Oval 3146">
              <a:extLst>
                <a:ext uri="{FF2B5EF4-FFF2-40B4-BE49-F238E27FC236}">
                  <a16:creationId xmlns:a16="http://schemas.microsoft.com/office/drawing/2014/main" xmlns="" id="{CE191E43-65A7-4A77-A456-E369E0C3D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4" y="21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0" name="Oval 3147">
              <a:extLst>
                <a:ext uri="{FF2B5EF4-FFF2-40B4-BE49-F238E27FC236}">
                  <a16:creationId xmlns:a16="http://schemas.microsoft.com/office/drawing/2014/main" xmlns="" id="{9A64915B-D54C-491B-A6F5-CACCAB0E85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21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1" name="Oval 3148">
              <a:extLst>
                <a:ext uri="{FF2B5EF4-FFF2-40B4-BE49-F238E27FC236}">
                  <a16:creationId xmlns:a16="http://schemas.microsoft.com/office/drawing/2014/main" xmlns="" id="{FF0FCBC0-2A67-4A4D-ACA7-7A562FB74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2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2" name="Oval 3149">
              <a:extLst>
                <a:ext uri="{FF2B5EF4-FFF2-40B4-BE49-F238E27FC236}">
                  <a16:creationId xmlns:a16="http://schemas.microsoft.com/office/drawing/2014/main" xmlns="" id="{4EC0E989-87EE-4A9B-8825-B67F755F35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3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3" name="Oval 3150">
              <a:extLst>
                <a:ext uri="{FF2B5EF4-FFF2-40B4-BE49-F238E27FC236}">
                  <a16:creationId xmlns:a16="http://schemas.microsoft.com/office/drawing/2014/main" xmlns="" id="{FA0FA3F2-70B8-4310-929F-9C636626EE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270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4" name="Oval 3151">
              <a:extLst>
                <a:ext uri="{FF2B5EF4-FFF2-40B4-BE49-F238E27FC236}">
                  <a16:creationId xmlns:a16="http://schemas.microsoft.com/office/drawing/2014/main" xmlns="" id="{1C65EFEB-56AD-495E-8F6C-CD201429ED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5" name="Oval 3152">
              <a:extLst>
                <a:ext uri="{FF2B5EF4-FFF2-40B4-BE49-F238E27FC236}">
                  <a16:creationId xmlns:a16="http://schemas.microsoft.com/office/drawing/2014/main" xmlns="" id="{8B70D84F-A4C2-4E43-BB62-605B4FA9DB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4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6" name="Oval 3153">
              <a:extLst>
                <a:ext uri="{FF2B5EF4-FFF2-40B4-BE49-F238E27FC236}">
                  <a16:creationId xmlns:a16="http://schemas.microsoft.com/office/drawing/2014/main" xmlns="" id="{96B25FF9-8E3E-4E4B-9AAB-1A2971B464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282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7" name="Oval 3154">
              <a:extLst>
                <a:ext uri="{FF2B5EF4-FFF2-40B4-BE49-F238E27FC236}">
                  <a16:creationId xmlns:a16="http://schemas.microsoft.com/office/drawing/2014/main" xmlns="" id="{DA0F317E-0D0D-4643-B07D-3C1186D374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4" y="291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8" name="Oval 3155">
              <a:extLst>
                <a:ext uri="{FF2B5EF4-FFF2-40B4-BE49-F238E27FC236}">
                  <a16:creationId xmlns:a16="http://schemas.microsoft.com/office/drawing/2014/main" xmlns="" id="{FB5FA394-51E8-46F8-8B56-9CF097FEB2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5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79" name="Oval 3156">
              <a:extLst>
                <a:ext uri="{FF2B5EF4-FFF2-40B4-BE49-F238E27FC236}">
                  <a16:creationId xmlns:a16="http://schemas.microsoft.com/office/drawing/2014/main" xmlns="" id="{6554689C-2D94-42E8-8EFA-71D7D241FF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4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0" name="Oval 3157">
              <a:extLst>
                <a:ext uri="{FF2B5EF4-FFF2-40B4-BE49-F238E27FC236}">
                  <a16:creationId xmlns:a16="http://schemas.microsoft.com/office/drawing/2014/main" xmlns="" id="{D049C377-0B8E-4A8E-9986-12A43462A1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4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1" name="Oval 3158">
              <a:extLst>
                <a:ext uri="{FF2B5EF4-FFF2-40B4-BE49-F238E27FC236}">
                  <a16:creationId xmlns:a16="http://schemas.microsoft.com/office/drawing/2014/main" xmlns="" id="{C168DA0A-041A-4C08-8E8C-9060AF621E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7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2" name="Oval 3159">
              <a:extLst>
                <a:ext uri="{FF2B5EF4-FFF2-40B4-BE49-F238E27FC236}">
                  <a16:creationId xmlns:a16="http://schemas.microsoft.com/office/drawing/2014/main" xmlns="" id="{50F0F6E1-9890-46F3-A49A-0DB1318ED2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4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3" name="Oval 3160">
              <a:extLst>
                <a:ext uri="{FF2B5EF4-FFF2-40B4-BE49-F238E27FC236}">
                  <a16:creationId xmlns:a16="http://schemas.microsoft.com/office/drawing/2014/main" xmlns="" id="{B2D418C4-7178-4F71-A534-71307B03E4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4" y="28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4" name="Oval 3161">
              <a:extLst>
                <a:ext uri="{FF2B5EF4-FFF2-40B4-BE49-F238E27FC236}">
                  <a16:creationId xmlns:a16="http://schemas.microsoft.com/office/drawing/2014/main" xmlns="" id="{CD3C8309-6234-4670-8166-827C04F3C8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4" y="303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5" name="Oval 3162">
              <a:extLst>
                <a:ext uri="{FF2B5EF4-FFF2-40B4-BE49-F238E27FC236}">
                  <a16:creationId xmlns:a16="http://schemas.microsoft.com/office/drawing/2014/main" xmlns="" id="{99DDC8D4-6858-49E3-B649-83C20BA9D1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9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6" name="Oval 3163">
              <a:extLst>
                <a:ext uri="{FF2B5EF4-FFF2-40B4-BE49-F238E27FC236}">
                  <a16:creationId xmlns:a16="http://schemas.microsoft.com/office/drawing/2014/main" xmlns="" id="{37248B00-7250-4124-99BE-A3417FEAE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4" y="306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7" name="Oval 3164">
              <a:extLst>
                <a:ext uri="{FF2B5EF4-FFF2-40B4-BE49-F238E27FC236}">
                  <a16:creationId xmlns:a16="http://schemas.microsoft.com/office/drawing/2014/main" xmlns="" id="{074D325B-95E3-4E79-95B3-7D42A699E8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4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8" name="Oval 3165">
              <a:extLst>
                <a:ext uri="{FF2B5EF4-FFF2-40B4-BE49-F238E27FC236}">
                  <a16:creationId xmlns:a16="http://schemas.microsoft.com/office/drawing/2014/main" xmlns="" id="{27D88805-3713-4A15-8E29-714B5CDB9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3030"/>
              <a:ext cx="59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89" name="Oval 3166">
              <a:extLst>
                <a:ext uri="{FF2B5EF4-FFF2-40B4-BE49-F238E27FC236}">
                  <a16:creationId xmlns:a16="http://schemas.microsoft.com/office/drawing/2014/main" xmlns="" id="{24275F87-1D72-4D67-9646-3659F416BB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5" y="318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90" name="Oval 3167">
              <a:extLst>
                <a:ext uri="{FF2B5EF4-FFF2-40B4-BE49-F238E27FC236}">
                  <a16:creationId xmlns:a16="http://schemas.microsoft.com/office/drawing/2014/main" xmlns="" id="{76E70DEE-D77F-4885-AA70-6DB52C1739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5" y="309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791" name="Oval 3168">
              <a:extLst>
                <a:ext uri="{FF2B5EF4-FFF2-40B4-BE49-F238E27FC236}">
                  <a16:creationId xmlns:a16="http://schemas.microsoft.com/office/drawing/2014/main" xmlns="" id="{A7695C32-10A6-431C-A791-0FE6F7E1E7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970"/>
              <a:ext cx="60" cy="60"/>
            </a:xfrm>
            <a:prstGeom prst="ellipse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grpSp>
        <p:nvGrpSpPr>
          <p:cNvPr id="1673" name="Group 24">
            <a:extLst>
              <a:ext uri="{FF2B5EF4-FFF2-40B4-BE49-F238E27FC236}">
                <a16:creationId xmlns:a16="http://schemas.microsoft.com/office/drawing/2014/main" xmlns="" id="{E30313BF-505A-4E82-BCDB-2CB302DA418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619382" y="2158602"/>
            <a:ext cx="802054" cy="802054"/>
            <a:chOff x="1626" y="-1079"/>
            <a:chExt cx="588" cy="588"/>
          </a:xfrm>
        </p:grpSpPr>
        <p:sp>
          <p:nvSpPr>
            <p:cNvPr id="1674" name="Freeform 25">
              <a:extLst>
                <a:ext uri="{FF2B5EF4-FFF2-40B4-BE49-F238E27FC236}">
                  <a16:creationId xmlns:a16="http://schemas.microsoft.com/office/drawing/2014/main" xmlns="" id="{74FE4C50-024A-4083-BAE7-98C0019F0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6" y="-1079"/>
              <a:ext cx="588" cy="588"/>
            </a:xfrm>
            <a:custGeom>
              <a:avLst/>
              <a:gdLst>
                <a:gd name="T0" fmla="*/ 1039 w 1264"/>
                <a:gd name="T1" fmla="*/ 1039 h 1264"/>
                <a:gd name="T2" fmla="*/ 225 w 1264"/>
                <a:gd name="T3" fmla="*/ 1039 h 1264"/>
                <a:gd name="T4" fmla="*/ 225 w 1264"/>
                <a:gd name="T5" fmla="*/ 225 h 1264"/>
                <a:gd name="T6" fmla="*/ 1039 w 1264"/>
                <a:gd name="T7" fmla="*/ 225 h 1264"/>
                <a:gd name="T8" fmla="*/ 1039 w 1264"/>
                <a:gd name="T9" fmla="*/ 1039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4" h="1264">
                  <a:moveTo>
                    <a:pt x="1039" y="1039"/>
                  </a:moveTo>
                  <a:cubicBezTo>
                    <a:pt x="814" y="1264"/>
                    <a:pt x="450" y="1264"/>
                    <a:pt x="225" y="1039"/>
                  </a:cubicBezTo>
                  <a:cubicBezTo>
                    <a:pt x="0" y="814"/>
                    <a:pt x="0" y="450"/>
                    <a:pt x="225" y="225"/>
                  </a:cubicBezTo>
                  <a:cubicBezTo>
                    <a:pt x="450" y="0"/>
                    <a:pt x="814" y="0"/>
                    <a:pt x="1039" y="225"/>
                  </a:cubicBezTo>
                  <a:cubicBezTo>
                    <a:pt x="1264" y="450"/>
                    <a:pt x="1264" y="814"/>
                    <a:pt x="1039" y="1039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75" name="Freeform 26">
              <a:extLst>
                <a:ext uri="{FF2B5EF4-FFF2-40B4-BE49-F238E27FC236}">
                  <a16:creationId xmlns:a16="http://schemas.microsoft.com/office/drawing/2014/main" xmlns="" id="{3EFEEB5F-AAF3-4533-AD85-7B431F3DA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-914"/>
              <a:ext cx="354" cy="390"/>
            </a:xfrm>
            <a:custGeom>
              <a:avLst/>
              <a:gdLst>
                <a:gd name="T0" fmla="*/ 592 w 761"/>
                <a:gd name="T1" fmla="*/ 685 h 838"/>
                <a:gd name="T2" fmla="*/ 761 w 761"/>
                <a:gd name="T3" fmla="*/ 297 h 838"/>
                <a:gd name="T4" fmla="*/ 467 w 761"/>
                <a:gd name="T5" fmla="*/ 0 h 838"/>
                <a:gd name="T6" fmla="*/ 0 w 761"/>
                <a:gd name="T7" fmla="*/ 404 h 838"/>
                <a:gd name="T8" fmla="*/ 2 w 761"/>
                <a:gd name="T9" fmla="*/ 532 h 838"/>
                <a:gd name="T10" fmla="*/ 322 w 761"/>
                <a:gd name="T11" fmla="*/ 838 h 838"/>
                <a:gd name="T12" fmla="*/ 592 w 761"/>
                <a:gd name="T13" fmla="*/ 685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1" h="838">
                  <a:moveTo>
                    <a:pt x="592" y="685"/>
                  </a:moveTo>
                  <a:cubicBezTo>
                    <a:pt x="700" y="578"/>
                    <a:pt x="756" y="438"/>
                    <a:pt x="761" y="297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0" y="404"/>
                    <a:pt x="0" y="404"/>
                    <a:pt x="0" y="404"/>
                  </a:cubicBezTo>
                  <a:cubicBezTo>
                    <a:pt x="2" y="532"/>
                    <a:pt x="2" y="532"/>
                    <a:pt x="2" y="532"/>
                  </a:cubicBezTo>
                  <a:cubicBezTo>
                    <a:pt x="322" y="838"/>
                    <a:pt x="322" y="838"/>
                    <a:pt x="322" y="838"/>
                  </a:cubicBezTo>
                  <a:cubicBezTo>
                    <a:pt x="421" y="814"/>
                    <a:pt x="515" y="763"/>
                    <a:pt x="592" y="68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76" name="Freeform 27">
              <a:extLst>
                <a:ext uri="{FF2B5EF4-FFF2-40B4-BE49-F238E27FC236}">
                  <a16:creationId xmlns:a16="http://schemas.microsoft.com/office/drawing/2014/main" xmlns="" id="{6A743E41-07B5-4F93-9A48-36723CDBB9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6" y="-952"/>
              <a:ext cx="268" cy="330"/>
            </a:xfrm>
            <a:custGeom>
              <a:avLst/>
              <a:gdLst>
                <a:gd name="T0" fmla="*/ 0 w 576"/>
                <a:gd name="T1" fmla="*/ 101 h 711"/>
                <a:gd name="T2" fmla="*/ 0 w 576"/>
                <a:gd name="T3" fmla="*/ 360 h 711"/>
                <a:gd name="T4" fmla="*/ 288 w 576"/>
                <a:gd name="T5" fmla="*/ 711 h 711"/>
                <a:gd name="T6" fmla="*/ 288 w 576"/>
                <a:gd name="T7" fmla="*/ 711 h 711"/>
                <a:gd name="T8" fmla="*/ 288 w 576"/>
                <a:gd name="T9" fmla="*/ 711 h 711"/>
                <a:gd name="T10" fmla="*/ 576 w 576"/>
                <a:gd name="T11" fmla="*/ 360 h 711"/>
                <a:gd name="T12" fmla="*/ 576 w 576"/>
                <a:gd name="T13" fmla="*/ 101 h 711"/>
                <a:gd name="T14" fmla="*/ 547 w 576"/>
                <a:gd name="T15" fmla="*/ 72 h 711"/>
                <a:gd name="T16" fmla="*/ 513 w 576"/>
                <a:gd name="T17" fmla="*/ 72 h 711"/>
                <a:gd name="T18" fmla="*/ 288 w 576"/>
                <a:gd name="T19" fmla="*/ 0 h 711"/>
                <a:gd name="T20" fmla="*/ 288 w 576"/>
                <a:gd name="T21" fmla="*/ 0 h 711"/>
                <a:gd name="T22" fmla="*/ 288 w 576"/>
                <a:gd name="T23" fmla="*/ 0 h 711"/>
                <a:gd name="T24" fmla="*/ 63 w 576"/>
                <a:gd name="T25" fmla="*/ 72 h 711"/>
                <a:gd name="T26" fmla="*/ 29 w 576"/>
                <a:gd name="T27" fmla="*/ 72 h 711"/>
                <a:gd name="T28" fmla="*/ 0 w 576"/>
                <a:gd name="T29" fmla="*/ 10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6" h="711">
                  <a:moveTo>
                    <a:pt x="0" y="101"/>
                  </a:moveTo>
                  <a:cubicBezTo>
                    <a:pt x="0" y="360"/>
                    <a:pt x="0" y="360"/>
                    <a:pt x="0" y="360"/>
                  </a:cubicBezTo>
                  <a:cubicBezTo>
                    <a:pt x="0" y="531"/>
                    <a:pt x="121" y="678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455" y="678"/>
                    <a:pt x="576" y="531"/>
                    <a:pt x="576" y="360"/>
                  </a:cubicBezTo>
                  <a:cubicBezTo>
                    <a:pt x="576" y="101"/>
                    <a:pt x="576" y="101"/>
                    <a:pt x="576" y="101"/>
                  </a:cubicBezTo>
                  <a:cubicBezTo>
                    <a:pt x="576" y="85"/>
                    <a:pt x="563" y="72"/>
                    <a:pt x="547" y="72"/>
                  </a:cubicBezTo>
                  <a:cubicBezTo>
                    <a:pt x="513" y="72"/>
                    <a:pt x="513" y="72"/>
                    <a:pt x="513" y="72"/>
                  </a:cubicBezTo>
                  <a:cubicBezTo>
                    <a:pt x="432" y="72"/>
                    <a:pt x="354" y="47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22" y="47"/>
                    <a:pt x="144" y="72"/>
                    <a:pt x="63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13" y="72"/>
                    <a:pt x="0" y="85"/>
                    <a:pt x="0" y="10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77" name="Freeform 28">
              <a:extLst>
                <a:ext uri="{FF2B5EF4-FFF2-40B4-BE49-F238E27FC236}">
                  <a16:creationId xmlns:a16="http://schemas.microsoft.com/office/drawing/2014/main" xmlns="" id="{C93B50B2-C774-4E45-B2E7-EC8D6FC5B2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" y="-952"/>
              <a:ext cx="134" cy="330"/>
            </a:xfrm>
            <a:custGeom>
              <a:avLst/>
              <a:gdLst>
                <a:gd name="T0" fmla="*/ 0 w 288"/>
                <a:gd name="T1" fmla="*/ 0 h 711"/>
                <a:gd name="T2" fmla="*/ 225 w 288"/>
                <a:gd name="T3" fmla="*/ 72 h 711"/>
                <a:gd name="T4" fmla="*/ 259 w 288"/>
                <a:gd name="T5" fmla="*/ 72 h 711"/>
                <a:gd name="T6" fmla="*/ 288 w 288"/>
                <a:gd name="T7" fmla="*/ 101 h 711"/>
                <a:gd name="T8" fmla="*/ 288 w 288"/>
                <a:gd name="T9" fmla="*/ 360 h 711"/>
                <a:gd name="T10" fmla="*/ 0 w 288"/>
                <a:gd name="T11" fmla="*/ 711 h 711"/>
                <a:gd name="T12" fmla="*/ 0 w 288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711">
                  <a:moveTo>
                    <a:pt x="0" y="0"/>
                  </a:moveTo>
                  <a:cubicBezTo>
                    <a:pt x="66" y="47"/>
                    <a:pt x="144" y="72"/>
                    <a:pt x="225" y="72"/>
                  </a:cubicBezTo>
                  <a:cubicBezTo>
                    <a:pt x="259" y="72"/>
                    <a:pt x="259" y="72"/>
                    <a:pt x="259" y="72"/>
                  </a:cubicBezTo>
                  <a:cubicBezTo>
                    <a:pt x="275" y="72"/>
                    <a:pt x="288" y="85"/>
                    <a:pt x="288" y="101"/>
                  </a:cubicBezTo>
                  <a:cubicBezTo>
                    <a:pt x="288" y="360"/>
                    <a:pt x="288" y="360"/>
                    <a:pt x="288" y="360"/>
                  </a:cubicBezTo>
                  <a:cubicBezTo>
                    <a:pt x="288" y="531"/>
                    <a:pt x="167" y="678"/>
                    <a:pt x="0" y="7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grpSp>
        <p:nvGrpSpPr>
          <p:cNvPr id="1678" name="Group 24">
            <a:extLst>
              <a:ext uri="{FF2B5EF4-FFF2-40B4-BE49-F238E27FC236}">
                <a16:creationId xmlns:a16="http://schemas.microsoft.com/office/drawing/2014/main" xmlns="" id="{7587AABA-095D-4AEF-BFB7-04080D669ECA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568295" y="2158602"/>
            <a:ext cx="802054" cy="802054"/>
            <a:chOff x="1626" y="-1079"/>
            <a:chExt cx="588" cy="588"/>
          </a:xfrm>
        </p:grpSpPr>
        <p:sp>
          <p:nvSpPr>
            <p:cNvPr id="1679" name="Freeform 25">
              <a:extLst>
                <a:ext uri="{FF2B5EF4-FFF2-40B4-BE49-F238E27FC236}">
                  <a16:creationId xmlns:a16="http://schemas.microsoft.com/office/drawing/2014/main" xmlns="" id="{3528DA2C-E5AE-48FF-97CA-F4A78425B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6" y="-1079"/>
              <a:ext cx="588" cy="588"/>
            </a:xfrm>
            <a:custGeom>
              <a:avLst/>
              <a:gdLst>
                <a:gd name="T0" fmla="*/ 1039 w 1264"/>
                <a:gd name="T1" fmla="*/ 1039 h 1264"/>
                <a:gd name="T2" fmla="*/ 225 w 1264"/>
                <a:gd name="T3" fmla="*/ 1039 h 1264"/>
                <a:gd name="T4" fmla="*/ 225 w 1264"/>
                <a:gd name="T5" fmla="*/ 225 h 1264"/>
                <a:gd name="T6" fmla="*/ 1039 w 1264"/>
                <a:gd name="T7" fmla="*/ 225 h 1264"/>
                <a:gd name="T8" fmla="*/ 1039 w 1264"/>
                <a:gd name="T9" fmla="*/ 1039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4" h="1264">
                  <a:moveTo>
                    <a:pt x="1039" y="1039"/>
                  </a:moveTo>
                  <a:cubicBezTo>
                    <a:pt x="814" y="1264"/>
                    <a:pt x="450" y="1264"/>
                    <a:pt x="225" y="1039"/>
                  </a:cubicBezTo>
                  <a:cubicBezTo>
                    <a:pt x="0" y="814"/>
                    <a:pt x="0" y="450"/>
                    <a:pt x="225" y="225"/>
                  </a:cubicBezTo>
                  <a:cubicBezTo>
                    <a:pt x="450" y="0"/>
                    <a:pt x="814" y="0"/>
                    <a:pt x="1039" y="225"/>
                  </a:cubicBezTo>
                  <a:cubicBezTo>
                    <a:pt x="1264" y="450"/>
                    <a:pt x="1264" y="814"/>
                    <a:pt x="1039" y="1039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80" name="Freeform 26">
              <a:extLst>
                <a:ext uri="{FF2B5EF4-FFF2-40B4-BE49-F238E27FC236}">
                  <a16:creationId xmlns:a16="http://schemas.microsoft.com/office/drawing/2014/main" xmlns="" id="{FF1156D9-2941-4F33-ACC9-FFB963019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-914"/>
              <a:ext cx="354" cy="390"/>
            </a:xfrm>
            <a:custGeom>
              <a:avLst/>
              <a:gdLst>
                <a:gd name="T0" fmla="*/ 592 w 761"/>
                <a:gd name="T1" fmla="*/ 685 h 838"/>
                <a:gd name="T2" fmla="*/ 761 w 761"/>
                <a:gd name="T3" fmla="*/ 297 h 838"/>
                <a:gd name="T4" fmla="*/ 467 w 761"/>
                <a:gd name="T5" fmla="*/ 0 h 838"/>
                <a:gd name="T6" fmla="*/ 0 w 761"/>
                <a:gd name="T7" fmla="*/ 404 h 838"/>
                <a:gd name="T8" fmla="*/ 2 w 761"/>
                <a:gd name="T9" fmla="*/ 532 h 838"/>
                <a:gd name="T10" fmla="*/ 322 w 761"/>
                <a:gd name="T11" fmla="*/ 838 h 838"/>
                <a:gd name="T12" fmla="*/ 592 w 761"/>
                <a:gd name="T13" fmla="*/ 685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1" h="838">
                  <a:moveTo>
                    <a:pt x="592" y="685"/>
                  </a:moveTo>
                  <a:cubicBezTo>
                    <a:pt x="700" y="578"/>
                    <a:pt x="756" y="438"/>
                    <a:pt x="761" y="297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0" y="404"/>
                    <a:pt x="0" y="404"/>
                    <a:pt x="0" y="404"/>
                  </a:cubicBezTo>
                  <a:cubicBezTo>
                    <a:pt x="2" y="532"/>
                    <a:pt x="2" y="532"/>
                    <a:pt x="2" y="532"/>
                  </a:cubicBezTo>
                  <a:cubicBezTo>
                    <a:pt x="322" y="838"/>
                    <a:pt x="322" y="838"/>
                    <a:pt x="322" y="838"/>
                  </a:cubicBezTo>
                  <a:cubicBezTo>
                    <a:pt x="421" y="814"/>
                    <a:pt x="515" y="763"/>
                    <a:pt x="592" y="685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81" name="Freeform 27">
              <a:extLst>
                <a:ext uri="{FF2B5EF4-FFF2-40B4-BE49-F238E27FC236}">
                  <a16:creationId xmlns:a16="http://schemas.microsoft.com/office/drawing/2014/main" xmlns="" id="{5C452D0E-2915-4028-98EA-B7145BC80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6" y="-952"/>
              <a:ext cx="268" cy="330"/>
            </a:xfrm>
            <a:custGeom>
              <a:avLst/>
              <a:gdLst>
                <a:gd name="T0" fmla="*/ 0 w 576"/>
                <a:gd name="T1" fmla="*/ 101 h 711"/>
                <a:gd name="T2" fmla="*/ 0 w 576"/>
                <a:gd name="T3" fmla="*/ 360 h 711"/>
                <a:gd name="T4" fmla="*/ 288 w 576"/>
                <a:gd name="T5" fmla="*/ 711 h 711"/>
                <a:gd name="T6" fmla="*/ 288 w 576"/>
                <a:gd name="T7" fmla="*/ 711 h 711"/>
                <a:gd name="T8" fmla="*/ 288 w 576"/>
                <a:gd name="T9" fmla="*/ 711 h 711"/>
                <a:gd name="T10" fmla="*/ 576 w 576"/>
                <a:gd name="T11" fmla="*/ 360 h 711"/>
                <a:gd name="T12" fmla="*/ 576 w 576"/>
                <a:gd name="T13" fmla="*/ 101 h 711"/>
                <a:gd name="T14" fmla="*/ 547 w 576"/>
                <a:gd name="T15" fmla="*/ 72 h 711"/>
                <a:gd name="T16" fmla="*/ 513 w 576"/>
                <a:gd name="T17" fmla="*/ 72 h 711"/>
                <a:gd name="T18" fmla="*/ 288 w 576"/>
                <a:gd name="T19" fmla="*/ 0 h 711"/>
                <a:gd name="T20" fmla="*/ 288 w 576"/>
                <a:gd name="T21" fmla="*/ 0 h 711"/>
                <a:gd name="T22" fmla="*/ 288 w 576"/>
                <a:gd name="T23" fmla="*/ 0 h 711"/>
                <a:gd name="T24" fmla="*/ 63 w 576"/>
                <a:gd name="T25" fmla="*/ 72 h 711"/>
                <a:gd name="T26" fmla="*/ 29 w 576"/>
                <a:gd name="T27" fmla="*/ 72 h 711"/>
                <a:gd name="T28" fmla="*/ 0 w 576"/>
                <a:gd name="T29" fmla="*/ 10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6" h="711">
                  <a:moveTo>
                    <a:pt x="0" y="101"/>
                  </a:moveTo>
                  <a:cubicBezTo>
                    <a:pt x="0" y="360"/>
                    <a:pt x="0" y="360"/>
                    <a:pt x="0" y="360"/>
                  </a:cubicBezTo>
                  <a:cubicBezTo>
                    <a:pt x="0" y="531"/>
                    <a:pt x="121" y="678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455" y="678"/>
                    <a:pt x="576" y="531"/>
                    <a:pt x="576" y="360"/>
                  </a:cubicBezTo>
                  <a:cubicBezTo>
                    <a:pt x="576" y="101"/>
                    <a:pt x="576" y="101"/>
                    <a:pt x="576" y="101"/>
                  </a:cubicBezTo>
                  <a:cubicBezTo>
                    <a:pt x="576" y="85"/>
                    <a:pt x="563" y="72"/>
                    <a:pt x="547" y="72"/>
                  </a:cubicBezTo>
                  <a:cubicBezTo>
                    <a:pt x="513" y="72"/>
                    <a:pt x="513" y="72"/>
                    <a:pt x="513" y="72"/>
                  </a:cubicBezTo>
                  <a:cubicBezTo>
                    <a:pt x="432" y="72"/>
                    <a:pt x="354" y="47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22" y="47"/>
                    <a:pt x="144" y="72"/>
                    <a:pt x="63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13" y="72"/>
                    <a:pt x="0" y="85"/>
                    <a:pt x="0" y="10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82" name="Freeform 28">
              <a:extLst>
                <a:ext uri="{FF2B5EF4-FFF2-40B4-BE49-F238E27FC236}">
                  <a16:creationId xmlns:a16="http://schemas.microsoft.com/office/drawing/2014/main" xmlns="" id="{9BC6F0DD-8E24-44CD-80FD-ED6683395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" y="-952"/>
              <a:ext cx="134" cy="330"/>
            </a:xfrm>
            <a:custGeom>
              <a:avLst/>
              <a:gdLst>
                <a:gd name="T0" fmla="*/ 0 w 288"/>
                <a:gd name="T1" fmla="*/ 0 h 711"/>
                <a:gd name="T2" fmla="*/ 225 w 288"/>
                <a:gd name="T3" fmla="*/ 72 h 711"/>
                <a:gd name="T4" fmla="*/ 259 w 288"/>
                <a:gd name="T5" fmla="*/ 72 h 711"/>
                <a:gd name="T6" fmla="*/ 288 w 288"/>
                <a:gd name="T7" fmla="*/ 101 h 711"/>
                <a:gd name="T8" fmla="*/ 288 w 288"/>
                <a:gd name="T9" fmla="*/ 360 h 711"/>
                <a:gd name="T10" fmla="*/ 0 w 288"/>
                <a:gd name="T11" fmla="*/ 711 h 711"/>
                <a:gd name="T12" fmla="*/ 0 w 288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711">
                  <a:moveTo>
                    <a:pt x="0" y="0"/>
                  </a:moveTo>
                  <a:cubicBezTo>
                    <a:pt x="66" y="47"/>
                    <a:pt x="144" y="72"/>
                    <a:pt x="225" y="72"/>
                  </a:cubicBezTo>
                  <a:cubicBezTo>
                    <a:pt x="259" y="72"/>
                    <a:pt x="259" y="72"/>
                    <a:pt x="259" y="72"/>
                  </a:cubicBezTo>
                  <a:cubicBezTo>
                    <a:pt x="275" y="72"/>
                    <a:pt x="288" y="85"/>
                    <a:pt x="288" y="101"/>
                  </a:cubicBezTo>
                  <a:cubicBezTo>
                    <a:pt x="288" y="360"/>
                    <a:pt x="288" y="360"/>
                    <a:pt x="288" y="360"/>
                  </a:cubicBezTo>
                  <a:cubicBezTo>
                    <a:pt x="288" y="531"/>
                    <a:pt x="167" y="678"/>
                    <a:pt x="0" y="7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grpSp>
        <p:nvGrpSpPr>
          <p:cNvPr id="1683" name="Group 24">
            <a:extLst>
              <a:ext uri="{FF2B5EF4-FFF2-40B4-BE49-F238E27FC236}">
                <a16:creationId xmlns:a16="http://schemas.microsoft.com/office/drawing/2014/main" xmlns="" id="{17ED7E2F-2D31-466B-AE91-F1E420CE6DD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6721556" y="2158602"/>
            <a:ext cx="802054" cy="802054"/>
            <a:chOff x="1626" y="-1079"/>
            <a:chExt cx="588" cy="588"/>
          </a:xfrm>
        </p:grpSpPr>
        <p:sp>
          <p:nvSpPr>
            <p:cNvPr id="1684" name="Freeform 25">
              <a:extLst>
                <a:ext uri="{FF2B5EF4-FFF2-40B4-BE49-F238E27FC236}">
                  <a16:creationId xmlns:a16="http://schemas.microsoft.com/office/drawing/2014/main" xmlns="" id="{E1F3E8E5-5F6C-432C-BA99-8184D6F93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6" y="-1079"/>
              <a:ext cx="588" cy="588"/>
            </a:xfrm>
            <a:custGeom>
              <a:avLst/>
              <a:gdLst>
                <a:gd name="T0" fmla="*/ 1039 w 1264"/>
                <a:gd name="T1" fmla="*/ 1039 h 1264"/>
                <a:gd name="T2" fmla="*/ 225 w 1264"/>
                <a:gd name="T3" fmla="*/ 1039 h 1264"/>
                <a:gd name="T4" fmla="*/ 225 w 1264"/>
                <a:gd name="T5" fmla="*/ 225 h 1264"/>
                <a:gd name="T6" fmla="*/ 1039 w 1264"/>
                <a:gd name="T7" fmla="*/ 225 h 1264"/>
                <a:gd name="T8" fmla="*/ 1039 w 1264"/>
                <a:gd name="T9" fmla="*/ 1039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4" h="1264">
                  <a:moveTo>
                    <a:pt x="1039" y="1039"/>
                  </a:moveTo>
                  <a:cubicBezTo>
                    <a:pt x="814" y="1264"/>
                    <a:pt x="450" y="1264"/>
                    <a:pt x="225" y="1039"/>
                  </a:cubicBezTo>
                  <a:cubicBezTo>
                    <a:pt x="0" y="814"/>
                    <a:pt x="0" y="450"/>
                    <a:pt x="225" y="225"/>
                  </a:cubicBezTo>
                  <a:cubicBezTo>
                    <a:pt x="450" y="0"/>
                    <a:pt x="814" y="0"/>
                    <a:pt x="1039" y="225"/>
                  </a:cubicBezTo>
                  <a:cubicBezTo>
                    <a:pt x="1264" y="450"/>
                    <a:pt x="1264" y="814"/>
                    <a:pt x="1039" y="103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85" name="Freeform 26">
              <a:extLst>
                <a:ext uri="{FF2B5EF4-FFF2-40B4-BE49-F238E27FC236}">
                  <a16:creationId xmlns:a16="http://schemas.microsoft.com/office/drawing/2014/main" xmlns="" id="{5074CA5D-DB20-480C-AC0B-D93A63784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-914"/>
              <a:ext cx="354" cy="390"/>
            </a:xfrm>
            <a:custGeom>
              <a:avLst/>
              <a:gdLst>
                <a:gd name="T0" fmla="*/ 592 w 761"/>
                <a:gd name="T1" fmla="*/ 685 h 838"/>
                <a:gd name="T2" fmla="*/ 761 w 761"/>
                <a:gd name="T3" fmla="*/ 297 h 838"/>
                <a:gd name="T4" fmla="*/ 467 w 761"/>
                <a:gd name="T5" fmla="*/ 0 h 838"/>
                <a:gd name="T6" fmla="*/ 0 w 761"/>
                <a:gd name="T7" fmla="*/ 404 h 838"/>
                <a:gd name="T8" fmla="*/ 2 w 761"/>
                <a:gd name="T9" fmla="*/ 532 h 838"/>
                <a:gd name="T10" fmla="*/ 322 w 761"/>
                <a:gd name="T11" fmla="*/ 838 h 838"/>
                <a:gd name="T12" fmla="*/ 592 w 761"/>
                <a:gd name="T13" fmla="*/ 685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1" h="838">
                  <a:moveTo>
                    <a:pt x="592" y="685"/>
                  </a:moveTo>
                  <a:cubicBezTo>
                    <a:pt x="700" y="578"/>
                    <a:pt x="756" y="438"/>
                    <a:pt x="761" y="297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0" y="404"/>
                    <a:pt x="0" y="404"/>
                    <a:pt x="0" y="404"/>
                  </a:cubicBezTo>
                  <a:cubicBezTo>
                    <a:pt x="2" y="532"/>
                    <a:pt x="2" y="532"/>
                    <a:pt x="2" y="532"/>
                  </a:cubicBezTo>
                  <a:cubicBezTo>
                    <a:pt x="322" y="838"/>
                    <a:pt x="322" y="838"/>
                    <a:pt x="322" y="838"/>
                  </a:cubicBezTo>
                  <a:cubicBezTo>
                    <a:pt x="421" y="814"/>
                    <a:pt x="515" y="763"/>
                    <a:pt x="592" y="685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86" name="Freeform 27">
              <a:extLst>
                <a:ext uri="{FF2B5EF4-FFF2-40B4-BE49-F238E27FC236}">
                  <a16:creationId xmlns:a16="http://schemas.microsoft.com/office/drawing/2014/main" xmlns="" id="{4BDE3274-9DEA-41B5-9A7D-68F616F04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6" y="-952"/>
              <a:ext cx="268" cy="330"/>
            </a:xfrm>
            <a:custGeom>
              <a:avLst/>
              <a:gdLst>
                <a:gd name="T0" fmla="*/ 0 w 576"/>
                <a:gd name="T1" fmla="*/ 101 h 711"/>
                <a:gd name="T2" fmla="*/ 0 w 576"/>
                <a:gd name="T3" fmla="*/ 360 h 711"/>
                <a:gd name="T4" fmla="*/ 288 w 576"/>
                <a:gd name="T5" fmla="*/ 711 h 711"/>
                <a:gd name="T6" fmla="*/ 288 w 576"/>
                <a:gd name="T7" fmla="*/ 711 h 711"/>
                <a:gd name="T8" fmla="*/ 288 w 576"/>
                <a:gd name="T9" fmla="*/ 711 h 711"/>
                <a:gd name="T10" fmla="*/ 576 w 576"/>
                <a:gd name="T11" fmla="*/ 360 h 711"/>
                <a:gd name="T12" fmla="*/ 576 w 576"/>
                <a:gd name="T13" fmla="*/ 101 h 711"/>
                <a:gd name="T14" fmla="*/ 547 w 576"/>
                <a:gd name="T15" fmla="*/ 72 h 711"/>
                <a:gd name="T16" fmla="*/ 513 w 576"/>
                <a:gd name="T17" fmla="*/ 72 h 711"/>
                <a:gd name="T18" fmla="*/ 288 w 576"/>
                <a:gd name="T19" fmla="*/ 0 h 711"/>
                <a:gd name="T20" fmla="*/ 288 w 576"/>
                <a:gd name="T21" fmla="*/ 0 h 711"/>
                <a:gd name="T22" fmla="*/ 288 w 576"/>
                <a:gd name="T23" fmla="*/ 0 h 711"/>
                <a:gd name="T24" fmla="*/ 63 w 576"/>
                <a:gd name="T25" fmla="*/ 72 h 711"/>
                <a:gd name="T26" fmla="*/ 29 w 576"/>
                <a:gd name="T27" fmla="*/ 72 h 711"/>
                <a:gd name="T28" fmla="*/ 0 w 576"/>
                <a:gd name="T29" fmla="*/ 10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6" h="711">
                  <a:moveTo>
                    <a:pt x="0" y="101"/>
                  </a:moveTo>
                  <a:cubicBezTo>
                    <a:pt x="0" y="360"/>
                    <a:pt x="0" y="360"/>
                    <a:pt x="0" y="360"/>
                  </a:cubicBezTo>
                  <a:cubicBezTo>
                    <a:pt x="0" y="531"/>
                    <a:pt x="121" y="678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455" y="678"/>
                    <a:pt x="576" y="531"/>
                    <a:pt x="576" y="360"/>
                  </a:cubicBezTo>
                  <a:cubicBezTo>
                    <a:pt x="576" y="101"/>
                    <a:pt x="576" y="101"/>
                    <a:pt x="576" y="101"/>
                  </a:cubicBezTo>
                  <a:cubicBezTo>
                    <a:pt x="576" y="85"/>
                    <a:pt x="563" y="72"/>
                    <a:pt x="547" y="72"/>
                  </a:cubicBezTo>
                  <a:cubicBezTo>
                    <a:pt x="513" y="72"/>
                    <a:pt x="513" y="72"/>
                    <a:pt x="513" y="72"/>
                  </a:cubicBezTo>
                  <a:cubicBezTo>
                    <a:pt x="432" y="72"/>
                    <a:pt x="354" y="47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22" y="47"/>
                    <a:pt x="144" y="72"/>
                    <a:pt x="63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13" y="72"/>
                    <a:pt x="0" y="85"/>
                    <a:pt x="0" y="10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87" name="Freeform 28">
              <a:extLst>
                <a:ext uri="{FF2B5EF4-FFF2-40B4-BE49-F238E27FC236}">
                  <a16:creationId xmlns:a16="http://schemas.microsoft.com/office/drawing/2014/main" xmlns="" id="{E6B36440-1F63-404F-B314-DD7DB29ECF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" y="-952"/>
              <a:ext cx="134" cy="330"/>
            </a:xfrm>
            <a:custGeom>
              <a:avLst/>
              <a:gdLst>
                <a:gd name="T0" fmla="*/ 0 w 288"/>
                <a:gd name="T1" fmla="*/ 0 h 711"/>
                <a:gd name="T2" fmla="*/ 225 w 288"/>
                <a:gd name="T3" fmla="*/ 72 h 711"/>
                <a:gd name="T4" fmla="*/ 259 w 288"/>
                <a:gd name="T5" fmla="*/ 72 h 711"/>
                <a:gd name="T6" fmla="*/ 288 w 288"/>
                <a:gd name="T7" fmla="*/ 101 h 711"/>
                <a:gd name="T8" fmla="*/ 288 w 288"/>
                <a:gd name="T9" fmla="*/ 360 h 711"/>
                <a:gd name="T10" fmla="*/ 0 w 288"/>
                <a:gd name="T11" fmla="*/ 711 h 711"/>
                <a:gd name="T12" fmla="*/ 0 w 288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711">
                  <a:moveTo>
                    <a:pt x="0" y="0"/>
                  </a:moveTo>
                  <a:cubicBezTo>
                    <a:pt x="66" y="47"/>
                    <a:pt x="144" y="72"/>
                    <a:pt x="225" y="72"/>
                  </a:cubicBezTo>
                  <a:cubicBezTo>
                    <a:pt x="259" y="72"/>
                    <a:pt x="259" y="72"/>
                    <a:pt x="259" y="72"/>
                  </a:cubicBezTo>
                  <a:cubicBezTo>
                    <a:pt x="275" y="72"/>
                    <a:pt x="288" y="85"/>
                    <a:pt x="288" y="101"/>
                  </a:cubicBezTo>
                  <a:cubicBezTo>
                    <a:pt x="288" y="360"/>
                    <a:pt x="288" y="360"/>
                    <a:pt x="288" y="360"/>
                  </a:cubicBezTo>
                  <a:cubicBezTo>
                    <a:pt x="288" y="531"/>
                    <a:pt x="167" y="678"/>
                    <a:pt x="0" y="7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sp>
        <p:nvSpPr>
          <p:cNvPr id="17" name="red 1">
            <a:extLst>
              <a:ext uri="{FF2B5EF4-FFF2-40B4-BE49-F238E27FC236}">
                <a16:creationId xmlns:a16="http://schemas.microsoft.com/office/drawing/2014/main" xmlns="" id="{15015EC1-DC85-4160-890A-1F172F70BCF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266115" y="3244629"/>
            <a:ext cx="59021" cy="59021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881" name="red 1.1">
            <a:extLst>
              <a:ext uri="{FF2B5EF4-FFF2-40B4-BE49-F238E27FC236}">
                <a16:creationId xmlns:a16="http://schemas.microsoft.com/office/drawing/2014/main" xmlns="" id="{8CD3EE5E-41B4-4284-B396-9D6CE03EA82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 rot="18953932">
            <a:off x="4230132" y="3244628"/>
            <a:ext cx="59021" cy="59021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883" name="red 1.2">
            <a:extLst>
              <a:ext uri="{FF2B5EF4-FFF2-40B4-BE49-F238E27FC236}">
                <a16:creationId xmlns:a16="http://schemas.microsoft.com/office/drawing/2014/main" xmlns="" id="{DAD7F397-F2A3-4830-85E2-9CF35713D99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8953932">
            <a:off x="4234127" y="3250494"/>
            <a:ext cx="59021" cy="59021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882" name="red 3">
            <a:extLst>
              <a:ext uri="{FF2B5EF4-FFF2-40B4-BE49-F238E27FC236}">
                <a16:creationId xmlns:a16="http://schemas.microsoft.com/office/drawing/2014/main" xmlns="" id="{203811E6-396A-4C56-A7F4-ACC6E2001D9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 rot="18953932">
            <a:off x="7728914" y="3256395"/>
            <a:ext cx="59021" cy="59021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887" name="red 3.1">
            <a:extLst>
              <a:ext uri="{FF2B5EF4-FFF2-40B4-BE49-F238E27FC236}">
                <a16:creationId xmlns:a16="http://schemas.microsoft.com/office/drawing/2014/main" xmlns="" id="{E5D057A7-173C-4778-BC46-8EB921467D4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18953932">
            <a:off x="7728913" y="3249742"/>
            <a:ext cx="59021" cy="59021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890" name="Red 3.2">
            <a:extLst>
              <a:ext uri="{FF2B5EF4-FFF2-40B4-BE49-F238E27FC236}">
                <a16:creationId xmlns:a16="http://schemas.microsoft.com/office/drawing/2014/main" xmlns="" id="{54866710-929D-45AA-8EA5-A7D64594421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 rot="18953932">
            <a:off x="7721946" y="3260837"/>
            <a:ext cx="59021" cy="59021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888" name="red 4">
            <a:extLst>
              <a:ext uri="{FF2B5EF4-FFF2-40B4-BE49-F238E27FC236}">
                <a16:creationId xmlns:a16="http://schemas.microsoft.com/office/drawing/2014/main" xmlns="" id="{B253396D-2882-401F-B48A-D8832E7CAC0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 rot="18953932">
            <a:off x="7037533" y="825340"/>
            <a:ext cx="59021" cy="59021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880" name="red 4.1">
            <a:extLst>
              <a:ext uri="{FF2B5EF4-FFF2-40B4-BE49-F238E27FC236}">
                <a16:creationId xmlns:a16="http://schemas.microsoft.com/office/drawing/2014/main" xmlns="" id="{C905BC66-211F-4A84-9E78-BF44E27E79C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 rot="18953932">
            <a:off x="7034585" y="808145"/>
            <a:ext cx="59021" cy="59021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892" name="red 4.2">
            <a:extLst>
              <a:ext uri="{FF2B5EF4-FFF2-40B4-BE49-F238E27FC236}">
                <a16:creationId xmlns:a16="http://schemas.microsoft.com/office/drawing/2014/main" xmlns="" id="{BA46E80F-5BB6-40C8-9BAE-529BB06A496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 rot="18953932">
            <a:off x="7034585" y="812902"/>
            <a:ext cx="59021" cy="59021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891" name="red 5">
            <a:extLst>
              <a:ext uri="{FF2B5EF4-FFF2-40B4-BE49-F238E27FC236}">
                <a16:creationId xmlns:a16="http://schemas.microsoft.com/office/drawing/2014/main" xmlns="" id="{59511C2C-9DE4-4F41-9F35-5855BD57FAAD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 rot="18953932">
            <a:off x="5001462" y="838392"/>
            <a:ext cx="59021" cy="59021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893" name="red 5.1">
            <a:extLst>
              <a:ext uri="{FF2B5EF4-FFF2-40B4-BE49-F238E27FC236}">
                <a16:creationId xmlns:a16="http://schemas.microsoft.com/office/drawing/2014/main" xmlns="" id="{EFE64FE4-538D-437A-A0B0-F2F713F1A3C1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 rot="18953932">
            <a:off x="4986137" y="837807"/>
            <a:ext cx="59021" cy="59021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894" name="red 5.2">
            <a:extLst>
              <a:ext uri="{FF2B5EF4-FFF2-40B4-BE49-F238E27FC236}">
                <a16:creationId xmlns:a16="http://schemas.microsoft.com/office/drawing/2014/main" xmlns="" id="{41B83568-7635-448D-BF83-6C2891008CC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8953932">
            <a:off x="4984304" y="838801"/>
            <a:ext cx="59021" cy="59021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9A16AAA9-0E25-4BAB-A473-AF5E36149F89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9">
            <a:extLst>
              <a:ext uri="{96DAC541-7B7A-43D3-8B79-37D633B846F1}">
                <asvg:svgBlip xmlns:asvg="http://schemas.microsoft.com/office/drawing/2016/SVG/main" xmlns="" r:embed="rId37"/>
              </a:ext>
            </a:extLst>
          </a:blip>
          <a:stretch>
            <a:fillRect/>
          </a:stretch>
        </p:blipFill>
        <p:spPr>
          <a:xfrm>
            <a:off x="4850948" y="689765"/>
            <a:ext cx="328344" cy="328344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04EBEFA9-BC33-4AE7-91BA-C84D3B76482D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38">
            <a:extLst>
              <a:ext uri="{96DAC541-7B7A-43D3-8B79-37D633B846F1}">
                <asvg:svgBlip xmlns:asvg="http://schemas.microsoft.com/office/drawing/2016/SVG/main" xmlns="" r:embed="rId39"/>
              </a:ext>
            </a:extLst>
          </a:blip>
          <a:stretch>
            <a:fillRect/>
          </a:stretch>
        </p:blipFill>
        <p:spPr>
          <a:xfrm>
            <a:off x="6952669" y="689765"/>
            <a:ext cx="324702" cy="324702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xmlns="" id="{6E689990-C480-43E0-B37C-A2291BE4C19F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0">
            <a:extLst>
              <a:ext uri="{96DAC541-7B7A-43D3-8B79-37D633B846F1}">
                <asvg:svgBlip xmlns:asvg="http://schemas.microsoft.com/office/drawing/2016/SVG/main" xmlns="" r:embed="rId41"/>
              </a:ext>
            </a:extLst>
          </a:blip>
          <a:stretch>
            <a:fillRect/>
          </a:stretch>
        </p:blipFill>
        <p:spPr>
          <a:xfrm>
            <a:off x="4124015" y="3119490"/>
            <a:ext cx="318989" cy="318989"/>
          </a:xfrm>
          <a:prstGeom prst="rect">
            <a:avLst/>
          </a:prstGeom>
        </p:spPr>
      </p:pic>
      <p:grpSp>
        <p:nvGrpSpPr>
          <p:cNvPr id="11" name="Group 4">
            <a:extLst>
              <a:ext uri="{FF2B5EF4-FFF2-40B4-BE49-F238E27FC236}">
                <a16:creationId xmlns:a16="http://schemas.microsoft.com/office/drawing/2014/main" xmlns="" id="{E8984880-1205-40F0-AD44-E535F6133B9A}"/>
              </a:ext>
            </a:extLst>
          </p:cNvPr>
          <p:cNvGrpSpPr>
            <a:grpSpLocks noChangeAspect="1"/>
          </p:cNvGrpSpPr>
          <p:nvPr>
            <p:custDataLst>
              <p:tags r:id="rId19"/>
            </p:custDataLst>
          </p:nvPr>
        </p:nvGrpSpPr>
        <p:grpSpPr bwMode="auto">
          <a:xfrm>
            <a:off x="7590232" y="3126766"/>
            <a:ext cx="330301" cy="330301"/>
            <a:chOff x="2767" y="1508"/>
            <a:chExt cx="226" cy="226"/>
          </a:xfrm>
        </p:grpSpPr>
        <p:sp>
          <p:nvSpPr>
            <p:cNvPr id="14" name="Oval 5">
              <a:extLst>
                <a:ext uri="{FF2B5EF4-FFF2-40B4-BE49-F238E27FC236}">
                  <a16:creationId xmlns:a16="http://schemas.microsoft.com/office/drawing/2014/main" xmlns="" id="{D04B3A96-A5F4-4D0C-9242-0C205DAF8C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7" y="1508"/>
              <a:ext cx="226" cy="226"/>
            </a:xfrm>
            <a:prstGeom prst="ellipse">
              <a:avLst/>
            </a:prstGeom>
            <a:solidFill>
              <a:srgbClr val="E324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xmlns="" id="{F58DF7D7-B878-40A8-B446-82139D3A6A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70" y="1618"/>
              <a:ext cx="20" cy="20"/>
            </a:xfrm>
            <a:custGeom>
              <a:avLst/>
              <a:gdLst>
                <a:gd name="T0" fmla="*/ 11 w 11"/>
                <a:gd name="T1" fmla="*/ 5 h 11"/>
                <a:gd name="T2" fmla="*/ 5 w 11"/>
                <a:gd name="T3" fmla="*/ 0 h 11"/>
                <a:gd name="T4" fmla="*/ 0 w 11"/>
                <a:gd name="T5" fmla="*/ 5 h 11"/>
                <a:gd name="T6" fmla="*/ 5 w 11"/>
                <a:gd name="T7" fmla="*/ 11 h 11"/>
                <a:gd name="T8" fmla="*/ 11 w 11"/>
                <a:gd name="T9" fmla="*/ 5 h 11"/>
                <a:gd name="T10" fmla="*/ 2 w 11"/>
                <a:gd name="T11" fmla="*/ 5 h 11"/>
                <a:gd name="T12" fmla="*/ 5 w 11"/>
                <a:gd name="T13" fmla="*/ 2 h 11"/>
                <a:gd name="T14" fmla="*/ 8 w 11"/>
                <a:gd name="T15" fmla="*/ 5 h 11"/>
                <a:gd name="T16" fmla="*/ 5 w 11"/>
                <a:gd name="T17" fmla="*/ 8 h 11"/>
                <a:gd name="T18" fmla="*/ 2 w 11"/>
                <a:gd name="T19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5"/>
                  </a:moveTo>
                  <a:cubicBezTo>
                    <a:pt x="11" y="2"/>
                    <a:pt x="8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1"/>
                    <a:pt x="5" y="11"/>
                  </a:cubicBezTo>
                  <a:cubicBezTo>
                    <a:pt x="8" y="11"/>
                    <a:pt x="11" y="8"/>
                    <a:pt x="11" y="5"/>
                  </a:cubicBezTo>
                  <a:close/>
                  <a:moveTo>
                    <a:pt x="2" y="5"/>
                  </a:moveTo>
                  <a:cubicBezTo>
                    <a:pt x="2" y="4"/>
                    <a:pt x="4" y="2"/>
                    <a:pt x="5" y="2"/>
                  </a:cubicBezTo>
                  <a:cubicBezTo>
                    <a:pt x="7" y="2"/>
                    <a:pt x="8" y="4"/>
                    <a:pt x="8" y="5"/>
                  </a:cubicBezTo>
                  <a:cubicBezTo>
                    <a:pt x="8" y="7"/>
                    <a:pt x="7" y="8"/>
                    <a:pt x="5" y="8"/>
                  </a:cubicBezTo>
                  <a:cubicBezTo>
                    <a:pt x="4" y="8"/>
                    <a:pt x="2" y="7"/>
                    <a:pt x="2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xmlns="" id="{F791D7DF-C4A7-4AF7-93A7-96565E931B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2" y="1540"/>
              <a:ext cx="157" cy="154"/>
            </a:xfrm>
            <a:custGeom>
              <a:avLst/>
              <a:gdLst>
                <a:gd name="T0" fmla="*/ 66 w 87"/>
                <a:gd name="T1" fmla="*/ 36 h 85"/>
                <a:gd name="T2" fmla="*/ 43 w 87"/>
                <a:gd name="T3" fmla="*/ 0 h 85"/>
                <a:gd name="T4" fmla="*/ 21 w 87"/>
                <a:gd name="T5" fmla="*/ 36 h 85"/>
                <a:gd name="T6" fmla="*/ 1 w 87"/>
                <a:gd name="T7" fmla="*/ 60 h 85"/>
                <a:gd name="T8" fmla="*/ 22 w 87"/>
                <a:gd name="T9" fmla="*/ 84 h 85"/>
                <a:gd name="T10" fmla="*/ 46 w 87"/>
                <a:gd name="T11" fmla="*/ 79 h 85"/>
                <a:gd name="T12" fmla="*/ 65 w 87"/>
                <a:gd name="T13" fmla="*/ 84 h 85"/>
                <a:gd name="T14" fmla="*/ 86 w 87"/>
                <a:gd name="T15" fmla="*/ 59 h 85"/>
                <a:gd name="T16" fmla="*/ 35 w 87"/>
                <a:gd name="T17" fmla="*/ 57 h 85"/>
                <a:gd name="T18" fmla="*/ 37 w 87"/>
                <a:gd name="T19" fmla="*/ 64 h 85"/>
                <a:gd name="T20" fmla="*/ 35 w 87"/>
                <a:gd name="T21" fmla="*/ 56 h 85"/>
                <a:gd name="T22" fmla="*/ 23 w 87"/>
                <a:gd name="T23" fmla="*/ 48 h 85"/>
                <a:gd name="T24" fmla="*/ 22 w 87"/>
                <a:gd name="T25" fmla="*/ 82 h 85"/>
                <a:gd name="T26" fmla="*/ 3 w 87"/>
                <a:gd name="T27" fmla="*/ 65 h 85"/>
                <a:gd name="T28" fmla="*/ 38 w 87"/>
                <a:gd name="T29" fmla="*/ 57 h 85"/>
                <a:gd name="T30" fmla="*/ 37 w 87"/>
                <a:gd name="T31" fmla="*/ 54 h 85"/>
                <a:gd name="T32" fmla="*/ 29 w 87"/>
                <a:gd name="T33" fmla="*/ 47 h 85"/>
                <a:gd name="T34" fmla="*/ 24 w 87"/>
                <a:gd name="T35" fmla="*/ 45 h 85"/>
                <a:gd name="T36" fmla="*/ 6 w 87"/>
                <a:gd name="T37" fmla="*/ 51 h 85"/>
                <a:gd name="T38" fmla="*/ 24 w 87"/>
                <a:gd name="T39" fmla="*/ 38 h 85"/>
                <a:gd name="T40" fmla="*/ 24 w 87"/>
                <a:gd name="T41" fmla="*/ 18 h 85"/>
                <a:gd name="T42" fmla="*/ 31 w 87"/>
                <a:gd name="T43" fmla="*/ 35 h 85"/>
                <a:gd name="T44" fmla="*/ 53 w 87"/>
                <a:gd name="T45" fmla="*/ 37 h 85"/>
                <a:gd name="T46" fmla="*/ 57 w 87"/>
                <a:gd name="T47" fmla="*/ 34 h 85"/>
                <a:gd name="T48" fmla="*/ 65 w 87"/>
                <a:gd name="T49" fmla="*/ 27 h 85"/>
                <a:gd name="T50" fmla="*/ 63 w 87"/>
                <a:gd name="T51" fmla="*/ 39 h 85"/>
                <a:gd name="T52" fmla="*/ 79 w 87"/>
                <a:gd name="T53" fmla="*/ 49 h 85"/>
                <a:gd name="T54" fmla="*/ 61 w 87"/>
                <a:gd name="T55" fmla="*/ 46 h 85"/>
                <a:gd name="T56" fmla="*/ 51 w 87"/>
                <a:gd name="T57" fmla="*/ 52 h 85"/>
                <a:gd name="T58" fmla="*/ 47 w 87"/>
                <a:gd name="T59" fmla="*/ 66 h 85"/>
                <a:gd name="T60" fmla="*/ 55 w 87"/>
                <a:gd name="T61" fmla="*/ 81 h 85"/>
                <a:gd name="T62" fmla="*/ 42 w 87"/>
                <a:gd name="T63" fmla="*/ 74 h 85"/>
                <a:gd name="T64" fmla="*/ 40 w 87"/>
                <a:gd name="T65" fmla="*/ 65 h 85"/>
                <a:gd name="T66" fmla="*/ 58 w 87"/>
                <a:gd name="T67" fmla="*/ 10 h 85"/>
                <a:gd name="T68" fmla="*/ 59 w 87"/>
                <a:gd name="T69" fmla="*/ 13 h 85"/>
                <a:gd name="T70" fmla="*/ 60 w 87"/>
                <a:gd name="T71" fmla="*/ 17 h 85"/>
                <a:gd name="T72" fmla="*/ 43 w 87"/>
                <a:gd name="T73" fmla="*/ 28 h 85"/>
                <a:gd name="T74" fmla="*/ 27 w 87"/>
                <a:gd name="T75" fmla="*/ 17 h 85"/>
                <a:gd name="T76" fmla="*/ 28 w 87"/>
                <a:gd name="T77" fmla="*/ 13 h 85"/>
                <a:gd name="T78" fmla="*/ 29 w 87"/>
                <a:gd name="T79" fmla="*/ 11 h 85"/>
                <a:gd name="T80" fmla="*/ 43 w 87"/>
                <a:gd name="T81" fmla="*/ 37 h 85"/>
                <a:gd name="T82" fmla="*/ 61 w 87"/>
                <a:gd name="T83" fmla="*/ 49 h 85"/>
                <a:gd name="T84" fmla="*/ 59 w 87"/>
                <a:gd name="T85" fmla="*/ 80 h 85"/>
                <a:gd name="T86" fmla="*/ 64 w 87"/>
                <a:gd name="T87" fmla="*/ 48 h 85"/>
                <a:gd name="T88" fmla="*/ 83 w 87"/>
                <a:gd name="T89" fmla="*/ 59 h 85"/>
                <a:gd name="T90" fmla="*/ 65 w 87"/>
                <a:gd name="T91" fmla="*/ 82 h 85"/>
                <a:gd name="T92" fmla="*/ 60 w 87"/>
                <a:gd name="T93" fmla="*/ 8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7" h="85">
                  <a:moveTo>
                    <a:pt x="86" y="59"/>
                  </a:moveTo>
                  <a:cubicBezTo>
                    <a:pt x="85" y="52"/>
                    <a:pt x="82" y="46"/>
                    <a:pt x="77" y="42"/>
                  </a:cubicBezTo>
                  <a:cubicBezTo>
                    <a:pt x="74" y="39"/>
                    <a:pt x="70" y="37"/>
                    <a:pt x="66" y="36"/>
                  </a:cubicBezTo>
                  <a:cubicBezTo>
                    <a:pt x="67" y="33"/>
                    <a:pt x="68" y="30"/>
                    <a:pt x="68" y="27"/>
                  </a:cubicBezTo>
                  <a:cubicBezTo>
                    <a:pt x="68" y="20"/>
                    <a:pt x="65" y="14"/>
                    <a:pt x="60" y="9"/>
                  </a:cubicBezTo>
                  <a:cubicBezTo>
                    <a:pt x="56" y="4"/>
                    <a:pt x="50" y="0"/>
                    <a:pt x="43" y="0"/>
                  </a:cubicBezTo>
                  <a:cubicBezTo>
                    <a:pt x="37" y="0"/>
                    <a:pt x="30" y="4"/>
                    <a:pt x="27" y="9"/>
                  </a:cubicBezTo>
                  <a:cubicBezTo>
                    <a:pt x="22" y="14"/>
                    <a:pt x="19" y="20"/>
                    <a:pt x="19" y="27"/>
                  </a:cubicBezTo>
                  <a:cubicBezTo>
                    <a:pt x="19" y="30"/>
                    <a:pt x="20" y="33"/>
                    <a:pt x="21" y="36"/>
                  </a:cubicBezTo>
                  <a:cubicBezTo>
                    <a:pt x="17" y="37"/>
                    <a:pt x="13" y="39"/>
                    <a:pt x="10" y="42"/>
                  </a:cubicBezTo>
                  <a:cubicBezTo>
                    <a:pt x="5" y="46"/>
                    <a:pt x="1" y="52"/>
                    <a:pt x="1" y="59"/>
                  </a:cubicBezTo>
                  <a:cubicBezTo>
                    <a:pt x="1" y="59"/>
                    <a:pt x="1" y="59"/>
                    <a:pt x="1" y="60"/>
                  </a:cubicBezTo>
                  <a:cubicBezTo>
                    <a:pt x="1" y="61"/>
                    <a:pt x="0" y="63"/>
                    <a:pt x="0" y="65"/>
                  </a:cubicBezTo>
                  <a:cubicBezTo>
                    <a:pt x="0" y="76"/>
                    <a:pt x="9" y="85"/>
                    <a:pt x="20" y="85"/>
                  </a:cubicBezTo>
                  <a:cubicBezTo>
                    <a:pt x="21" y="85"/>
                    <a:pt x="21" y="85"/>
                    <a:pt x="22" y="84"/>
                  </a:cubicBezTo>
                  <a:cubicBezTo>
                    <a:pt x="29" y="85"/>
                    <a:pt x="36" y="83"/>
                    <a:pt x="41" y="79"/>
                  </a:cubicBezTo>
                  <a:cubicBezTo>
                    <a:pt x="42" y="78"/>
                    <a:pt x="42" y="77"/>
                    <a:pt x="43" y="77"/>
                  </a:cubicBezTo>
                  <a:cubicBezTo>
                    <a:pt x="44" y="77"/>
                    <a:pt x="45" y="78"/>
                    <a:pt x="46" y="79"/>
                  </a:cubicBezTo>
                  <a:cubicBezTo>
                    <a:pt x="50" y="83"/>
                    <a:pt x="56" y="85"/>
                    <a:pt x="61" y="85"/>
                  </a:cubicBezTo>
                  <a:cubicBezTo>
                    <a:pt x="61" y="85"/>
                    <a:pt x="61" y="85"/>
                    <a:pt x="61" y="85"/>
                  </a:cubicBezTo>
                  <a:cubicBezTo>
                    <a:pt x="62" y="85"/>
                    <a:pt x="64" y="85"/>
                    <a:pt x="65" y="84"/>
                  </a:cubicBezTo>
                  <a:cubicBezTo>
                    <a:pt x="65" y="84"/>
                    <a:pt x="66" y="85"/>
                    <a:pt x="67" y="85"/>
                  </a:cubicBezTo>
                  <a:cubicBezTo>
                    <a:pt x="78" y="85"/>
                    <a:pt x="87" y="76"/>
                    <a:pt x="87" y="65"/>
                  </a:cubicBezTo>
                  <a:cubicBezTo>
                    <a:pt x="87" y="63"/>
                    <a:pt x="86" y="61"/>
                    <a:pt x="86" y="59"/>
                  </a:cubicBezTo>
                  <a:close/>
                  <a:moveTo>
                    <a:pt x="35" y="56"/>
                  </a:move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8"/>
                    <a:pt x="36" y="58"/>
                  </a:cubicBezTo>
                  <a:cubicBezTo>
                    <a:pt x="36" y="59"/>
                    <a:pt x="37" y="60"/>
                    <a:pt x="37" y="62"/>
                  </a:cubicBezTo>
                  <a:cubicBezTo>
                    <a:pt x="37" y="62"/>
                    <a:pt x="37" y="63"/>
                    <a:pt x="37" y="64"/>
                  </a:cubicBezTo>
                  <a:cubicBezTo>
                    <a:pt x="37" y="64"/>
                    <a:pt x="37" y="64"/>
                    <a:pt x="37" y="65"/>
                  </a:cubicBezTo>
                  <a:cubicBezTo>
                    <a:pt x="30" y="62"/>
                    <a:pt x="26" y="56"/>
                    <a:pt x="26" y="49"/>
                  </a:cubicBezTo>
                  <a:cubicBezTo>
                    <a:pt x="30" y="50"/>
                    <a:pt x="33" y="53"/>
                    <a:pt x="35" y="56"/>
                  </a:cubicBezTo>
                  <a:close/>
                  <a:moveTo>
                    <a:pt x="20" y="48"/>
                  </a:moveTo>
                  <a:cubicBezTo>
                    <a:pt x="21" y="48"/>
                    <a:pt x="22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57"/>
                    <a:pt x="28" y="65"/>
                    <a:pt x="37" y="68"/>
                  </a:cubicBezTo>
                  <a:cubicBezTo>
                    <a:pt x="36" y="72"/>
                    <a:pt x="34" y="75"/>
                    <a:pt x="31" y="78"/>
                  </a:cubicBezTo>
                  <a:cubicBezTo>
                    <a:pt x="28" y="80"/>
                    <a:pt x="25" y="81"/>
                    <a:pt x="22" y="82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1" y="82"/>
                    <a:pt x="21" y="82"/>
                    <a:pt x="20" y="82"/>
                  </a:cubicBezTo>
                  <a:cubicBezTo>
                    <a:pt x="11" y="82"/>
                    <a:pt x="3" y="74"/>
                    <a:pt x="3" y="65"/>
                  </a:cubicBezTo>
                  <a:cubicBezTo>
                    <a:pt x="3" y="55"/>
                    <a:pt x="11" y="48"/>
                    <a:pt x="20" y="48"/>
                  </a:cubicBezTo>
                  <a:close/>
                  <a:moveTo>
                    <a:pt x="40" y="65"/>
                  </a:moveTo>
                  <a:cubicBezTo>
                    <a:pt x="40" y="62"/>
                    <a:pt x="39" y="59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6"/>
                    <a:pt x="38" y="56"/>
                    <a:pt x="37" y="55"/>
                  </a:cubicBezTo>
                  <a:cubicBezTo>
                    <a:pt x="37" y="55"/>
                    <a:pt x="37" y="54"/>
                    <a:pt x="37" y="54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3"/>
                    <a:pt x="36" y="52"/>
                    <a:pt x="35" y="52"/>
                  </a:cubicBezTo>
                  <a:cubicBezTo>
                    <a:pt x="34" y="50"/>
                    <a:pt x="31" y="48"/>
                    <a:pt x="29" y="47"/>
                  </a:cubicBezTo>
                  <a:cubicBezTo>
                    <a:pt x="28" y="47"/>
                    <a:pt x="28" y="46"/>
                    <a:pt x="27" y="46"/>
                  </a:cubicBezTo>
                  <a:cubicBezTo>
                    <a:pt x="27" y="46"/>
                    <a:pt x="26" y="46"/>
                    <a:pt x="25" y="46"/>
                  </a:cubicBezTo>
                  <a:cubicBezTo>
                    <a:pt x="25" y="45"/>
                    <a:pt x="24" y="45"/>
                    <a:pt x="24" y="45"/>
                  </a:cubicBezTo>
                  <a:cubicBezTo>
                    <a:pt x="23" y="45"/>
                    <a:pt x="22" y="45"/>
                    <a:pt x="22" y="45"/>
                  </a:cubicBezTo>
                  <a:cubicBezTo>
                    <a:pt x="17" y="44"/>
                    <a:pt x="11" y="46"/>
                    <a:pt x="7" y="49"/>
                  </a:cubicBezTo>
                  <a:cubicBezTo>
                    <a:pt x="7" y="50"/>
                    <a:pt x="6" y="50"/>
                    <a:pt x="6" y="51"/>
                  </a:cubicBezTo>
                  <a:cubicBezTo>
                    <a:pt x="7" y="48"/>
                    <a:pt x="9" y="46"/>
                    <a:pt x="12" y="44"/>
                  </a:cubicBezTo>
                  <a:cubicBezTo>
                    <a:pt x="15" y="41"/>
                    <a:pt x="19" y="39"/>
                    <a:pt x="23" y="39"/>
                  </a:cubicBezTo>
                  <a:cubicBezTo>
                    <a:pt x="24" y="39"/>
                    <a:pt x="24" y="39"/>
                    <a:pt x="24" y="38"/>
                  </a:cubicBezTo>
                  <a:cubicBezTo>
                    <a:pt x="24" y="38"/>
                    <a:pt x="24" y="37"/>
                    <a:pt x="24" y="37"/>
                  </a:cubicBezTo>
                  <a:cubicBezTo>
                    <a:pt x="23" y="34"/>
                    <a:pt x="22" y="30"/>
                    <a:pt x="22" y="27"/>
                  </a:cubicBezTo>
                  <a:cubicBezTo>
                    <a:pt x="22" y="24"/>
                    <a:pt x="22" y="21"/>
                    <a:pt x="24" y="18"/>
                  </a:cubicBezTo>
                  <a:cubicBezTo>
                    <a:pt x="24" y="19"/>
                    <a:pt x="23" y="19"/>
                    <a:pt x="23" y="20"/>
                  </a:cubicBezTo>
                  <a:cubicBezTo>
                    <a:pt x="23" y="25"/>
                    <a:pt x="26" y="30"/>
                    <a:pt x="29" y="34"/>
                  </a:cubicBezTo>
                  <a:cubicBezTo>
                    <a:pt x="30" y="35"/>
                    <a:pt x="30" y="35"/>
                    <a:pt x="31" y="35"/>
                  </a:cubicBezTo>
                  <a:cubicBezTo>
                    <a:pt x="31" y="36"/>
                    <a:pt x="32" y="36"/>
                    <a:pt x="32" y="36"/>
                  </a:cubicBezTo>
                  <a:cubicBezTo>
                    <a:pt x="33" y="37"/>
                    <a:pt x="33" y="37"/>
                    <a:pt x="34" y="37"/>
                  </a:cubicBezTo>
                  <a:cubicBezTo>
                    <a:pt x="40" y="41"/>
                    <a:pt x="47" y="41"/>
                    <a:pt x="53" y="37"/>
                  </a:cubicBezTo>
                  <a:cubicBezTo>
                    <a:pt x="53" y="37"/>
                    <a:pt x="54" y="37"/>
                    <a:pt x="54" y="36"/>
                  </a:cubicBezTo>
                  <a:cubicBezTo>
                    <a:pt x="55" y="36"/>
                    <a:pt x="55" y="36"/>
                    <a:pt x="56" y="35"/>
                  </a:cubicBezTo>
                  <a:cubicBezTo>
                    <a:pt x="56" y="35"/>
                    <a:pt x="57" y="35"/>
                    <a:pt x="57" y="34"/>
                  </a:cubicBezTo>
                  <a:cubicBezTo>
                    <a:pt x="61" y="30"/>
                    <a:pt x="63" y="25"/>
                    <a:pt x="63" y="20"/>
                  </a:cubicBezTo>
                  <a:cubicBezTo>
                    <a:pt x="63" y="19"/>
                    <a:pt x="63" y="19"/>
                    <a:pt x="63" y="18"/>
                  </a:cubicBezTo>
                  <a:cubicBezTo>
                    <a:pt x="64" y="21"/>
                    <a:pt x="65" y="24"/>
                    <a:pt x="65" y="27"/>
                  </a:cubicBezTo>
                  <a:cubicBezTo>
                    <a:pt x="65" y="30"/>
                    <a:pt x="64" y="34"/>
                    <a:pt x="62" y="37"/>
                  </a:cubicBezTo>
                  <a:cubicBezTo>
                    <a:pt x="62" y="37"/>
                    <a:pt x="62" y="38"/>
                    <a:pt x="62" y="38"/>
                  </a:cubicBezTo>
                  <a:cubicBezTo>
                    <a:pt x="63" y="39"/>
                    <a:pt x="63" y="39"/>
                    <a:pt x="63" y="39"/>
                  </a:cubicBezTo>
                  <a:cubicBezTo>
                    <a:pt x="68" y="39"/>
                    <a:pt x="72" y="41"/>
                    <a:pt x="75" y="44"/>
                  </a:cubicBezTo>
                  <a:cubicBezTo>
                    <a:pt x="77" y="46"/>
                    <a:pt x="79" y="48"/>
                    <a:pt x="81" y="51"/>
                  </a:cubicBezTo>
                  <a:cubicBezTo>
                    <a:pt x="80" y="50"/>
                    <a:pt x="80" y="50"/>
                    <a:pt x="79" y="49"/>
                  </a:cubicBezTo>
                  <a:cubicBezTo>
                    <a:pt x="75" y="46"/>
                    <a:pt x="70" y="44"/>
                    <a:pt x="65" y="45"/>
                  </a:cubicBezTo>
                  <a:cubicBezTo>
                    <a:pt x="64" y="45"/>
                    <a:pt x="64" y="45"/>
                    <a:pt x="63" y="45"/>
                  </a:cubicBezTo>
                  <a:cubicBezTo>
                    <a:pt x="62" y="45"/>
                    <a:pt x="62" y="45"/>
                    <a:pt x="61" y="46"/>
                  </a:cubicBezTo>
                  <a:cubicBezTo>
                    <a:pt x="61" y="46"/>
                    <a:pt x="60" y="46"/>
                    <a:pt x="59" y="46"/>
                  </a:cubicBezTo>
                  <a:cubicBezTo>
                    <a:pt x="59" y="46"/>
                    <a:pt x="58" y="47"/>
                    <a:pt x="58" y="47"/>
                  </a:cubicBezTo>
                  <a:cubicBezTo>
                    <a:pt x="55" y="48"/>
                    <a:pt x="53" y="50"/>
                    <a:pt x="51" y="52"/>
                  </a:cubicBezTo>
                  <a:cubicBezTo>
                    <a:pt x="49" y="55"/>
                    <a:pt x="47" y="59"/>
                    <a:pt x="47" y="62"/>
                  </a:cubicBezTo>
                  <a:cubicBezTo>
                    <a:pt x="47" y="63"/>
                    <a:pt x="47" y="64"/>
                    <a:pt x="47" y="64"/>
                  </a:cubicBezTo>
                  <a:cubicBezTo>
                    <a:pt x="47" y="65"/>
                    <a:pt x="47" y="65"/>
                    <a:pt x="47" y="66"/>
                  </a:cubicBezTo>
                  <a:cubicBezTo>
                    <a:pt x="47" y="67"/>
                    <a:pt x="47" y="67"/>
                    <a:pt x="47" y="68"/>
                  </a:cubicBezTo>
                  <a:cubicBezTo>
                    <a:pt x="48" y="73"/>
                    <a:pt x="50" y="77"/>
                    <a:pt x="54" y="80"/>
                  </a:cubicBezTo>
                  <a:cubicBezTo>
                    <a:pt x="55" y="80"/>
                    <a:pt x="55" y="81"/>
                    <a:pt x="55" y="81"/>
                  </a:cubicBezTo>
                  <a:cubicBezTo>
                    <a:pt x="53" y="80"/>
                    <a:pt x="50" y="79"/>
                    <a:pt x="48" y="77"/>
                  </a:cubicBezTo>
                  <a:cubicBezTo>
                    <a:pt x="47" y="76"/>
                    <a:pt x="45" y="75"/>
                    <a:pt x="44" y="74"/>
                  </a:cubicBezTo>
                  <a:cubicBezTo>
                    <a:pt x="44" y="73"/>
                    <a:pt x="43" y="73"/>
                    <a:pt x="42" y="74"/>
                  </a:cubicBezTo>
                  <a:cubicBezTo>
                    <a:pt x="41" y="75"/>
                    <a:pt x="40" y="76"/>
                    <a:pt x="39" y="77"/>
                  </a:cubicBezTo>
                  <a:cubicBezTo>
                    <a:pt x="37" y="79"/>
                    <a:pt x="34" y="80"/>
                    <a:pt x="31" y="81"/>
                  </a:cubicBezTo>
                  <a:cubicBezTo>
                    <a:pt x="37" y="77"/>
                    <a:pt x="40" y="71"/>
                    <a:pt x="40" y="65"/>
                  </a:cubicBezTo>
                  <a:close/>
                  <a:moveTo>
                    <a:pt x="29" y="11"/>
                  </a:moveTo>
                  <a:cubicBezTo>
                    <a:pt x="32" y="6"/>
                    <a:pt x="38" y="3"/>
                    <a:pt x="43" y="3"/>
                  </a:cubicBezTo>
                  <a:cubicBezTo>
                    <a:pt x="49" y="3"/>
                    <a:pt x="54" y="6"/>
                    <a:pt x="58" y="10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8" y="11"/>
                    <a:pt x="58" y="12"/>
                    <a:pt x="59" y="13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4"/>
                    <a:pt x="59" y="14"/>
                    <a:pt x="60" y="15"/>
                  </a:cubicBezTo>
                  <a:cubicBezTo>
                    <a:pt x="60" y="15"/>
                    <a:pt x="60" y="16"/>
                    <a:pt x="60" y="16"/>
                  </a:cubicBezTo>
                  <a:cubicBezTo>
                    <a:pt x="60" y="16"/>
                    <a:pt x="60" y="16"/>
                    <a:pt x="60" y="17"/>
                  </a:cubicBezTo>
                  <a:cubicBezTo>
                    <a:pt x="60" y="18"/>
                    <a:pt x="60" y="19"/>
                    <a:pt x="60" y="20"/>
                  </a:cubicBezTo>
                  <a:cubicBezTo>
                    <a:pt x="60" y="24"/>
                    <a:pt x="59" y="29"/>
                    <a:pt x="55" y="32"/>
                  </a:cubicBezTo>
                  <a:cubicBezTo>
                    <a:pt x="52" y="29"/>
                    <a:pt x="48" y="28"/>
                    <a:pt x="43" y="28"/>
                  </a:cubicBezTo>
                  <a:cubicBezTo>
                    <a:pt x="39" y="28"/>
                    <a:pt x="35" y="29"/>
                    <a:pt x="31" y="32"/>
                  </a:cubicBezTo>
                  <a:cubicBezTo>
                    <a:pt x="28" y="29"/>
                    <a:pt x="26" y="24"/>
                    <a:pt x="26" y="20"/>
                  </a:cubicBezTo>
                  <a:cubicBezTo>
                    <a:pt x="26" y="19"/>
                    <a:pt x="26" y="18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5"/>
                    <a:pt x="27" y="15"/>
                  </a:cubicBezTo>
                  <a:cubicBezTo>
                    <a:pt x="27" y="14"/>
                    <a:pt x="28" y="13"/>
                    <a:pt x="28" y="13"/>
                  </a:cubicBezTo>
                  <a:cubicBezTo>
                    <a:pt x="28" y="12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lose/>
                  <a:moveTo>
                    <a:pt x="43" y="31"/>
                  </a:moveTo>
                  <a:cubicBezTo>
                    <a:pt x="47" y="31"/>
                    <a:pt x="50" y="32"/>
                    <a:pt x="53" y="34"/>
                  </a:cubicBezTo>
                  <a:cubicBezTo>
                    <a:pt x="50" y="36"/>
                    <a:pt x="47" y="37"/>
                    <a:pt x="43" y="37"/>
                  </a:cubicBezTo>
                  <a:cubicBezTo>
                    <a:pt x="40" y="37"/>
                    <a:pt x="36" y="36"/>
                    <a:pt x="33" y="34"/>
                  </a:cubicBezTo>
                  <a:cubicBezTo>
                    <a:pt x="36" y="32"/>
                    <a:pt x="40" y="31"/>
                    <a:pt x="43" y="31"/>
                  </a:cubicBezTo>
                  <a:close/>
                  <a:moveTo>
                    <a:pt x="61" y="49"/>
                  </a:moveTo>
                  <a:cubicBezTo>
                    <a:pt x="61" y="56"/>
                    <a:pt x="56" y="62"/>
                    <a:pt x="50" y="65"/>
                  </a:cubicBezTo>
                  <a:cubicBezTo>
                    <a:pt x="50" y="58"/>
                    <a:pt x="54" y="51"/>
                    <a:pt x="61" y="49"/>
                  </a:cubicBezTo>
                  <a:close/>
                  <a:moveTo>
                    <a:pt x="59" y="80"/>
                  </a:moveTo>
                  <a:cubicBezTo>
                    <a:pt x="54" y="77"/>
                    <a:pt x="51" y="73"/>
                    <a:pt x="50" y="68"/>
                  </a:cubicBezTo>
                  <a:cubicBezTo>
                    <a:pt x="58" y="65"/>
                    <a:pt x="64" y="57"/>
                    <a:pt x="64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5" y="48"/>
                    <a:pt x="66" y="48"/>
                    <a:pt x="67" y="48"/>
                  </a:cubicBezTo>
                  <a:cubicBezTo>
                    <a:pt x="73" y="48"/>
                    <a:pt x="80" y="52"/>
                    <a:pt x="82" y="58"/>
                  </a:cubicBezTo>
                  <a:cubicBezTo>
                    <a:pt x="82" y="58"/>
                    <a:pt x="83" y="59"/>
                    <a:pt x="83" y="59"/>
                  </a:cubicBezTo>
                  <a:cubicBezTo>
                    <a:pt x="83" y="61"/>
                    <a:pt x="84" y="63"/>
                    <a:pt x="84" y="65"/>
                  </a:cubicBezTo>
                  <a:cubicBezTo>
                    <a:pt x="84" y="74"/>
                    <a:pt x="76" y="82"/>
                    <a:pt x="67" y="82"/>
                  </a:cubicBezTo>
                  <a:cubicBezTo>
                    <a:pt x="66" y="82"/>
                    <a:pt x="66" y="82"/>
                    <a:pt x="65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4" y="82"/>
                    <a:pt x="63" y="81"/>
                    <a:pt x="62" y="81"/>
                  </a:cubicBezTo>
                  <a:cubicBezTo>
                    <a:pt x="62" y="81"/>
                    <a:pt x="61" y="81"/>
                    <a:pt x="60" y="81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59" y="80"/>
                    <a:pt x="59" y="80"/>
                    <a:pt x="59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941A42D-75B0-47CC-BB9B-14DCA7FBC5D0}"/>
              </a:ext>
            </a:extLst>
          </p:cNvPr>
          <p:cNvSpPr/>
          <p:nvPr/>
        </p:nvSpPr>
        <p:spPr>
          <a:xfrm>
            <a:off x="0" y="0"/>
            <a:ext cx="3048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CF3393CF-03E8-4CF0-A5FC-11D4DD9F6333}"/>
              </a:ext>
            </a:extLst>
          </p:cNvPr>
          <p:cNvSpPr txBox="1"/>
          <p:nvPr/>
        </p:nvSpPr>
        <p:spPr>
          <a:xfrm>
            <a:off x="386201" y="1341444"/>
            <a:ext cx="2709423" cy="126650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685783">
              <a:lnSpc>
                <a:spcPct val="90000"/>
              </a:lnSpc>
              <a:spcBef>
                <a:spcPts val="600"/>
              </a:spcBef>
            </a:pPr>
            <a:r>
              <a:rPr lang="en-US" sz="2800" dirty="0">
                <a:solidFill>
                  <a:schemeClr val="bg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Protect the Workload</a:t>
            </a:r>
            <a:br>
              <a:rPr lang="en-US" sz="2800" dirty="0">
                <a:solidFill>
                  <a:schemeClr val="bg1"/>
                </a:solidFill>
                <a:latin typeface="CiscoSans ExtraLight" charset="0"/>
                <a:ea typeface="CiscoSans ExtraLight" charset="0"/>
                <a:cs typeface="CiscoSans ExtraLight" charset="0"/>
              </a:rPr>
            </a:br>
            <a:r>
              <a:rPr lang="en-US" sz="28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Everywher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66B1CDC2-09F5-46B2-8C85-49C88B6107BE}"/>
              </a:ext>
            </a:extLst>
          </p:cNvPr>
          <p:cNvSpPr txBox="1"/>
          <p:nvPr/>
        </p:nvSpPr>
        <p:spPr>
          <a:xfrm>
            <a:off x="1624281" y="437529"/>
            <a:ext cx="485546" cy="2631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03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00C164E4-AA47-44D6-A4CF-A840F3257CAD}"/>
              </a:ext>
            </a:extLst>
          </p:cNvPr>
          <p:cNvGrpSpPr/>
          <p:nvPr/>
        </p:nvGrpSpPr>
        <p:grpSpPr>
          <a:xfrm>
            <a:off x="1643331" y="710972"/>
            <a:ext cx="457390" cy="457390"/>
            <a:chOff x="1866501" y="485585"/>
            <a:chExt cx="457390" cy="457390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xmlns="" id="{E7BA089C-A271-4556-8CB7-A3D326590ACE}"/>
                </a:ext>
              </a:extLst>
            </p:cNvPr>
            <p:cNvSpPr/>
            <p:nvPr/>
          </p:nvSpPr>
          <p:spPr>
            <a:xfrm>
              <a:off x="1866501" y="485585"/>
              <a:ext cx="457390" cy="45739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64" name="Group 63"/>
            <p:cNvGrpSpPr/>
            <p:nvPr/>
          </p:nvGrpSpPr>
          <p:grpSpPr>
            <a:xfrm>
              <a:off x="1925765" y="544915"/>
              <a:ext cx="349271" cy="349271"/>
              <a:chOff x="2581275" y="3149114"/>
              <a:chExt cx="933450" cy="933450"/>
            </a:xfrm>
          </p:grpSpPr>
          <p:sp>
            <p:nvSpPr>
              <p:cNvPr id="30" name="Freeform 25"/>
              <p:cNvSpPr>
                <a:spLocks/>
              </p:cNvSpPr>
              <p:nvPr/>
            </p:nvSpPr>
            <p:spPr bwMode="auto">
              <a:xfrm>
                <a:off x="2581275" y="3149114"/>
                <a:ext cx="933450" cy="933450"/>
              </a:xfrm>
              <a:custGeom>
                <a:avLst/>
                <a:gdLst>
                  <a:gd name="T0" fmla="*/ 1039 w 1264"/>
                  <a:gd name="T1" fmla="*/ 1039 h 1264"/>
                  <a:gd name="T2" fmla="*/ 225 w 1264"/>
                  <a:gd name="T3" fmla="*/ 1039 h 1264"/>
                  <a:gd name="T4" fmla="*/ 225 w 1264"/>
                  <a:gd name="T5" fmla="*/ 225 h 1264"/>
                  <a:gd name="T6" fmla="*/ 1039 w 1264"/>
                  <a:gd name="T7" fmla="*/ 225 h 1264"/>
                  <a:gd name="T8" fmla="*/ 1039 w 1264"/>
                  <a:gd name="T9" fmla="*/ 1039 h 1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4" h="1264">
                    <a:moveTo>
                      <a:pt x="1039" y="1039"/>
                    </a:moveTo>
                    <a:cubicBezTo>
                      <a:pt x="814" y="1264"/>
                      <a:pt x="450" y="1264"/>
                      <a:pt x="225" y="1039"/>
                    </a:cubicBezTo>
                    <a:cubicBezTo>
                      <a:pt x="0" y="814"/>
                      <a:pt x="0" y="450"/>
                      <a:pt x="225" y="225"/>
                    </a:cubicBezTo>
                    <a:cubicBezTo>
                      <a:pt x="450" y="0"/>
                      <a:pt x="814" y="0"/>
                      <a:pt x="1039" y="225"/>
                    </a:cubicBezTo>
                    <a:cubicBezTo>
                      <a:pt x="1264" y="450"/>
                      <a:pt x="1264" y="814"/>
                      <a:pt x="1039" y="1039"/>
                    </a:cubicBezTo>
                    <a:close/>
                  </a:path>
                </a:pathLst>
              </a:cu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60" name="Freeform 59"/>
              <p:cNvSpPr>
                <a:spLocks/>
              </p:cNvSpPr>
              <p:nvPr/>
            </p:nvSpPr>
            <p:spPr bwMode="auto">
              <a:xfrm>
                <a:off x="2912865" y="3411052"/>
                <a:ext cx="560585" cy="619125"/>
              </a:xfrm>
              <a:custGeom>
                <a:avLst/>
                <a:gdLst>
                  <a:gd name="connsiteX0" fmla="*/ 343475 w 560585"/>
                  <a:gd name="connsiteY0" fmla="*/ 0 h 619125"/>
                  <a:gd name="connsiteX1" fmla="*/ 560585 w 560585"/>
                  <a:gd name="connsiteY1" fmla="*/ 219427 h 619125"/>
                  <a:gd name="connsiteX2" fmla="*/ 435784 w 560585"/>
                  <a:gd name="connsiteY2" fmla="*/ 506087 h 619125"/>
                  <a:gd name="connsiteX3" fmla="*/ 236397 w 560585"/>
                  <a:gd name="connsiteY3" fmla="*/ 619125 h 619125"/>
                  <a:gd name="connsiteX4" fmla="*/ 87 w 560585"/>
                  <a:gd name="connsiteY4" fmla="*/ 393048 h 619125"/>
                  <a:gd name="connsiteX5" fmla="*/ 64 w 560585"/>
                  <a:gd name="connsiteY5" fmla="*/ 391571 h 619125"/>
                  <a:gd name="connsiteX6" fmla="*/ 0 w 560585"/>
                  <a:gd name="connsiteY6" fmla="*/ 387488 h 619125"/>
                  <a:gd name="connsiteX7" fmla="*/ 49858 w 560585"/>
                  <a:gd name="connsiteY7" fmla="*/ 430601 h 619125"/>
                  <a:gd name="connsiteX8" fmla="*/ 135135 w 560585"/>
                  <a:gd name="connsiteY8" fmla="*/ 463550 h 619125"/>
                  <a:gd name="connsiteX9" fmla="*/ 347860 w 560585"/>
                  <a:gd name="connsiteY9" fmla="*/ 204928 h 619125"/>
                  <a:gd name="connsiteX10" fmla="*/ 347860 w 560585"/>
                  <a:gd name="connsiteY10" fmla="*/ 14093 h 619125"/>
                  <a:gd name="connsiteX11" fmla="*/ 342392 w 560585"/>
                  <a:gd name="connsiteY11" fmla="*/ 938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60585" h="619125">
                    <a:moveTo>
                      <a:pt x="343475" y="0"/>
                    </a:moveTo>
                    <a:cubicBezTo>
                      <a:pt x="343475" y="0"/>
                      <a:pt x="343475" y="0"/>
                      <a:pt x="560585" y="219427"/>
                    </a:cubicBezTo>
                    <a:cubicBezTo>
                      <a:pt x="556893" y="323600"/>
                      <a:pt x="515539" y="427034"/>
                      <a:pt x="435784" y="506087"/>
                    </a:cubicBezTo>
                    <a:cubicBezTo>
                      <a:pt x="378922" y="563714"/>
                      <a:pt x="309506" y="601394"/>
                      <a:pt x="236397" y="619125"/>
                    </a:cubicBezTo>
                    <a:cubicBezTo>
                      <a:pt x="236397" y="619125"/>
                      <a:pt x="236397" y="619125"/>
                      <a:pt x="87" y="393048"/>
                    </a:cubicBezTo>
                    <a:cubicBezTo>
                      <a:pt x="87" y="393048"/>
                      <a:pt x="87" y="393048"/>
                      <a:pt x="64" y="391571"/>
                    </a:cubicBezTo>
                    <a:lnTo>
                      <a:pt x="0" y="387488"/>
                    </a:lnTo>
                    <a:lnTo>
                      <a:pt x="49858" y="430601"/>
                    </a:lnTo>
                    <a:cubicBezTo>
                      <a:pt x="75583" y="446143"/>
                      <a:pt x="104297" y="457471"/>
                      <a:pt x="135135" y="463550"/>
                    </a:cubicBezTo>
                    <a:cubicBezTo>
                      <a:pt x="258486" y="439235"/>
                      <a:pt x="347860" y="330924"/>
                      <a:pt x="347860" y="204928"/>
                    </a:cubicBezTo>
                    <a:cubicBezTo>
                      <a:pt x="347860" y="14093"/>
                      <a:pt x="347860" y="14093"/>
                      <a:pt x="347860" y="14093"/>
                    </a:cubicBezTo>
                    <a:lnTo>
                      <a:pt x="342392" y="938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grpSp>
            <p:nvGrpSpPr>
              <p:cNvPr id="63" name="Group 62"/>
              <p:cNvGrpSpPr/>
              <p:nvPr/>
            </p:nvGrpSpPr>
            <p:grpSpPr>
              <a:xfrm>
                <a:off x="2835275" y="3350727"/>
                <a:ext cx="425450" cy="523875"/>
                <a:chOff x="2835275" y="3350727"/>
                <a:chExt cx="425450" cy="523875"/>
              </a:xfrm>
              <a:solidFill>
                <a:schemeClr val="accent1">
                  <a:lumMod val="75000"/>
                  <a:alpha val="40000"/>
                </a:schemeClr>
              </a:solidFill>
            </p:grpSpPr>
            <p:sp>
              <p:nvSpPr>
                <p:cNvPr id="61" name="Freeform 27"/>
                <p:cNvSpPr>
                  <a:spLocks/>
                </p:cNvSpPr>
                <p:nvPr/>
              </p:nvSpPr>
              <p:spPr bwMode="auto">
                <a:xfrm>
                  <a:off x="2835275" y="3350727"/>
                  <a:ext cx="425450" cy="523875"/>
                </a:xfrm>
                <a:custGeom>
                  <a:avLst/>
                  <a:gdLst>
                    <a:gd name="T0" fmla="*/ 0 w 576"/>
                    <a:gd name="T1" fmla="*/ 101 h 711"/>
                    <a:gd name="T2" fmla="*/ 0 w 576"/>
                    <a:gd name="T3" fmla="*/ 360 h 711"/>
                    <a:gd name="T4" fmla="*/ 288 w 576"/>
                    <a:gd name="T5" fmla="*/ 711 h 711"/>
                    <a:gd name="T6" fmla="*/ 288 w 576"/>
                    <a:gd name="T7" fmla="*/ 711 h 711"/>
                    <a:gd name="T8" fmla="*/ 288 w 576"/>
                    <a:gd name="T9" fmla="*/ 711 h 711"/>
                    <a:gd name="T10" fmla="*/ 576 w 576"/>
                    <a:gd name="T11" fmla="*/ 360 h 711"/>
                    <a:gd name="T12" fmla="*/ 576 w 576"/>
                    <a:gd name="T13" fmla="*/ 101 h 711"/>
                    <a:gd name="T14" fmla="*/ 547 w 576"/>
                    <a:gd name="T15" fmla="*/ 72 h 711"/>
                    <a:gd name="T16" fmla="*/ 513 w 576"/>
                    <a:gd name="T17" fmla="*/ 72 h 711"/>
                    <a:gd name="T18" fmla="*/ 288 w 576"/>
                    <a:gd name="T19" fmla="*/ 0 h 711"/>
                    <a:gd name="T20" fmla="*/ 288 w 576"/>
                    <a:gd name="T21" fmla="*/ 0 h 711"/>
                    <a:gd name="T22" fmla="*/ 288 w 576"/>
                    <a:gd name="T23" fmla="*/ 0 h 711"/>
                    <a:gd name="T24" fmla="*/ 63 w 576"/>
                    <a:gd name="T25" fmla="*/ 72 h 711"/>
                    <a:gd name="T26" fmla="*/ 29 w 576"/>
                    <a:gd name="T27" fmla="*/ 72 h 711"/>
                    <a:gd name="T28" fmla="*/ 0 w 576"/>
                    <a:gd name="T29" fmla="*/ 101 h 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76" h="711">
                      <a:moveTo>
                        <a:pt x="0" y="101"/>
                      </a:moveTo>
                      <a:cubicBezTo>
                        <a:pt x="0" y="360"/>
                        <a:pt x="0" y="360"/>
                        <a:pt x="0" y="360"/>
                      </a:cubicBezTo>
                      <a:cubicBezTo>
                        <a:pt x="0" y="531"/>
                        <a:pt x="121" y="678"/>
                        <a:pt x="288" y="711"/>
                      </a:cubicBezTo>
                      <a:cubicBezTo>
                        <a:pt x="288" y="711"/>
                        <a:pt x="288" y="711"/>
                        <a:pt x="288" y="711"/>
                      </a:cubicBezTo>
                      <a:cubicBezTo>
                        <a:pt x="288" y="711"/>
                        <a:pt x="288" y="711"/>
                        <a:pt x="288" y="711"/>
                      </a:cubicBezTo>
                      <a:cubicBezTo>
                        <a:pt x="455" y="678"/>
                        <a:pt x="576" y="531"/>
                        <a:pt x="576" y="360"/>
                      </a:cubicBezTo>
                      <a:cubicBezTo>
                        <a:pt x="576" y="101"/>
                        <a:pt x="576" y="101"/>
                        <a:pt x="576" y="101"/>
                      </a:cubicBezTo>
                      <a:cubicBezTo>
                        <a:pt x="576" y="85"/>
                        <a:pt x="563" y="72"/>
                        <a:pt x="547" y="72"/>
                      </a:cubicBezTo>
                      <a:cubicBezTo>
                        <a:pt x="513" y="72"/>
                        <a:pt x="513" y="72"/>
                        <a:pt x="513" y="72"/>
                      </a:cubicBezTo>
                      <a:cubicBezTo>
                        <a:pt x="432" y="72"/>
                        <a:pt x="354" y="47"/>
                        <a:pt x="288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88" y="0"/>
                        <a:pt x="288" y="0"/>
                        <a:pt x="288" y="0"/>
                      </a:cubicBezTo>
                      <a:cubicBezTo>
                        <a:pt x="222" y="47"/>
                        <a:pt x="144" y="72"/>
                        <a:pt x="63" y="72"/>
                      </a:cubicBezTo>
                      <a:cubicBezTo>
                        <a:pt x="29" y="72"/>
                        <a:pt x="29" y="72"/>
                        <a:pt x="29" y="72"/>
                      </a:cubicBezTo>
                      <a:cubicBezTo>
                        <a:pt x="13" y="72"/>
                        <a:pt x="0" y="85"/>
                        <a:pt x="0" y="101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58" name="Freeform 28"/>
                <p:cNvSpPr>
                  <a:spLocks/>
                </p:cNvSpPr>
                <p:nvPr/>
              </p:nvSpPr>
              <p:spPr bwMode="auto">
                <a:xfrm>
                  <a:off x="3048000" y="3350727"/>
                  <a:ext cx="212725" cy="523875"/>
                </a:xfrm>
                <a:custGeom>
                  <a:avLst/>
                  <a:gdLst>
                    <a:gd name="T0" fmla="*/ 0 w 288"/>
                    <a:gd name="T1" fmla="*/ 0 h 711"/>
                    <a:gd name="T2" fmla="*/ 225 w 288"/>
                    <a:gd name="T3" fmla="*/ 72 h 711"/>
                    <a:gd name="T4" fmla="*/ 259 w 288"/>
                    <a:gd name="T5" fmla="*/ 72 h 711"/>
                    <a:gd name="T6" fmla="*/ 288 w 288"/>
                    <a:gd name="T7" fmla="*/ 101 h 711"/>
                    <a:gd name="T8" fmla="*/ 288 w 288"/>
                    <a:gd name="T9" fmla="*/ 360 h 711"/>
                    <a:gd name="T10" fmla="*/ 0 w 288"/>
                    <a:gd name="T11" fmla="*/ 711 h 711"/>
                    <a:gd name="T12" fmla="*/ 0 w 288"/>
                    <a:gd name="T13" fmla="*/ 0 h 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88" h="711">
                      <a:moveTo>
                        <a:pt x="0" y="0"/>
                      </a:moveTo>
                      <a:cubicBezTo>
                        <a:pt x="66" y="47"/>
                        <a:pt x="144" y="72"/>
                        <a:pt x="225" y="72"/>
                      </a:cubicBezTo>
                      <a:cubicBezTo>
                        <a:pt x="259" y="72"/>
                        <a:pt x="259" y="72"/>
                        <a:pt x="259" y="72"/>
                      </a:cubicBezTo>
                      <a:cubicBezTo>
                        <a:pt x="275" y="72"/>
                        <a:pt x="288" y="85"/>
                        <a:pt x="288" y="101"/>
                      </a:cubicBezTo>
                      <a:cubicBezTo>
                        <a:pt x="288" y="360"/>
                        <a:pt x="288" y="360"/>
                        <a:pt x="288" y="360"/>
                      </a:cubicBezTo>
                      <a:cubicBezTo>
                        <a:pt x="288" y="531"/>
                        <a:pt x="167" y="678"/>
                        <a:pt x="0" y="711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  <a:alpha val="2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</p:grpSp>
      </p:grpSp>
      <p:sp>
        <p:nvSpPr>
          <p:cNvPr id="1264" name="TextBox 1263">
            <a:extLst>
              <a:ext uri="{FF2B5EF4-FFF2-40B4-BE49-F238E27FC236}">
                <a16:creationId xmlns:a16="http://schemas.microsoft.com/office/drawing/2014/main" xmlns="" id="{3A62242C-C137-49FD-A463-6BE0BEE29070}"/>
              </a:ext>
            </a:extLst>
          </p:cNvPr>
          <p:cNvSpPr txBox="1"/>
          <p:nvPr/>
        </p:nvSpPr>
        <p:spPr>
          <a:xfrm>
            <a:off x="1047205" y="437529"/>
            <a:ext cx="485546" cy="2631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02</a:t>
            </a:r>
          </a:p>
        </p:txBody>
      </p:sp>
      <p:grpSp>
        <p:nvGrpSpPr>
          <p:cNvPr id="1265" name="Group 1264">
            <a:extLst>
              <a:ext uri="{FF2B5EF4-FFF2-40B4-BE49-F238E27FC236}">
                <a16:creationId xmlns:a16="http://schemas.microsoft.com/office/drawing/2014/main" xmlns="" id="{0147FDED-F24C-4D80-A76F-E04E3AD489C2}"/>
              </a:ext>
            </a:extLst>
          </p:cNvPr>
          <p:cNvGrpSpPr/>
          <p:nvPr/>
        </p:nvGrpSpPr>
        <p:grpSpPr>
          <a:xfrm>
            <a:off x="1064458" y="710972"/>
            <a:ext cx="457390" cy="457390"/>
            <a:chOff x="1176043" y="485585"/>
            <a:chExt cx="457390" cy="457390"/>
          </a:xfrm>
        </p:grpSpPr>
        <p:sp>
          <p:nvSpPr>
            <p:cNvPr id="1266" name="Oval 1265">
              <a:extLst>
                <a:ext uri="{FF2B5EF4-FFF2-40B4-BE49-F238E27FC236}">
                  <a16:creationId xmlns:a16="http://schemas.microsoft.com/office/drawing/2014/main" xmlns="" id="{279965A9-BEC6-4FF4-ADCB-FE2AFFC1C41B}"/>
                </a:ext>
              </a:extLst>
            </p:cNvPr>
            <p:cNvSpPr/>
            <p:nvPr/>
          </p:nvSpPr>
          <p:spPr>
            <a:xfrm>
              <a:off x="1176043" y="485585"/>
              <a:ext cx="457390" cy="45739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1267" name="Group 1266">
              <a:extLst>
                <a:ext uri="{FF2B5EF4-FFF2-40B4-BE49-F238E27FC236}">
                  <a16:creationId xmlns:a16="http://schemas.microsoft.com/office/drawing/2014/main" xmlns="" id="{DE98A654-CFB5-47C2-962D-D702E35DC8C4}"/>
                </a:ext>
              </a:extLst>
            </p:cNvPr>
            <p:cNvGrpSpPr/>
            <p:nvPr/>
          </p:nvGrpSpPr>
          <p:grpSpPr>
            <a:xfrm>
              <a:off x="1230721" y="544915"/>
              <a:ext cx="349271" cy="349271"/>
              <a:chOff x="2581275" y="2152858"/>
              <a:chExt cx="933450" cy="933450"/>
            </a:xfrm>
          </p:grpSpPr>
          <p:sp>
            <p:nvSpPr>
              <p:cNvPr id="1268" name="Freeform 5">
                <a:extLst>
                  <a:ext uri="{FF2B5EF4-FFF2-40B4-BE49-F238E27FC236}">
                    <a16:creationId xmlns:a16="http://schemas.microsoft.com/office/drawing/2014/main" xmlns="" id="{8C8F4F87-76D6-4F17-9275-FC82569F6E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1275" y="2152858"/>
                <a:ext cx="933450" cy="933450"/>
              </a:xfrm>
              <a:custGeom>
                <a:avLst/>
                <a:gdLst>
                  <a:gd name="T0" fmla="*/ 1039 w 1264"/>
                  <a:gd name="T1" fmla="*/ 1039 h 1264"/>
                  <a:gd name="T2" fmla="*/ 225 w 1264"/>
                  <a:gd name="T3" fmla="*/ 1039 h 1264"/>
                  <a:gd name="T4" fmla="*/ 225 w 1264"/>
                  <a:gd name="T5" fmla="*/ 225 h 1264"/>
                  <a:gd name="T6" fmla="*/ 1039 w 1264"/>
                  <a:gd name="T7" fmla="*/ 225 h 1264"/>
                  <a:gd name="T8" fmla="*/ 1039 w 1264"/>
                  <a:gd name="T9" fmla="*/ 1039 h 1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64" h="1264">
                    <a:moveTo>
                      <a:pt x="1039" y="1039"/>
                    </a:moveTo>
                    <a:cubicBezTo>
                      <a:pt x="814" y="1264"/>
                      <a:pt x="450" y="1264"/>
                      <a:pt x="225" y="1039"/>
                    </a:cubicBezTo>
                    <a:cubicBezTo>
                      <a:pt x="0" y="814"/>
                      <a:pt x="0" y="450"/>
                      <a:pt x="225" y="225"/>
                    </a:cubicBezTo>
                    <a:cubicBezTo>
                      <a:pt x="450" y="0"/>
                      <a:pt x="814" y="0"/>
                      <a:pt x="1039" y="225"/>
                    </a:cubicBezTo>
                    <a:cubicBezTo>
                      <a:pt x="1264" y="450"/>
                      <a:pt x="1264" y="814"/>
                      <a:pt x="1039" y="1039"/>
                    </a:cubicBezTo>
                    <a:close/>
                  </a:path>
                </a:pathLst>
              </a:cu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grpSp>
            <p:nvGrpSpPr>
              <p:cNvPr id="1269" name="Group 1268">
                <a:extLst>
                  <a:ext uri="{FF2B5EF4-FFF2-40B4-BE49-F238E27FC236}">
                    <a16:creationId xmlns:a16="http://schemas.microsoft.com/office/drawing/2014/main" xmlns="" id="{160CD534-F88C-4CBD-99D8-3CA07E05A0D7}"/>
                  </a:ext>
                </a:extLst>
              </p:cNvPr>
              <p:cNvGrpSpPr/>
              <p:nvPr/>
            </p:nvGrpSpPr>
            <p:grpSpPr>
              <a:xfrm>
                <a:off x="2728913" y="2324308"/>
                <a:ext cx="638175" cy="590551"/>
                <a:chOff x="2728913" y="2324100"/>
                <a:chExt cx="638175" cy="590551"/>
              </a:xfrm>
              <a:solidFill>
                <a:schemeClr val="accent1">
                  <a:lumMod val="75000"/>
                  <a:alpha val="40000"/>
                </a:schemeClr>
              </a:solidFill>
            </p:grpSpPr>
            <p:sp>
              <p:nvSpPr>
                <p:cNvPr id="1270" name="Freeform 6">
                  <a:extLst>
                    <a:ext uri="{FF2B5EF4-FFF2-40B4-BE49-F238E27FC236}">
                      <a16:creationId xmlns:a16="http://schemas.microsoft.com/office/drawing/2014/main" xmlns="" id="{6EEE40AC-8FB2-495B-8372-F54495771D7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728913" y="2324100"/>
                  <a:ext cx="638175" cy="333375"/>
                </a:xfrm>
                <a:custGeom>
                  <a:avLst/>
                  <a:gdLst>
                    <a:gd name="T0" fmla="*/ 237 w 864"/>
                    <a:gd name="T1" fmla="*/ 452 h 452"/>
                    <a:gd name="T2" fmla="*/ 628 w 864"/>
                    <a:gd name="T3" fmla="*/ 452 h 452"/>
                    <a:gd name="T4" fmla="*/ 835 w 864"/>
                    <a:gd name="T5" fmla="*/ 452 h 452"/>
                    <a:gd name="T6" fmla="*/ 864 w 864"/>
                    <a:gd name="T7" fmla="*/ 412 h 452"/>
                    <a:gd name="T8" fmla="*/ 788 w 864"/>
                    <a:gd name="T9" fmla="*/ 188 h 452"/>
                    <a:gd name="T10" fmla="*/ 749 w 864"/>
                    <a:gd name="T11" fmla="*/ 139 h 452"/>
                    <a:gd name="T12" fmla="*/ 721 w 864"/>
                    <a:gd name="T13" fmla="*/ 111 h 452"/>
                    <a:gd name="T14" fmla="*/ 701 w 864"/>
                    <a:gd name="T15" fmla="*/ 94 h 452"/>
                    <a:gd name="T16" fmla="*/ 680 w 864"/>
                    <a:gd name="T17" fmla="*/ 79 h 452"/>
                    <a:gd name="T18" fmla="*/ 660 w 864"/>
                    <a:gd name="T19" fmla="*/ 65 h 452"/>
                    <a:gd name="T20" fmla="*/ 636 w 864"/>
                    <a:gd name="T21" fmla="*/ 51 h 452"/>
                    <a:gd name="T22" fmla="*/ 615 w 864"/>
                    <a:gd name="T23" fmla="*/ 41 h 452"/>
                    <a:gd name="T24" fmla="*/ 601 w 864"/>
                    <a:gd name="T25" fmla="*/ 35 h 452"/>
                    <a:gd name="T26" fmla="*/ 578 w 864"/>
                    <a:gd name="T27" fmla="*/ 26 h 452"/>
                    <a:gd name="T28" fmla="*/ 563 w 864"/>
                    <a:gd name="T29" fmla="*/ 21 h 452"/>
                    <a:gd name="T30" fmla="*/ 540 w 864"/>
                    <a:gd name="T31" fmla="*/ 14 h 452"/>
                    <a:gd name="T32" fmla="*/ 524 w 864"/>
                    <a:gd name="T33" fmla="*/ 10 h 452"/>
                    <a:gd name="T34" fmla="*/ 503 w 864"/>
                    <a:gd name="T35" fmla="*/ 6 h 452"/>
                    <a:gd name="T36" fmla="*/ 486 w 864"/>
                    <a:gd name="T37" fmla="*/ 4 h 452"/>
                    <a:gd name="T38" fmla="*/ 462 w 864"/>
                    <a:gd name="T39" fmla="*/ 1 h 452"/>
                    <a:gd name="T40" fmla="*/ 452 w 864"/>
                    <a:gd name="T41" fmla="*/ 0 h 452"/>
                    <a:gd name="T42" fmla="*/ 407 w 864"/>
                    <a:gd name="T43" fmla="*/ 1 h 452"/>
                    <a:gd name="T44" fmla="*/ 390 w 864"/>
                    <a:gd name="T45" fmla="*/ 2 h 452"/>
                    <a:gd name="T46" fmla="*/ 365 w 864"/>
                    <a:gd name="T47" fmla="*/ 5 h 452"/>
                    <a:gd name="T48" fmla="*/ 349 w 864"/>
                    <a:gd name="T49" fmla="*/ 8 h 452"/>
                    <a:gd name="T50" fmla="*/ 327 w 864"/>
                    <a:gd name="T51" fmla="*/ 13 h 452"/>
                    <a:gd name="T52" fmla="*/ 311 w 864"/>
                    <a:gd name="T53" fmla="*/ 18 h 452"/>
                    <a:gd name="T54" fmla="*/ 289 w 864"/>
                    <a:gd name="T55" fmla="*/ 25 h 452"/>
                    <a:gd name="T56" fmla="*/ 275 w 864"/>
                    <a:gd name="T57" fmla="*/ 30 h 452"/>
                    <a:gd name="T58" fmla="*/ 252 w 864"/>
                    <a:gd name="T59" fmla="*/ 40 h 452"/>
                    <a:gd name="T60" fmla="*/ 238 w 864"/>
                    <a:gd name="T61" fmla="*/ 46 h 452"/>
                    <a:gd name="T62" fmla="*/ 206 w 864"/>
                    <a:gd name="T63" fmla="*/ 64 h 452"/>
                    <a:gd name="T64" fmla="*/ 194 w 864"/>
                    <a:gd name="T65" fmla="*/ 72 h 452"/>
                    <a:gd name="T66" fmla="*/ 164 w 864"/>
                    <a:gd name="T67" fmla="*/ 94 h 452"/>
                    <a:gd name="T68" fmla="*/ 153 w 864"/>
                    <a:gd name="T69" fmla="*/ 103 h 452"/>
                    <a:gd name="T70" fmla="*/ 117 w 864"/>
                    <a:gd name="T71" fmla="*/ 138 h 452"/>
                    <a:gd name="T72" fmla="*/ 83 w 864"/>
                    <a:gd name="T73" fmla="*/ 178 h 452"/>
                    <a:gd name="T74" fmla="*/ 76 w 864"/>
                    <a:gd name="T75" fmla="*/ 188 h 452"/>
                    <a:gd name="T76" fmla="*/ 0 w 864"/>
                    <a:gd name="T77" fmla="*/ 423 h 452"/>
                    <a:gd name="T78" fmla="*/ 757 w 864"/>
                    <a:gd name="T79" fmla="*/ 214 h 452"/>
                    <a:gd name="T80" fmla="*/ 648 w 864"/>
                    <a:gd name="T81" fmla="*/ 258 h 452"/>
                    <a:gd name="T82" fmla="*/ 580 w 864"/>
                    <a:gd name="T83" fmla="*/ 69 h 452"/>
                    <a:gd name="T84" fmla="*/ 597 w 864"/>
                    <a:gd name="T85" fmla="*/ 77 h 452"/>
                    <a:gd name="T86" fmla="*/ 610 w 864"/>
                    <a:gd name="T87" fmla="*/ 83 h 452"/>
                    <a:gd name="T88" fmla="*/ 638 w 864"/>
                    <a:gd name="T89" fmla="*/ 220 h 452"/>
                    <a:gd name="T90" fmla="*/ 452 w 864"/>
                    <a:gd name="T91" fmla="*/ 43 h 452"/>
                    <a:gd name="T92" fmla="*/ 452 w 864"/>
                    <a:gd name="T93" fmla="*/ 244 h 452"/>
                    <a:gd name="T94" fmla="*/ 609 w 864"/>
                    <a:gd name="T95" fmla="*/ 267 h 452"/>
                    <a:gd name="T96" fmla="*/ 452 w 864"/>
                    <a:gd name="T97" fmla="*/ 284 h 452"/>
                    <a:gd name="T98" fmla="*/ 255 w 864"/>
                    <a:gd name="T99" fmla="*/ 267 h 452"/>
                    <a:gd name="T100" fmla="*/ 412 w 864"/>
                    <a:gd name="T101" fmla="*/ 43 h 452"/>
                    <a:gd name="T102" fmla="*/ 300 w 864"/>
                    <a:gd name="T103" fmla="*/ 146 h 452"/>
                    <a:gd name="T104" fmla="*/ 254 w 864"/>
                    <a:gd name="T105" fmla="*/ 83 h 452"/>
                    <a:gd name="T106" fmla="*/ 268 w 864"/>
                    <a:gd name="T107" fmla="*/ 77 h 452"/>
                    <a:gd name="T108" fmla="*/ 285 w 864"/>
                    <a:gd name="T109" fmla="*/ 69 h 452"/>
                    <a:gd name="T110" fmla="*/ 227 w 864"/>
                    <a:gd name="T111" fmla="*/ 220 h 452"/>
                    <a:gd name="T112" fmla="*/ 107 w 864"/>
                    <a:gd name="T113" fmla="*/ 214 h 452"/>
                    <a:gd name="T114" fmla="*/ 41 w 864"/>
                    <a:gd name="T115" fmla="*/ 412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864" h="452">
                      <a:moveTo>
                        <a:pt x="41" y="452"/>
                      </a:moveTo>
                      <a:cubicBezTo>
                        <a:pt x="197" y="452"/>
                        <a:pt x="197" y="452"/>
                        <a:pt x="197" y="452"/>
                      </a:cubicBezTo>
                      <a:cubicBezTo>
                        <a:pt x="237" y="452"/>
                        <a:pt x="237" y="452"/>
                        <a:pt x="237" y="452"/>
                      </a:cubicBezTo>
                      <a:cubicBezTo>
                        <a:pt x="412" y="452"/>
                        <a:pt x="412" y="452"/>
                        <a:pt x="412" y="452"/>
                      </a:cubicBezTo>
                      <a:cubicBezTo>
                        <a:pt x="452" y="452"/>
                        <a:pt x="452" y="452"/>
                        <a:pt x="452" y="452"/>
                      </a:cubicBezTo>
                      <a:cubicBezTo>
                        <a:pt x="628" y="452"/>
                        <a:pt x="628" y="452"/>
                        <a:pt x="628" y="452"/>
                      </a:cubicBezTo>
                      <a:cubicBezTo>
                        <a:pt x="668" y="452"/>
                        <a:pt x="668" y="452"/>
                        <a:pt x="668" y="452"/>
                      </a:cubicBezTo>
                      <a:cubicBezTo>
                        <a:pt x="823" y="452"/>
                        <a:pt x="823" y="452"/>
                        <a:pt x="823" y="452"/>
                      </a:cubicBezTo>
                      <a:cubicBezTo>
                        <a:pt x="835" y="452"/>
                        <a:pt x="835" y="452"/>
                        <a:pt x="835" y="452"/>
                      </a:cubicBezTo>
                      <a:cubicBezTo>
                        <a:pt x="851" y="452"/>
                        <a:pt x="864" y="439"/>
                        <a:pt x="864" y="423"/>
                      </a:cubicBezTo>
                      <a:cubicBezTo>
                        <a:pt x="864" y="412"/>
                        <a:pt x="864" y="412"/>
                        <a:pt x="864" y="412"/>
                      </a:cubicBezTo>
                      <a:cubicBezTo>
                        <a:pt x="864" y="412"/>
                        <a:pt x="864" y="412"/>
                        <a:pt x="864" y="412"/>
                      </a:cubicBezTo>
                      <a:cubicBezTo>
                        <a:pt x="860" y="329"/>
                        <a:pt x="833" y="252"/>
                        <a:pt x="788" y="188"/>
                      </a:cubicBezTo>
                      <a:cubicBezTo>
                        <a:pt x="788" y="188"/>
                        <a:pt x="788" y="188"/>
                        <a:pt x="788" y="188"/>
                      </a:cubicBezTo>
                      <a:cubicBezTo>
                        <a:pt x="788" y="188"/>
                        <a:pt x="788" y="188"/>
                        <a:pt x="788" y="188"/>
                      </a:cubicBezTo>
                      <a:cubicBezTo>
                        <a:pt x="786" y="184"/>
                        <a:pt x="783" y="181"/>
                        <a:pt x="781" y="178"/>
                      </a:cubicBezTo>
                      <a:cubicBezTo>
                        <a:pt x="778" y="173"/>
                        <a:pt x="778" y="173"/>
                        <a:pt x="778" y="173"/>
                      </a:cubicBezTo>
                      <a:cubicBezTo>
                        <a:pt x="769" y="161"/>
                        <a:pt x="759" y="150"/>
                        <a:pt x="749" y="139"/>
                      </a:cubicBezTo>
                      <a:cubicBezTo>
                        <a:pt x="749" y="138"/>
                        <a:pt x="748" y="138"/>
                        <a:pt x="748" y="138"/>
                      </a:cubicBezTo>
                      <a:cubicBezTo>
                        <a:pt x="739" y="128"/>
                        <a:pt x="730" y="119"/>
                        <a:pt x="721" y="111"/>
                      </a:cubicBezTo>
                      <a:cubicBezTo>
                        <a:pt x="721" y="111"/>
                        <a:pt x="721" y="111"/>
                        <a:pt x="721" y="111"/>
                      </a:cubicBezTo>
                      <a:cubicBezTo>
                        <a:pt x="718" y="108"/>
                        <a:pt x="715" y="105"/>
                        <a:pt x="711" y="103"/>
                      </a:cubicBezTo>
                      <a:cubicBezTo>
                        <a:pt x="711" y="102"/>
                        <a:pt x="711" y="102"/>
                        <a:pt x="710" y="102"/>
                      </a:cubicBezTo>
                      <a:cubicBezTo>
                        <a:pt x="707" y="99"/>
                        <a:pt x="704" y="97"/>
                        <a:pt x="701" y="94"/>
                      </a:cubicBezTo>
                      <a:cubicBezTo>
                        <a:pt x="701" y="94"/>
                        <a:pt x="701" y="94"/>
                        <a:pt x="701" y="94"/>
                      </a:cubicBezTo>
                      <a:cubicBezTo>
                        <a:pt x="694" y="89"/>
                        <a:pt x="687" y="84"/>
                        <a:pt x="681" y="79"/>
                      </a:cubicBezTo>
                      <a:cubicBezTo>
                        <a:pt x="680" y="79"/>
                        <a:pt x="680" y="79"/>
                        <a:pt x="680" y="79"/>
                      </a:cubicBezTo>
                      <a:cubicBezTo>
                        <a:pt x="677" y="76"/>
                        <a:pt x="674" y="74"/>
                        <a:pt x="671" y="72"/>
                      </a:cubicBezTo>
                      <a:cubicBezTo>
                        <a:pt x="669" y="71"/>
                        <a:pt x="668" y="71"/>
                        <a:pt x="667" y="70"/>
                      </a:cubicBezTo>
                      <a:cubicBezTo>
                        <a:pt x="665" y="68"/>
                        <a:pt x="663" y="67"/>
                        <a:pt x="660" y="65"/>
                      </a:cubicBezTo>
                      <a:cubicBezTo>
                        <a:pt x="659" y="65"/>
                        <a:pt x="659" y="65"/>
                        <a:pt x="658" y="64"/>
                      </a:cubicBezTo>
                      <a:cubicBezTo>
                        <a:pt x="651" y="60"/>
                        <a:pt x="644" y="56"/>
                        <a:pt x="637" y="52"/>
                      </a:cubicBezTo>
                      <a:cubicBezTo>
                        <a:pt x="636" y="52"/>
                        <a:pt x="636" y="51"/>
                        <a:pt x="636" y="51"/>
                      </a:cubicBezTo>
                      <a:cubicBezTo>
                        <a:pt x="633" y="50"/>
                        <a:pt x="629" y="48"/>
                        <a:pt x="626" y="46"/>
                      </a:cubicBezTo>
                      <a:cubicBezTo>
                        <a:pt x="625" y="46"/>
                        <a:pt x="624" y="45"/>
                        <a:pt x="624" y="45"/>
                      </a:cubicBezTo>
                      <a:cubicBezTo>
                        <a:pt x="621" y="44"/>
                        <a:pt x="618" y="42"/>
                        <a:pt x="615" y="41"/>
                      </a:cubicBezTo>
                      <a:cubicBezTo>
                        <a:pt x="614" y="40"/>
                        <a:pt x="613" y="40"/>
                        <a:pt x="612" y="40"/>
                      </a:cubicBezTo>
                      <a:cubicBezTo>
                        <a:pt x="609" y="38"/>
                        <a:pt x="606" y="36"/>
                        <a:pt x="602" y="35"/>
                      </a:cubicBezTo>
                      <a:cubicBezTo>
                        <a:pt x="602" y="35"/>
                        <a:pt x="602" y="35"/>
                        <a:pt x="601" y="35"/>
                      </a:cubicBezTo>
                      <a:cubicBezTo>
                        <a:pt x="597" y="33"/>
                        <a:pt x="594" y="31"/>
                        <a:pt x="590" y="30"/>
                      </a:cubicBezTo>
                      <a:cubicBezTo>
                        <a:pt x="589" y="30"/>
                        <a:pt x="589" y="30"/>
                        <a:pt x="588" y="29"/>
                      </a:cubicBezTo>
                      <a:cubicBezTo>
                        <a:pt x="585" y="28"/>
                        <a:pt x="582" y="27"/>
                        <a:pt x="578" y="26"/>
                      </a:cubicBezTo>
                      <a:cubicBezTo>
                        <a:pt x="577" y="25"/>
                        <a:pt x="576" y="25"/>
                        <a:pt x="575" y="25"/>
                      </a:cubicBezTo>
                      <a:cubicBezTo>
                        <a:pt x="572" y="24"/>
                        <a:pt x="569" y="23"/>
                        <a:pt x="567" y="22"/>
                      </a:cubicBezTo>
                      <a:cubicBezTo>
                        <a:pt x="565" y="21"/>
                        <a:pt x="564" y="21"/>
                        <a:pt x="563" y="21"/>
                      </a:cubicBezTo>
                      <a:cubicBezTo>
                        <a:pt x="560" y="20"/>
                        <a:pt x="557" y="19"/>
                        <a:pt x="554" y="18"/>
                      </a:cubicBezTo>
                      <a:cubicBezTo>
                        <a:pt x="553" y="17"/>
                        <a:pt x="552" y="17"/>
                        <a:pt x="552" y="17"/>
                      </a:cubicBezTo>
                      <a:cubicBezTo>
                        <a:pt x="548" y="16"/>
                        <a:pt x="544" y="15"/>
                        <a:pt x="540" y="14"/>
                      </a:cubicBezTo>
                      <a:cubicBezTo>
                        <a:pt x="539" y="14"/>
                        <a:pt x="538" y="13"/>
                        <a:pt x="538" y="13"/>
                      </a:cubicBezTo>
                      <a:cubicBezTo>
                        <a:pt x="535" y="12"/>
                        <a:pt x="531" y="12"/>
                        <a:pt x="528" y="11"/>
                      </a:cubicBezTo>
                      <a:cubicBezTo>
                        <a:pt x="526" y="11"/>
                        <a:pt x="525" y="10"/>
                        <a:pt x="524" y="10"/>
                      </a:cubicBezTo>
                      <a:cubicBezTo>
                        <a:pt x="521" y="9"/>
                        <a:pt x="518" y="9"/>
                        <a:pt x="516" y="8"/>
                      </a:cubicBezTo>
                      <a:cubicBezTo>
                        <a:pt x="514" y="8"/>
                        <a:pt x="513" y="8"/>
                        <a:pt x="511" y="8"/>
                      </a:cubicBezTo>
                      <a:cubicBezTo>
                        <a:pt x="509" y="7"/>
                        <a:pt x="506" y="7"/>
                        <a:pt x="503" y="6"/>
                      </a:cubicBezTo>
                      <a:cubicBezTo>
                        <a:pt x="502" y="6"/>
                        <a:pt x="500" y="6"/>
                        <a:pt x="499" y="5"/>
                      </a:cubicBezTo>
                      <a:cubicBezTo>
                        <a:pt x="495" y="5"/>
                        <a:pt x="491" y="4"/>
                        <a:pt x="487" y="4"/>
                      </a:cubicBezTo>
                      <a:cubicBezTo>
                        <a:pt x="487" y="4"/>
                        <a:pt x="486" y="4"/>
                        <a:pt x="486" y="4"/>
                      </a:cubicBezTo>
                      <a:cubicBezTo>
                        <a:pt x="482" y="3"/>
                        <a:pt x="478" y="3"/>
                        <a:pt x="475" y="2"/>
                      </a:cubicBezTo>
                      <a:cubicBezTo>
                        <a:pt x="473" y="2"/>
                        <a:pt x="472" y="2"/>
                        <a:pt x="471" y="2"/>
                      </a:cubicBezTo>
                      <a:cubicBezTo>
                        <a:pt x="468" y="2"/>
                        <a:pt x="465" y="2"/>
                        <a:pt x="462" y="1"/>
                      </a:cubicBezTo>
                      <a:cubicBezTo>
                        <a:pt x="461" y="1"/>
                        <a:pt x="459" y="1"/>
                        <a:pt x="458" y="1"/>
                      </a:cubicBezTo>
                      <a:cubicBezTo>
                        <a:pt x="456" y="1"/>
                        <a:pt x="454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  <a:cubicBezTo>
                        <a:pt x="412" y="0"/>
                        <a:pt x="412" y="0"/>
                        <a:pt x="412" y="0"/>
                      </a:cubicBezTo>
                      <a:cubicBezTo>
                        <a:pt x="412" y="1"/>
                        <a:pt x="412" y="1"/>
                        <a:pt x="412" y="1"/>
                      </a:cubicBezTo>
                      <a:cubicBezTo>
                        <a:pt x="410" y="1"/>
                        <a:pt x="409" y="1"/>
                        <a:pt x="407" y="1"/>
                      </a:cubicBezTo>
                      <a:cubicBezTo>
                        <a:pt x="405" y="1"/>
                        <a:pt x="404" y="1"/>
                        <a:pt x="402" y="1"/>
                      </a:cubicBezTo>
                      <a:cubicBezTo>
                        <a:pt x="400" y="2"/>
                        <a:pt x="397" y="2"/>
                        <a:pt x="394" y="2"/>
                      </a:cubicBezTo>
                      <a:cubicBezTo>
                        <a:pt x="393" y="2"/>
                        <a:pt x="391" y="2"/>
                        <a:pt x="390" y="2"/>
                      </a:cubicBezTo>
                      <a:cubicBezTo>
                        <a:pt x="386" y="3"/>
                        <a:pt x="383" y="3"/>
                        <a:pt x="379" y="4"/>
                      </a:cubicBezTo>
                      <a:cubicBezTo>
                        <a:pt x="378" y="4"/>
                        <a:pt x="378" y="4"/>
                        <a:pt x="378" y="4"/>
                      </a:cubicBezTo>
                      <a:cubicBezTo>
                        <a:pt x="373" y="4"/>
                        <a:pt x="369" y="5"/>
                        <a:pt x="365" y="5"/>
                      </a:cubicBezTo>
                      <a:cubicBezTo>
                        <a:pt x="364" y="6"/>
                        <a:pt x="363" y="6"/>
                        <a:pt x="362" y="6"/>
                      </a:cubicBezTo>
                      <a:cubicBezTo>
                        <a:pt x="359" y="7"/>
                        <a:pt x="356" y="7"/>
                        <a:pt x="353" y="8"/>
                      </a:cubicBezTo>
                      <a:cubicBezTo>
                        <a:pt x="352" y="8"/>
                        <a:pt x="350" y="8"/>
                        <a:pt x="349" y="8"/>
                      </a:cubicBezTo>
                      <a:cubicBezTo>
                        <a:pt x="346" y="9"/>
                        <a:pt x="343" y="9"/>
                        <a:pt x="340" y="10"/>
                      </a:cubicBezTo>
                      <a:cubicBezTo>
                        <a:pt x="339" y="10"/>
                        <a:pt x="338" y="11"/>
                        <a:pt x="337" y="11"/>
                      </a:cubicBezTo>
                      <a:cubicBezTo>
                        <a:pt x="333" y="12"/>
                        <a:pt x="330" y="12"/>
                        <a:pt x="327" y="13"/>
                      </a:cubicBezTo>
                      <a:cubicBezTo>
                        <a:pt x="326" y="13"/>
                        <a:pt x="325" y="14"/>
                        <a:pt x="325" y="14"/>
                      </a:cubicBezTo>
                      <a:cubicBezTo>
                        <a:pt x="321" y="15"/>
                        <a:pt x="317" y="16"/>
                        <a:pt x="313" y="17"/>
                      </a:cubicBezTo>
                      <a:cubicBezTo>
                        <a:pt x="312" y="17"/>
                        <a:pt x="311" y="17"/>
                        <a:pt x="311" y="18"/>
                      </a:cubicBezTo>
                      <a:cubicBezTo>
                        <a:pt x="307" y="19"/>
                        <a:pt x="304" y="20"/>
                        <a:pt x="301" y="21"/>
                      </a:cubicBezTo>
                      <a:cubicBezTo>
                        <a:pt x="300" y="21"/>
                        <a:pt x="299" y="21"/>
                        <a:pt x="298" y="22"/>
                      </a:cubicBezTo>
                      <a:cubicBezTo>
                        <a:pt x="295" y="23"/>
                        <a:pt x="292" y="24"/>
                        <a:pt x="289" y="25"/>
                      </a:cubicBezTo>
                      <a:cubicBezTo>
                        <a:pt x="288" y="25"/>
                        <a:pt x="287" y="25"/>
                        <a:pt x="286" y="26"/>
                      </a:cubicBezTo>
                      <a:cubicBezTo>
                        <a:pt x="283" y="27"/>
                        <a:pt x="280" y="28"/>
                        <a:pt x="276" y="29"/>
                      </a:cubicBezTo>
                      <a:cubicBezTo>
                        <a:pt x="276" y="30"/>
                        <a:pt x="275" y="30"/>
                        <a:pt x="275" y="30"/>
                      </a:cubicBezTo>
                      <a:cubicBezTo>
                        <a:pt x="271" y="31"/>
                        <a:pt x="267" y="33"/>
                        <a:pt x="263" y="35"/>
                      </a:cubicBezTo>
                      <a:cubicBezTo>
                        <a:pt x="263" y="35"/>
                        <a:pt x="263" y="35"/>
                        <a:pt x="262" y="35"/>
                      </a:cubicBezTo>
                      <a:cubicBezTo>
                        <a:pt x="259" y="36"/>
                        <a:pt x="256" y="38"/>
                        <a:pt x="252" y="40"/>
                      </a:cubicBezTo>
                      <a:cubicBezTo>
                        <a:pt x="251" y="40"/>
                        <a:pt x="251" y="40"/>
                        <a:pt x="250" y="41"/>
                      </a:cubicBezTo>
                      <a:cubicBezTo>
                        <a:pt x="247" y="42"/>
                        <a:pt x="243" y="44"/>
                        <a:pt x="240" y="45"/>
                      </a:cubicBezTo>
                      <a:cubicBezTo>
                        <a:pt x="240" y="46"/>
                        <a:pt x="239" y="46"/>
                        <a:pt x="238" y="46"/>
                      </a:cubicBezTo>
                      <a:cubicBezTo>
                        <a:pt x="235" y="48"/>
                        <a:pt x="232" y="50"/>
                        <a:pt x="229" y="51"/>
                      </a:cubicBezTo>
                      <a:cubicBezTo>
                        <a:pt x="228" y="51"/>
                        <a:pt x="228" y="52"/>
                        <a:pt x="228" y="52"/>
                      </a:cubicBezTo>
                      <a:cubicBezTo>
                        <a:pt x="220" y="56"/>
                        <a:pt x="213" y="60"/>
                        <a:pt x="206" y="64"/>
                      </a:cubicBezTo>
                      <a:cubicBezTo>
                        <a:pt x="206" y="65"/>
                        <a:pt x="205" y="65"/>
                        <a:pt x="205" y="65"/>
                      </a:cubicBezTo>
                      <a:cubicBezTo>
                        <a:pt x="202" y="67"/>
                        <a:pt x="200" y="68"/>
                        <a:pt x="197" y="70"/>
                      </a:cubicBezTo>
                      <a:cubicBezTo>
                        <a:pt x="196" y="70"/>
                        <a:pt x="195" y="71"/>
                        <a:pt x="194" y="72"/>
                      </a:cubicBezTo>
                      <a:cubicBezTo>
                        <a:pt x="191" y="74"/>
                        <a:pt x="188" y="76"/>
                        <a:pt x="184" y="79"/>
                      </a:cubicBezTo>
                      <a:cubicBezTo>
                        <a:pt x="184" y="79"/>
                        <a:pt x="184" y="79"/>
                        <a:pt x="184" y="79"/>
                      </a:cubicBezTo>
                      <a:cubicBezTo>
                        <a:pt x="177" y="84"/>
                        <a:pt x="170" y="89"/>
                        <a:pt x="164" y="94"/>
                      </a:cubicBezTo>
                      <a:cubicBezTo>
                        <a:pt x="163" y="94"/>
                        <a:pt x="163" y="94"/>
                        <a:pt x="163" y="94"/>
                      </a:cubicBezTo>
                      <a:cubicBezTo>
                        <a:pt x="160" y="97"/>
                        <a:pt x="157" y="99"/>
                        <a:pt x="154" y="102"/>
                      </a:cubicBezTo>
                      <a:cubicBezTo>
                        <a:pt x="154" y="102"/>
                        <a:pt x="153" y="102"/>
                        <a:pt x="153" y="103"/>
                      </a:cubicBezTo>
                      <a:cubicBezTo>
                        <a:pt x="150" y="105"/>
                        <a:pt x="147" y="108"/>
                        <a:pt x="144" y="111"/>
                      </a:cubicBezTo>
                      <a:cubicBezTo>
                        <a:pt x="144" y="111"/>
                        <a:pt x="144" y="111"/>
                        <a:pt x="144" y="111"/>
                      </a:cubicBezTo>
                      <a:cubicBezTo>
                        <a:pt x="134" y="119"/>
                        <a:pt x="125" y="128"/>
                        <a:pt x="117" y="138"/>
                      </a:cubicBezTo>
                      <a:cubicBezTo>
                        <a:pt x="116" y="138"/>
                        <a:pt x="116" y="138"/>
                        <a:pt x="116" y="139"/>
                      </a:cubicBezTo>
                      <a:cubicBezTo>
                        <a:pt x="104" y="151"/>
                        <a:pt x="94" y="164"/>
                        <a:pt x="84" y="177"/>
                      </a:cubicBezTo>
                      <a:cubicBezTo>
                        <a:pt x="83" y="178"/>
                        <a:pt x="83" y="178"/>
                        <a:pt x="83" y="178"/>
                      </a:cubicBezTo>
                      <a:cubicBezTo>
                        <a:pt x="81" y="181"/>
                        <a:pt x="79" y="184"/>
                        <a:pt x="76" y="188"/>
                      </a:cubicBezTo>
                      <a:cubicBezTo>
                        <a:pt x="76" y="188"/>
                        <a:pt x="76" y="188"/>
                        <a:pt x="76" y="188"/>
                      </a:cubicBezTo>
                      <a:cubicBezTo>
                        <a:pt x="76" y="188"/>
                        <a:pt x="76" y="188"/>
                        <a:pt x="76" y="188"/>
                      </a:cubicBezTo>
                      <a:cubicBezTo>
                        <a:pt x="32" y="252"/>
                        <a:pt x="5" y="329"/>
                        <a:pt x="1" y="412"/>
                      </a:cubicBezTo>
                      <a:cubicBezTo>
                        <a:pt x="0" y="412"/>
                        <a:pt x="0" y="412"/>
                        <a:pt x="0" y="412"/>
                      </a:cubicBezTo>
                      <a:cubicBezTo>
                        <a:pt x="0" y="423"/>
                        <a:pt x="0" y="423"/>
                        <a:pt x="0" y="423"/>
                      </a:cubicBezTo>
                      <a:cubicBezTo>
                        <a:pt x="0" y="439"/>
                        <a:pt x="13" y="452"/>
                        <a:pt x="29" y="452"/>
                      </a:cubicBezTo>
                      <a:lnTo>
                        <a:pt x="41" y="452"/>
                      </a:lnTo>
                      <a:close/>
                      <a:moveTo>
                        <a:pt x="757" y="214"/>
                      </a:moveTo>
                      <a:cubicBezTo>
                        <a:pt x="796" y="271"/>
                        <a:pt x="820" y="339"/>
                        <a:pt x="823" y="412"/>
                      </a:cubicBezTo>
                      <a:cubicBezTo>
                        <a:pt x="668" y="412"/>
                        <a:pt x="668" y="412"/>
                        <a:pt x="668" y="412"/>
                      </a:cubicBezTo>
                      <a:cubicBezTo>
                        <a:pt x="667" y="358"/>
                        <a:pt x="660" y="306"/>
                        <a:pt x="648" y="258"/>
                      </a:cubicBezTo>
                      <a:cubicBezTo>
                        <a:pt x="693" y="247"/>
                        <a:pt x="730" y="231"/>
                        <a:pt x="757" y="214"/>
                      </a:cubicBezTo>
                      <a:close/>
                      <a:moveTo>
                        <a:pt x="579" y="69"/>
                      </a:moveTo>
                      <a:cubicBezTo>
                        <a:pt x="579" y="69"/>
                        <a:pt x="579" y="69"/>
                        <a:pt x="580" y="69"/>
                      </a:cubicBezTo>
                      <a:cubicBezTo>
                        <a:pt x="582" y="70"/>
                        <a:pt x="585" y="71"/>
                        <a:pt x="588" y="73"/>
                      </a:cubicBezTo>
                      <a:cubicBezTo>
                        <a:pt x="589" y="73"/>
                        <a:pt x="589" y="73"/>
                        <a:pt x="590" y="74"/>
                      </a:cubicBezTo>
                      <a:cubicBezTo>
                        <a:pt x="592" y="75"/>
                        <a:pt x="595" y="76"/>
                        <a:pt x="597" y="77"/>
                      </a:cubicBezTo>
                      <a:cubicBezTo>
                        <a:pt x="598" y="77"/>
                        <a:pt x="599" y="78"/>
                        <a:pt x="600" y="78"/>
                      </a:cubicBezTo>
                      <a:cubicBezTo>
                        <a:pt x="602" y="79"/>
                        <a:pt x="603" y="80"/>
                        <a:pt x="605" y="80"/>
                      </a:cubicBezTo>
                      <a:cubicBezTo>
                        <a:pt x="607" y="81"/>
                        <a:pt x="608" y="82"/>
                        <a:pt x="610" y="83"/>
                      </a:cubicBezTo>
                      <a:cubicBezTo>
                        <a:pt x="611" y="83"/>
                        <a:pt x="611" y="84"/>
                        <a:pt x="612" y="84"/>
                      </a:cubicBezTo>
                      <a:cubicBezTo>
                        <a:pt x="658" y="108"/>
                        <a:pt x="700" y="141"/>
                        <a:pt x="733" y="181"/>
                      </a:cubicBezTo>
                      <a:cubicBezTo>
                        <a:pt x="710" y="196"/>
                        <a:pt x="678" y="209"/>
                        <a:pt x="638" y="220"/>
                      </a:cubicBezTo>
                      <a:cubicBezTo>
                        <a:pt x="617" y="153"/>
                        <a:pt x="587" y="97"/>
                        <a:pt x="551" y="59"/>
                      </a:cubicBezTo>
                      <a:cubicBezTo>
                        <a:pt x="560" y="62"/>
                        <a:pt x="570" y="65"/>
                        <a:pt x="579" y="69"/>
                      </a:cubicBezTo>
                      <a:close/>
                      <a:moveTo>
                        <a:pt x="452" y="43"/>
                      </a:moveTo>
                      <a:cubicBezTo>
                        <a:pt x="493" y="52"/>
                        <a:pt x="533" y="88"/>
                        <a:pt x="564" y="146"/>
                      </a:cubicBezTo>
                      <a:cubicBezTo>
                        <a:pt x="578" y="171"/>
                        <a:pt x="589" y="199"/>
                        <a:pt x="599" y="229"/>
                      </a:cubicBezTo>
                      <a:cubicBezTo>
                        <a:pt x="556" y="237"/>
                        <a:pt x="506" y="243"/>
                        <a:pt x="452" y="244"/>
                      </a:cubicBezTo>
                      <a:lnTo>
                        <a:pt x="452" y="43"/>
                      </a:lnTo>
                      <a:close/>
                      <a:moveTo>
                        <a:pt x="452" y="284"/>
                      </a:moveTo>
                      <a:cubicBezTo>
                        <a:pt x="509" y="283"/>
                        <a:pt x="562" y="277"/>
                        <a:pt x="609" y="267"/>
                      </a:cubicBezTo>
                      <a:cubicBezTo>
                        <a:pt x="620" y="312"/>
                        <a:pt x="627" y="361"/>
                        <a:pt x="628" y="412"/>
                      </a:cubicBezTo>
                      <a:cubicBezTo>
                        <a:pt x="452" y="412"/>
                        <a:pt x="452" y="412"/>
                        <a:pt x="452" y="412"/>
                      </a:cubicBezTo>
                      <a:lnTo>
                        <a:pt x="452" y="284"/>
                      </a:lnTo>
                      <a:close/>
                      <a:moveTo>
                        <a:pt x="412" y="412"/>
                      </a:moveTo>
                      <a:cubicBezTo>
                        <a:pt x="237" y="412"/>
                        <a:pt x="237" y="412"/>
                        <a:pt x="237" y="412"/>
                      </a:cubicBezTo>
                      <a:cubicBezTo>
                        <a:pt x="238" y="361"/>
                        <a:pt x="244" y="312"/>
                        <a:pt x="255" y="267"/>
                      </a:cubicBezTo>
                      <a:cubicBezTo>
                        <a:pt x="302" y="277"/>
                        <a:pt x="356" y="283"/>
                        <a:pt x="412" y="284"/>
                      </a:cubicBezTo>
                      <a:lnTo>
                        <a:pt x="412" y="412"/>
                      </a:lnTo>
                      <a:close/>
                      <a:moveTo>
                        <a:pt x="412" y="43"/>
                      </a:moveTo>
                      <a:cubicBezTo>
                        <a:pt x="412" y="244"/>
                        <a:pt x="412" y="244"/>
                        <a:pt x="412" y="244"/>
                      </a:cubicBezTo>
                      <a:cubicBezTo>
                        <a:pt x="358" y="243"/>
                        <a:pt x="309" y="237"/>
                        <a:pt x="266" y="229"/>
                      </a:cubicBezTo>
                      <a:cubicBezTo>
                        <a:pt x="275" y="199"/>
                        <a:pt x="287" y="171"/>
                        <a:pt x="300" y="146"/>
                      </a:cubicBezTo>
                      <a:cubicBezTo>
                        <a:pt x="332" y="88"/>
                        <a:pt x="372" y="52"/>
                        <a:pt x="412" y="43"/>
                      </a:cubicBezTo>
                      <a:close/>
                      <a:moveTo>
                        <a:pt x="253" y="84"/>
                      </a:moveTo>
                      <a:cubicBezTo>
                        <a:pt x="253" y="84"/>
                        <a:pt x="254" y="83"/>
                        <a:pt x="254" y="83"/>
                      </a:cubicBezTo>
                      <a:cubicBezTo>
                        <a:pt x="256" y="82"/>
                        <a:pt x="258" y="81"/>
                        <a:pt x="260" y="80"/>
                      </a:cubicBezTo>
                      <a:cubicBezTo>
                        <a:pt x="261" y="80"/>
                        <a:pt x="263" y="79"/>
                        <a:pt x="264" y="78"/>
                      </a:cubicBezTo>
                      <a:cubicBezTo>
                        <a:pt x="265" y="78"/>
                        <a:pt x="267" y="77"/>
                        <a:pt x="268" y="77"/>
                      </a:cubicBezTo>
                      <a:cubicBezTo>
                        <a:pt x="270" y="76"/>
                        <a:pt x="272" y="75"/>
                        <a:pt x="274" y="74"/>
                      </a:cubicBezTo>
                      <a:cubicBezTo>
                        <a:pt x="275" y="73"/>
                        <a:pt x="276" y="73"/>
                        <a:pt x="276" y="73"/>
                      </a:cubicBezTo>
                      <a:cubicBezTo>
                        <a:pt x="279" y="71"/>
                        <a:pt x="282" y="70"/>
                        <a:pt x="285" y="69"/>
                      </a:cubicBezTo>
                      <a:cubicBezTo>
                        <a:pt x="285" y="69"/>
                        <a:pt x="285" y="69"/>
                        <a:pt x="285" y="69"/>
                      </a:cubicBezTo>
                      <a:cubicBezTo>
                        <a:pt x="295" y="65"/>
                        <a:pt x="304" y="62"/>
                        <a:pt x="314" y="59"/>
                      </a:cubicBezTo>
                      <a:cubicBezTo>
                        <a:pt x="277" y="97"/>
                        <a:pt x="247" y="153"/>
                        <a:pt x="227" y="220"/>
                      </a:cubicBezTo>
                      <a:cubicBezTo>
                        <a:pt x="187" y="209"/>
                        <a:pt x="154" y="196"/>
                        <a:pt x="131" y="181"/>
                      </a:cubicBezTo>
                      <a:cubicBezTo>
                        <a:pt x="165" y="141"/>
                        <a:pt x="206" y="108"/>
                        <a:pt x="253" y="84"/>
                      </a:cubicBezTo>
                      <a:close/>
                      <a:moveTo>
                        <a:pt x="107" y="214"/>
                      </a:moveTo>
                      <a:cubicBezTo>
                        <a:pt x="135" y="231"/>
                        <a:pt x="172" y="247"/>
                        <a:pt x="216" y="258"/>
                      </a:cubicBezTo>
                      <a:cubicBezTo>
                        <a:pt x="205" y="306"/>
                        <a:pt x="198" y="358"/>
                        <a:pt x="197" y="412"/>
                      </a:cubicBezTo>
                      <a:cubicBezTo>
                        <a:pt x="41" y="412"/>
                        <a:pt x="41" y="412"/>
                        <a:pt x="41" y="412"/>
                      </a:cubicBezTo>
                      <a:cubicBezTo>
                        <a:pt x="45" y="339"/>
                        <a:pt x="69" y="271"/>
                        <a:pt x="107" y="214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71" name="Freeform 7">
                  <a:extLst>
                    <a:ext uri="{FF2B5EF4-FFF2-40B4-BE49-F238E27FC236}">
                      <a16:creationId xmlns:a16="http://schemas.microsoft.com/office/drawing/2014/main" xmlns="" id="{F95118E3-2584-499B-9C4E-3324F810E7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38438" y="2674938"/>
                  <a:ext cx="77788" cy="77788"/>
                </a:xfrm>
                <a:custGeom>
                  <a:avLst/>
                  <a:gdLst>
                    <a:gd name="T0" fmla="*/ 76 w 105"/>
                    <a:gd name="T1" fmla="*/ 105 h 105"/>
                    <a:gd name="T2" fmla="*/ 29 w 105"/>
                    <a:gd name="T3" fmla="*/ 105 h 105"/>
                    <a:gd name="T4" fmla="*/ 0 w 105"/>
                    <a:gd name="T5" fmla="*/ 76 h 105"/>
                    <a:gd name="T6" fmla="*/ 0 w 105"/>
                    <a:gd name="T7" fmla="*/ 29 h 105"/>
                    <a:gd name="T8" fmla="*/ 29 w 105"/>
                    <a:gd name="T9" fmla="*/ 0 h 105"/>
                    <a:gd name="T10" fmla="*/ 76 w 105"/>
                    <a:gd name="T11" fmla="*/ 0 h 105"/>
                    <a:gd name="T12" fmla="*/ 105 w 105"/>
                    <a:gd name="T13" fmla="*/ 29 h 105"/>
                    <a:gd name="T14" fmla="*/ 105 w 105"/>
                    <a:gd name="T15" fmla="*/ 76 h 105"/>
                    <a:gd name="T16" fmla="*/ 76 w 105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5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5" y="13"/>
                        <a:pt x="105" y="29"/>
                      </a:cubicBezTo>
                      <a:cubicBezTo>
                        <a:pt x="105" y="76"/>
                        <a:pt x="105" y="76"/>
                        <a:pt x="105" y="76"/>
                      </a:cubicBezTo>
                      <a:cubicBezTo>
                        <a:pt x="105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72" name="Freeform 8">
                  <a:extLst>
                    <a:ext uri="{FF2B5EF4-FFF2-40B4-BE49-F238E27FC236}">
                      <a16:creationId xmlns:a16="http://schemas.microsoft.com/office/drawing/2014/main" xmlns="" id="{23E09E73-4FCF-4055-8919-DF0FBF577E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638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8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8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8" y="105"/>
                        <a:pt x="28" y="105"/>
                        <a:pt x="28" y="105"/>
                      </a:cubicBezTo>
                      <a:cubicBezTo>
                        <a:pt x="12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73" name="Freeform 9">
                  <a:extLst>
                    <a:ext uri="{FF2B5EF4-FFF2-40B4-BE49-F238E27FC236}">
                      <a16:creationId xmlns:a16="http://schemas.microsoft.com/office/drawing/2014/main" xmlns="" id="{101A5DCA-741C-4CA4-8C65-03FC970D24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433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74" name="Freeform 10">
                  <a:extLst>
                    <a:ext uri="{FF2B5EF4-FFF2-40B4-BE49-F238E27FC236}">
                      <a16:creationId xmlns:a16="http://schemas.microsoft.com/office/drawing/2014/main" xmlns="" id="{356B938C-066A-44CF-A504-ED81260993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62288" y="2674938"/>
                  <a:ext cx="77788" cy="77788"/>
                </a:xfrm>
                <a:custGeom>
                  <a:avLst/>
                  <a:gdLst>
                    <a:gd name="T0" fmla="*/ 75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5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5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5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91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1" y="105"/>
                        <a:pt x="75" y="105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75" name="Freeform 11">
                  <a:extLst>
                    <a:ext uri="{FF2B5EF4-FFF2-40B4-BE49-F238E27FC236}">
                      <a16:creationId xmlns:a16="http://schemas.microsoft.com/office/drawing/2014/main" xmlns="" id="{8D344B2F-8029-4DCF-A6CD-44520CA144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0238" y="2674938"/>
                  <a:ext cx="77788" cy="77788"/>
                </a:xfrm>
                <a:custGeom>
                  <a:avLst/>
                  <a:gdLst>
                    <a:gd name="T0" fmla="*/ 76 w 104"/>
                    <a:gd name="T1" fmla="*/ 105 h 105"/>
                    <a:gd name="T2" fmla="*/ 29 w 104"/>
                    <a:gd name="T3" fmla="*/ 105 h 105"/>
                    <a:gd name="T4" fmla="*/ 0 w 104"/>
                    <a:gd name="T5" fmla="*/ 76 h 105"/>
                    <a:gd name="T6" fmla="*/ 0 w 104"/>
                    <a:gd name="T7" fmla="*/ 29 h 105"/>
                    <a:gd name="T8" fmla="*/ 29 w 104"/>
                    <a:gd name="T9" fmla="*/ 0 h 105"/>
                    <a:gd name="T10" fmla="*/ 76 w 104"/>
                    <a:gd name="T11" fmla="*/ 0 h 105"/>
                    <a:gd name="T12" fmla="*/ 104 w 104"/>
                    <a:gd name="T13" fmla="*/ 29 h 105"/>
                    <a:gd name="T14" fmla="*/ 104 w 104"/>
                    <a:gd name="T15" fmla="*/ 76 h 105"/>
                    <a:gd name="T16" fmla="*/ 76 w 104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4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4" y="13"/>
                        <a:pt x="104" y="29"/>
                      </a:cubicBezTo>
                      <a:cubicBezTo>
                        <a:pt x="104" y="76"/>
                        <a:pt x="104" y="76"/>
                        <a:pt x="104" y="76"/>
                      </a:cubicBezTo>
                      <a:cubicBezTo>
                        <a:pt x="104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76" name="Freeform 12">
                  <a:extLst>
                    <a:ext uri="{FF2B5EF4-FFF2-40B4-BE49-F238E27FC236}">
                      <a16:creationId xmlns:a16="http://schemas.microsoft.com/office/drawing/2014/main" xmlns="" id="{C4B8CFE0-4F19-4F46-8E31-081DF6A5E3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8188" y="2674938"/>
                  <a:ext cx="77788" cy="77788"/>
                </a:xfrm>
                <a:custGeom>
                  <a:avLst/>
                  <a:gdLst>
                    <a:gd name="T0" fmla="*/ 76 w 105"/>
                    <a:gd name="T1" fmla="*/ 105 h 105"/>
                    <a:gd name="T2" fmla="*/ 29 w 105"/>
                    <a:gd name="T3" fmla="*/ 105 h 105"/>
                    <a:gd name="T4" fmla="*/ 0 w 105"/>
                    <a:gd name="T5" fmla="*/ 76 h 105"/>
                    <a:gd name="T6" fmla="*/ 0 w 105"/>
                    <a:gd name="T7" fmla="*/ 29 h 105"/>
                    <a:gd name="T8" fmla="*/ 29 w 105"/>
                    <a:gd name="T9" fmla="*/ 0 h 105"/>
                    <a:gd name="T10" fmla="*/ 76 w 105"/>
                    <a:gd name="T11" fmla="*/ 0 h 105"/>
                    <a:gd name="T12" fmla="*/ 105 w 105"/>
                    <a:gd name="T13" fmla="*/ 29 h 105"/>
                    <a:gd name="T14" fmla="*/ 105 w 105"/>
                    <a:gd name="T15" fmla="*/ 76 h 105"/>
                    <a:gd name="T16" fmla="*/ 76 w 105"/>
                    <a:gd name="T17" fmla="*/ 105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5" h="105">
                      <a:moveTo>
                        <a:pt x="76" y="105"/>
                      </a:moveTo>
                      <a:cubicBezTo>
                        <a:pt x="29" y="105"/>
                        <a:pt x="29" y="105"/>
                        <a:pt x="29" y="105"/>
                      </a:cubicBezTo>
                      <a:cubicBezTo>
                        <a:pt x="13" y="105"/>
                        <a:pt x="0" y="92"/>
                        <a:pt x="0" y="76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76" y="0"/>
                        <a:pt x="76" y="0"/>
                        <a:pt x="76" y="0"/>
                      </a:cubicBezTo>
                      <a:cubicBezTo>
                        <a:pt x="92" y="0"/>
                        <a:pt x="105" y="13"/>
                        <a:pt x="105" y="29"/>
                      </a:cubicBezTo>
                      <a:cubicBezTo>
                        <a:pt x="105" y="76"/>
                        <a:pt x="105" y="76"/>
                        <a:pt x="105" y="76"/>
                      </a:cubicBezTo>
                      <a:cubicBezTo>
                        <a:pt x="105" y="92"/>
                        <a:pt x="92" y="105"/>
                        <a:pt x="76" y="105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277" name="Freeform 13">
                  <a:extLst>
                    <a:ext uri="{FF2B5EF4-FFF2-40B4-BE49-F238E27FC236}">
                      <a16:creationId xmlns:a16="http://schemas.microsoft.com/office/drawing/2014/main" xmlns="" id="{62A6BA83-BC9E-4C87-B04B-8AB735CD4A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89238" y="2776538"/>
                  <a:ext cx="65088" cy="65088"/>
                </a:xfrm>
                <a:custGeom>
                  <a:avLst/>
                  <a:gdLst>
                    <a:gd name="T0" fmla="*/ 58 w 87"/>
                    <a:gd name="T1" fmla="*/ 87 h 87"/>
                    <a:gd name="T2" fmla="*/ 28 w 87"/>
                    <a:gd name="T3" fmla="*/ 87 h 87"/>
                    <a:gd name="T4" fmla="*/ 0 w 87"/>
                    <a:gd name="T5" fmla="*/ 58 h 87"/>
                    <a:gd name="T6" fmla="*/ 0 w 87"/>
                    <a:gd name="T7" fmla="*/ 29 h 87"/>
                    <a:gd name="T8" fmla="*/ 28 w 87"/>
                    <a:gd name="T9" fmla="*/ 0 h 87"/>
                    <a:gd name="T10" fmla="*/ 58 w 87"/>
                    <a:gd name="T11" fmla="*/ 0 h 87"/>
                    <a:gd name="T12" fmla="*/ 87 w 87"/>
                    <a:gd name="T13" fmla="*/ 29 h 87"/>
                    <a:gd name="T14" fmla="*/ 87 w 87"/>
                    <a:gd name="T15" fmla="*/ 58 h 87"/>
                    <a:gd name="T16" fmla="*/ 58 w 87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7" h="87">
                      <a:moveTo>
                        <a:pt x="58" y="87"/>
                      </a:moveTo>
                      <a:cubicBezTo>
                        <a:pt x="28" y="87"/>
                        <a:pt x="28" y="87"/>
                        <a:pt x="28" y="87"/>
                      </a:cubicBezTo>
                      <a:cubicBezTo>
                        <a:pt x="12" y="87"/>
                        <a:pt x="0" y="74"/>
                        <a:pt x="0" y="58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58" y="0"/>
                        <a:pt x="58" y="0"/>
                        <a:pt x="58" y="0"/>
                      </a:cubicBezTo>
                      <a:cubicBezTo>
                        <a:pt x="74" y="0"/>
                        <a:pt x="87" y="13"/>
                        <a:pt x="87" y="29"/>
                      </a:cubicBezTo>
                      <a:cubicBezTo>
                        <a:pt x="87" y="58"/>
                        <a:pt x="87" y="58"/>
                        <a:pt x="87" y="58"/>
                      </a:cubicBezTo>
                      <a:cubicBezTo>
                        <a:pt x="87" y="74"/>
                        <a:pt x="74" y="87"/>
                        <a:pt x="58" y="8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361" name="Freeform 14">
                  <a:extLst>
                    <a:ext uri="{FF2B5EF4-FFF2-40B4-BE49-F238E27FC236}">
                      <a16:creationId xmlns:a16="http://schemas.microsoft.com/office/drawing/2014/main" xmlns="" id="{DA84508E-F07F-40E1-BA8D-831073114E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01950" y="2776538"/>
                  <a:ext cx="65088" cy="65088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9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9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9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362" name="Freeform 15">
                  <a:extLst>
                    <a:ext uri="{FF2B5EF4-FFF2-40B4-BE49-F238E27FC236}">
                      <a16:creationId xmlns:a16="http://schemas.microsoft.com/office/drawing/2014/main" xmlns="" id="{B92C3BF0-1EF0-41EE-A98A-5CEDBBDFFF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4663" y="2778125"/>
                  <a:ext cx="65088" cy="63500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8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8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8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365" name="Freeform 16">
                  <a:extLst>
                    <a:ext uri="{FF2B5EF4-FFF2-40B4-BE49-F238E27FC236}">
                      <a16:creationId xmlns:a16="http://schemas.microsoft.com/office/drawing/2014/main" xmlns="" id="{C1E1D554-1576-4EDD-83FD-15742E5283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27375" y="2778125"/>
                  <a:ext cx="65088" cy="63500"/>
                </a:xfrm>
                <a:custGeom>
                  <a:avLst/>
                  <a:gdLst>
                    <a:gd name="T0" fmla="*/ 59 w 88"/>
                    <a:gd name="T1" fmla="*/ 87 h 87"/>
                    <a:gd name="T2" fmla="*/ 29 w 88"/>
                    <a:gd name="T3" fmla="*/ 87 h 87"/>
                    <a:gd name="T4" fmla="*/ 0 w 88"/>
                    <a:gd name="T5" fmla="*/ 58 h 87"/>
                    <a:gd name="T6" fmla="*/ 0 w 88"/>
                    <a:gd name="T7" fmla="*/ 28 h 87"/>
                    <a:gd name="T8" fmla="*/ 29 w 88"/>
                    <a:gd name="T9" fmla="*/ 0 h 87"/>
                    <a:gd name="T10" fmla="*/ 59 w 88"/>
                    <a:gd name="T11" fmla="*/ 0 h 87"/>
                    <a:gd name="T12" fmla="*/ 88 w 88"/>
                    <a:gd name="T13" fmla="*/ 28 h 87"/>
                    <a:gd name="T14" fmla="*/ 88 w 88"/>
                    <a:gd name="T15" fmla="*/ 58 h 87"/>
                    <a:gd name="T16" fmla="*/ 59 w 88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8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8" y="13"/>
                        <a:pt x="88" y="28"/>
                      </a:cubicBezTo>
                      <a:cubicBezTo>
                        <a:pt x="88" y="58"/>
                        <a:pt x="88" y="58"/>
                        <a:pt x="88" y="58"/>
                      </a:cubicBezTo>
                      <a:cubicBezTo>
                        <a:pt x="88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366" name="Freeform 17">
                  <a:extLst>
                    <a:ext uri="{FF2B5EF4-FFF2-40B4-BE49-F238E27FC236}">
                      <a16:creationId xmlns:a16="http://schemas.microsoft.com/office/drawing/2014/main" xmlns="" id="{D200CF18-B078-4D61-913B-260B984FF8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40088" y="2778125"/>
                  <a:ext cx="65088" cy="63500"/>
                </a:xfrm>
                <a:custGeom>
                  <a:avLst/>
                  <a:gdLst>
                    <a:gd name="T0" fmla="*/ 59 w 87"/>
                    <a:gd name="T1" fmla="*/ 87 h 87"/>
                    <a:gd name="T2" fmla="*/ 29 w 87"/>
                    <a:gd name="T3" fmla="*/ 87 h 87"/>
                    <a:gd name="T4" fmla="*/ 0 w 87"/>
                    <a:gd name="T5" fmla="*/ 58 h 87"/>
                    <a:gd name="T6" fmla="*/ 0 w 87"/>
                    <a:gd name="T7" fmla="*/ 28 h 87"/>
                    <a:gd name="T8" fmla="*/ 29 w 87"/>
                    <a:gd name="T9" fmla="*/ 0 h 87"/>
                    <a:gd name="T10" fmla="*/ 59 w 87"/>
                    <a:gd name="T11" fmla="*/ 0 h 87"/>
                    <a:gd name="T12" fmla="*/ 87 w 87"/>
                    <a:gd name="T13" fmla="*/ 28 h 87"/>
                    <a:gd name="T14" fmla="*/ 87 w 87"/>
                    <a:gd name="T15" fmla="*/ 58 h 87"/>
                    <a:gd name="T16" fmla="*/ 59 w 87"/>
                    <a:gd name="T17" fmla="*/ 87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7" h="87">
                      <a:moveTo>
                        <a:pt x="59" y="87"/>
                      </a:moveTo>
                      <a:cubicBezTo>
                        <a:pt x="29" y="87"/>
                        <a:pt x="29" y="87"/>
                        <a:pt x="29" y="87"/>
                      </a:cubicBezTo>
                      <a:cubicBezTo>
                        <a:pt x="13" y="87"/>
                        <a:pt x="0" y="74"/>
                        <a:pt x="0" y="58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75" y="0"/>
                        <a:pt x="87" y="13"/>
                        <a:pt x="87" y="28"/>
                      </a:cubicBezTo>
                      <a:cubicBezTo>
                        <a:pt x="87" y="58"/>
                        <a:pt x="87" y="58"/>
                        <a:pt x="87" y="58"/>
                      </a:cubicBezTo>
                      <a:cubicBezTo>
                        <a:pt x="87" y="74"/>
                        <a:pt x="75" y="87"/>
                        <a:pt x="59" y="8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368" name="Freeform 18">
                  <a:extLst>
                    <a:ext uri="{FF2B5EF4-FFF2-40B4-BE49-F238E27FC236}">
                      <a16:creationId xmlns:a16="http://schemas.microsoft.com/office/drawing/2014/main" xmlns="" id="{22DCEA91-244B-45C1-958A-B5850DD6C6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1625" y="2862263"/>
                  <a:ext cx="50800" cy="52388"/>
                </a:xfrm>
                <a:custGeom>
                  <a:avLst/>
                  <a:gdLst>
                    <a:gd name="T0" fmla="*/ 41 w 70"/>
                    <a:gd name="T1" fmla="*/ 70 h 70"/>
                    <a:gd name="T2" fmla="*/ 28 w 70"/>
                    <a:gd name="T3" fmla="*/ 70 h 70"/>
                    <a:gd name="T4" fmla="*/ 0 w 70"/>
                    <a:gd name="T5" fmla="*/ 41 h 70"/>
                    <a:gd name="T6" fmla="*/ 0 w 70"/>
                    <a:gd name="T7" fmla="*/ 29 h 70"/>
                    <a:gd name="T8" fmla="*/ 28 w 70"/>
                    <a:gd name="T9" fmla="*/ 0 h 70"/>
                    <a:gd name="T10" fmla="*/ 41 w 70"/>
                    <a:gd name="T11" fmla="*/ 0 h 70"/>
                    <a:gd name="T12" fmla="*/ 70 w 70"/>
                    <a:gd name="T13" fmla="*/ 29 h 70"/>
                    <a:gd name="T14" fmla="*/ 70 w 70"/>
                    <a:gd name="T15" fmla="*/ 41 h 70"/>
                    <a:gd name="T16" fmla="*/ 41 w 70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0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7" y="0"/>
                        <a:pt x="70" y="13"/>
                        <a:pt x="70" y="29"/>
                      </a:cubicBezTo>
                      <a:cubicBezTo>
                        <a:pt x="70" y="41"/>
                        <a:pt x="70" y="41"/>
                        <a:pt x="70" y="41"/>
                      </a:cubicBezTo>
                      <a:cubicBezTo>
                        <a:pt x="70" y="57"/>
                        <a:pt x="57" y="70"/>
                        <a:pt x="41" y="7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369" name="Freeform 19">
                  <a:extLst>
                    <a:ext uri="{FF2B5EF4-FFF2-40B4-BE49-F238E27FC236}">
                      <a16:creationId xmlns:a16="http://schemas.microsoft.com/office/drawing/2014/main" xmlns="" id="{453596DB-1BD9-4CD9-9699-255A15CD45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2275" y="2862263"/>
                  <a:ext cx="50800" cy="52388"/>
                </a:xfrm>
                <a:custGeom>
                  <a:avLst/>
                  <a:gdLst>
                    <a:gd name="T0" fmla="*/ 41 w 69"/>
                    <a:gd name="T1" fmla="*/ 70 h 70"/>
                    <a:gd name="T2" fmla="*/ 28 w 69"/>
                    <a:gd name="T3" fmla="*/ 70 h 70"/>
                    <a:gd name="T4" fmla="*/ 0 w 69"/>
                    <a:gd name="T5" fmla="*/ 41 h 70"/>
                    <a:gd name="T6" fmla="*/ 0 w 69"/>
                    <a:gd name="T7" fmla="*/ 29 h 70"/>
                    <a:gd name="T8" fmla="*/ 28 w 69"/>
                    <a:gd name="T9" fmla="*/ 0 h 70"/>
                    <a:gd name="T10" fmla="*/ 41 w 69"/>
                    <a:gd name="T11" fmla="*/ 0 h 70"/>
                    <a:gd name="T12" fmla="*/ 69 w 69"/>
                    <a:gd name="T13" fmla="*/ 29 h 70"/>
                    <a:gd name="T14" fmla="*/ 69 w 69"/>
                    <a:gd name="T15" fmla="*/ 41 h 70"/>
                    <a:gd name="T16" fmla="*/ 41 w 69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7" y="0"/>
                        <a:pt x="69" y="13"/>
                        <a:pt x="69" y="29"/>
                      </a:cubicBezTo>
                      <a:cubicBezTo>
                        <a:pt x="69" y="41"/>
                        <a:pt x="69" y="41"/>
                        <a:pt x="69" y="41"/>
                      </a:cubicBezTo>
                      <a:cubicBezTo>
                        <a:pt x="69" y="57"/>
                        <a:pt x="57" y="70"/>
                        <a:pt x="41" y="70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370" name="Freeform 20">
                  <a:extLst>
                    <a:ext uri="{FF2B5EF4-FFF2-40B4-BE49-F238E27FC236}">
                      <a16:creationId xmlns:a16="http://schemas.microsoft.com/office/drawing/2014/main" xmlns="" id="{9185536E-A758-4C29-8F5A-768404EB87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81338" y="2863850"/>
                  <a:ext cx="52388" cy="50800"/>
                </a:xfrm>
                <a:custGeom>
                  <a:avLst/>
                  <a:gdLst>
                    <a:gd name="T0" fmla="*/ 41 w 69"/>
                    <a:gd name="T1" fmla="*/ 70 h 70"/>
                    <a:gd name="T2" fmla="*/ 28 w 69"/>
                    <a:gd name="T3" fmla="*/ 70 h 70"/>
                    <a:gd name="T4" fmla="*/ 0 w 69"/>
                    <a:gd name="T5" fmla="*/ 41 h 70"/>
                    <a:gd name="T6" fmla="*/ 0 w 69"/>
                    <a:gd name="T7" fmla="*/ 29 h 70"/>
                    <a:gd name="T8" fmla="*/ 28 w 69"/>
                    <a:gd name="T9" fmla="*/ 0 h 70"/>
                    <a:gd name="T10" fmla="*/ 41 w 69"/>
                    <a:gd name="T11" fmla="*/ 0 h 70"/>
                    <a:gd name="T12" fmla="*/ 69 w 69"/>
                    <a:gd name="T13" fmla="*/ 29 h 70"/>
                    <a:gd name="T14" fmla="*/ 69 w 69"/>
                    <a:gd name="T15" fmla="*/ 41 h 70"/>
                    <a:gd name="T16" fmla="*/ 41 w 69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70">
                      <a:moveTo>
                        <a:pt x="41" y="70"/>
                      </a:moveTo>
                      <a:cubicBezTo>
                        <a:pt x="28" y="70"/>
                        <a:pt x="28" y="70"/>
                        <a:pt x="28" y="70"/>
                      </a:cubicBezTo>
                      <a:cubicBezTo>
                        <a:pt x="12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2" y="0"/>
                        <a:pt x="28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56" y="0"/>
                        <a:pt x="69" y="13"/>
                        <a:pt x="69" y="29"/>
                      </a:cubicBezTo>
                      <a:cubicBezTo>
                        <a:pt x="69" y="41"/>
                        <a:pt x="69" y="41"/>
                        <a:pt x="69" y="41"/>
                      </a:cubicBezTo>
                      <a:cubicBezTo>
                        <a:pt x="69" y="57"/>
                        <a:pt x="56" y="70"/>
                        <a:pt x="41" y="7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  <p:sp>
              <p:nvSpPr>
                <p:cNvPr id="1373" name="Freeform 21">
                  <a:extLst>
                    <a:ext uri="{FF2B5EF4-FFF2-40B4-BE49-F238E27FC236}">
                      <a16:creationId xmlns:a16="http://schemas.microsoft.com/office/drawing/2014/main" xmlns="" id="{A51C2195-A78B-4380-8C87-E5895F6FED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01988" y="2863850"/>
                  <a:ext cx="50800" cy="50800"/>
                </a:xfrm>
                <a:custGeom>
                  <a:avLst/>
                  <a:gdLst>
                    <a:gd name="T0" fmla="*/ 42 w 70"/>
                    <a:gd name="T1" fmla="*/ 70 h 70"/>
                    <a:gd name="T2" fmla="*/ 29 w 70"/>
                    <a:gd name="T3" fmla="*/ 70 h 70"/>
                    <a:gd name="T4" fmla="*/ 0 w 70"/>
                    <a:gd name="T5" fmla="*/ 41 h 70"/>
                    <a:gd name="T6" fmla="*/ 0 w 70"/>
                    <a:gd name="T7" fmla="*/ 29 h 70"/>
                    <a:gd name="T8" fmla="*/ 29 w 70"/>
                    <a:gd name="T9" fmla="*/ 0 h 70"/>
                    <a:gd name="T10" fmla="*/ 42 w 70"/>
                    <a:gd name="T11" fmla="*/ 0 h 70"/>
                    <a:gd name="T12" fmla="*/ 70 w 70"/>
                    <a:gd name="T13" fmla="*/ 29 h 70"/>
                    <a:gd name="T14" fmla="*/ 70 w 70"/>
                    <a:gd name="T15" fmla="*/ 41 h 70"/>
                    <a:gd name="T16" fmla="*/ 42 w 70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0" h="70">
                      <a:moveTo>
                        <a:pt x="42" y="70"/>
                      </a:moveTo>
                      <a:cubicBezTo>
                        <a:pt x="29" y="70"/>
                        <a:pt x="29" y="70"/>
                        <a:pt x="29" y="70"/>
                      </a:cubicBezTo>
                      <a:cubicBezTo>
                        <a:pt x="13" y="70"/>
                        <a:pt x="0" y="57"/>
                        <a:pt x="0" y="41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57" y="0"/>
                        <a:pt x="70" y="13"/>
                        <a:pt x="70" y="29"/>
                      </a:cubicBezTo>
                      <a:cubicBezTo>
                        <a:pt x="70" y="41"/>
                        <a:pt x="70" y="41"/>
                        <a:pt x="70" y="41"/>
                      </a:cubicBezTo>
                      <a:cubicBezTo>
                        <a:pt x="70" y="57"/>
                        <a:pt x="57" y="70"/>
                        <a:pt x="42" y="70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 ExtraLight" charset="0"/>
                    <a:ea typeface="CiscoSans ExtraLight" charset="0"/>
                    <a:cs typeface="CiscoSans ExtraLight" charset="0"/>
                  </a:endParaRPr>
                </a:p>
              </p:txBody>
            </p:sp>
          </p:grpSp>
        </p:grpSp>
      </p:grpSp>
      <p:sp>
        <p:nvSpPr>
          <p:cNvPr id="1374" name="TextBox 1373">
            <a:extLst>
              <a:ext uri="{FF2B5EF4-FFF2-40B4-BE49-F238E27FC236}">
                <a16:creationId xmlns:a16="http://schemas.microsoft.com/office/drawing/2014/main" xmlns="" id="{0B409806-D7AF-489F-A044-9A0622D06486}"/>
              </a:ext>
            </a:extLst>
          </p:cNvPr>
          <p:cNvSpPr txBox="1"/>
          <p:nvPr/>
        </p:nvSpPr>
        <p:spPr>
          <a:xfrm>
            <a:off x="470129" y="437529"/>
            <a:ext cx="485546" cy="2631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200" dirty="0">
                <a:solidFill>
                  <a:schemeClr val="bg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01</a:t>
            </a:r>
          </a:p>
        </p:txBody>
      </p:sp>
      <p:grpSp>
        <p:nvGrpSpPr>
          <p:cNvPr id="1375" name="Group 1374">
            <a:extLst>
              <a:ext uri="{FF2B5EF4-FFF2-40B4-BE49-F238E27FC236}">
                <a16:creationId xmlns:a16="http://schemas.microsoft.com/office/drawing/2014/main" xmlns="" id="{55EB1DD6-7C97-4B06-B8AC-51BB1B6247DD}"/>
              </a:ext>
            </a:extLst>
          </p:cNvPr>
          <p:cNvGrpSpPr/>
          <p:nvPr/>
        </p:nvGrpSpPr>
        <p:grpSpPr>
          <a:xfrm>
            <a:off x="485585" y="710972"/>
            <a:ext cx="457390" cy="457390"/>
            <a:chOff x="485585" y="485585"/>
            <a:chExt cx="457390" cy="457390"/>
          </a:xfrm>
        </p:grpSpPr>
        <p:sp>
          <p:nvSpPr>
            <p:cNvPr id="1376" name="Oval 1375">
              <a:extLst>
                <a:ext uri="{FF2B5EF4-FFF2-40B4-BE49-F238E27FC236}">
                  <a16:creationId xmlns:a16="http://schemas.microsoft.com/office/drawing/2014/main" xmlns="" id="{F1F797F5-DAE5-4527-8CB9-01E7DAD7B993}"/>
                </a:ext>
              </a:extLst>
            </p:cNvPr>
            <p:cNvSpPr/>
            <p:nvPr/>
          </p:nvSpPr>
          <p:spPr>
            <a:xfrm>
              <a:off x="485585" y="485585"/>
              <a:ext cx="457390" cy="45739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1377" name="Group 1376">
              <a:extLst>
                <a:ext uri="{FF2B5EF4-FFF2-40B4-BE49-F238E27FC236}">
                  <a16:creationId xmlns:a16="http://schemas.microsoft.com/office/drawing/2014/main" xmlns="" id="{3FE244F8-0123-48B0-B594-7084E6E0630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49267" y="560453"/>
              <a:ext cx="318407" cy="318194"/>
              <a:chOff x="2439988" y="-1801813"/>
              <a:chExt cx="2363788" cy="2362200"/>
            </a:xfrm>
          </p:grpSpPr>
          <p:sp>
            <p:nvSpPr>
              <p:cNvPr id="1378" name="Oval 36">
                <a:extLst>
                  <a:ext uri="{FF2B5EF4-FFF2-40B4-BE49-F238E27FC236}">
                    <a16:creationId xmlns:a16="http://schemas.microsoft.com/office/drawing/2014/main" xmlns="" id="{C07E0534-B5A1-48F2-9BE5-68995A588A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39988" y="-1801813"/>
                <a:ext cx="2363788" cy="2362200"/>
              </a:xfrm>
              <a:prstGeom prst="ellipse">
                <a:avLst/>
              </a:prstGeom>
              <a:solidFill>
                <a:srgbClr val="00BC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79" name="Freeform 35">
                <a:extLst>
                  <a:ext uri="{FF2B5EF4-FFF2-40B4-BE49-F238E27FC236}">
                    <a16:creationId xmlns:a16="http://schemas.microsoft.com/office/drawing/2014/main" xmlns="" id="{2375AF57-A5A5-49D6-B788-064B1C20ED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4138" y="-979488"/>
                <a:ext cx="2163763" cy="1539875"/>
              </a:xfrm>
              <a:custGeom>
                <a:avLst/>
                <a:gdLst>
                  <a:gd name="T0" fmla="*/ 574 w 574"/>
                  <a:gd name="T1" fmla="*/ 141 h 409"/>
                  <a:gd name="T2" fmla="*/ 527 w 574"/>
                  <a:gd name="T3" fmla="*/ 94 h 409"/>
                  <a:gd name="T4" fmla="*/ 507 w 574"/>
                  <a:gd name="T5" fmla="*/ 66 h 409"/>
                  <a:gd name="T6" fmla="*/ 505 w 574"/>
                  <a:gd name="T7" fmla="*/ 63 h 409"/>
                  <a:gd name="T8" fmla="*/ 501 w 574"/>
                  <a:gd name="T9" fmla="*/ 61 h 409"/>
                  <a:gd name="T10" fmla="*/ 499 w 574"/>
                  <a:gd name="T11" fmla="*/ 59 h 409"/>
                  <a:gd name="T12" fmla="*/ 494 w 574"/>
                  <a:gd name="T13" fmla="*/ 57 h 409"/>
                  <a:gd name="T14" fmla="*/ 493 w 574"/>
                  <a:gd name="T15" fmla="*/ 56 h 409"/>
                  <a:gd name="T16" fmla="*/ 487 w 574"/>
                  <a:gd name="T17" fmla="*/ 54 h 409"/>
                  <a:gd name="T18" fmla="*/ 485 w 574"/>
                  <a:gd name="T19" fmla="*/ 53 h 409"/>
                  <a:gd name="T20" fmla="*/ 482 w 574"/>
                  <a:gd name="T21" fmla="*/ 49 h 409"/>
                  <a:gd name="T22" fmla="*/ 479 w 574"/>
                  <a:gd name="T23" fmla="*/ 45 h 409"/>
                  <a:gd name="T24" fmla="*/ 479 w 574"/>
                  <a:gd name="T25" fmla="*/ 45 h 409"/>
                  <a:gd name="T26" fmla="*/ 475 w 574"/>
                  <a:gd name="T27" fmla="*/ 41 h 409"/>
                  <a:gd name="T28" fmla="*/ 475 w 574"/>
                  <a:gd name="T29" fmla="*/ 41 h 409"/>
                  <a:gd name="T30" fmla="*/ 471 w 574"/>
                  <a:gd name="T31" fmla="*/ 37 h 409"/>
                  <a:gd name="T32" fmla="*/ 471 w 574"/>
                  <a:gd name="T33" fmla="*/ 37 h 409"/>
                  <a:gd name="T34" fmla="*/ 466 w 574"/>
                  <a:gd name="T35" fmla="*/ 33 h 409"/>
                  <a:gd name="T36" fmla="*/ 399 w 574"/>
                  <a:gd name="T37" fmla="*/ 10 h 409"/>
                  <a:gd name="T38" fmla="*/ 327 w 574"/>
                  <a:gd name="T39" fmla="*/ 38 h 409"/>
                  <a:gd name="T40" fmla="*/ 265 w 574"/>
                  <a:gd name="T41" fmla="*/ 0 h 409"/>
                  <a:gd name="T42" fmla="*/ 256 w 574"/>
                  <a:gd name="T43" fmla="*/ 1 h 409"/>
                  <a:gd name="T44" fmla="*/ 253 w 574"/>
                  <a:gd name="T45" fmla="*/ 1 h 409"/>
                  <a:gd name="T46" fmla="*/ 251 w 574"/>
                  <a:gd name="T47" fmla="*/ 1 h 409"/>
                  <a:gd name="T48" fmla="*/ 249 w 574"/>
                  <a:gd name="T49" fmla="*/ 2 h 409"/>
                  <a:gd name="T50" fmla="*/ 247 w 574"/>
                  <a:gd name="T51" fmla="*/ 3 h 409"/>
                  <a:gd name="T52" fmla="*/ 244 w 574"/>
                  <a:gd name="T53" fmla="*/ 3 h 409"/>
                  <a:gd name="T54" fmla="*/ 242 w 574"/>
                  <a:gd name="T55" fmla="*/ 4 h 409"/>
                  <a:gd name="T56" fmla="*/ 240 w 574"/>
                  <a:gd name="T57" fmla="*/ 5 h 409"/>
                  <a:gd name="T58" fmla="*/ 238 w 574"/>
                  <a:gd name="T59" fmla="*/ 5 h 409"/>
                  <a:gd name="T60" fmla="*/ 236 w 574"/>
                  <a:gd name="T61" fmla="*/ 6 h 409"/>
                  <a:gd name="T62" fmla="*/ 234 w 574"/>
                  <a:gd name="T63" fmla="*/ 7 h 409"/>
                  <a:gd name="T64" fmla="*/ 232 w 574"/>
                  <a:gd name="T65" fmla="*/ 8 h 409"/>
                  <a:gd name="T66" fmla="*/ 230 w 574"/>
                  <a:gd name="T67" fmla="*/ 10 h 409"/>
                  <a:gd name="T68" fmla="*/ 228 w 574"/>
                  <a:gd name="T69" fmla="*/ 11 h 409"/>
                  <a:gd name="T70" fmla="*/ 225 w 574"/>
                  <a:gd name="T71" fmla="*/ 13 h 409"/>
                  <a:gd name="T72" fmla="*/ 223 w 574"/>
                  <a:gd name="T73" fmla="*/ 14 h 409"/>
                  <a:gd name="T74" fmla="*/ 221 w 574"/>
                  <a:gd name="T75" fmla="*/ 16 h 409"/>
                  <a:gd name="T76" fmla="*/ 220 w 574"/>
                  <a:gd name="T77" fmla="*/ 17 h 409"/>
                  <a:gd name="T78" fmla="*/ 218 w 574"/>
                  <a:gd name="T79" fmla="*/ 19 h 409"/>
                  <a:gd name="T80" fmla="*/ 216 w 574"/>
                  <a:gd name="T81" fmla="*/ 20 h 409"/>
                  <a:gd name="T82" fmla="*/ 215 w 574"/>
                  <a:gd name="T83" fmla="*/ 22 h 409"/>
                  <a:gd name="T84" fmla="*/ 213 w 574"/>
                  <a:gd name="T85" fmla="*/ 23 h 409"/>
                  <a:gd name="T86" fmla="*/ 212 w 574"/>
                  <a:gd name="T87" fmla="*/ 25 h 409"/>
                  <a:gd name="T88" fmla="*/ 210 w 574"/>
                  <a:gd name="T89" fmla="*/ 26 h 409"/>
                  <a:gd name="T90" fmla="*/ 209 w 574"/>
                  <a:gd name="T91" fmla="*/ 29 h 409"/>
                  <a:gd name="T92" fmla="*/ 208 w 574"/>
                  <a:gd name="T93" fmla="*/ 30 h 409"/>
                  <a:gd name="T94" fmla="*/ 206 w 574"/>
                  <a:gd name="T95" fmla="*/ 33 h 409"/>
                  <a:gd name="T96" fmla="*/ 205 w 574"/>
                  <a:gd name="T97" fmla="*/ 34 h 409"/>
                  <a:gd name="T98" fmla="*/ 203 w 574"/>
                  <a:gd name="T99" fmla="*/ 38 h 409"/>
                  <a:gd name="T100" fmla="*/ 131 w 574"/>
                  <a:gd name="T101" fmla="*/ 10 h 409"/>
                  <a:gd name="T102" fmla="*/ 45 w 574"/>
                  <a:gd name="T103" fmla="*/ 53 h 409"/>
                  <a:gd name="T104" fmla="*/ 39 w 574"/>
                  <a:gd name="T105" fmla="*/ 55 h 409"/>
                  <a:gd name="T106" fmla="*/ 38 w 574"/>
                  <a:gd name="T107" fmla="*/ 56 h 409"/>
                  <a:gd name="T108" fmla="*/ 33 w 574"/>
                  <a:gd name="T109" fmla="*/ 58 h 409"/>
                  <a:gd name="T110" fmla="*/ 32 w 574"/>
                  <a:gd name="T111" fmla="*/ 59 h 409"/>
                  <a:gd name="T112" fmla="*/ 21 w 574"/>
                  <a:gd name="T113" fmla="*/ 67 h 409"/>
                  <a:gd name="T114" fmla="*/ 0 w 574"/>
                  <a:gd name="T115" fmla="*/ 116 h 409"/>
                  <a:gd name="T116" fmla="*/ 45 w 574"/>
                  <a:gd name="T117" fmla="*/ 180 h 409"/>
                  <a:gd name="T118" fmla="*/ 75 w 574"/>
                  <a:gd name="T119" fmla="*/ 207 h 409"/>
                  <a:gd name="T120" fmla="*/ 277 w 574"/>
                  <a:gd name="T121" fmla="*/ 409 h 409"/>
                  <a:gd name="T122" fmla="*/ 574 w 574"/>
                  <a:gd name="T123" fmla="*/ 141 h 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74" h="409">
                    <a:moveTo>
                      <a:pt x="574" y="141"/>
                    </a:moveTo>
                    <a:cubicBezTo>
                      <a:pt x="527" y="94"/>
                      <a:pt x="527" y="94"/>
                      <a:pt x="527" y="94"/>
                    </a:cubicBezTo>
                    <a:cubicBezTo>
                      <a:pt x="523" y="83"/>
                      <a:pt x="516" y="73"/>
                      <a:pt x="507" y="66"/>
                    </a:cubicBezTo>
                    <a:cubicBezTo>
                      <a:pt x="506" y="65"/>
                      <a:pt x="505" y="64"/>
                      <a:pt x="505" y="63"/>
                    </a:cubicBezTo>
                    <a:cubicBezTo>
                      <a:pt x="504" y="63"/>
                      <a:pt x="502" y="62"/>
                      <a:pt x="501" y="61"/>
                    </a:cubicBezTo>
                    <a:cubicBezTo>
                      <a:pt x="500" y="60"/>
                      <a:pt x="500" y="60"/>
                      <a:pt x="499" y="59"/>
                    </a:cubicBezTo>
                    <a:cubicBezTo>
                      <a:pt x="497" y="58"/>
                      <a:pt x="496" y="58"/>
                      <a:pt x="494" y="57"/>
                    </a:cubicBezTo>
                    <a:cubicBezTo>
                      <a:pt x="494" y="57"/>
                      <a:pt x="493" y="56"/>
                      <a:pt x="493" y="56"/>
                    </a:cubicBezTo>
                    <a:cubicBezTo>
                      <a:pt x="491" y="55"/>
                      <a:pt x="489" y="54"/>
                      <a:pt x="487" y="54"/>
                    </a:cubicBezTo>
                    <a:cubicBezTo>
                      <a:pt x="486" y="53"/>
                      <a:pt x="486" y="53"/>
                      <a:pt x="485" y="53"/>
                    </a:cubicBezTo>
                    <a:cubicBezTo>
                      <a:pt x="484" y="52"/>
                      <a:pt x="483" y="51"/>
                      <a:pt x="482" y="49"/>
                    </a:cubicBezTo>
                    <a:cubicBezTo>
                      <a:pt x="481" y="48"/>
                      <a:pt x="480" y="47"/>
                      <a:pt x="479" y="45"/>
                    </a:cubicBezTo>
                    <a:cubicBezTo>
                      <a:pt x="479" y="45"/>
                      <a:pt x="479" y="45"/>
                      <a:pt x="479" y="45"/>
                    </a:cubicBezTo>
                    <a:cubicBezTo>
                      <a:pt x="477" y="44"/>
                      <a:pt x="476" y="42"/>
                      <a:pt x="475" y="41"/>
                    </a:cubicBezTo>
                    <a:cubicBezTo>
                      <a:pt x="475" y="41"/>
                      <a:pt x="475" y="41"/>
                      <a:pt x="475" y="41"/>
                    </a:cubicBezTo>
                    <a:cubicBezTo>
                      <a:pt x="473" y="39"/>
                      <a:pt x="472" y="38"/>
                      <a:pt x="471" y="37"/>
                    </a:cubicBezTo>
                    <a:cubicBezTo>
                      <a:pt x="471" y="37"/>
                      <a:pt x="471" y="37"/>
                      <a:pt x="471" y="37"/>
                    </a:cubicBezTo>
                    <a:cubicBezTo>
                      <a:pt x="469" y="36"/>
                      <a:pt x="468" y="34"/>
                      <a:pt x="466" y="33"/>
                    </a:cubicBezTo>
                    <a:cubicBezTo>
                      <a:pt x="448" y="18"/>
                      <a:pt x="425" y="10"/>
                      <a:pt x="399" y="10"/>
                    </a:cubicBezTo>
                    <a:cubicBezTo>
                      <a:pt x="372" y="10"/>
                      <a:pt x="346" y="20"/>
                      <a:pt x="327" y="38"/>
                    </a:cubicBezTo>
                    <a:cubicBezTo>
                      <a:pt x="316" y="15"/>
                      <a:pt x="292" y="0"/>
                      <a:pt x="265" y="0"/>
                    </a:cubicBezTo>
                    <a:cubicBezTo>
                      <a:pt x="262" y="0"/>
                      <a:pt x="259" y="0"/>
                      <a:pt x="256" y="1"/>
                    </a:cubicBezTo>
                    <a:cubicBezTo>
                      <a:pt x="255" y="1"/>
                      <a:pt x="254" y="1"/>
                      <a:pt x="253" y="1"/>
                    </a:cubicBezTo>
                    <a:cubicBezTo>
                      <a:pt x="252" y="1"/>
                      <a:pt x="252" y="1"/>
                      <a:pt x="251" y="1"/>
                    </a:cubicBezTo>
                    <a:cubicBezTo>
                      <a:pt x="250" y="2"/>
                      <a:pt x="249" y="2"/>
                      <a:pt x="249" y="2"/>
                    </a:cubicBezTo>
                    <a:cubicBezTo>
                      <a:pt x="248" y="2"/>
                      <a:pt x="247" y="2"/>
                      <a:pt x="247" y="3"/>
                    </a:cubicBezTo>
                    <a:cubicBezTo>
                      <a:pt x="246" y="3"/>
                      <a:pt x="245" y="3"/>
                      <a:pt x="244" y="3"/>
                    </a:cubicBezTo>
                    <a:cubicBezTo>
                      <a:pt x="244" y="3"/>
                      <a:pt x="243" y="4"/>
                      <a:pt x="242" y="4"/>
                    </a:cubicBezTo>
                    <a:cubicBezTo>
                      <a:pt x="242" y="4"/>
                      <a:pt x="241" y="4"/>
                      <a:pt x="240" y="5"/>
                    </a:cubicBezTo>
                    <a:cubicBezTo>
                      <a:pt x="239" y="5"/>
                      <a:pt x="239" y="5"/>
                      <a:pt x="238" y="5"/>
                    </a:cubicBezTo>
                    <a:cubicBezTo>
                      <a:pt x="237" y="6"/>
                      <a:pt x="237" y="6"/>
                      <a:pt x="236" y="6"/>
                    </a:cubicBezTo>
                    <a:cubicBezTo>
                      <a:pt x="235" y="7"/>
                      <a:pt x="235" y="7"/>
                      <a:pt x="234" y="7"/>
                    </a:cubicBezTo>
                    <a:cubicBezTo>
                      <a:pt x="233" y="8"/>
                      <a:pt x="233" y="8"/>
                      <a:pt x="232" y="8"/>
                    </a:cubicBezTo>
                    <a:cubicBezTo>
                      <a:pt x="231" y="9"/>
                      <a:pt x="231" y="9"/>
                      <a:pt x="230" y="10"/>
                    </a:cubicBezTo>
                    <a:cubicBezTo>
                      <a:pt x="229" y="10"/>
                      <a:pt x="229" y="10"/>
                      <a:pt x="228" y="11"/>
                    </a:cubicBezTo>
                    <a:cubicBezTo>
                      <a:pt x="227" y="11"/>
                      <a:pt x="226" y="12"/>
                      <a:pt x="225" y="13"/>
                    </a:cubicBezTo>
                    <a:cubicBezTo>
                      <a:pt x="224" y="13"/>
                      <a:pt x="224" y="14"/>
                      <a:pt x="223" y="14"/>
                    </a:cubicBezTo>
                    <a:cubicBezTo>
                      <a:pt x="223" y="15"/>
                      <a:pt x="222" y="15"/>
                      <a:pt x="221" y="16"/>
                    </a:cubicBezTo>
                    <a:cubicBezTo>
                      <a:pt x="221" y="16"/>
                      <a:pt x="220" y="16"/>
                      <a:pt x="220" y="17"/>
                    </a:cubicBezTo>
                    <a:cubicBezTo>
                      <a:pt x="219" y="17"/>
                      <a:pt x="218" y="18"/>
                      <a:pt x="218" y="19"/>
                    </a:cubicBezTo>
                    <a:cubicBezTo>
                      <a:pt x="217" y="19"/>
                      <a:pt x="217" y="19"/>
                      <a:pt x="216" y="20"/>
                    </a:cubicBezTo>
                    <a:cubicBezTo>
                      <a:pt x="216" y="21"/>
                      <a:pt x="215" y="21"/>
                      <a:pt x="215" y="22"/>
                    </a:cubicBezTo>
                    <a:cubicBezTo>
                      <a:pt x="214" y="22"/>
                      <a:pt x="214" y="23"/>
                      <a:pt x="213" y="23"/>
                    </a:cubicBezTo>
                    <a:cubicBezTo>
                      <a:pt x="213" y="24"/>
                      <a:pt x="212" y="24"/>
                      <a:pt x="212" y="25"/>
                    </a:cubicBezTo>
                    <a:cubicBezTo>
                      <a:pt x="211" y="26"/>
                      <a:pt x="211" y="26"/>
                      <a:pt x="210" y="26"/>
                    </a:cubicBezTo>
                    <a:cubicBezTo>
                      <a:pt x="210" y="27"/>
                      <a:pt x="209" y="28"/>
                      <a:pt x="209" y="29"/>
                    </a:cubicBezTo>
                    <a:cubicBezTo>
                      <a:pt x="208" y="29"/>
                      <a:pt x="208" y="30"/>
                      <a:pt x="208" y="30"/>
                    </a:cubicBezTo>
                    <a:cubicBezTo>
                      <a:pt x="207" y="31"/>
                      <a:pt x="207" y="32"/>
                      <a:pt x="206" y="33"/>
                    </a:cubicBezTo>
                    <a:cubicBezTo>
                      <a:pt x="206" y="33"/>
                      <a:pt x="206" y="33"/>
                      <a:pt x="205" y="34"/>
                    </a:cubicBezTo>
                    <a:cubicBezTo>
                      <a:pt x="205" y="35"/>
                      <a:pt x="204" y="36"/>
                      <a:pt x="203" y="38"/>
                    </a:cubicBezTo>
                    <a:cubicBezTo>
                      <a:pt x="184" y="20"/>
                      <a:pt x="159" y="10"/>
                      <a:pt x="131" y="10"/>
                    </a:cubicBezTo>
                    <a:cubicBezTo>
                      <a:pt x="96" y="10"/>
                      <a:pt x="65" y="27"/>
                      <a:pt x="45" y="53"/>
                    </a:cubicBezTo>
                    <a:cubicBezTo>
                      <a:pt x="43" y="53"/>
                      <a:pt x="41" y="54"/>
                      <a:pt x="39" y="55"/>
                    </a:cubicBezTo>
                    <a:cubicBezTo>
                      <a:pt x="39" y="55"/>
                      <a:pt x="38" y="56"/>
                      <a:pt x="38" y="56"/>
                    </a:cubicBezTo>
                    <a:cubicBezTo>
                      <a:pt x="36" y="57"/>
                      <a:pt x="35" y="57"/>
                      <a:pt x="33" y="58"/>
                    </a:cubicBezTo>
                    <a:cubicBezTo>
                      <a:pt x="33" y="59"/>
                      <a:pt x="33" y="59"/>
                      <a:pt x="32" y="59"/>
                    </a:cubicBezTo>
                    <a:cubicBezTo>
                      <a:pt x="28" y="61"/>
                      <a:pt x="25" y="64"/>
                      <a:pt x="21" y="67"/>
                    </a:cubicBezTo>
                    <a:cubicBezTo>
                      <a:pt x="8" y="79"/>
                      <a:pt x="0" y="97"/>
                      <a:pt x="0" y="116"/>
                    </a:cubicBezTo>
                    <a:cubicBezTo>
                      <a:pt x="0" y="146"/>
                      <a:pt x="19" y="171"/>
                      <a:pt x="45" y="180"/>
                    </a:cubicBezTo>
                    <a:cubicBezTo>
                      <a:pt x="53" y="191"/>
                      <a:pt x="63" y="200"/>
                      <a:pt x="75" y="207"/>
                    </a:cubicBezTo>
                    <a:cubicBezTo>
                      <a:pt x="277" y="409"/>
                      <a:pt x="277" y="409"/>
                      <a:pt x="277" y="409"/>
                    </a:cubicBezTo>
                    <a:cubicBezTo>
                      <a:pt x="429" y="403"/>
                      <a:pt x="553" y="289"/>
                      <a:pt x="574" y="141"/>
                    </a:cubicBezTo>
                    <a:close/>
                  </a:path>
                </a:pathLst>
              </a:custGeom>
              <a:solidFill>
                <a:srgbClr val="00A2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80" name="Freeform 34">
                <a:extLst>
                  <a:ext uri="{FF2B5EF4-FFF2-40B4-BE49-F238E27FC236}">
                    <a16:creationId xmlns:a16="http://schemas.microsoft.com/office/drawing/2014/main" xmlns="" id="{8C272BC1-B759-4501-8F94-01417BE4DB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4138" y="-979488"/>
                <a:ext cx="2001838" cy="839788"/>
              </a:xfrm>
              <a:custGeom>
                <a:avLst/>
                <a:gdLst>
                  <a:gd name="T0" fmla="*/ 485 w 531"/>
                  <a:gd name="T1" fmla="*/ 53 h 223"/>
                  <a:gd name="T2" fmla="*/ 399 w 531"/>
                  <a:gd name="T3" fmla="*/ 10 h 223"/>
                  <a:gd name="T4" fmla="*/ 327 w 531"/>
                  <a:gd name="T5" fmla="*/ 38 h 223"/>
                  <a:gd name="T6" fmla="*/ 265 w 531"/>
                  <a:gd name="T7" fmla="*/ 0 h 223"/>
                  <a:gd name="T8" fmla="*/ 203 w 531"/>
                  <a:gd name="T9" fmla="*/ 38 h 223"/>
                  <a:gd name="T10" fmla="*/ 131 w 531"/>
                  <a:gd name="T11" fmla="*/ 10 h 223"/>
                  <a:gd name="T12" fmla="*/ 45 w 531"/>
                  <a:gd name="T13" fmla="*/ 53 h 223"/>
                  <a:gd name="T14" fmla="*/ 0 w 531"/>
                  <a:gd name="T15" fmla="*/ 116 h 223"/>
                  <a:gd name="T16" fmla="*/ 45 w 531"/>
                  <a:gd name="T17" fmla="*/ 180 h 223"/>
                  <a:gd name="T18" fmla="*/ 131 w 531"/>
                  <a:gd name="T19" fmla="*/ 223 h 223"/>
                  <a:gd name="T20" fmla="*/ 236 w 531"/>
                  <a:gd name="T21" fmla="*/ 134 h 223"/>
                  <a:gd name="T22" fmla="*/ 265 w 531"/>
                  <a:gd name="T23" fmla="*/ 140 h 223"/>
                  <a:gd name="T24" fmla="*/ 294 w 531"/>
                  <a:gd name="T25" fmla="*/ 134 h 223"/>
                  <a:gd name="T26" fmla="*/ 399 w 531"/>
                  <a:gd name="T27" fmla="*/ 223 h 223"/>
                  <a:gd name="T28" fmla="*/ 485 w 531"/>
                  <a:gd name="T29" fmla="*/ 180 h 223"/>
                  <a:gd name="T30" fmla="*/ 531 w 531"/>
                  <a:gd name="T31" fmla="*/ 116 h 223"/>
                  <a:gd name="T32" fmla="*/ 485 w 531"/>
                  <a:gd name="T33" fmla="*/ 5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1" h="223">
                    <a:moveTo>
                      <a:pt x="485" y="53"/>
                    </a:moveTo>
                    <a:cubicBezTo>
                      <a:pt x="466" y="27"/>
                      <a:pt x="434" y="10"/>
                      <a:pt x="399" y="10"/>
                    </a:cubicBezTo>
                    <a:cubicBezTo>
                      <a:pt x="372" y="10"/>
                      <a:pt x="346" y="20"/>
                      <a:pt x="327" y="38"/>
                    </a:cubicBezTo>
                    <a:cubicBezTo>
                      <a:pt x="316" y="15"/>
                      <a:pt x="292" y="0"/>
                      <a:pt x="265" y="0"/>
                    </a:cubicBezTo>
                    <a:cubicBezTo>
                      <a:pt x="238" y="0"/>
                      <a:pt x="215" y="15"/>
                      <a:pt x="203" y="38"/>
                    </a:cubicBezTo>
                    <a:cubicBezTo>
                      <a:pt x="184" y="20"/>
                      <a:pt x="159" y="10"/>
                      <a:pt x="131" y="10"/>
                    </a:cubicBezTo>
                    <a:cubicBezTo>
                      <a:pt x="96" y="10"/>
                      <a:pt x="65" y="27"/>
                      <a:pt x="45" y="53"/>
                    </a:cubicBezTo>
                    <a:cubicBezTo>
                      <a:pt x="19" y="62"/>
                      <a:pt x="0" y="87"/>
                      <a:pt x="0" y="116"/>
                    </a:cubicBezTo>
                    <a:cubicBezTo>
                      <a:pt x="0" y="146"/>
                      <a:pt x="19" y="171"/>
                      <a:pt x="45" y="180"/>
                    </a:cubicBezTo>
                    <a:cubicBezTo>
                      <a:pt x="65" y="206"/>
                      <a:pt x="96" y="223"/>
                      <a:pt x="131" y="223"/>
                    </a:cubicBezTo>
                    <a:cubicBezTo>
                      <a:pt x="184" y="223"/>
                      <a:pt x="228" y="184"/>
                      <a:pt x="236" y="134"/>
                    </a:cubicBezTo>
                    <a:cubicBezTo>
                      <a:pt x="245" y="138"/>
                      <a:pt x="255" y="140"/>
                      <a:pt x="265" y="140"/>
                    </a:cubicBezTo>
                    <a:cubicBezTo>
                      <a:pt x="276" y="140"/>
                      <a:pt x="285" y="138"/>
                      <a:pt x="294" y="134"/>
                    </a:cubicBezTo>
                    <a:cubicBezTo>
                      <a:pt x="302" y="184"/>
                      <a:pt x="346" y="223"/>
                      <a:pt x="399" y="223"/>
                    </a:cubicBezTo>
                    <a:cubicBezTo>
                      <a:pt x="434" y="223"/>
                      <a:pt x="466" y="206"/>
                      <a:pt x="485" y="180"/>
                    </a:cubicBezTo>
                    <a:cubicBezTo>
                      <a:pt x="512" y="171"/>
                      <a:pt x="531" y="146"/>
                      <a:pt x="531" y="116"/>
                    </a:cubicBezTo>
                    <a:cubicBezTo>
                      <a:pt x="531" y="87"/>
                      <a:pt x="512" y="62"/>
                      <a:pt x="485" y="53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81" name="Oval 32">
                <a:extLst>
                  <a:ext uri="{FF2B5EF4-FFF2-40B4-BE49-F238E27FC236}">
                    <a16:creationId xmlns:a16="http://schemas.microsoft.com/office/drawing/2014/main" xmlns="" id="{EEE00666-BF63-4A0A-8F3E-8C2AEBEE6D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51151" y="-806451"/>
                <a:ext cx="534988" cy="530225"/>
              </a:xfrm>
              <a:prstGeom prst="ellipse">
                <a:avLst/>
              </a:prstGeom>
              <a:solidFill>
                <a:srgbClr val="BFEEF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82" name="Oval 33">
                <a:extLst>
                  <a:ext uri="{FF2B5EF4-FFF2-40B4-BE49-F238E27FC236}">
                    <a16:creationId xmlns:a16="http://schemas.microsoft.com/office/drawing/2014/main" xmlns="" id="{8E156959-D89A-4E30-B4C8-2E794A1F34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63976" y="-806451"/>
                <a:ext cx="531813" cy="530225"/>
              </a:xfrm>
              <a:prstGeom prst="ellipse">
                <a:avLst/>
              </a:prstGeom>
              <a:solidFill>
                <a:srgbClr val="BFEEF9"/>
              </a:solidFill>
              <a:ln w="14288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sp>
        <p:nvSpPr>
          <p:cNvPr id="898" name="Oval 897">
            <a:extLst>
              <a:ext uri="{FF2B5EF4-FFF2-40B4-BE49-F238E27FC236}">
                <a16:creationId xmlns:a16="http://schemas.microsoft.com/office/drawing/2014/main" xmlns="" id="{B764F741-6593-4D44-AEDE-A3B8034C2351}"/>
              </a:ext>
            </a:extLst>
          </p:cNvPr>
          <p:cNvSpPr/>
          <p:nvPr/>
        </p:nvSpPr>
        <p:spPr>
          <a:xfrm>
            <a:off x="5116261" y="1899657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899" name="Oval 898">
            <a:extLst>
              <a:ext uri="{FF2B5EF4-FFF2-40B4-BE49-F238E27FC236}">
                <a16:creationId xmlns:a16="http://schemas.microsoft.com/office/drawing/2014/main" xmlns="" id="{C653EF00-1B86-474C-ADCC-30D5267A7C80}"/>
              </a:ext>
            </a:extLst>
          </p:cNvPr>
          <p:cNvSpPr/>
          <p:nvPr/>
        </p:nvSpPr>
        <p:spPr>
          <a:xfrm>
            <a:off x="7153887" y="2198698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900" name="Oval 899">
            <a:extLst>
              <a:ext uri="{FF2B5EF4-FFF2-40B4-BE49-F238E27FC236}">
                <a16:creationId xmlns:a16="http://schemas.microsoft.com/office/drawing/2014/main" xmlns="" id="{8263A0CD-4F72-47D5-ADA6-17FB447A3724}"/>
              </a:ext>
            </a:extLst>
          </p:cNvPr>
          <p:cNvSpPr/>
          <p:nvPr/>
        </p:nvSpPr>
        <p:spPr>
          <a:xfrm>
            <a:off x="6165569" y="3655716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901" name="Oval 900">
            <a:extLst>
              <a:ext uri="{FF2B5EF4-FFF2-40B4-BE49-F238E27FC236}">
                <a16:creationId xmlns:a16="http://schemas.microsoft.com/office/drawing/2014/main" xmlns="" id="{3A30F62B-2B49-4A29-A884-337F79F570BA}"/>
              </a:ext>
            </a:extLst>
          </p:cNvPr>
          <p:cNvSpPr/>
          <p:nvPr/>
        </p:nvSpPr>
        <p:spPr>
          <a:xfrm>
            <a:off x="5116261" y="1899657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902" name="Oval 901">
            <a:extLst>
              <a:ext uri="{FF2B5EF4-FFF2-40B4-BE49-F238E27FC236}">
                <a16:creationId xmlns:a16="http://schemas.microsoft.com/office/drawing/2014/main" xmlns="" id="{6331F13C-2353-41F8-BBF3-9364ED181540}"/>
              </a:ext>
            </a:extLst>
          </p:cNvPr>
          <p:cNvSpPr/>
          <p:nvPr/>
        </p:nvSpPr>
        <p:spPr>
          <a:xfrm>
            <a:off x="5116261" y="1899657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903" name="Oval 902">
            <a:extLst>
              <a:ext uri="{FF2B5EF4-FFF2-40B4-BE49-F238E27FC236}">
                <a16:creationId xmlns:a16="http://schemas.microsoft.com/office/drawing/2014/main" xmlns="" id="{DB9C550B-7CBB-4EBD-A5AA-3173A057749E}"/>
              </a:ext>
            </a:extLst>
          </p:cNvPr>
          <p:cNvSpPr/>
          <p:nvPr/>
        </p:nvSpPr>
        <p:spPr>
          <a:xfrm>
            <a:off x="5116261" y="1899657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904" name="Oval 903">
            <a:extLst>
              <a:ext uri="{FF2B5EF4-FFF2-40B4-BE49-F238E27FC236}">
                <a16:creationId xmlns:a16="http://schemas.microsoft.com/office/drawing/2014/main" xmlns="" id="{5CFBF8FB-332A-4C4C-AE30-4F56877122B9}"/>
              </a:ext>
            </a:extLst>
          </p:cNvPr>
          <p:cNvSpPr/>
          <p:nvPr/>
        </p:nvSpPr>
        <p:spPr>
          <a:xfrm>
            <a:off x="7153887" y="2198698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905" name="Oval 904">
            <a:extLst>
              <a:ext uri="{FF2B5EF4-FFF2-40B4-BE49-F238E27FC236}">
                <a16:creationId xmlns:a16="http://schemas.microsoft.com/office/drawing/2014/main" xmlns="" id="{03D0217E-02B8-475D-8C38-F495DBCA0332}"/>
              </a:ext>
            </a:extLst>
          </p:cNvPr>
          <p:cNvSpPr/>
          <p:nvPr/>
        </p:nvSpPr>
        <p:spPr>
          <a:xfrm>
            <a:off x="7153887" y="2198698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907" name="Oval 906">
            <a:extLst>
              <a:ext uri="{FF2B5EF4-FFF2-40B4-BE49-F238E27FC236}">
                <a16:creationId xmlns:a16="http://schemas.microsoft.com/office/drawing/2014/main" xmlns="" id="{060A4F43-5625-4AC2-9F2B-5F0DB0EADDF6}"/>
              </a:ext>
            </a:extLst>
          </p:cNvPr>
          <p:cNvSpPr/>
          <p:nvPr/>
        </p:nvSpPr>
        <p:spPr>
          <a:xfrm>
            <a:off x="6165569" y="3655716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908" name="Oval 907">
            <a:extLst>
              <a:ext uri="{FF2B5EF4-FFF2-40B4-BE49-F238E27FC236}">
                <a16:creationId xmlns:a16="http://schemas.microsoft.com/office/drawing/2014/main" xmlns="" id="{D5B3E41B-8D48-4068-B68D-CB973918EA52}"/>
              </a:ext>
            </a:extLst>
          </p:cNvPr>
          <p:cNvSpPr/>
          <p:nvPr/>
        </p:nvSpPr>
        <p:spPr>
          <a:xfrm>
            <a:off x="6165569" y="3655716"/>
            <a:ext cx="45719" cy="457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pic>
        <p:nvPicPr>
          <p:cNvPr id="1223" name="Picture 1222">
            <a:extLst>
              <a:ext uri="{FF2B5EF4-FFF2-40B4-BE49-F238E27FC236}">
                <a16:creationId xmlns:a16="http://schemas.microsoft.com/office/drawing/2014/main" xmlns="" id="{C4C4BB7A-B18E-40E8-83FB-50A62CEC13FF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0580" y="1724732"/>
            <a:ext cx="669926" cy="669926"/>
          </a:xfrm>
          <a:prstGeom prst="rect">
            <a:avLst/>
          </a:prstGeom>
        </p:spPr>
      </p:pic>
      <p:pic>
        <p:nvPicPr>
          <p:cNvPr id="1224" name="Picture 1223">
            <a:extLst>
              <a:ext uri="{FF2B5EF4-FFF2-40B4-BE49-F238E27FC236}">
                <a16:creationId xmlns:a16="http://schemas.microsoft.com/office/drawing/2014/main" xmlns="" id="{9BC47ECC-E367-4C70-9ECC-0839AC3AAC9C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43">
            <a:extLst>
              <a:ext uri="{96DAC541-7B7A-43D3-8B79-37D633B846F1}">
                <asvg:svgBlip xmlns:asvg="http://schemas.microsoft.com/office/drawing/2016/SVG/main" xmlns="" r:embed="rId44"/>
              </a:ext>
            </a:extLst>
          </a:blip>
          <a:stretch>
            <a:fillRect/>
          </a:stretch>
        </p:blipFill>
        <p:spPr>
          <a:xfrm>
            <a:off x="4692051" y="1724732"/>
            <a:ext cx="669926" cy="669926"/>
          </a:xfrm>
          <a:prstGeom prst="rect">
            <a:avLst/>
          </a:prstGeom>
        </p:spPr>
      </p:pic>
      <p:pic>
        <p:nvPicPr>
          <p:cNvPr id="906" name="Picture 905">
            <a:extLst>
              <a:ext uri="{FF2B5EF4-FFF2-40B4-BE49-F238E27FC236}">
                <a16:creationId xmlns:a16="http://schemas.microsoft.com/office/drawing/2014/main" xmlns="" id="{C05A69E9-DCFE-4D3D-98D4-86149C2CFC38}"/>
              </a:ext>
            </a:extLst>
          </p:cNvPr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45"/>
          <a:stretch>
            <a:fillRect/>
          </a:stretch>
        </p:blipFill>
        <p:spPr>
          <a:xfrm>
            <a:off x="5736533" y="3371153"/>
            <a:ext cx="669926" cy="669926"/>
          </a:xfrm>
          <a:prstGeom prst="rect">
            <a:avLst/>
          </a:prstGeom>
        </p:spPr>
      </p:pic>
      <p:sp>
        <p:nvSpPr>
          <p:cNvPr id="1669" name="TextBox 1668">
            <a:extLst>
              <a:ext uri="{FF2B5EF4-FFF2-40B4-BE49-F238E27FC236}">
                <a16:creationId xmlns:a16="http://schemas.microsoft.com/office/drawing/2014/main" xmlns="" id="{712B7F11-E2BA-43A6-A662-642A3E465192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5613711" y="2109031"/>
            <a:ext cx="905198" cy="893700"/>
          </a:xfrm>
          <a:prstGeom prst="ellipse">
            <a:avLst/>
          </a:prstGeom>
          <a:noFill/>
          <a:ln>
            <a:solidFill>
              <a:schemeClr val="accent3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/>
          </a:lstStyle>
          <a:p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220" name="TextBox 1219">
            <a:extLst>
              <a:ext uri="{FF2B5EF4-FFF2-40B4-BE49-F238E27FC236}">
                <a16:creationId xmlns:a16="http://schemas.microsoft.com/office/drawing/2014/main" xmlns="" id="{E668D16C-220D-43E5-A795-294895F3A282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5544359" y="2040560"/>
            <a:ext cx="1043902" cy="1030642"/>
          </a:xfrm>
          <a:prstGeom prst="ellipse">
            <a:avLst/>
          </a:prstGeom>
          <a:noFill/>
          <a:ln>
            <a:solidFill>
              <a:schemeClr val="accent3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/>
          </a:lstStyle>
          <a:p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1198" name="Group 24">
            <a:extLst>
              <a:ext uri="{FF2B5EF4-FFF2-40B4-BE49-F238E27FC236}">
                <a16:creationId xmlns:a16="http://schemas.microsoft.com/office/drawing/2014/main" xmlns="" id="{769780BF-6828-4DCB-BC8B-4FF6B6B567ED}"/>
              </a:ext>
            </a:extLst>
          </p:cNvPr>
          <p:cNvGrpSpPr>
            <a:grpSpLocks noChangeAspect="1"/>
          </p:cNvGrpSpPr>
          <p:nvPr>
            <p:custDataLst>
              <p:tags r:id="rId25"/>
            </p:custDataLst>
          </p:nvPr>
        </p:nvGrpSpPr>
        <p:grpSpPr bwMode="auto">
          <a:xfrm>
            <a:off x="5474752" y="1962885"/>
            <a:ext cx="1193488" cy="1193488"/>
            <a:chOff x="1626" y="-1079"/>
            <a:chExt cx="588" cy="588"/>
          </a:xfrm>
        </p:grpSpPr>
        <p:sp>
          <p:nvSpPr>
            <p:cNvPr id="1199" name="Freeform 25">
              <a:extLst>
                <a:ext uri="{FF2B5EF4-FFF2-40B4-BE49-F238E27FC236}">
                  <a16:creationId xmlns:a16="http://schemas.microsoft.com/office/drawing/2014/main" xmlns="" id="{4E829A3D-BA2E-49FB-909F-435F95E11E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6" y="-1079"/>
              <a:ext cx="588" cy="588"/>
            </a:xfrm>
            <a:custGeom>
              <a:avLst/>
              <a:gdLst>
                <a:gd name="T0" fmla="*/ 1039 w 1264"/>
                <a:gd name="T1" fmla="*/ 1039 h 1264"/>
                <a:gd name="T2" fmla="*/ 225 w 1264"/>
                <a:gd name="T3" fmla="*/ 1039 h 1264"/>
                <a:gd name="T4" fmla="*/ 225 w 1264"/>
                <a:gd name="T5" fmla="*/ 225 h 1264"/>
                <a:gd name="T6" fmla="*/ 1039 w 1264"/>
                <a:gd name="T7" fmla="*/ 225 h 1264"/>
                <a:gd name="T8" fmla="*/ 1039 w 1264"/>
                <a:gd name="T9" fmla="*/ 1039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4" h="1264">
                  <a:moveTo>
                    <a:pt x="1039" y="1039"/>
                  </a:moveTo>
                  <a:cubicBezTo>
                    <a:pt x="814" y="1264"/>
                    <a:pt x="450" y="1264"/>
                    <a:pt x="225" y="1039"/>
                  </a:cubicBezTo>
                  <a:cubicBezTo>
                    <a:pt x="0" y="814"/>
                    <a:pt x="0" y="450"/>
                    <a:pt x="225" y="225"/>
                  </a:cubicBezTo>
                  <a:cubicBezTo>
                    <a:pt x="450" y="0"/>
                    <a:pt x="814" y="0"/>
                    <a:pt x="1039" y="225"/>
                  </a:cubicBezTo>
                  <a:cubicBezTo>
                    <a:pt x="1264" y="450"/>
                    <a:pt x="1264" y="814"/>
                    <a:pt x="1039" y="103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200" name="Freeform 26">
              <a:extLst>
                <a:ext uri="{FF2B5EF4-FFF2-40B4-BE49-F238E27FC236}">
                  <a16:creationId xmlns:a16="http://schemas.microsoft.com/office/drawing/2014/main" xmlns="" id="{BD75EEF7-565A-4C24-8E92-B2B932A31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2" y="-914"/>
              <a:ext cx="354" cy="390"/>
            </a:xfrm>
            <a:custGeom>
              <a:avLst/>
              <a:gdLst>
                <a:gd name="T0" fmla="*/ 592 w 761"/>
                <a:gd name="T1" fmla="*/ 685 h 838"/>
                <a:gd name="T2" fmla="*/ 761 w 761"/>
                <a:gd name="T3" fmla="*/ 297 h 838"/>
                <a:gd name="T4" fmla="*/ 467 w 761"/>
                <a:gd name="T5" fmla="*/ 0 h 838"/>
                <a:gd name="T6" fmla="*/ 0 w 761"/>
                <a:gd name="T7" fmla="*/ 404 h 838"/>
                <a:gd name="T8" fmla="*/ 2 w 761"/>
                <a:gd name="T9" fmla="*/ 532 h 838"/>
                <a:gd name="T10" fmla="*/ 322 w 761"/>
                <a:gd name="T11" fmla="*/ 838 h 838"/>
                <a:gd name="T12" fmla="*/ 592 w 761"/>
                <a:gd name="T13" fmla="*/ 685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1" h="838">
                  <a:moveTo>
                    <a:pt x="592" y="685"/>
                  </a:moveTo>
                  <a:cubicBezTo>
                    <a:pt x="700" y="578"/>
                    <a:pt x="756" y="438"/>
                    <a:pt x="761" y="297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0" y="404"/>
                    <a:pt x="0" y="404"/>
                    <a:pt x="0" y="404"/>
                  </a:cubicBezTo>
                  <a:cubicBezTo>
                    <a:pt x="2" y="532"/>
                    <a:pt x="2" y="532"/>
                    <a:pt x="2" y="532"/>
                  </a:cubicBezTo>
                  <a:cubicBezTo>
                    <a:pt x="322" y="838"/>
                    <a:pt x="322" y="838"/>
                    <a:pt x="322" y="838"/>
                  </a:cubicBezTo>
                  <a:cubicBezTo>
                    <a:pt x="421" y="814"/>
                    <a:pt x="515" y="763"/>
                    <a:pt x="592" y="685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201" name="Freeform 27">
              <a:extLst>
                <a:ext uri="{FF2B5EF4-FFF2-40B4-BE49-F238E27FC236}">
                  <a16:creationId xmlns:a16="http://schemas.microsoft.com/office/drawing/2014/main" xmlns="" id="{DFD60D55-2323-46F0-9DFF-29EA8FDE37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6" y="-952"/>
              <a:ext cx="268" cy="330"/>
            </a:xfrm>
            <a:custGeom>
              <a:avLst/>
              <a:gdLst>
                <a:gd name="T0" fmla="*/ 0 w 576"/>
                <a:gd name="T1" fmla="*/ 101 h 711"/>
                <a:gd name="T2" fmla="*/ 0 w 576"/>
                <a:gd name="T3" fmla="*/ 360 h 711"/>
                <a:gd name="T4" fmla="*/ 288 w 576"/>
                <a:gd name="T5" fmla="*/ 711 h 711"/>
                <a:gd name="T6" fmla="*/ 288 w 576"/>
                <a:gd name="T7" fmla="*/ 711 h 711"/>
                <a:gd name="T8" fmla="*/ 288 w 576"/>
                <a:gd name="T9" fmla="*/ 711 h 711"/>
                <a:gd name="T10" fmla="*/ 576 w 576"/>
                <a:gd name="T11" fmla="*/ 360 h 711"/>
                <a:gd name="T12" fmla="*/ 576 w 576"/>
                <a:gd name="T13" fmla="*/ 101 h 711"/>
                <a:gd name="T14" fmla="*/ 547 w 576"/>
                <a:gd name="T15" fmla="*/ 72 h 711"/>
                <a:gd name="T16" fmla="*/ 513 w 576"/>
                <a:gd name="T17" fmla="*/ 72 h 711"/>
                <a:gd name="T18" fmla="*/ 288 w 576"/>
                <a:gd name="T19" fmla="*/ 0 h 711"/>
                <a:gd name="T20" fmla="*/ 288 w 576"/>
                <a:gd name="T21" fmla="*/ 0 h 711"/>
                <a:gd name="T22" fmla="*/ 288 w 576"/>
                <a:gd name="T23" fmla="*/ 0 h 711"/>
                <a:gd name="T24" fmla="*/ 63 w 576"/>
                <a:gd name="T25" fmla="*/ 72 h 711"/>
                <a:gd name="T26" fmla="*/ 29 w 576"/>
                <a:gd name="T27" fmla="*/ 72 h 711"/>
                <a:gd name="T28" fmla="*/ 0 w 576"/>
                <a:gd name="T29" fmla="*/ 10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6" h="711">
                  <a:moveTo>
                    <a:pt x="0" y="101"/>
                  </a:moveTo>
                  <a:cubicBezTo>
                    <a:pt x="0" y="360"/>
                    <a:pt x="0" y="360"/>
                    <a:pt x="0" y="360"/>
                  </a:cubicBezTo>
                  <a:cubicBezTo>
                    <a:pt x="0" y="531"/>
                    <a:pt x="121" y="678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455" y="678"/>
                    <a:pt x="576" y="531"/>
                    <a:pt x="576" y="360"/>
                  </a:cubicBezTo>
                  <a:cubicBezTo>
                    <a:pt x="576" y="101"/>
                    <a:pt x="576" y="101"/>
                    <a:pt x="576" y="101"/>
                  </a:cubicBezTo>
                  <a:cubicBezTo>
                    <a:pt x="576" y="85"/>
                    <a:pt x="563" y="72"/>
                    <a:pt x="547" y="72"/>
                  </a:cubicBezTo>
                  <a:cubicBezTo>
                    <a:pt x="513" y="72"/>
                    <a:pt x="513" y="72"/>
                    <a:pt x="513" y="72"/>
                  </a:cubicBezTo>
                  <a:cubicBezTo>
                    <a:pt x="432" y="72"/>
                    <a:pt x="354" y="47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22" y="47"/>
                    <a:pt x="144" y="72"/>
                    <a:pt x="63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13" y="72"/>
                    <a:pt x="0" y="85"/>
                    <a:pt x="0" y="10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202" name="Freeform 28">
              <a:extLst>
                <a:ext uri="{FF2B5EF4-FFF2-40B4-BE49-F238E27FC236}">
                  <a16:creationId xmlns:a16="http://schemas.microsoft.com/office/drawing/2014/main" xmlns="" id="{51EAF139-C6B2-44D4-811A-FBED01AED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" y="-952"/>
              <a:ext cx="134" cy="330"/>
            </a:xfrm>
            <a:custGeom>
              <a:avLst/>
              <a:gdLst>
                <a:gd name="T0" fmla="*/ 0 w 288"/>
                <a:gd name="T1" fmla="*/ 0 h 711"/>
                <a:gd name="T2" fmla="*/ 225 w 288"/>
                <a:gd name="T3" fmla="*/ 72 h 711"/>
                <a:gd name="T4" fmla="*/ 259 w 288"/>
                <a:gd name="T5" fmla="*/ 72 h 711"/>
                <a:gd name="T6" fmla="*/ 288 w 288"/>
                <a:gd name="T7" fmla="*/ 101 h 711"/>
                <a:gd name="T8" fmla="*/ 288 w 288"/>
                <a:gd name="T9" fmla="*/ 360 h 711"/>
                <a:gd name="T10" fmla="*/ 0 w 288"/>
                <a:gd name="T11" fmla="*/ 711 h 711"/>
                <a:gd name="T12" fmla="*/ 0 w 288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711">
                  <a:moveTo>
                    <a:pt x="0" y="0"/>
                  </a:moveTo>
                  <a:cubicBezTo>
                    <a:pt x="66" y="47"/>
                    <a:pt x="144" y="72"/>
                    <a:pt x="225" y="72"/>
                  </a:cubicBezTo>
                  <a:cubicBezTo>
                    <a:pt x="259" y="72"/>
                    <a:pt x="259" y="72"/>
                    <a:pt x="259" y="72"/>
                  </a:cubicBezTo>
                  <a:cubicBezTo>
                    <a:pt x="275" y="72"/>
                    <a:pt x="288" y="85"/>
                    <a:pt x="288" y="101"/>
                  </a:cubicBezTo>
                  <a:cubicBezTo>
                    <a:pt x="288" y="360"/>
                    <a:pt x="288" y="360"/>
                    <a:pt x="288" y="360"/>
                  </a:cubicBezTo>
                  <a:cubicBezTo>
                    <a:pt x="288" y="531"/>
                    <a:pt x="167" y="678"/>
                    <a:pt x="0" y="7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grpSp>
        <p:nvGrpSpPr>
          <p:cNvPr id="1693" name="Group 24">
            <a:extLst>
              <a:ext uri="{FF2B5EF4-FFF2-40B4-BE49-F238E27FC236}">
                <a16:creationId xmlns:a16="http://schemas.microsoft.com/office/drawing/2014/main" xmlns="" id="{FECECFB8-D4CC-475B-A7AC-6ABDDCFEAC17}"/>
              </a:ext>
            </a:extLst>
          </p:cNvPr>
          <p:cNvGrpSpPr>
            <a:grpSpLocks noChangeAspect="1"/>
          </p:cNvGrpSpPr>
          <p:nvPr>
            <p:custDataLst>
              <p:tags r:id="rId26"/>
            </p:custDataLst>
          </p:nvPr>
        </p:nvGrpSpPr>
        <p:grpSpPr bwMode="auto">
          <a:xfrm>
            <a:off x="5670469" y="2158602"/>
            <a:ext cx="802054" cy="802054"/>
            <a:chOff x="1626" y="-1079"/>
            <a:chExt cx="588" cy="588"/>
          </a:xfrm>
        </p:grpSpPr>
        <p:sp>
          <p:nvSpPr>
            <p:cNvPr id="1694" name="Freeform 25">
              <a:extLst>
                <a:ext uri="{FF2B5EF4-FFF2-40B4-BE49-F238E27FC236}">
                  <a16:creationId xmlns:a16="http://schemas.microsoft.com/office/drawing/2014/main" xmlns="" id="{61BBDF9C-3A01-4958-8B14-C1F102820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6" y="-1079"/>
              <a:ext cx="588" cy="588"/>
            </a:xfrm>
            <a:custGeom>
              <a:avLst/>
              <a:gdLst>
                <a:gd name="T0" fmla="*/ 1039 w 1264"/>
                <a:gd name="T1" fmla="*/ 1039 h 1264"/>
                <a:gd name="T2" fmla="*/ 225 w 1264"/>
                <a:gd name="T3" fmla="*/ 1039 h 1264"/>
                <a:gd name="T4" fmla="*/ 225 w 1264"/>
                <a:gd name="T5" fmla="*/ 225 h 1264"/>
                <a:gd name="T6" fmla="*/ 1039 w 1264"/>
                <a:gd name="T7" fmla="*/ 225 h 1264"/>
                <a:gd name="T8" fmla="*/ 1039 w 1264"/>
                <a:gd name="T9" fmla="*/ 1039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4" h="1264">
                  <a:moveTo>
                    <a:pt x="1039" y="1039"/>
                  </a:moveTo>
                  <a:cubicBezTo>
                    <a:pt x="814" y="1264"/>
                    <a:pt x="450" y="1264"/>
                    <a:pt x="225" y="1039"/>
                  </a:cubicBezTo>
                  <a:cubicBezTo>
                    <a:pt x="0" y="814"/>
                    <a:pt x="0" y="450"/>
                    <a:pt x="225" y="225"/>
                  </a:cubicBezTo>
                  <a:cubicBezTo>
                    <a:pt x="450" y="0"/>
                    <a:pt x="814" y="0"/>
                    <a:pt x="1039" y="225"/>
                  </a:cubicBezTo>
                  <a:cubicBezTo>
                    <a:pt x="1264" y="450"/>
                    <a:pt x="1264" y="814"/>
                    <a:pt x="1039" y="103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95" name="Freeform 26">
              <a:extLst>
                <a:ext uri="{FF2B5EF4-FFF2-40B4-BE49-F238E27FC236}">
                  <a16:creationId xmlns:a16="http://schemas.microsoft.com/office/drawing/2014/main" xmlns="" id="{4EB8CE1F-8D82-4B30-B2F4-238D0C1E31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-914"/>
              <a:ext cx="354" cy="390"/>
            </a:xfrm>
            <a:custGeom>
              <a:avLst/>
              <a:gdLst>
                <a:gd name="T0" fmla="*/ 592 w 761"/>
                <a:gd name="T1" fmla="*/ 685 h 838"/>
                <a:gd name="T2" fmla="*/ 761 w 761"/>
                <a:gd name="T3" fmla="*/ 297 h 838"/>
                <a:gd name="T4" fmla="*/ 467 w 761"/>
                <a:gd name="T5" fmla="*/ 0 h 838"/>
                <a:gd name="T6" fmla="*/ 0 w 761"/>
                <a:gd name="T7" fmla="*/ 404 h 838"/>
                <a:gd name="T8" fmla="*/ 2 w 761"/>
                <a:gd name="T9" fmla="*/ 532 h 838"/>
                <a:gd name="T10" fmla="*/ 322 w 761"/>
                <a:gd name="T11" fmla="*/ 838 h 838"/>
                <a:gd name="T12" fmla="*/ 592 w 761"/>
                <a:gd name="T13" fmla="*/ 685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1" h="838">
                  <a:moveTo>
                    <a:pt x="592" y="685"/>
                  </a:moveTo>
                  <a:cubicBezTo>
                    <a:pt x="700" y="578"/>
                    <a:pt x="756" y="438"/>
                    <a:pt x="761" y="297"/>
                  </a:cubicBezTo>
                  <a:cubicBezTo>
                    <a:pt x="467" y="0"/>
                    <a:pt x="467" y="0"/>
                    <a:pt x="467" y="0"/>
                  </a:cubicBezTo>
                  <a:cubicBezTo>
                    <a:pt x="0" y="404"/>
                    <a:pt x="0" y="404"/>
                    <a:pt x="0" y="404"/>
                  </a:cubicBezTo>
                  <a:cubicBezTo>
                    <a:pt x="2" y="532"/>
                    <a:pt x="2" y="532"/>
                    <a:pt x="2" y="532"/>
                  </a:cubicBezTo>
                  <a:cubicBezTo>
                    <a:pt x="322" y="838"/>
                    <a:pt x="322" y="838"/>
                    <a:pt x="322" y="838"/>
                  </a:cubicBezTo>
                  <a:cubicBezTo>
                    <a:pt x="421" y="814"/>
                    <a:pt x="515" y="763"/>
                    <a:pt x="592" y="685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96" name="Freeform 27">
              <a:extLst>
                <a:ext uri="{FF2B5EF4-FFF2-40B4-BE49-F238E27FC236}">
                  <a16:creationId xmlns:a16="http://schemas.microsoft.com/office/drawing/2014/main" xmlns="" id="{51EF6076-7794-4069-8F17-F7FC10EF4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6" y="-952"/>
              <a:ext cx="268" cy="330"/>
            </a:xfrm>
            <a:custGeom>
              <a:avLst/>
              <a:gdLst>
                <a:gd name="T0" fmla="*/ 0 w 576"/>
                <a:gd name="T1" fmla="*/ 101 h 711"/>
                <a:gd name="T2" fmla="*/ 0 w 576"/>
                <a:gd name="T3" fmla="*/ 360 h 711"/>
                <a:gd name="T4" fmla="*/ 288 w 576"/>
                <a:gd name="T5" fmla="*/ 711 h 711"/>
                <a:gd name="T6" fmla="*/ 288 w 576"/>
                <a:gd name="T7" fmla="*/ 711 h 711"/>
                <a:gd name="T8" fmla="*/ 288 w 576"/>
                <a:gd name="T9" fmla="*/ 711 h 711"/>
                <a:gd name="T10" fmla="*/ 576 w 576"/>
                <a:gd name="T11" fmla="*/ 360 h 711"/>
                <a:gd name="T12" fmla="*/ 576 w 576"/>
                <a:gd name="T13" fmla="*/ 101 h 711"/>
                <a:gd name="T14" fmla="*/ 547 w 576"/>
                <a:gd name="T15" fmla="*/ 72 h 711"/>
                <a:gd name="T16" fmla="*/ 513 w 576"/>
                <a:gd name="T17" fmla="*/ 72 h 711"/>
                <a:gd name="T18" fmla="*/ 288 w 576"/>
                <a:gd name="T19" fmla="*/ 0 h 711"/>
                <a:gd name="T20" fmla="*/ 288 w 576"/>
                <a:gd name="T21" fmla="*/ 0 h 711"/>
                <a:gd name="T22" fmla="*/ 288 w 576"/>
                <a:gd name="T23" fmla="*/ 0 h 711"/>
                <a:gd name="T24" fmla="*/ 63 w 576"/>
                <a:gd name="T25" fmla="*/ 72 h 711"/>
                <a:gd name="T26" fmla="*/ 29 w 576"/>
                <a:gd name="T27" fmla="*/ 72 h 711"/>
                <a:gd name="T28" fmla="*/ 0 w 576"/>
                <a:gd name="T29" fmla="*/ 10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6" h="711">
                  <a:moveTo>
                    <a:pt x="0" y="101"/>
                  </a:moveTo>
                  <a:cubicBezTo>
                    <a:pt x="0" y="360"/>
                    <a:pt x="0" y="360"/>
                    <a:pt x="0" y="360"/>
                  </a:cubicBezTo>
                  <a:cubicBezTo>
                    <a:pt x="0" y="531"/>
                    <a:pt x="121" y="678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288" y="711"/>
                    <a:pt x="288" y="711"/>
                    <a:pt x="288" y="711"/>
                  </a:cubicBezTo>
                  <a:cubicBezTo>
                    <a:pt x="455" y="678"/>
                    <a:pt x="576" y="531"/>
                    <a:pt x="576" y="360"/>
                  </a:cubicBezTo>
                  <a:cubicBezTo>
                    <a:pt x="576" y="101"/>
                    <a:pt x="576" y="101"/>
                    <a:pt x="576" y="101"/>
                  </a:cubicBezTo>
                  <a:cubicBezTo>
                    <a:pt x="576" y="85"/>
                    <a:pt x="563" y="72"/>
                    <a:pt x="547" y="72"/>
                  </a:cubicBezTo>
                  <a:cubicBezTo>
                    <a:pt x="513" y="72"/>
                    <a:pt x="513" y="72"/>
                    <a:pt x="513" y="72"/>
                  </a:cubicBezTo>
                  <a:cubicBezTo>
                    <a:pt x="432" y="72"/>
                    <a:pt x="354" y="47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22" y="47"/>
                    <a:pt x="144" y="72"/>
                    <a:pt x="63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13" y="72"/>
                    <a:pt x="0" y="85"/>
                    <a:pt x="0" y="10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97" name="Freeform 28">
              <a:extLst>
                <a:ext uri="{FF2B5EF4-FFF2-40B4-BE49-F238E27FC236}">
                  <a16:creationId xmlns:a16="http://schemas.microsoft.com/office/drawing/2014/main" xmlns="" id="{2C8E82A8-62CA-4C36-8256-F10ECD6983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" y="-952"/>
              <a:ext cx="134" cy="330"/>
            </a:xfrm>
            <a:custGeom>
              <a:avLst/>
              <a:gdLst>
                <a:gd name="T0" fmla="*/ 0 w 288"/>
                <a:gd name="T1" fmla="*/ 0 h 711"/>
                <a:gd name="T2" fmla="*/ 225 w 288"/>
                <a:gd name="T3" fmla="*/ 72 h 711"/>
                <a:gd name="T4" fmla="*/ 259 w 288"/>
                <a:gd name="T5" fmla="*/ 72 h 711"/>
                <a:gd name="T6" fmla="*/ 288 w 288"/>
                <a:gd name="T7" fmla="*/ 101 h 711"/>
                <a:gd name="T8" fmla="*/ 288 w 288"/>
                <a:gd name="T9" fmla="*/ 360 h 711"/>
                <a:gd name="T10" fmla="*/ 0 w 288"/>
                <a:gd name="T11" fmla="*/ 711 h 711"/>
                <a:gd name="T12" fmla="*/ 0 w 288"/>
                <a:gd name="T13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711">
                  <a:moveTo>
                    <a:pt x="0" y="0"/>
                  </a:moveTo>
                  <a:cubicBezTo>
                    <a:pt x="66" y="47"/>
                    <a:pt x="144" y="72"/>
                    <a:pt x="225" y="72"/>
                  </a:cubicBezTo>
                  <a:cubicBezTo>
                    <a:pt x="259" y="72"/>
                    <a:pt x="259" y="72"/>
                    <a:pt x="259" y="72"/>
                  </a:cubicBezTo>
                  <a:cubicBezTo>
                    <a:pt x="275" y="72"/>
                    <a:pt x="288" y="85"/>
                    <a:pt x="288" y="101"/>
                  </a:cubicBezTo>
                  <a:cubicBezTo>
                    <a:pt x="288" y="360"/>
                    <a:pt x="288" y="360"/>
                    <a:pt x="288" y="360"/>
                  </a:cubicBezTo>
                  <a:cubicBezTo>
                    <a:pt x="288" y="531"/>
                    <a:pt x="167" y="678"/>
                    <a:pt x="0" y="71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2408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8.64198E-7 L -0.11476 -8.64198E-7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6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74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" dur="250"/>
                                        <p:tgtEl>
                                          <p:spTgt spid="16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6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35" presetClass="path" presetSubtype="0" ac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-8.64198E-7 L 0.23073 -8.64198E-7 " pathEditMode="relative" rAng="0" ptsTypes="AA">
                                      <p:cBhvr>
                                        <p:cTn id="11" dur="750" fill="hold"/>
                                        <p:tgtEl>
                                          <p:spTgt spid="16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528" y="0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250"/>
                                        <p:tgtEl>
                                          <p:spTgt spid="167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6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35" presetClass="path" presetSubtype="0" ac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8.64198E-7 L 0.1151 -8.64198E-7 " pathEditMode="relative" rAng="0" ptsTypes="AA">
                                      <p:cBhvr>
                                        <p:cTn id="16" dur="750" fill="hold"/>
                                        <p:tgtEl>
                                          <p:spTgt spid="16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747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250"/>
                                        <p:tgtEl>
                                          <p:spTgt spid="16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6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6" presetClass="emp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21" dur="500" fill="hold"/>
                                        <p:tgtEl>
                                          <p:spTgt spid="1693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  <p:par>
                                <p:cTn id="22" presetID="6" presetClass="emph" presetSubtype="0" ac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23" dur="250" fill="hold"/>
                                        <p:tgtEl>
                                          <p:spTgt spid="1693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1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28" dur="10" fill="hold"/>
                                        <p:tgtEl>
                                          <p:spTgt spid="1198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6" presetClass="emp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30" dur="750" fill="hold"/>
                                        <p:tgtEl>
                                          <p:spTgt spid="1198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1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5" dur="10" fill="hold"/>
                                        <p:tgtEl>
                                          <p:spTgt spid="1224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36" presetID="6" presetClass="emp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37" dur="750" fill="hold"/>
                                        <p:tgtEl>
                                          <p:spTgt spid="1224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12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42" dur="10" fill="hold"/>
                                        <p:tgtEl>
                                          <p:spTgt spid="1223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6" presetClass="emp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44" dur="750" fill="hold"/>
                                        <p:tgtEl>
                                          <p:spTgt spid="1223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9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49" dur="10" fill="hold"/>
                                        <p:tgtEl>
                                          <p:spTgt spid="906"/>
                                        </p:tgtEl>
                                      </p:cBhvr>
                                      <p:by x="1000" y="1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6" presetClass="emp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51" dur="750" fill="hold"/>
                                        <p:tgtEl>
                                          <p:spTgt spid="906"/>
                                        </p:tgtEl>
                                      </p:cBhvr>
                                      <p:by x="9999000" y="9999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750"/>
                            </p:stCondLst>
                            <p:childTnLst>
                              <p:par>
                                <p:cTn id="5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xit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1000"/>
                                        <p:tgtEl>
                                          <p:spTgt spid="12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6" presetClass="emph" presetSubtype="0" repeatCount="indefinite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9" dur="1000" fill="hold"/>
                                        <p:tgtEl>
                                          <p:spTgt spid="122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1000"/>
                                        <p:tgtEl>
                                          <p:spTgt spid="16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6" presetClass="emph" presetSubtype="0" repeatCount="indefinite" decel="10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6" dur="1000" fill="hold"/>
                                        <p:tgtEl>
                                          <p:spTgt spid="166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3" dur="2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0" presetClass="path" presetSubtype="0" repeatCount="indefinite" fill="hold" grpId="0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-0.00018 -0.00309 L 0.07552 -0.03765 L 0.06024 0.40309 " pathEditMode="relative" rAng="0" ptsTypes="AAA">
                                      <p:cBhvr>
                                        <p:cTn id="88" dur="5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85" y="18580"/>
                                    </p:animMotion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8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0" presetClass="path" presetSubtype="0" repeatCount="indefinite" fill="hold" grpId="0" nodeType="withEffect">
                                  <p:stCondLst>
                                    <p:cond delay="550"/>
                                  </p:stCondLst>
                                  <p:childTnLst>
                                    <p:animMotion origin="layout" path="M -0.00087 2.46914E-7 L 0.05868 -0.11944 L -0.13646 -0.32809 " pathEditMode="relative" ptsTypes="AAA">
                                      <p:cBhvr>
                                        <p:cTn id="93" dur="5250" fill="hold"/>
                                        <p:tgtEl>
                                          <p:spTgt spid="8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8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0" presetClass="path" presetSubtype="0" repeatCount="indefinite" fill="hold" grpId="0" nodeType="withEffect">
                                  <p:stCondLst>
                                    <p:cond delay="950"/>
                                  </p:stCondLst>
                                  <p:childTnLst>
                                    <p:animMotion origin="layout" path="M -0.00122 -0.00123 L 0.06875 -0.07191 L -0.12344 0.36821 " pathEditMode="relative" ptsTypes="AAA">
                                      <p:cBhvr>
                                        <p:cTn id="98" dur="5250" fill="hold"/>
                                        <p:tgtEl>
                                          <p:spTgt spid="8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8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0" presetClass="path" presetSubtype="0" repeatCount="indefinite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625 0.00494 L -0.07483 -0.01327 L 0.05642 0.3821 " pathEditMode="relative" rAng="2640000" ptsTypes="AAA">
                                      <p:cBhvr>
                                        <p:cTn id="103" dur="5250" fill="hold"/>
                                        <p:tgtEl>
                                          <p:spTgt spid="8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6" y="14815"/>
                                    </p:animMotion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8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0" presetClass="path" presetSubtype="0" repeatCount="indefinite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0018 -0.00093 L -0.0533 -0.12655 L 0.18021 -0.53303 " pathEditMode="relative" ptsTypes="AAA">
                                      <p:cBhvr>
                                        <p:cTn id="108" dur="5750" fill="hold"/>
                                        <p:tgtEl>
                                          <p:spTgt spid="8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1" nodeType="withEffect">
                                  <p:stCondLst>
                                    <p:cond delay="95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8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0" presetClass="path" presetSubtype="0" repeatCount="indefinite" decel="100000" fill="hold" grpId="0" nodeType="withEffect">
                                  <p:stCondLst>
                                    <p:cond delay="950"/>
                                  </p:stCondLst>
                                  <p:childTnLst>
                                    <p:animMotion origin="layout" path="M 0.00121 -0.00031 L -0.06094 -0.06142 L 0.16302 -0.1676 " pathEditMode="relative" ptsTypes="AAA">
                                      <p:cBhvr>
                                        <p:cTn id="113" dur="5250" fill="hold"/>
                                        <p:tgtEl>
                                          <p:spTgt spid="8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8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0" presetClass="path" presetSubtype="0" repeatCount="indefinite" decel="100000" fill="hold" grpId="0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-0.00017 -0.00185 L -0.04757 0.12469 L 0.25799 0.16697 " pathEditMode="relative" ptsTypes="AAA">
                                      <p:cBhvr>
                                        <p:cTn id="118" dur="5250" fill="hold"/>
                                        <p:tgtEl>
                                          <p:spTgt spid="8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8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0" presetClass="path" presetSubtype="0" repeatCount="indefinite" fill="hold" grpId="0" nodeType="withEffect">
                                  <p:stCondLst>
                                    <p:cond delay="450"/>
                                  </p:stCondLst>
                                  <p:childTnLst>
                                    <p:animMotion origin="layout" path="M -0.00087 0.00031 L -0.1099 0.10525 L -0.18698 -0.24784 " pathEditMode="relative" ptsTypes="AAA">
                                      <p:cBhvr>
                                        <p:cTn id="123" dur="4750" fill="hold"/>
                                        <p:tgtEl>
                                          <p:spTgt spid="8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1" nodeType="withEffect">
                                  <p:stCondLst>
                                    <p:cond delay="95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8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0" presetClass="path" presetSubtype="0" repeatCount="indefinite" decel="100000" fill="hold" grpId="0" nodeType="withEffect">
                                  <p:stCondLst>
                                    <p:cond delay="950"/>
                                  </p:stCondLst>
                                  <p:childTnLst>
                                    <p:animMotion origin="layout" path="M 0.00052 -0.00185 L -0.06129 0.1142 L -0.04046 -0.23395 " pathEditMode="relative" ptsTypes="AAA">
                                      <p:cBhvr>
                                        <p:cTn id="128" dur="5250" fill="hold"/>
                                        <p:tgtEl>
                                          <p:spTgt spid="8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8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0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7 -0.00185 L 0.01858 0.16852 L -0.23211 0.0216 " pathEditMode="relative" ptsTypes="AAA">
                                      <p:cBhvr>
                                        <p:cTn id="133" dur="6500" fill="hold"/>
                                        <p:tgtEl>
                                          <p:spTgt spid="89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8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0" presetClass="path" presetSubtype="0" repeatCount="indefinite" accel="1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0191 0.00308 L 0.04531 0.13395 L 0.1217 -0.19198 " pathEditMode="relative" ptsTypes="AAA">
                                      <p:cBhvr>
                                        <p:cTn id="138" dur="5250" fill="hold"/>
                                        <p:tgtEl>
                                          <p:spTgt spid="8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grpId="1" nodeType="withEffect">
                                  <p:stCondLst>
                                    <p:cond delay="95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8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0" presetClass="path" presetSubtype="0" repeatCount="indefinite" decel="100000" fill="hold" grpId="0" nodeType="withEffect">
                                  <p:stCondLst>
                                    <p:cond delay="950"/>
                                  </p:stCondLst>
                                  <p:childTnLst>
                                    <p:animMotion origin="layout" path="M 0.00105 0.00154 L 0.08716 0.10154 L 0.23299 -0.2034 " pathEditMode="relative" ptsTypes="AAA">
                                      <p:cBhvr>
                                        <p:cTn id="143" dur="5250" fill="hold"/>
                                        <p:tgtEl>
                                          <p:spTgt spid="89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44" presetID="1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6" presetID="1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1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0" presetID="1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1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4" presetID="1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6" presetID="1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1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1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2" presetID="1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4" presetID="0" presetClass="path" presetSubtype="0" repeatCount="indefinite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animMotion origin="layout" path="M -0.00017 0.0003 L 0.03177 -0.03426 L 0.03837 0.0003 L 0.07726 -0.00031 L 0.07656 -0.06821 L 0.1283 -0.06945 L 0.09601 -0.02254 L 0.1092 0.01203 L 0.09045 0.04598 L 0.1026 0.08055 L 0.1099 0.12685 L 0.13559 0.13858 L 0.16094 0.11327 L 0.17378 0.04537 C 0.17378 0.03024 0.17396 0.01512 0.17413 0.0003 L 0.19913 0.05709 L 0.18038 0.09104 L 0.14774 0.06882 L 0.14045 0.10401 L 0.10885 0.12685 L 0.08976 0.14969 L 0.06371 0.16018 L 0.03767 0.13734 L 0.01858 0.04413 L 0.03837 0.05833 L 0.05816 0.04475 L 0.06996 0.07993 L 0.08906 0.10277 L 0.10955 0.12561 L 0.11615 0.1608 L 0.1151 0.15771 " pathEditMode="relative" ptsTypes="AAAAAAAAAAAAAAAAAAAAAAAAAAAAAAA">
                                      <p:cBhvr>
                                        <p:cTn id="165" dur="10250" fill="hold"/>
                                        <p:tgtEl>
                                          <p:spTgt spid="8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66" presetID="0" presetClass="path" presetSubtype="0" repeatCount="indefinite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animMotion origin="layout" path="M -2.22222E-6 -0.00031 L -0.01632 0.04537 L -0.01076 0.10216 L -0.03541 0.12438 L -0.06771 0.1713 L -0.075 0.12562 L -0.09375 0.17191 L -0.1 0.13673 L -0.11284 0.18056 L -0.12708 0.13611 L -0.13159 0.0892 L -0.14618 0.06944 L -0.18437 0.08056 L -0.22291 0.06883 L -0.21007 0.02253 L -0.24826 0.03364 L -0.20382 -0.01265 L -0.18437 -0.05895 L -0.14479 -0.125 L -0.11979 -0.14969 L -0.09444 -0.12747 L -0.0743 -0.09167 L -0.10069 -0.07006 L -0.07465 -0.03549 L -0.10069 -0.00031 C -0.10087 0.01142 -0.10104 0.02315 -0.10104 0.03488 L -0.11319 0.06883 " pathEditMode="relative" ptsTypes="AAAAAAAAAAAAAAAAAAAAAAAAAAA">
                                      <p:cBhvr>
                                        <p:cTn id="167" dur="9240" fill="hold"/>
                                        <p:tgtEl>
                                          <p:spTgt spid="89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68" presetID="0" presetClass="path" presetSubtype="0" repeatCount="indefinite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animMotion origin="layout" path="M 0.00034 0.00031 L -0.01181 -0.04352 L -0.0441 -0.06697 L -0.0507 -0.04352 L -0.07605 -0.07747 L -0.11424 -0.08858 L -0.12743 -0.14722 L -0.08889 -0.13426 L -0.05 -0.13487 L -0.03091 -0.09969 L -0.01841 -0.14722 L -0.00452 -0.10031 L -0.01285 -0.04475 L 0.02639 -0.04228 L -0.00452 -0.10216 L 0.01423 -0.11327 L 0.03333 -0.15833 L 0.06666 -0.11203 L 0.05347 -0.05401 L 0.04027 -0.11265 L 0.04548 -0.18426 L 0.06632 -0.20401 C 0.06614 -0.22006 0.06597 -0.23611 0.06597 -0.25216 L 0.04652 -0.22561 L 0.02187 -0.20277 L 0.03333 -0.15463 L 0.01423 -0.11203 L -0.00556 -0.10154 L -0.01875 -0.14598 L -0.05035 -0.13487 L -0.05035 -0.1824 L -0.07674 -0.20277 L -0.10278 -0.1571 L -0.08924 -0.13426 L -0.07674 -0.20092 L -0.04966 -0.18117 L -0.02327 -0.19413 L -0.00521 -0.21203 " pathEditMode="relative" ptsTypes="AAAAAAAAAAAAAAAAAAAAAAAAAAAAAAAAAAAAAA">
                                      <p:cBhvr>
                                        <p:cTn id="169" dur="10540" fill="hold"/>
                                        <p:tgtEl>
                                          <p:spTgt spid="90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0" presetID="0" presetClass="path" presetSubtype="0" repeatCount="indefinite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0017 0.0003 L 0.03177 -0.03426 L 0.03837 0.0003 L 0.07726 -0.00031 L 0.07656 -0.06821 L 0.1283 -0.06945 L 0.09601 -0.02254 L 0.1092 0.01203 L 0.09045 0.04598 L 0.1026 0.08055 L 0.1099 0.12685 L 0.13559 0.13858 L 0.16094 0.11327 L 0.17378 0.04537 C 0.17378 0.03024 0.17396 0.01512 0.17413 0.0003 L 0.19913 0.05709 L 0.18038 0.09104 L 0.14774 0.06882 L 0.14045 0.10401 L 0.10885 0.12685 L 0.08976 0.14969 L 0.06371 0.16018 L 0.03767 0.13734 L 0.01858 0.04413 L 0.03837 0.05833 L 0.05816 0.04475 L 0.06996 0.07993 L 0.08906 0.10277 L 0.10955 0.12561 L 0.11615 0.1608 L 0.1151 0.15771 " pathEditMode="relative" rAng="0" ptsTypes="AAAAAAAAAAAAAAAAAAAAAAAAAAAAAAA">
                                      <p:cBhvr>
                                        <p:cTn id="171" dur="11000" fill="hold"/>
                                        <p:tgtEl>
                                          <p:spTgt spid="9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965" y="4537"/>
                                    </p:animMotion>
                                  </p:childTnLst>
                                </p:cTn>
                              </p:par>
                              <p:par>
                                <p:cTn id="172" presetID="0" presetClass="path" presetSubtype="0" repeatCount="indefinite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0.00017 0.0003 L 0.03177 -0.03426 L 0.03837 0.0003 L 0.07726 -0.00031 L 0.07656 -0.06821 L 0.1283 -0.06945 L 0.09601 -0.02254 L 0.1092 0.01203 L 0.09045 0.04598 L 0.1026 0.08055 L 0.1099 0.12685 L 0.13559 0.13858 L 0.16094 0.11327 L 0.17378 0.04537 C 0.17378 0.03024 0.17396 0.01512 0.17413 0.0003 L 0.19913 0.05709 L 0.18038 0.09104 L 0.14774 0.06882 L 0.14045 0.10401 L 0.10885 0.12685 L 0.08976 0.14969 L 0.06371 0.16018 L 0.03767 0.13734 L 0.01858 0.04413 L 0.03837 0.05833 L 0.05816 0.04475 L 0.06996 0.07993 L 0.08906 0.10277 L 0.10955 0.12561 L 0.11615 0.1608 L 0.1151 0.15771 " pathEditMode="relative" rAng="0" ptsTypes="AAAAAAAAAAAAAAAAAAAAAAAAAAAAAAA">
                                      <p:cBhvr>
                                        <p:cTn id="173" dur="11330" fill="hold"/>
                                        <p:tgtEl>
                                          <p:spTgt spid="9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965" y="4537"/>
                                    </p:animMotion>
                                  </p:childTnLst>
                                </p:cTn>
                              </p:par>
                              <p:par>
                                <p:cTn id="174" presetID="0" presetClass="path" presetSubtype="0" repeatCount="indefinite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0.00017 0.0003 L 0.03177 -0.03426 L 0.03837 0.0003 L 0.07726 -0.00031 L 0.07656 -0.06821 L 0.1283 -0.06945 L 0.09601 -0.02254 L 0.1092 0.01203 L 0.09045 0.04598 L 0.1026 0.08055 L 0.1099 0.12685 L 0.13559 0.13858 L 0.16094 0.11327 L 0.17378 0.04537 C 0.17378 0.03024 0.17396 0.01512 0.17413 0.0003 L 0.19913 0.05709 L 0.18038 0.09104 L 0.14774 0.06882 L 0.14045 0.10401 L 0.10885 0.12685 L 0.08976 0.14969 L 0.06371 0.16018 L 0.03767 0.13734 L 0.01858 0.04413 L 0.03837 0.05833 L 0.05816 0.04475 L 0.06996 0.07993 L 0.08906 0.10277 L 0.10955 0.12561 L 0.11615 0.1608 L 0.1151 0.15771 " pathEditMode="relative" rAng="0" ptsTypes="AAAAAAAAAAAAAAAAAAAAAAAAAAAAAAA">
                                      <p:cBhvr>
                                        <p:cTn id="175" dur="12010" fill="hold"/>
                                        <p:tgtEl>
                                          <p:spTgt spid="90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965" y="4537"/>
                                    </p:animMotion>
                                  </p:childTnLst>
                                </p:cTn>
                              </p:par>
                              <p:par>
                                <p:cTn id="176" presetID="0" presetClass="path" presetSubtype="0" repeatCount="indefinite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animMotion origin="layout" path="M -2.22222E-6 -0.00031 L -0.01632 0.04537 L -0.01076 0.10216 L -0.03541 0.12438 L -0.06771 0.1713 L -0.075 0.12562 L -0.09375 0.17191 L -0.1 0.13673 L -0.11284 0.18056 L -0.12708 0.13611 L -0.13159 0.0892 L -0.14618 0.06944 L -0.18437 0.08056 L -0.22291 0.06883 L -0.21007 0.02253 L -0.24826 0.03364 L -0.20382 -0.01265 L -0.18437 -0.05895 L -0.14479 -0.125 L -0.11979 -0.14969 L -0.09444 -0.12747 L -0.0743 -0.09167 L -0.10069 -0.07006 L -0.07465 -0.03549 L -0.10069 -0.00031 C -0.10087 0.01142 -0.10104 0.02315 -0.10104 0.03488 L -0.11319 0.06883 " pathEditMode="relative" rAng="0" ptsTypes="AAAAAAAAAAAAAAAAAAAAAAAAAAA">
                                      <p:cBhvr>
                                        <p:cTn id="177" dur="13250" fill="hold"/>
                                        <p:tgtEl>
                                          <p:spTgt spid="9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413" y="1574"/>
                                    </p:animMotion>
                                  </p:childTnLst>
                                </p:cTn>
                              </p:par>
                              <p:par>
                                <p:cTn id="178" presetID="0" presetClass="path" presetSubtype="0" repeatCount="indefinite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animMotion origin="layout" path="M -2.22222E-6 -0.00031 L -0.01632 0.04537 L -0.01076 0.10216 L -0.03541 0.12438 L -0.06771 0.1713 L -0.075 0.12562 L -0.09375 0.17191 L -0.1 0.13673 L -0.11284 0.18056 L -0.12708 0.13611 L -0.13159 0.0892 L -0.14618 0.06944 L -0.18437 0.08056 L -0.22291 0.06883 L -0.21007 0.02253 L -0.24826 0.03364 L -0.20382 -0.01265 L -0.18437 -0.05895 L -0.14479 -0.125 L -0.11979 -0.14969 L -0.09444 -0.12747 L -0.0743 -0.09167 L -0.10069 -0.07006 L -0.07465 -0.03549 L -0.10069 -0.00031 C -0.10087 0.01142 -0.10104 0.02315 -0.10104 0.03488 L -0.11319 0.06883 " pathEditMode="relative" rAng="0" ptsTypes="AAAAAAAAAAAAAAAAAAAAAAAAAAA">
                                      <p:cBhvr>
                                        <p:cTn id="179" dur="9750" fill="hold"/>
                                        <p:tgtEl>
                                          <p:spTgt spid="9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413" y="1574"/>
                                    </p:animMotion>
                                  </p:childTnLst>
                                </p:cTn>
                              </p:par>
                              <p:par>
                                <p:cTn id="180" presetID="0" presetClass="path" presetSubtype="0" repeatCount="indefinite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00034 0.00031 L -0.01181 -0.04352 L -0.0441 -0.06697 L -0.0507 -0.04352 L -0.07605 -0.07747 L -0.11424 -0.08858 L -0.12743 -0.14722 L -0.08889 -0.13426 L -0.05 -0.13487 L -0.03091 -0.09969 L -0.01841 -0.14722 L -0.00452 -0.10031 L -0.01285 -0.04475 L 0.02639 -0.04228 L -0.00452 -0.10216 L 0.01423 -0.11327 L 0.03333 -0.15833 L 0.06666 -0.11203 L 0.05347 -0.05401 L 0.04027 -0.11265 L 0.04548 -0.18426 L 0.06632 -0.20401 C 0.06614 -0.22006 0.06597 -0.23611 0.06597 -0.25216 L 0.04652 -0.22561 L 0.02187 -0.20277 L 0.03333 -0.15463 L 0.01423 -0.11203 L -0.00556 -0.10154 L -0.01875 -0.14598 L -0.05035 -0.13487 L -0.05035 -0.1824 L -0.07674 -0.20277 L -0.10278 -0.1571 L -0.08924 -0.13426 L -0.07674 -0.20092 L -0.04966 -0.18117 L -0.02327 -0.19413 L -0.00521 -0.21203 " pathEditMode="relative" rAng="0" ptsTypes="AAAAAAAAAAAAAAAAAAAAAAAAAAAAAAAAAAAAAA">
                                      <p:cBhvr>
                                        <p:cTn id="181" dur="10850" fill="hold"/>
                                        <p:tgtEl>
                                          <p:spTgt spid="90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073" y="-12623"/>
                                    </p:animMotion>
                                  </p:childTnLst>
                                </p:cTn>
                              </p:par>
                              <p:par>
                                <p:cTn id="182" presetID="0" presetClass="path" presetSubtype="0" repeatCount="indefinite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animMotion origin="layout" path="M 0.00034 0.00031 L -0.01181 -0.04352 L -0.0441 -0.06697 L -0.0507 -0.04352 L -0.07605 -0.07747 L -0.11424 -0.08858 L -0.12743 -0.14722 L -0.08889 -0.13426 L -0.05 -0.13487 L -0.03091 -0.09969 L -0.01841 -0.14722 L -0.00452 -0.10031 L -0.01285 -0.04475 L 0.02639 -0.04228 L -0.00452 -0.10216 L 0.01423 -0.11327 L 0.03333 -0.15833 L 0.06666 -0.11203 L 0.05347 -0.05401 L 0.04027 -0.11265 L 0.04548 -0.18426 L 0.06632 -0.20401 C 0.06614 -0.22006 0.06597 -0.23611 0.06597 -0.25216 L 0.04652 -0.22561 L 0.02187 -0.20277 L 0.03333 -0.15463 L 0.01423 -0.11203 L -0.00556 -0.10154 L -0.01875 -0.14598 L -0.05035 -0.13487 L -0.05035 -0.1824 L -0.07674 -0.20277 L -0.10278 -0.1571 L -0.08924 -0.13426 L -0.07674 -0.20092 L -0.04966 -0.18117 L -0.02327 -0.19413 L -0.00521 -0.21203 " pathEditMode="relative" rAng="0" ptsTypes="AAAAAAAAAAAAAAAAAAAAAAAAAAAAAAAAAAAAAA">
                                      <p:cBhvr>
                                        <p:cTn id="183" dur="10000" fill="hold"/>
                                        <p:tgtEl>
                                          <p:spTgt spid="90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073" y="-126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17" grpId="0" animBg="1"/>
      <p:bldP spid="17" grpId="1" animBg="1"/>
      <p:bldP spid="881" grpId="0" animBg="1"/>
      <p:bldP spid="881" grpId="1" animBg="1"/>
      <p:bldP spid="883" grpId="0" animBg="1"/>
      <p:bldP spid="883" grpId="1" animBg="1"/>
      <p:bldP spid="882" grpId="0" animBg="1"/>
      <p:bldP spid="882" grpId="1" animBg="1"/>
      <p:bldP spid="887" grpId="0" animBg="1"/>
      <p:bldP spid="887" grpId="1" animBg="1"/>
      <p:bldP spid="890" grpId="0" animBg="1"/>
      <p:bldP spid="890" grpId="1" animBg="1"/>
      <p:bldP spid="888" grpId="0" animBg="1"/>
      <p:bldP spid="888" grpId="1" animBg="1"/>
      <p:bldP spid="880" grpId="0" animBg="1"/>
      <p:bldP spid="880" grpId="1" animBg="1"/>
      <p:bldP spid="892" grpId="0" animBg="1"/>
      <p:bldP spid="892" grpId="1" animBg="1"/>
      <p:bldP spid="891" grpId="0" animBg="1"/>
      <p:bldP spid="891" grpId="1" animBg="1"/>
      <p:bldP spid="893" grpId="0" animBg="1"/>
      <p:bldP spid="893" grpId="1" animBg="1"/>
      <p:bldP spid="894" grpId="0" animBg="1"/>
      <p:bldP spid="894" grpId="1" animBg="1"/>
      <p:bldP spid="898" grpId="0" animBg="1"/>
      <p:bldP spid="898" grpId="1" animBg="1"/>
      <p:bldP spid="899" grpId="0" animBg="1"/>
      <p:bldP spid="899" grpId="1" animBg="1"/>
      <p:bldP spid="900" grpId="0" animBg="1"/>
      <p:bldP spid="900" grpId="1" animBg="1"/>
      <p:bldP spid="901" grpId="0" animBg="1"/>
      <p:bldP spid="901" grpId="1" animBg="1"/>
      <p:bldP spid="902" grpId="0" animBg="1"/>
      <p:bldP spid="902" grpId="1" animBg="1"/>
      <p:bldP spid="903" grpId="0" animBg="1"/>
      <p:bldP spid="903" grpId="1" animBg="1"/>
      <p:bldP spid="904" grpId="0" animBg="1"/>
      <p:bldP spid="904" grpId="1" animBg="1"/>
      <p:bldP spid="905" grpId="0" animBg="1"/>
      <p:bldP spid="905" grpId="1" animBg="1"/>
      <p:bldP spid="907" grpId="0" animBg="1"/>
      <p:bldP spid="907" grpId="1" animBg="1"/>
      <p:bldP spid="908" grpId="0" animBg="1"/>
      <p:bldP spid="908" grpId="1" animBg="1"/>
      <p:bldP spid="1669" grpId="0" animBg="1"/>
      <p:bldP spid="1669" grpId="1" animBg="1"/>
      <p:bldP spid="1669" grpId="2" animBg="1"/>
      <p:bldP spid="1220" grpId="0" animBg="1"/>
      <p:bldP spid="1220" grpId="1" animBg="1"/>
      <p:bldP spid="1220" grpId="2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anchor="b"/>
          <a:lstStyle/>
          <a:p>
            <a:r>
              <a:rPr lang="en-US" dirty="0" smtClean="0"/>
              <a:t>Security Services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Subtitle 3">
            <a:extLst>
              <a:ext uri="{FF2B5EF4-FFF2-40B4-BE49-F238E27FC236}">
                <a16:creationId xmlns="" xmlns:a16="http://schemas.microsoft.com/office/drawing/2014/main" id="{93894206-7958-41E4-952D-4133A6B6D176}"/>
              </a:ext>
            </a:extLst>
          </p:cNvPr>
          <p:cNvSpPr txBox="1">
            <a:spLocks/>
          </p:cNvSpPr>
          <p:nvPr/>
        </p:nvSpPr>
        <p:spPr>
          <a:xfrm>
            <a:off x="469496" y="3555318"/>
            <a:ext cx="8296421" cy="632195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 err="1" smtClean="0">
                <a:latin typeface="CiscoSans ExtraLight" charset="0"/>
                <a:ea typeface="CiscoSans ExtraLight" charset="0"/>
                <a:cs typeface="CiscoSans ExtraLight" charset="0"/>
              </a:rPr>
              <a:t>Taslimm</a:t>
            </a:r>
            <a:r>
              <a:rPr lang="en-US" dirty="0" smtClean="0">
                <a:latin typeface="CiscoSans ExtraLight" charset="0"/>
                <a:ea typeface="CiscoSans ExtraLight" charset="0"/>
                <a:cs typeface="CiscoSans ExtraLight" charset="0"/>
              </a:rPr>
              <a:t> </a:t>
            </a:r>
            <a:r>
              <a:rPr lang="en-US" dirty="0" err="1" smtClean="0">
                <a:latin typeface="CiscoSans ExtraLight" charset="0"/>
                <a:ea typeface="CiscoSans ExtraLight" charset="0"/>
                <a:cs typeface="CiscoSans ExtraLight" charset="0"/>
              </a:rPr>
              <a:t>Quraishi</a:t>
            </a:r>
            <a:r>
              <a:rPr lang="en-US" dirty="0" smtClean="0">
                <a:latin typeface="CiscoSans ExtraLight" charset="0"/>
                <a:ea typeface="CiscoSans ExtraLight" charset="0"/>
                <a:cs typeface="CiscoSans ExtraLight" charset="0"/>
              </a:rPr>
              <a:t> – GSP Director, Security Services</a:t>
            </a:r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="" xmlns:a16="http://schemas.microsoft.com/office/drawing/2014/main" id="{C085B9A4-BFC9-44F8-9648-90BFF3CFED3C}"/>
              </a:ext>
            </a:extLst>
          </p:cNvPr>
          <p:cNvSpPr txBox="1">
            <a:spLocks/>
          </p:cNvSpPr>
          <p:nvPr/>
        </p:nvSpPr>
        <p:spPr>
          <a:xfrm>
            <a:off x="469496" y="4043448"/>
            <a:ext cx="8296421" cy="288131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36356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ounded Rectangle 101"/>
          <p:cNvSpPr/>
          <p:nvPr/>
        </p:nvSpPr>
        <p:spPr>
          <a:xfrm>
            <a:off x="140319" y="1780634"/>
            <a:ext cx="1419250" cy="2004103"/>
          </a:xfrm>
          <a:prstGeom prst="roundRect">
            <a:avLst>
              <a:gd name="adj" fmla="val 7463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5" name="Rounded Rectangle 104"/>
          <p:cNvSpPr/>
          <p:nvPr/>
        </p:nvSpPr>
        <p:spPr>
          <a:xfrm>
            <a:off x="4595805" y="1780634"/>
            <a:ext cx="1419250" cy="2004103"/>
          </a:xfrm>
          <a:prstGeom prst="roundRect">
            <a:avLst>
              <a:gd name="adj" fmla="val 6805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9" name="Rounded Rectangle 88"/>
          <p:cNvSpPr/>
          <p:nvPr/>
        </p:nvSpPr>
        <p:spPr>
          <a:xfrm>
            <a:off x="1625481" y="1780634"/>
            <a:ext cx="1419250" cy="2004103"/>
          </a:xfrm>
          <a:prstGeom prst="roundRect">
            <a:avLst>
              <a:gd name="adj" fmla="val 8120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4" name="Rounded Rectangle 93"/>
          <p:cNvSpPr/>
          <p:nvPr/>
        </p:nvSpPr>
        <p:spPr>
          <a:xfrm>
            <a:off x="3110643" y="1780634"/>
            <a:ext cx="1419250" cy="2004103"/>
          </a:xfrm>
          <a:prstGeom prst="roundRect">
            <a:avLst>
              <a:gd name="adj" fmla="val 7463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7" name="Title 2"/>
          <p:cNvSpPr>
            <a:spLocks noGrp="1"/>
          </p:cNvSpPr>
          <p:nvPr>
            <p:ph type="title"/>
          </p:nvPr>
        </p:nvSpPr>
        <p:spPr>
          <a:xfrm>
            <a:off x="437766" y="288150"/>
            <a:ext cx="8345488" cy="731837"/>
          </a:xfrm>
        </p:spPr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Security Services: </a:t>
            </a:r>
            <a:br>
              <a:rPr lang="en-US" dirty="0">
                <a:solidFill>
                  <a:schemeClr val="accent3"/>
                </a:solidFill>
              </a:rPr>
            </a:br>
            <a:r>
              <a:rPr lang="en-US" sz="1800" dirty="0">
                <a:solidFill>
                  <a:schemeClr val="accent1"/>
                </a:solidFill>
              </a:rPr>
              <a:t>Securing the New Digital Economy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149235" y="2051204"/>
            <a:ext cx="1407178" cy="738664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Security </a:t>
            </a:r>
            <a:b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</a:b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Advisory Services</a:t>
            </a:r>
            <a:endParaRPr lang="en-US" sz="1100" dirty="0">
              <a:solidFill>
                <a:srgbClr val="00BCEB"/>
              </a:solidFill>
              <a:latin typeface="CiscoSans Light" charset="0"/>
              <a:ea typeface="CiscoSans Light" charset="0"/>
              <a:cs typeface="CiscoSans Light" charset="0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6080967" y="1780634"/>
            <a:ext cx="1419250" cy="2004103"/>
          </a:xfrm>
          <a:prstGeom prst="roundRect">
            <a:avLst>
              <a:gd name="adj" fmla="val 6805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87" name="Group 186"/>
          <p:cNvGrpSpPr/>
          <p:nvPr/>
        </p:nvGrpSpPr>
        <p:grpSpPr>
          <a:xfrm rot="10800000">
            <a:off x="72834" y="4612411"/>
            <a:ext cx="122310" cy="169451"/>
            <a:chOff x="1038286" y="1218564"/>
            <a:chExt cx="163037" cy="225934"/>
          </a:xfrm>
          <a:noFill/>
        </p:grpSpPr>
        <p:sp>
          <p:nvSpPr>
            <p:cNvPr id="188" name="Left-Up Arrow 187"/>
            <p:cNvSpPr/>
            <p:nvPr/>
          </p:nvSpPr>
          <p:spPr>
            <a:xfrm>
              <a:off x="1038286" y="1218564"/>
              <a:ext cx="145875" cy="145885"/>
            </a:xfrm>
            <a:prstGeom prst="leftUpArrow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4860"/>
              <a:endParaRPr lang="en-US" sz="1400" dirty="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189" name="Straight Connector 188"/>
            <p:cNvCxnSpPr/>
            <p:nvPr/>
          </p:nvCxnSpPr>
          <p:spPr>
            <a:xfrm flipV="1">
              <a:off x="1124095" y="1295801"/>
              <a:ext cx="77228" cy="94396"/>
            </a:xfrm>
            <a:prstGeom prst="line">
              <a:avLst/>
            </a:prstGeom>
            <a:grpFill/>
            <a:ln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0" name="Oval 189"/>
            <p:cNvSpPr/>
            <p:nvPr/>
          </p:nvSpPr>
          <p:spPr>
            <a:xfrm>
              <a:off x="1055448" y="1398778"/>
              <a:ext cx="45719" cy="45720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4860"/>
              <a:endParaRPr lang="en-US" sz="1400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79" name="Rounded Rectangle 78"/>
          <p:cNvSpPr/>
          <p:nvPr/>
        </p:nvSpPr>
        <p:spPr>
          <a:xfrm>
            <a:off x="7566129" y="1780635"/>
            <a:ext cx="1419250" cy="2004104"/>
          </a:xfrm>
          <a:prstGeom prst="roundRect">
            <a:avLst>
              <a:gd name="adj" fmla="val 6805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3" name="Rounded Rectangle 52"/>
          <p:cNvSpPr/>
          <p:nvPr/>
        </p:nvSpPr>
        <p:spPr>
          <a:xfrm>
            <a:off x="85708" y="993492"/>
            <a:ext cx="8972586" cy="1002695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  <a:latin typeface="CiscoSans" charset="0"/>
              <a:ea typeface="CiscoSans" charset="0"/>
              <a:cs typeface="CiscoSans" charset="0"/>
            </a:endParaRPr>
          </a:p>
        </p:txBody>
      </p:sp>
      <p:sp>
        <p:nvSpPr>
          <p:cNvPr id="54" name="Isosceles Triangle 131"/>
          <p:cNvSpPr/>
          <p:nvPr/>
        </p:nvSpPr>
        <p:spPr>
          <a:xfrm rot="10800000">
            <a:off x="4259746" y="1921798"/>
            <a:ext cx="624512" cy="166596"/>
          </a:xfrm>
          <a:prstGeom prst="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6" name="Rectangle 65"/>
          <p:cNvSpPr/>
          <p:nvPr/>
        </p:nvSpPr>
        <p:spPr>
          <a:xfrm flipH="1">
            <a:off x="118033" y="1712921"/>
            <a:ext cx="1371600" cy="284697"/>
          </a:xfrm>
          <a:prstGeom prst="rect">
            <a:avLst/>
          </a:prstGeom>
          <a:ln>
            <a:noFill/>
          </a:ln>
        </p:spPr>
        <p:txBody>
          <a:bodyPr wrap="square" lIns="68579" tIns="34292" rIns="68579" bIns="34292" anchor="ctr">
            <a:spAutoFit/>
          </a:bodyPr>
          <a:lstStyle/>
          <a:p>
            <a:pPr algn="ctr" defTabSz="457178" fontAlgn="b"/>
            <a:r>
              <a:rPr lang="en-US" sz="1400" dirty="0">
                <a:solidFill>
                  <a:schemeClr val="bg1"/>
                </a:solidFill>
                <a:latin typeface="CiscoSans ExtraLight"/>
                <a:ea typeface="CiscoSans Light" charset="0"/>
                <a:cs typeface="CiscoSans Light" charset="0"/>
              </a:rPr>
              <a:t>Advisory</a:t>
            </a:r>
          </a:p>
        </p:txBody>
      </p:sp>
      <p:sp>
        <p:nvSpPr>
          <p:cNvPr id="68" name="Rectangle 67"/>
          <p:cNvSpPr/>
          <p:nvPr/>
        </p:nvSpPr>
        <p:spPr>
          <a:xfrm flipH="1">
            <a:off x="1576478" y="1712921"/>
            <a:ext cx="1562544" cy="284697"/>
          </a:xfrm>
          <a:prstGeom prst="rect">
            <a:avLst/>
          </a:prstGeom>
          <a:ln>
            <a:noFill/>
          </a:ln>
        </p:spPr>
        <p:txBody>
          <a:bodyPr wrap="square" lIns="68579" tIns="34292" rIns="68579" bIns="34292" anchor="ctr">
            <a:spAutoFit/>
          </a:bodyPr>
          <a:lstStyle/>
          <a:p>
            <a:pPr algn="ctr" defTabSz="457178" fontAlgn="b"/>
            <a:r>
              <a:rPr lang="en-US" sz="1400" dirty="0">
                <a:solidFill>
                  <a:schemeClr val="bg1"/>
                </a:solidFill>
                <a:latin typeface="CiscoSans ExtraLight"/>
                <a:ea typeface="CiscoSans Light" charset="0"/>
                <a:cs typeface="CiscoSans Light" charset="0"/>
              </a:rPr>
              <a:t>Implementation</a:t>
            </a:r>
          </a:p>
        </p:txBody>
      </p:sp>
      <p:sp>
        <p:nvSpPr>
          <p:cNvPr id="69" name="Rectangle 68"/>
          <p:cNvSpPr/>
          <p:nvPr/>
        </p:nvSpPr>
        <p:spPr>
          <a:xfrm flipH="1">
            <a:off x="3226815" y="1712921"/>
            <a:ext cx="1378716" cy="284697"/>
          </a:xfrm>
          <a:prstGeom prst="rect">
            <a:avLst/>
          </a:prstGeom>
          <a:ln>
            <a:noFill/>
          </a:ln>
        </p:spPr>
        <p:txBody>
          <a:bodyPr wrap="square" lIns="68579" tIns="34292" rIns="68579" bIns="34292" anchor="ctr">
            <a:spAutoFit/>
          </a:bodyPr>
          <a:lstStyle/>
          <a:p>
            <a:pPr algn="ctr" defTabSz="457178" fontAlgn="b"/>
            <a:r>
              <a:rPr lang="en-US" sz="1400" dirty="0">
                <a:solidFill>
                  <a:schemeClr val="bg1"/>
                </a:solidFill>
                <a:latin typeface="CiscoSans ExtraLight"/>
                <a:ea typeface="CiscoSans Light" charset="0"/>
                <a:cs typeface="CiscoSans Light" charset="0"/>
              </a:rPr>
              <a:t>Optimization</a:t>
            </a:r>
          </a:p>
        </p:txBody>
      </p:sp>
      <p:sp>
        <p:nvSpPr>
          <p:cNvPr id="70" name="Rectangle 69"/>
          <p:cNvSpPr/>
          <p:nvPr/>
        </p:nvSpPr>
        <p:spPr>
          <a:xfrm flipH="1">
            <a:off x="4693324" y="1700036"/>
            <a:ext cx="1378716" cy="284697"/>
          </a:xfrm>
          <a:prstGeom prst="rect">
            <a:avLst/>
          </a:prstGeom>
          <a:ln>
            <a:noFill/>
          </a:ln>
        </p:spPr>
        <p:txBody>
          <a:bodyPr wrap="square" lIns="68579" tIns="34292" rIns="68579" bIns="34292" anchor="ctr">
            <a:spAutoFit/>
          </a:bodyPr>
          <a:lstStyle/>
          <a:p>
            <a:pPr algn="ctr" defTabSz="457178" fontAlgn="b"/>
            <a:r>
              <a:rPr lang="en-US" sz="1400" dirty="0">
                <a:solidFill>
                  <a:schemeClr val="bg1"/>
                </a:solidFill>
                <a:latin typeface="CiscoSans ExtraLight"/>
                <a:ea typeface="CiscoSans Light" charset="0"/>
                <a:cs typeface="CiscoSans Light" charset="0"/>
              </a:rPr>
              <a:t>Managed</a:t>
            </a:r>
          </a:p>
        </p:txBody>
      </p:sp>
      <p:sp>
        <p:nvSpPr>
          <p:cNvPr id="71" name="Rectangle 70"/>
          <p:cNvSpPr/>
          <p:nvPr/>
        </p:nvSpPr>
        <p:spPr>
          <a:xfrm flipH="1">
            <a:off x="6159833" y="1700036"/>
            <a:ext cx="1378716" cy="284697"/>
          </a:xfrm>
          <a:prstGeom prst="rect">
            <a:avLst/>
          </a:prstGeom>
        </p:spPr>
        <p:txBody>
          <a:bodyPr wrap="square" lIns="68579" tIns="34292" rIns="68579" bIns="34292" anchor="ctr">
            <a:spAutoFit/>
          </a:bodyPr>
          <a:lstStyle/>
          <a:p>
            <a:pPr algn="ctr" defTabSz="457178" fontAlgn="b"/>
            <a:r>
              <a:rPr lang="en-US" sz="1400" dirty="0">
                <a:solidFill>
                  <a:schemeClr val="bg1"/>
                </a:solidFill>
                <a:latin typeface="CiscoSans ExtraLight"/>
                <a:ea typeface="CiscoSans Light" charset="0"/>
                <a:cs typeface="CiscoSans Light" charset="0"/>
              </a:rPr>
              <a:t>Technical</a:t>
            </a:r>
          </a:p>
        </p:txBody>
      </p:sp>
      <p:sp>
        <p:nvSpPr>
          <p:cNvPr id="72" name="Rectangle 71"/>
          <p:cNvSpPr/>
          <p:nvPr/>
        </p:nvSpPr>
        <p:spPr>
          <a:xfrm flipH="1">
            <a:off x="7633459" y="1711493"/>
            <a:ext cx="1371600" cy="284697"/>
          </a:xfrm>
          <a:prstGeom prst="rect">
            <a:avLst/>
          </a:prstGeom>
          <a:ln>
            <a:noFill/>
          </a:ln>
        </p:spPr>
        <p:txBody>
          <a:bodyPr wrap="square" lIns="68579" tIns="34292" rIns="68579" bIns="34292" anchor="ctr">
            <a:spAutoFit/>
          </a:bodyPr>
          <a:lstStyle/>
          <a:p>
            <a:pPr algn="ctr" defTabSz="457178" fontAlgn="b"/>
            <a:r>
              <a:rPr lang="en-US" sz="1400" dirty="0">
                <a:solidFill>
                  <a:schemeClr val="bg1"/>
                </a:solidFill>
                <a:latin typeface="CiscoSans ExtraLight"/>
                <a:ea typeface="CiscoSans Light" charset="0"/>
                <a:cs typeface="CiscoSans Light" charset="0"/>
              </a:rPr>
              <a:t>Training</a:t>
            </a: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627" y="1110416"/>
            <a:ext cx="574417" cy="574417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544" y="1110416"/>
            <a:ext cx="574417" cy="574417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2053" y="1110416"/>
            <a:ext cx="574417" cy="574417"/>
          </a:xfrm>
          <a:prstGeom prst="rect">
            <a:avLst/>
          </a:prstGeom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8967" y="1110416"/>
            <a:ext cx="574417" cy="574417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5476" y="1110416"/>
            <a:ext cx="574417" cy="574417"/>
          </a:xfrm>
          <a:prstGeom prst="rect">
            <a:avLst/>
          </a:prstGeom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1985" y="1110416"/>
            <a:ext cx="574417" cy="57441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95145" y="2989292"/>
            <a:ext cx="129448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100" dirty="0">
                <a:solidFill>
                  <a:srgbClr val="00BCEB"/>
                </a:solidFill>
                <a:latin typeface="CiscoSans Light" charset="0"/>
                <a:ea typeface="CiscoSans Light" charset="0"/>
                <a:cs typeface="CiscoSans Light" charset="0"/>
              </a:rPr>
              <a:t>Expert security guidance to drive business outcomes </a:t>
            </a:r>
          </a:p>
        </p:txBody>
      </p:sp>
      <p:sp>
        <p:nvSpPr>
          <p:cNvPr id="82" name="Rectangle 81"/>
          <p:cNvSpPr/>
          <p:nvPr/>
        </p:nvSpPr>
        <p:spPr>
          <a:xfrm>
            <a:off x="1625207" y="2051204"/>
            <a:ext cx="1407178" cy="738664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Security Implementation Services</a:t>
            </a:r>
            <a:endParaRPr lang="en-US" sz="1100" dirty="0">
              <a:solidFill>
                <a:srgbClr val="00BCEB"/>
              </a:solidFill>
              <a:latin typeface="CiscoSans Light" charset="0"/>
              <a:ea typeface="CiscoSans Light" charset="0"/>
              <a:cs typeface="CiscoSans Light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671117" y="2989292"/>
            <a:ext cx="12944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100" dirty="0">
                <a:solidFill>
                  <a:srgbClr val="00BCEB"/>
                </a:solidFill>
                <a:latin typeface="CiscoSans Light" charset="0"/>
                <a:ea typeface="CiscoSans Light" charset="0"/>
                <a:cs typeface="CiscoSans Light" charset="0"/>
              </a:rPr>
              <a:t>Maximize solution value</a:t>
            </a:r>
          </a:p>
        </p:txBody>
      </p:sp>
      <p:sp>
        <p:nvSpPr>
          <p:cNvPr id="84" name="Rectangle 83"/>
          <p:cNvSpPr/>
          <p:nvPr/>
        </p:nvSpPr>
        <p:spPr>
          <a:xfrm>
            <a:off x="3089943" y="1943483"/>
            <a:ext cx="1407178" cy="954107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Business Critical Services for Security</a:t>
            </a:r>
            <a:endParaRPr lang="en-US" sz="1100" dirty="0">
              <a:solidFill>
                <a:srgbClr val="00BCEB"/>
              </a:solidFill>
              <a:latin typeface="CiscoSans Light" charset="0"/>
              <a:ea typeface="CiscoSans Light" charset="0"/>
              <a:cs typeface="CiscoSans Light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3135854" y="2989292"/>
            <a:ext cx="129448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100" dirty="0">
                <a:solidFill>
                  <a:srgbClr val="00BCEB"/>
                </a:solidFill>
                <a:latin typeface="CiscoSans Light" charset="0"/>
                <a:ea typeface="CiscoSans Light" charset="0"/>
                <a:cs typeface="CiscoSans Light" charset="0"/>
              </a:rPr>
              <a:t>Maximize operational excellence and performance</a:t>
            </a:r>
          </a:p>
        </p:txBody>
      </p:sp>
      <p:sp>
        <p:nvSpPr>
          <p:cNvPr id="86" name="Rectangle 85"/>
          <p:cNvSpPr/>
          <p:nvPr/>
        </p:nvSpPr>
        <p:spPr>
          <a:xfrm>
            <a:off x="7562213" y="2031868"/>
            <a:ext cx="1407178" cy="954107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Security</a:t>
            </a:r>
            <a:b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</a:b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Certifications and Learning Programs</a:t>
            </a:r>
            <a:endParaRPr lang="en-US" sz="1400" dirty="0">
              <a:solidFill>
                <a:schemeClr val="bg2"/>
              </a:solidFill>
              <a:latin typeface="CiscoSans ExtraLight"/>
              <a:ea typeface="CiscoSans Light" charset="0"/>
              <a:cs typeface="CiscoSans Light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7608123" y="2989293"/>
            <a:ext cx="12944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100" dirty="0">
                <a:solidFill>
                  <a:srgbClr val="00BCEB"/>
                </a:solidFill>
                <a:latin typeface="CiscoSans Light" charset="0"/>
                <a:ea typeface="CiscoSans Light" charset="0"/>
                <a:cs typeface="CiscoSans Light" charset="0"/>
              </a:rPr>
              <a:t>Attract, build and retain skills</a:t>
            </a:r>
          </a:p>
        </p:txBody>
      </p:sp>
      <p:sp>
        <p:nvSpPr>
          <p:cNvPr id="88" name="Rectangle 87"/>
          <p:cNvSpPr/>
          <p:nvPr/>
        </p:nvSpPr>
        <p:spPr>
          <a:xfrm>
            <a:off x="4594664" y="2051204"/>
            <a:ext cx="1407178" cy="738664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Security Managed Services</a:t>
            </a:r>
            <a:endParaRPr lang="en-US" sz="1100" dirty="0">
              <a:solidFill>
                <a:srgbClr val="00BCEB"/>
              </a:solidFill>
              <a:latin typeface="CiscoSans Light" charset="0"/>
              <a:ea typeface="CiscoSans Light" charset="0"/>
              <a:cs typeface="CiscoSans Light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4640574" y="2989294"/>
            <a:ext cx="129448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100" dirty="0">
                <a:solidFill>
                  <a:srgbClr val="00BCEB"/>
                </a:solidFill>
                <a:latin typeface="CiscoSans Light" charset="0"/>
                <a:ea typeface="CiscoSans Light" charset="0"/>
                <a:cs typeface="CiscoSans Light" charset="0"/>
              </a:rPr>
              <a:t>Experts and advanced analytics to lower OpEx</a:t>
            </a:r>
          </a:p>
        </p:txBody>
      </p:sp>
      <p:sp>
        <p:nvSpPr>
          <p:cNvPr id="91" name="Rectangle 90"/>
          <p:cNvSpPr/>
          <p:nvPr/>
        </p:nvSpPr>
        <p:spPr>
          <a:xfrm>
            <a:off x="6074703" y="2051204"/>
            <a:ext cx="1407178" cy="738664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Security </a:t>
            </a:r>
            <a:b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</a:b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Technical Services</a:t>
            </a:r>
            <a:endParaRPr lang="en-US" sz="1100" dirty="0">
              <a:solidFill>
                <a:srgbClr val="00BCEB"/>
              </a:solidFill>
              <a:latin typeface="CiscoSans Light" charset="0"/>
              <a:ea typeface="CiscoSans Light" charset="0"/>
              <a:cs typeface="CiscoSans Light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6120614" y="2989293"/>
            <a:ext cx="129448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100" dirty="0">
                <a:solidFill>
                  <a:srgbClr val="00BCEB"/>
                </a:solidFill>
                <a:latin typeface="CiscoSans Light" charset="0"/>
                <a:ea typeface="CiscoSans Light" charset="0"/>
                <a:cs typeface="CiscoSans Light" charset="0"/>
              </a:rPr>
              <a:t>Minimize business disruption</a:t>
            </a:r>
          </a:p>
        </p:txBody>
      </p:sp>
      <p:sp>
        <p:nvSpPr>
          <p:cNvPr id="80" name="Rounded Rectangular Callout 79"/>
          <p:cNvSpPr/>
          <p:nvPr/>
        </p:nvSpPr>
        <p:spPr>
          <a:xfrm>
            <a:off x="4640574" y="4049784"/>
            <a:ext cx="1120469" cy="683630"/>
          </a:xfrm>
          <a:prstGeom prst="wedgeRoundRectCallout">
            <a:avLst>
              <a:gd name="adj1" fmla="val 818"/>
              <a:gd name="adj2" fmla="val -86270"/>
              <a:gd name="adj3" fmla="val 16667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/>
              <a:t>Visibility &amp; Threat Protection</a:t>
            </a:r>
          </a:p>
        </p:txBody>
      </p:sp>
      <p:sp>
        <p:nvSpPr>
          <p:cNvPr id="81" name="Rounded Rectangular Callout 80"/>
          <p:cNvSpPr/>
          <p:nvPr/>
        </p:nvSpPr>
        <p:spPr>
          <a:xfrm>
            <a:off x="160726" y="4040304"/>
            <a:ext cx="2208096" cy="683630"/>
          </a:xfrm>
          <a:prstGeom prst="wedgeRoundRectCallout">
            <a:avLst>
              <a:gd name="adj1" fmla="val -18839"/>
              <a:gd name="adj2" fmla="val -87635"/>
              <a:gd name="adj3" fmla="val 16667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50" dirty="0" smtClean="0"/>
              <a:t>Independent assessments: Strategy, Segmentation, Secure Arch, SOC Assessment &amp; Optimization, Compliance</a:t>
            </a:r>
            <a:endParaRPr lang="en-US" sz="1050" dirty="0"/>
          </a:p>
        </p:txBody>
      </p:sp>
      <p:sp>
        <p:nvSpPr>
          <p:cNvPr id="92" name="Rounded Rectangular Callout 91"/>
          <p:cNvSpPr/>
          <p:nvPr/>
        </p:nvSpPr>
        <p:spPr>
          <a:xfrm>
            <a:off x="2437395" y="4040304"/>
            <a:ext cx="2134606" cy="683630"/>
          </a:xfrm>
          <a:prstGeom prst="wedgeRoundRectCallout">
            <a:avLst>
              <a:gd name="adj1" fmla="val -20150"/>
              <a:gd name="adj2" fmla="val -89000"/>
              <a:gd name="adj3" fmla="val 16667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/>
              <a:t>Provide a better ROI</a:t>
            </a:r>
            <a:endParaRPr lang="en-US" sz="1200" dirty="0"/>
          </a:p>
        </p:txBody>
      </p:sp>
      <p:sp>
        <p:nvSpPr>
          <p:cNvPr id="95" name="Rounded Rectangular Callout 94"/>
          <p:cNvSpPr/>
          <p:nvPr/>
        </p:nvSpPr>
        <p:spPr>
          <a:xfrm>
            <a:off x="6456784" y="4098232"/>
            <a:ext cx="2445827" cy="683630"/>
          </a:xfrm>
          <a:prstGeom prst="wedgeRoundRectCallout">
            <a:avLst>
              <a:gd name="adj1" fmla="val -6538"/>
              <a:gd name="adj2" fmla="val -93094"/>
              <a:gd name="adj3" fmla="val 16667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/>
              <a:t>Improve efficiency of your infra and people, imparting new skills and training for the futur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892695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4" grpId="0" animBg="1"/>
      <p:bldP spid="66" grpId="0"/>
      <p:bldP spid="68" grpId="0"/>
      <p:bldP spid="69" grpId="0"/>
      <p:bldP spid="70" grpId="0"/>
      <p:bldP spid="71" grpId="0"/>
      <p:bldP spid="7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ounded Rectangle 25"/>
          <p:cNvSpPr/>
          <p:nvPr/>
        </p:nvSpPr>
        <p:spPr>
          <a:xfrm>
            <a:off x="140319" y="1214904"/>
            <a:ext cx="8864740" cy="3500227"/>
          </a:xfrm>
          <a:prstGeom prst="roundRect">
            <a:avLst>
              <a:gd name="adj" fmla="val 8403"/>
            </a:avLst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2" name="Rounded Rectangle 101"/>
          <p:cNvSpPr/>
          <p:nvPr/>
        </p:nvSpPr>
        <p:spPr>
          <a:xfrm>
            <a:off x="140319" y="1780634"/>
            <a:ext cx="1419250" cy="2004103"/>
          </a:xfrm>
          <a:prstGeom prst="roundRect">
            <a:avLst>
              <a:gd name="adj" fmla="val 7463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5" name="Rounded Rectangle 104"/>
          <p:cNvSpPr/>
          <p:nvPr/>
        </p:nvSpPr>
        <p:spPr>
          <a:xfrm>
            <a:off x="4595805" y="1780634"/>
            <a:ext cx="1419250" cy="2004103"/>
          </a:xfrm>
          <a:prstGeom prst="roundRect">
            <a:avLst>
              <a:gd name="adj" fmla="val 6805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9" name="Rounded Rectangle 88"/>
          <p:cNvSpPr/>
          <p:nvPr/>
        </p:nvSpPr>
        <p:spPr>
          <a:xfrm>
            <a:off x="1625481" y="1780634"/>
            <a:ext cx="1419250" cy="2004103"/>
          </a:xfrm>
          <a:prstGeom prst="roundRect">
            <a:avLst>
              <a:gd name="adj" fmla="val 8120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4" name="Rounded Rectangle 93"/>
          <p:cNvSpPr/>
          <p:nvPr/>
        </p:nvSpPr>
        <p:spPr>
          <a:xfrm>
            <a:off x="3110643" y="1780634"/>
            <a:ext cx="1419250" cy="2004103"/>
          </a:xfrm>
          <a:prstGeom prst="roundRect">
            <a:avLst>
              <a:gd name="adj" fmla="val 7463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7" name="Title 2"/>
          <p:cNvSpPr>
            <a:spLocks noGrp="1"/>
          </p:cNvSpPr>
          <p:nvPr>
            <p:ph type="title"/>
          </p:nvPr>
        </p:nvSpPr>
        <p:spPr>
          <a:xfrm>
            <a:off x="437766" y="288150"/>
            <a:ext cx="8345488" cy="731837"/>
          </a:xfrm>
        </p:spPr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Security Services: </a:t>
            </a:r>
            <a:br>
              <a:rPr lang="en-US" dirty="0">
                <a:solidFill>
                  <a:schemeClr val="accent3"/>
                </a:solidFill>
              </a:rPr>
            </a:br>
            <a:r>
              <a:rPr lang="en-US" sz="1800" dirty="0">
                <a:solidFill>
                  <a:schemeClr val="accent1"/>
                </a:solidFill>
              </a:rPr>
              <a:t>Securing the New Digital Economy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149235" y="2051204"/>
            <a:ext cx="1407178" cy="738664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Security </a:t>
            </a:r>
            <a:b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</a:b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Advisory Services</a:t>
            </a:r>
            <a:endParaRPr lang="en-US" sz="1100" dirty="0">
              <a:solidFill>
                <a:srgbClr val="00BCEB"/>
              </a:solidFill>
              <a:latin typeface="CiscoSans Light" charset="0"/>
              <a:ea typeface="CiscoSans Light" charset="0"/>
              <a:cs typeface="CiscoSans Light" charset="0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6080967" y="1780634"/>
            <a:ext cx="1419250" cy="2004103"/>
          </a:xfrm>
          <a:prstGeom prst="roundRect">
            <a:avLst>
              <a:gd name="adj" fmla="val 6805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939681" y="3918202"/>
            <a:ext cx="2137212" cy="70515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78"/>
            <a:r>
              <a:rPr lang="en-US" sz="1400" dirty="0">
                <a:solidFill>
                  <a:srgbClr val="005073"/>
                </a:solidFill>
              </a:rPr>
              <a:t>In Cybersecurity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2603531" y="3959920"/>
            <a:ext cx="1550838" cy="621713"/>
            <a:chOff x="2794031" y="4224965"/>
            <a:chExt cx="1550838" cy="621713"/>
          </a:xfrm>
        </p:grpSpPr>
        <p:sp>
          <p:nvSpPr>
            <p:cNvPr id="3" name="Oval 2"/>
            <p:cNvSpPr/>
            <p:nvPr/>
          </p:nvSpPr>
          <p:spPr>
            <a:xfrm>
              <a:off x="2836792" y="4224965"/>
              <a:ext cx="621713" cy="6217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78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2794031" y="4381932"/>
              <a:ext cx="72648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457178"/>
              <a:r>
                <a:rPr lang="en-US" sz="1400" dirty="0">
                  <a:solidFill>
                    <a:srgbClr val="FFFFFF"/>
                  </a:solidFill>
                  <a:latin typeface="CiscoSans ExtraLight"/>
                  <a:ea typeface="CiscoSans Light" charset="0"/>
                  <a:cs typeface="CiscoSans Light" charset="0"/>
                </a:rPr>
                <a:t>$3.5B </a:t>
              </a:r>
              <a:endParaRPr lang="en-US" sz="1400" dirty="0">
                <a:solidFill>
                  <a:srgbClr val="FFFFFF"/>
                </a:solidFill>
                <a:latin typeface="CiscoSans ExtraLight"/>
                <a:ea typeface="ＭＳ Ｐゴシック" pitchFamily="34" charset="-128"/>
                <a:cs typeface=""/>
              </a:endParaRP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3407715" y="4360443"/>
              <a:ext cx="937154" cy="3831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457178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50" dirty="0">
                  <a:solidFill>
                    <a:srgbClr val="005073"/>
                  </a:solidFill>
                  <a:latin typeface="CiscoSans ExtraLight"/>
                  <a:ea typeface="CiscoSans Light" charset="0"/>
                  <a:cs typeface="CiscoSans Light" charset="0"/>
                </a:rPr>
                <a:t>Security</a:t>
              </a:r>
              <a:br>
                <a:rPr lang="en-US" sz="1050" dirty="0">
                  <a:solidFill>
                    <a:srgbClr val="005073"/>
                  </a:solidFill>
                  <a:latin typeface="CiscoSans ExtraLight"/>
                  <a:ea typeface="CiscoSans Light" charset="0"/>
                  <a:cs typeface="CiscoSans Light" charset="0"/>
                </a:rPr>
              </a:br>
              <a:r>
                <a:rPr lang="en-US" sz="1050" dirty="0">
                  <a:solidFill>
                    <a:srgbClr val="005073"/>
                  </a:solidFill>
                  <a:latin typeface="CiscoSans ExtraLight"/>
                  <a:ea typeface="CiscoSans Light" charset="0"/>
                  <a:cs typeface="CiscoSans Light" charset="0"/>
                </a:rPr>
                <a:t>investment</a:t>
              </a:r>
            </a:p>
          </p:txBody>
        </p:sp>
      </p:grpSp>
      <p:sp>
        <p:nvSpPr>
          <p:cNvPr id="9" name="Oval 8"/>
          <p:cNvSpPr/>
          <p:nvPr/>
        </p:nvSpPr>
        <p:spPr>
          <a:xfrm>
            <a:off x="336104" y="3959884"/>
            <a:ext cx="621792" cy="621792"/>
          </a:xfrm>
          <a:prstGeom prst="ellipse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66153" y="4009170"/>
            <a:ext cx="5533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178"/>
            <a:r>
              <a:rPr lang="en-US" sz="2000" dirty="0">
                <a:solidFill>
                  <a:srgbClr val="005073"/>
                </a:solidFill>
                <a:latin typeface="CiscoSans ExtraLight"/>
                <a:ea typeface="CiscoSans Light" charset="0"/>
                <a:cs typeface="CiscoSans Light" charset="0"/>
              </a:rPr>
              <a:t>#</a:t>
            </a:r>
            <a:r>
              <a:rPr lang="en-US" sz="2800" dirty="0">
                <a:solidFill>
                  <a:srgbClr val="005073"/>
                </a:solidFill>
                <a:latin typeface="CiscoSans ExtraLight"/>
                <a:ea typeface="CiscoSans Light" charset="0"/>
                <a:cs typeface="CiscoSans Light" charset="0"/>
              </a:rPr>
              <a:t>1</a:t>
            </a:r>
            <a:endParaRPr lang="en-US" sz="2800" dirty="0">
              <a:solidFill>
                <a:srgbClr val="005073"/>
              </a:solidFill>
              <a:latin typeface="CiscoSans ExtraLight"/>
              <a:ea typeface="ＭＳ Ｐゴシック" pitchFamily="34" charset="-128"/>
              <a:cs typeface=""/>
            </a:endParaRPr>
          </a:p>
        </p:txBody>
      </p:sp>
      <p:grpSp>
        <p:nvGrpSpPr>
          <p:cNvPr id="55" name="Group 54"/>
          <p:cNvGrpSpPr/>
          <p:nvPr/>
        </p:nvGrpSpPr>
        <p:grpSpPr>
          <a:xfrm>
            <a:off x="4249838" y="3936727"/>
            <a:ext cx="1508077" cy="664084"/>
            <a:chOff x="2836792" y="4224965"/>
            <a:chExt cx="1508077" cy="664084"/>
          </a:xfrm>
        </p:grpSpPr>
        <p:sp>
          <p:nvSpPr>
            <p:cNvPr id="56" name="Oval 55"/>
            <p:cNvSpPr/>
            <p:nvPr/>
          </p:nvSpPr>
          <p:spPr>
            <a:xfrm>
              <a:off x="2836792" y="4224965"/>
              <a:ext cx="621713" cy="6217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78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2889659" y="4381932"/>
              <a:ext cx="513282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457178"/>
              <a:r>
                <a:rPr lang="en-US" sz="1400" dirty="0">
                  <a:solidFill>
                    <a:srgbClr val="FFFFFF"/>
                  </a:solidFill>
                  <a:latin typeface="CiscoSans ExtraLight"/>
                  <a:ea typeface="CiscoSans Light" charset="0"/>
                  <a:cs typeface="CiscoSans Light" charset="0"/>
                </a:rPr>
                <a:t>20B</a:t>
              </a: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3407715" y="4360443"/>
              <a:ext cx="937154" cy="5286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457178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50" dirty="0">
                  <a:solidFill>
                    <a:srgbClr val="005073"/>
                  </a:solidFill>
                  <a:latin typeface="CiscoSans ExtraLight"/>
                  <a:ea typeface="CiscoSans Light" charset="0"/>
                  <a:cs typeface="CiscoSans Light" charset="0"/>
                </a:rPr>
                <a:t>Threats blocked </a:t>
              </a:r>
              <a:br>
                <a:rPr lang="en-US" sz="1050" dirty="0">
                  <a:solidFill>
                    <a:srgbClr val="005073"/>
                  </a:solidFill>
                  <a:latin typeface="CiscoSans ExtraLight"/>
                  <a:ea typeface="CiscoSans Light" charset="0"/>
                  <a:cs typeface="CiscoSans Light" charset="0"/>
                </a:rPr>
              </a:br>
              <a:r>
                <a:rPr lang="en-US" sz="1050" dirty="0">
                  <a:solidFill>
                    <a:srgbClr val="005073"/>
                  </a:solidFill>
                  <a:latin typeface="CiscoSans ExtraLight"/>
                  <a:ea typeface="CiscoSans Light" charset="0"/>
                  <a:cs typeface="CiscoSans Light" charset="0"/>
                </a:rPr>
                <a:t>per day</a:t>
              </a: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5656389" y="3959920"/>
            <a:ext cx="1673722" cy="621713"/>
            <a:chOff x="2794031" y="4224965"/>
            <a:chExt cx="1673722" cy="621713"/>
          </a:xfrm>
        </p:grpSpPr>
        <p:sp>
          <p:nvSpPr>
            <p:cNvPr id="60" name="Oval 59"/>
            <p:cNvSpPr/>
            <p:nvPr/>
          </p:nvSpPr>
          <p:spPr>
            <a:xfrm>
              <a:off x="2836792" y="4224965"/>
              <a:ext cx="621713" cy="6217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78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2794031" y="4381932"/>
              <a:ext cx="67197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457178"/>
              <a:r>
                <a:rPr lang="en-US" sz="1400" dirty="0">
                  <a:solidFill>
                    <a:srgbClr val="FFFFFF"/>
                  </a:solidFill>
                  <a:latin typeface="CiscoSans ExtraLight"/>
                  <a:ea typeface="CiscoSans Light" charset="0"/>
                  <a:cs typeface="CiscoSans Light" charset="0"/>
                </a:rPr>
                <a:t>18.5B</a:t>
              </a: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3407714" y="4360443"/>
              <a:ext cx="1060039" cy="3831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457178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50" dirty="0">
                  <a:solidFill>
                    <a:srgbClr val="005073"/>
                  </a:solidFill>
                  <a:latin typeface="CiscoSans ExtraLight"/>
                  <a:ea typeface="CiscoSans Light" charset="0"/>
                  <a:cs typeface="CiscoSans Light" charset="0"/>
                </a:rPr>
                <a:t>Malware</a:t>
              </a:r>
              <a:br>
                <a:rPr lang="en-US" sz="1050" dirty="0">
                  <a:solidFill>
                    <a:srgbClr val="005073"/>
                  </a:solidFill>
                  <a:latin typeface="CiscoSans ExtraLight"/>
                  <a:ea typeface="CiscoSans Light" charset="0"/>
                  <a:cs typeface="CiscoSans Light" charset="0"/>
                </a:rPr>
              </a:br>
              <a:r>
                <a:rPr lang="en-US" sz="1050" dirty="0">
                  <a:solidFill>
                    <a:srgbClr val="005073"/>
                  </a:solidFill>
                  <a:latin typeface="CiscoSans ExtraLight"/>
                  <a:ea typeface="CiscoSans Light" charset="0"/>
                  <a:cs typeface="CiscoSans Light" charset="0"/>
                </a:rPr>
                <a:t>queries daily</a:t>
              </a: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7323184" y="3959920"/>
            <a:ext cx="1508077" cy="621713"/>
            <a:chOff x="2836792" y="4224965"/>
            <a:chExt cx="1508077" cy="621713"/>
          </a:xfrm>
        </p:grpSpPr>
        <p:sp>
          <p:nvSpPr>
            <p:cNvPr id="64" name="Oval 63"/>
            <p:cNvSpPr/>
            <p:nvPr/>
          </p:nvSpPr>
          <p:spPr>
            <a:xfrm>
              <a:off x="2836792" y="4224965"/>
              <a:ext cx="621713" cy="6217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78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2901362" y="4381932"/>
              <a:ext cx="513282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457178"/>
              <a:r>
                <a:rPr lang="en-US" sz="1400" dirty="0">
                  <a:solidFill>
                    <a:srgbClr val="FFFFFF"/>
                  </a:solidFill>
                  <a:latin typeface="CiscoSans ExtraLight"/>
                  <a:ea typeface="CiscoSans Light" charset="0"/>
                  <a:cs typeface="CiscoSans Light" charset="0"/>
                </a:rPr>
                <a:t>60B</a:t>
              </a: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3407715" y="4360443"/>
              <a:ext cx="937154" cy="3831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457178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en-US" sz="1050" dirty="0">
                  <a:solidFill>
                    <a:srgbClr val="005073"/>
                  </a:solidFill>
                  <a:latin typeface="CiscoSans ExtraLight"/>
                  <a:ea typeface="CiscoSans Light" charset="0"/>
                  <a:cs typeface="CiscoSans Light" charset="0"/>
                </a:rPr>
                <a:t>DNS queries</a:t>
              </a:r>
              <a:br>
                <a:rPr lang="en-US" sz="1050" dirty="0">
                  <a:solidFill>
                    <a:srgbClr val="005073"/>
                  </a:solidFill>
                  <a:latin typeface="CiscoSans ExtraLight"/>
                  <a:ea typeface="CiscoSans Light" charset="0"/>
                  <a:cs typeface="CiscoSans Light" charset="0"/>
                </a:rPr>
              </a:br>
              <a:r>
                <a:rPr lang="en-US" sz="1050" dirty="0">
                  <a:solidFill>
                    <a:srgbClr val="005073"/>
                  </a:solidFill>
                  <a:latin typeface="CiscoSans ExtraLight"/>
                  <a:ea typeface="CiscoSans Light" charset="0"/>
                  <a:cs typeface="CiscoSans Light" charset="0"/>
                </a:rPr>
                <a:t>daily</a:t>
              </a:r>
            </a:p>
          </p:txBody>
        </p:sp>
      </p:grpSp>
      <p:grpSp>
        <p:nvGrpSpPr>
          <p:cNvPr id="187" name="Group 186"/>
          <p:cNvGrpSpPr/>
          <p:nvPr/>
        </p:nvGrpSpPr>
        <p:grpSpPr>
          <a:xfrm rot="10800000">
            <a:off x="72834" y="4612411"/>
            <a:ext cx="122310" cy="169451"/>
            <a:chOff x="1038286" y="1218564"/>
            <a:chExt cx="163037" cy="225934"/>
          </a:xfrm>
          <a:noFill/>
        </p:grpSpPr>
        <p:sp>
          <p:nvSpPr>
            <p:cNvPr id="188" name="Left-Up Arrow 187"/>
            <p:cNvSpPr/>
            <p:nvPr/>
          </p:nvSpPr>
          <p:spPr>
            <a:xfrm>
              <a:off x="1038286" y="1218564"/>
              <a:ext cx="145875" cy="145885"/>
            </a:xfrm>
            <a:prstGeom prst="leftUpArrow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4860"/>
              <a:endParaRPr lang="en-US" sz="1400" dirty="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189" name="Straight Connector 188"/>
            <p:cNvCxnSpPr/>
            <p:nvPr/>
          </p:nvCxnSpPr>
          <p:spPr>
            <a:xfrm flipV="1">
              <a:off x="1124095" y="1295801"/>
              <a:ext cx="77228" cy="94396"/>
            </a:xfrm>
            <a:prstGeom prst="line">
              <a:avLst/>
            </a:prstGeom>
            <a:grpFill/>
            <a:ln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0" name="Oval 189"/>
            <p:cNvSpPr/>
            <p:nvPr/>
          </p:nvSpPr>
          <p:spPr>
            <a:xfrm>
              <a:off x="1055448" y="1398778"/>
              <a:ext cx="45719" cy="45720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4860"/>
              <a:endParaRPr lang="en-US" sz="1400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79" name="Rounded Rectangle 78"/>
          <p:cNvSpPr/>
          <p:nvPr/>
        </p:nvSpPr>
        <p:spPr>
          <a:xfrm>
            <a:off x="7566129" y="1780635"/>
            <a:ext cx="1419250" cy="2004104"/>
          </a:xfrm>
          <a:prstGeom prst="roundRect">
            <a:avLst>
              <a:gd name="adj" fmla="val 6805"/>
            </a:avLst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3" name="Rounded Rectangle 52"/>
          <p:cNvSpPr/>
          <p:nvPr/>
        </p:nvSpPr>
        <p:spPr>
          <a:xfrm>
            <a:off x="85708" y="993492"/>
            <a:ext cx="8972586" cy="1002695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  <a:latin typeface="CiscoSans" charset="0"/>
              <a:ea typeface="CiscoSans" charset="0"/>
              <a:cs typeface="CiscoSans" charset="0"/>
            </a:endParaRPr>
          </a:p>
        </p:txBody>
      </p:sp>
      <p:sp>
        <p:nvSpPr>
          <p:cNvPr id="54" name="Isosceles Triangle 131"/>
          <p:cNvSpPr/>
          <p:nvPr/>
        </p:nvSpPr>
        <p:spPr>
          <a:xfrm rot="10800000">
            <a:off x="4259746" y="1921798"/>
            <a:ext cx="624512" cy="166596"/>
          </a:xfrm>
          <a:prstGeom prst="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6" name="Rectangle 65"/>
          <p:cNvSpPr/>
          <p:nvPr/>
        </p:nvSpPr>
        <p:spPr>
          <a:xfrm flipH="1">
            <a:off x="118033" y="1712921"/>
            <a:ext cx="1371600" cy="284697"/>
          </a:xfrm>
          <a:prstGeom prst="rect">
            <a:avLst/>
          </a:prstGeom>
          <a:ln>
            <a:noFill/>
          </a:ln>
        </p:spPr>
        <p:txBody>
          <a:bodyPr wrap="square" lIns="68579" tIns="34292" rIns="68579" bIns="34292" anchor="ctr">
            <a:spAutoFit/>
          </a:bodyPr>
          <a:lstStyle/>
          <a:p>
            <a:pPr algn="ctr" defTabSz="457178" fontAlgn="b"/>
            <a:r>
              <a:rPr lang="en-US" sz="1400" dirty="0">
                <a:solidFill>
                  <a:schemeClr val="bg1"/>
                </a:solidFill>
                <a:latin typeface="CiscoSans ExtraLight"/>
                <a:ea typeface="CiscoSans Light" charset="0"/>
                <a:cs typeface="CiscoSans Light" charset="0"/>
              </a:rPr>
              <a:t>Advisory</a:t>
            </a:r>
          </a:p>
        </p:txBody>
      </p:sp>
      <p:sp>
        <p:nvSpPr>
          <p:cNvPr id="68" name="Rectangle 67"/>
          <p:cNvSpPr/>
          <p:nvPr/>
        </p:nvSpPr>
        <p:spPr>
          <a:xfrm flipH="1">
            <a:off x="1576478" y="1712921"/>
            <a:ext cx="1562544" cy="284697"/>
          </a:xfrm>
          <a:prstGeom prst="rect">
            <a:avLst/>
          </a:prstGeom>
          <a:ln>
            <a:noFill/>
          </a:ln>
        </p:spPr>
        <p:txBody>
          <a:bodyPr wrap="square" lIns="68579" tIns="34292" rIns="68579" bIns="34292" anchor="ctr">
            <a:spAutoFit/>
          </a:bodyPr>
          <a:lstStyle/>
          <a:p>
            <a:pPr algn="ctr" defTabSz="457178" fontAlgn="b"/>
            <a:r>
              <a:rPr lang="en-US" sz="1400" dirty="0">
                <a:solidFill>
                  <a:schemeClr val="bg1"/>
                </a:solidFill>
                <a:latin typeface="CiscoSans ExtraLight"/>
                <a:ea typeface="CiscoSans Light" charset="0"/>
                <a:cs typeface="CiscoSans Light" charset="0"/>
              </a:rPr>
              <a:t>Implementation</a:t>
            </a:r>
          </a:p>
        </p:txBody>
      </p:sp>
      <p:sp>
        <p:nvSpPr>
          <p:cNvPr id="69" name="Rectangle 68"/>
          <p:cNvSpPr/>
          <p:nvPr/>
        </p:nvSpPr>
        <p:spPr>
          <a:xfrm flipH="1">
            <a:off x="3226815" y="1712921"/>
            <a:ext cx="1378716" cy="284697"/>
          </a:xfrm>
          <a:prstGeom prst="rect">
            <a:avLst/>
          </a:prstGeom>
          <a:ln>
            <a:noFill/>
          </a:ln>
        </p:spPr>
        <p:txBody>
          <a:bodyPr wrap="square" lIns="68579" tIns="34292" rIns="68579" bIns="34292" anchor="ctr">
            <a:spAutoFit/>
          </a:bodyPr>
          <a:lstStyle/>
          <a:p>
            <a:pPr algn="ctr" defTabSz="457178" fontAlgn="b"/>
            <a:r>
              <a:rPr lang="en-US" sz="1400" dirty="0">
                <a:solidFill>
                  <a:schemeClr val="bg1"/>
                </a:solidFill>
                <a:latin typeface="CiscoSans ExtraLight"/>
                <a:ea typeface="CiscoSans Light" charset="0"/>
                <a:cs typeface="CiscoSans Light" charset="0"/>
              </a:rPr>
              <a:t>Optimization</a:t>
            </a:r>
          </a:p>
        </p:txBody>
      </p:sp>
      <p:sp>
        <p:nvSpPr>
          <p:cNvPr id="70" name="Rectangle 69"/>
          <p:cNvSpPr/>
          <p:nvPr/>
        </p:nvSpPr>
        <p:spPr>
          <a:xfrm flipH="1">
            <a:off x="4693324" y="1700036"/>
            <a:ext cx="1378716" cy="284697"/>
          </a:xfrm>
          <a:prstGeom prst="rect">
            <a:avLst/>
          </a:prstGeom>
          <a:ln>
            <a:noFill/>
          </a:ln>
        </p:spPr>
        <p:txBody>
          <a:bodyPr wrap="square" lIns="68579" tIns="34292" rIns="68579" bIns="34292" anchor="ctr">
            <a:spAutoFit/>
          </a:bodyPr>
          <a:lstStyle/>
          <a:p>
            <a:pPr algn="ctr" defTabSz="457178" fontAlgn="b"/>
            <a:r>
              <a:rPr lang="en-US" sz="1400" dirty="0">
                <a:solidFill>
                  <a:schemeClr val="bg1"/>
                </a:solidFill>
                <a:latin typeface="CiscoSans ExtraLight"/>
                <a:ea typeface="CiscoSans Light" charset="0"/>
                <a:cs typeface="CiscoSans Light" charset="0"/>
              </a:rPr>
              <a:t>Managed</a:t>
            </a:r>
          </a:p>
        </p:txBody>
      </p:sp>
      <p:sp>
        <p:nvSpPr>
          <p:cNvPr id="71" name="Rectangle 70"/>
          <p:cNvSpPr/>
          <p:nvPr/>
        </p:nvSpPr>
        <p:spPr>
          <a:xfrm flipH="1">
            <a:off x="6159833" y="1700036"/>
            <a:ext cx="1378716" cy="284697"/>
          </a:xfrm>
          <a:prstGeom prst="rect">
            <a:avLst/>
          </a:prstGeom>
        </p:spPr>
        <p:txBody>
          <a:bodyPr wrap="square" lIns="68579" tIns="34292" rIns="68579" bIns="34292" anchor="ctr">
            <a:spAutoFit/>
          </a:bodyPr>
          <a:lstStyle/>
          <a:p>
            <a:pPr algn="ctr" defTabSz="457178" fontAlgn="b"/>
            <a:r>
              <a:rPr lang="en-US" sz="1400" dirty="0">
                <a:solidFill>
                  <a:schemeClr val="bg1"/>
                </a:solidFill>
                <a:latin typeface="CiscoSans ExtraLight"/>
                <a:ea typeface="CiscoSans Light" charset="0"/>
                <a:cs typeface="CiscoSans Light" charset="0"/>
              </a:rPr>
              <a:t>Technical</a:t>
            </a:r>
          </a:p>
        </p:txBody>
      </p:sp>
      <p:sp>
        <p:nvSpPr>
          <p:cNvPr id="72" name="Rectangle 71"/>
          <p:cNvSpPr/>
          <p:nvPr/>
        </p:nvSpPr>
        <p:spPr>
          <a:xfrm flipH="1">
            <a:off x="7633459" y="1711493"/>
            <a:ext cx="1371600" cy="284697"/>
          </a:xfrm>
          <a:prstGeom prst="rect">
            <a:avLst/>
          </a:prstGeom>
          <a:ln>
            <a:noFill/>
          </a:ln>
        </p:spPr>
        <p:txBody>
          <a:bodyPr wrap="square" lIns="68579" tIns="34292" rIns="68579" bIns="34292" anchor="ctr">
            <a:spAutoFit/>
          </a:bodyPr>
          <a:lstStyle/>
          <a:p>
            <a:pPr algn="ctr" defTabSz="457178" fontAlgn="b"/>
            <a:r>
              <a:rPr lang="en-US" sz="1400" dirty="0">
                <a:solidFill>
                  <a:schemeClr val="bg1"/>
                </a:solidFill>
                <a:latin typeface="CiscoSans ExtraLight"/>
                <a:ea typeface="CiscoSans Light" charset="0"/>
                <a:cs typeface="CiscoSans Light" charset="0"/>
              </a:rPr>
              <a:t>Training</a:t>
            </a: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627" y="1110416"/>
            <a:ext cx="574417" cy="574417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0544" y="1110416"/>
            <a:ext cx="574417" cy="574417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2053" y="1110416"/>
            <a:ext cx="574417" cy="574417"/>
          </a:xfrm>
          <a:prstGeom prst="rect">
            <a:avLst/>
          </a:prstGeom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8967" y="1110416"/>
            <a:ext cx="574417" cy="574417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5476" y="1110416"/>
            <a:ext cx="574417" cy="574417"/>
          </a:xfrm>
          <a:prstGeom prst="rect">
            <a:avLst/>
          </a:prstGeom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1985" y="1110416"/>
            <a:ext cx="574417" cy="57441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95145" y="2989292"/>
            <a:ext cx="129448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100" dirty="0">
                <a:solidFill>
                  <a:srgbClr val="00BCEB"/>
                </a:solidFill>
                <a:latin typeface="CiscoSans Light" charset="0"/>
                <a:ea typeface="CiscoSans Light" charset="0"/>
                <a:cs typeface="CiscoSans Light" charset="0"/>
              </a:rPr>
              <a:t>Expert security guidance to drive business outcomes </a:t>
            </a:r>
          </a:p>
        </p:txBody>
      </p:sp>
      <p:sp>
        <p:nvSpPr>
          <p:cNvPr id="82" name="Rectangle 81"/>
          <p:cNvSpPr/>
          <p:nvPr/>
        </p:nvSpPr>
        <p:spPr>
          <a:xfrm>
            <a:off x="1625207" y="2051204"/>
            <a:ext cx="1407178" cy="738664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Security Implementation Services</a:t>
            </a:r>
            <a:endParaRPr lang="en-US" sz="1100" dirty="0">
              <a:solidFill>
                <a:srgbClr val="00BCEB"/>
              </a:solidFill>
              <a:latin typeface="CiscoSans Light" charset="0"/>
              <a:ea typeface="CiscoSans Light" charset="0"/>
              <a:cs typeface="CiscoSans Light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671117" y="2989292"/>
            <a:ext cx="12944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100" dirty="0">
                <a:solidFill>
                  <a:srgbClr val="00BCEB"/>
                </a:solidFill>
                <a:latin typeface="CiscoSans Light" charset="0"/>
                <a:ea typeface="CiscoSans Light" charset="0"/>
                <a:cs typeface="CiscoSans Light" charset="0"/>
              </a:rPr>
              <a:t>Maximize solution value</a:t>
            </a:r>
          </a:p>
        </p:txBody>
      </p:sp>
      <p:sp>
        <p:nvSpPr>
          <p:cNvPr id="84" name="Rectangle 83"/>
          <p:cNvSpPr/>
          <p:nvPr/>
        </p:nvSpPr>
        <p:spPr>
          <a:xfrm>
            <a:off x="3089943" y="1943483"/>
            <a:ext cx="1407178" cy="954107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Business Critical Services for Security</a:t>
            </a:r>
            <a:endParaRPr lang="en-US" sz="1100" dirty="0">
              <a:solidFill>
                <a:srgbClr val="00BCEB"/>
              </a:solidFill>
              <a:latin typeface="CiscoSans Light" charset="0"/>
              <a:ea typeface="CiscoSans Light" charset="0"/>
              <a:cs typeface="CiscoSans Light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3135854" y="2989292"/>
            <a:ext cx="129448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100" dirty="0">
                <a:solidFill>
                  <a:srgbClr val="00BCEB"/>
                </a:solidFill>
                <a:latin typeface="CiscoSans Light" charset="0"/>
                <a:ea typeface="CiscoSans Light" charset="0"/>
                <a:cs typeface="CiscoSans Light" charset="0"/>
              </a:rPr>
              <a:t>Maximize operational excellence and performance</a:t>
            </a:r>
          </a:p>
        </p:txBody>
      </p:sp>
      <p:sp>
        <p:nvSpPr>
          <p:cNvPr id="86" name="Rectangle 85"/>
          <p:cNvSpPr/>
          <p:nvPr/>
        </p:nvSpPr>
        <p:spPr>
          <a:xfrm>
            <a:off x="7562213" y="2031868"/>
            <a:ext cx="1407178" cy="954107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Security</a:t>
            </a:r>
            <a:b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</a:b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Certifications and Learning Programs</a:t>
            </a:r>
            <a:endParaRPr lang="en-US" sz="1400" dirty="0">
              <a:solidFill>
                <a:schemeClr val="bg2"/>
              </a:solidFill>
              <a:latin typeface="CiscoSans ExtraLight"/>
              <a:ea typeface="CiscoSans Light" charset="0"/>
              <a:cs typeface="CiscoSans Light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7608123" y="2989293"/>
            <a:ext cx="12944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100" dirty="0">
                <a:solidFill>
                  <a:srgbClr val="00BCEB"/>
                </a:solidFill>
                <a:latin typeface="CiscoSans Light" charset="0"/>
                <a:ea typeface="CiscoSans Light" charset="0"/>
                <a:cs typeface="CiscoSans Light" charset="0"/>
              </a:rPr>
              <a:t>Attract, build and retain skills</a:t>
            </a:r>
          </a:p>
        </p:txBody>
      </p:sp>
      <p:sp>
        <p:nvSpPr>
          <p:cNvPr id="88" name="Rectangle 87"/>
          <p:cNvSpPr/>
          <p:nvPr/>
        </p:nvSpPr>
        <p:spPr>
          <a:xfrm>
            <a:off x="4594664" y="2051204"/>
            <a:ext cx="1407178" cy="738664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Security Managed Services</a:t>
            </a:r>
            <a:endParaRPr lang="en-US" sz="1100" dirty="0">
              <a:solidFill>
                <a:srgbClr val="00BCEB"/>
              </a:solidFill>
              <a:latin typeface="CiscoSans Light" charset="0"/>
              <a:ea typeface="CiscoSans Light" charset="0"/>
              <a:cs typeface="CiscoSans Light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4640574" y="2989294"/>
            <a:ext cx="129448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100" dirty="0">
                <a:solidFill>
                  <a:srgbClr val="00BCEB"/>
                </a:solidFill>
                <a:latin typeface="CiscoSans Light" charset="0"/>
                <a:ea typeface="CiscoSans Light" charset="0"/>
                <a:cs typeface="CiscoSans Light" charset="0"/>
              </a:rPr>
              <a:t>Experts and advanced analytics to lower OpEx</a:t>
            </a:r>
          </a:p>
        </p:txBody>
      </p:sp>
      <p:sp>
        <p:nvSpPr>
          <p:cNvPr id="91" name="Rectangle 90"/>
          <p:cNvSpPr/>
          <p:nvPr/>
        </p:nvSpPr>
        <p:spPr>
          <a:xfrm>
            <a:off x="6074703" y="2051204"/>
            <a:ext cx="1407178" cy="738664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Security </a:t>
            </a:r>
            <a:b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</a:br>
            <a:r>
              <a:rPr lang="en-US" sz="1400" dirty="0">
                <a:solidFill>
                  <a:schemeClr val="accent5"/>
                </a:solidFill>
                <a:latin typeface="CiscoSans ExtraLight"/>
                <a:ea typeface="CiscoSans Light" charset="0"/>
                <a:cs typeface="CiscoSans Light" charset="0"/>
              </a:rPr>
              <a:t>Technical Services</a:t>
            </a:r>
            <a:endParaRPr lang="en-US" sz="1100" dirty="0">
              <a:solidFill>
                <a:srgbClr val="00BCEB"/>
              </a:solidFill>
              <a:latin typeface="CiscoSans Light" charset="0"/>
              <a:ea typeface="CiscoSans Light" charset="0"/>
              <a:cs typeface="CiscoSans Light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6120614" y="2989293"/>
            <a:ext cx="129448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8">
              <a:spcAft>
                <a:spcPts val="400"/>
              </a:spcAft>
            </a:pPr>
            <a:r>
              <a:rPr lang="en-US" sz="1100" dirty="0">
                <a:solidFill>
                  <a:srgbClr val="00BCEB"/>
                </a:solidFill>
                <a:latin typeface="CiscoSans Light" charset="0"/>
                <a:ea typeface="CiscoSans Light" charset="0"/>
                <a:cs typeface="CiscoSans Light" charset="0"/>
              </a:rPr>
              <a:t>Minimize business disruption</a:t>
            </a:r>
          </a:p>
        </p:txBody>
      </p:sp>
    </p:spTree>
    <p:extLst>
      <p:ext uri="{BB962C8B-B14F-4D97-AF65-F5344CB8AC3E}">
        <p14:creationId xmlns:p14="http://schemas.microsoft.com/office/powerpoint/2010/main" val="812762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4" grpId="0" animBg="1"/>
      <p:bldP spid="66" grpId="0"/>
      <p:bldP spid="68" grpId="0"/>
      <p:bldP spid="69" grpId="0"/>
      <p:bldP spid="70" grpId="0"/>
      <p:bldP spid="71" grpId="0"/>
      <p:bldP spid="7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anchor="b"/>
          <a:lstStyle/>
          <a:p>
            <a:r>
              <a:rPr lang="en-US" dirty="0" smtClean="0"/>
              <a:t>Demo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Subtitle 3">
            <a:extLst>
              <a:ext uri="{FF2B5EF4-FFF2-40B4-BE49-F238E27FC236}">
                <a16:creationId xmlns="" xmlns:a16="http://schemas.microsoft.com/office/drawing/2014/main" id="{93894206-7958-41E4-952D-4133A6B6D176}"/>
              </a:ext>
            </a:extLst>
          </p:cNvPr>
          <p:cNvSpPr txBox="1">
            <a:spLocks/>
          </p:cNvSpPr>
          <p:nvPr/>
        </p:nvSpPr>
        <p:spPr>
          <a:xfrm>
            <a:off x="469496" y="3555318"/>
            <a:ext cx="8296421" cy="632195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latin typeface="CiscoSans ExtraLight" charset="0"/>
                <a:ea typeface="CiscoSans ExtraLight" charset="0"/>
                <a:cs typeface="CiscoSans ExtraLight" charset="0"/>
              </a:rPr>
              <a:t>Ron Hinderer – GSSO GSP Security Sales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="" xmlns:a16="http://schemas.microsoft.com/office/drawing/2014/main" id="{C085B9A4-BFC9-44F8-9648-90BFF3CFED3C}"/>
              </a:ext>
            </a:extLst>
          </p:cNvPr>
          <p:cNvSpPr txBox="1">
            <a:spLocks/>
          </p:cNvSpPr>
          <p:nvPr/>
        </p:nvSpPr>
        <p:spPr>
          <a:xfrm>
            <a:off x="469496" y="4043448"/>
            <a:ext cx="8296421" cy="288131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47050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Breaches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 </a:t>
            </a:r>
            <a:r>
              <a:rPr lang="en-US" sz="2800" dirty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are the New Normal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68570" tIns="34286" rIns="68570" bIns="34286" rtlCol="0" anchor="ctr"/>
          <a:lstStyle>
            <a:lvl1pPr marL="0" marR="0" indent="0" algn="r" defTabSz="685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25">
                <a:solidFill>
                  <a:schemeClr val="tx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>
                <a:solidFill>
                  <a:srgbClr val="676767">
                    <a:lumMod val="65000"/>
                  </a:srgb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Cisco Confidential</a:t>
            </a:r>
            <a:endParaRPr lang="en-US" dirty="0">
              <a:solidFill>
                <a:srgbClr val="676767">
                  <a:lumMod val="65000"/>
                </a:srgbClr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019" y="1673395"/>
            <a:ext cx="3810644" cy="1633133"/>
          </a:xfrm>
          <a:prstGeom prst="rect">
            <a:avLst/>
          </a:prstGeom>
          <a:effectLst/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0663" y="1091588"/>
            <a:ext cx="4404549" cy="204278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4341" y="2405327"/>
            <a:ext cx="3875165" cy="180240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787" y="2480302"/>
            <a:ext cx="4570645" cy="212259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660000">
            <a:off x="3658336" y="3235686"/>
            <a:ext cx="3217835" cy="1947393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479258" y="1069201"/>
            <a:ext cx="4277701" cy="967212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rtlCol="0" anchor="ctr"/>
          <a:lstStyle/>
          <a:p>
            <a:r>
              <a:rPr lang="en-US" sz="2400" dirty="0">
                <a:solidFill>
                  <a:srgbClr val="FFFFFF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FDA Wards of Security Flaw </a:t>
            </a:r>
            <a:br>
              <a:rPr lang="en-US" sz="2400" dirty="0">
                <a:solidFill>
                  <a:srgbClr val="FFFFFF"/>
                </a:solidFill>
                <a:latin typeface="CiscoSans ExtraLight" charset="0"/>
                <a:ea typeface="CiscoSans ExtraLight" charset="0"/>
                <a:cs typeface="CiscoSans ExtraLight" charset="0"/>
              </a:rPr>
            </a:br>
            <a:r>
              <a:rPr lang="en-US" sz="2400" dirty="0">
                <a:solidFill>
                  <a:srgbClr val="FFFFFF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in Infusion Pump </a:t>
            </a:r>
          </a:p>
        </p:txBody>
      </p:sp>
      <p:sp>
        <p:nvSpPr>
          <p:cNvPr id="14" name="Rectangle 13"/>
          <p:cNvSpPr/>
          <p:nvPr/>
        </p:nvSpPr>
        <p:spPr>
          <a:xfrm rot="600000">
            <a:off x="6064063" y="825851"/>
            <a:ext cx="3137780" cy="967212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1450" rtlCol="0" anchor="ctr"/>
          <a:lstStyle/>
          <a:p>
            <a:r>
              <a:rPr lang="en-US" sz="2400" dirty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14 million vehicles </a:t>
            </a:r>
            <a:br>
              <a:rPr lang="en-US" sz="2400" dirty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</a:br>
            <a:r>
              <a:rPr lang="en-US" sz="2438" dirty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recalled after hack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56428" y="4566338"/>
            <a:ext cx="441146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mtClean="0"/>
              <a:t>    </a:t>
            </a:r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5873828" y="4705240"/>
            <a:ext cx="2621230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 smtClean="0"/>
              <a:t>                                   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866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88" fill="hold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9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9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28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9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9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3" presetClass="entr" presetSubtype="28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9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9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3" presetClass="entr" presetSubtype="288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9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9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3" presetClass="entr" presetSubtype="288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9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9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3" presetClass="entr" presetSubtype="288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9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9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3" presetClass="entr" presetSubtype="288" fill="hold" grpId="0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9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9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4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" name="Generic_Network_Cloud_Image" descr="Cloud by cinemacookie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8283" y="474373"/>
            <a:ext cx="605055" cy="324166"/>
          </a:xfrm>
          <a:prstGeom prst="rect">
            <a:avLst/>
          </a:prstGeom>
          <a:noFill/>
        </p:spPr>
      </p:pic>
      <p:pic>
        <p:nvPicPr>
          <p:cNvPr id="53" name="Generic_Network_Cloud_Image" descr="Cloud by cinemacookie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1064" y="2451800"/>
            <a:ext cx="1005420" cy="538667"/>
          </a:xfrm>
          <a:prstGeom prst="rect">
            <a:avLst/>
          </a:prstGeom>
        </p:spPr>
      </p:pic>
      <p:graphicFrame>
        <p:nvGraphicFramePr>
          <p:cNvPr id="15" name="Diagram 14"/>
          <p:cNvGraphicFramePr/>
          <p:nvPr>
            <p:extLst/>
          </p:nvPr>
        </p:nvGraphicFramePr>
        <p:xfrm>
          <a:off x="590156" y="1803286"/>
          <a:ext cx="2164276" cy="1442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0" r:lo="rId31" r:qs="rId32" r:cs="rId33"/>
          </a:graphicData>
        </a:graphic>
      </p:graphicFrame>
      <p:sp>
        <p:nvSpPr>
          <p:cNvPr id="105" name="Right Brace 104"/>
          <p:cNvSpPr/>
          <p:nvPr/>
        </p:nvSpPr>
        <p:spPr>
          <a:xfrm>
            <a:off x="1879778" y="2142924"/>
            <a:ext cx="243608" cy="1123894"/>
          </a:xfrm>
          <a:prstGeom prst="rightBrace">
            <a:avLst>
              <a:gd name="adj1" fmla="val 8333"/>
              <a:gd name="adj2" fmla="val 53191"/>
            </a:avLst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40168" y="2177767"/>
            <a:ext cx="1214466" cy="1079145"/>
            <a:chOff x="1102929" y="2461513"/>
            <a:chExt cx="1529142" cy="1358759"/>
          </a:xfrm>
        </p:grpSpPr>
        <p:grpSp>
          <p:nvGrpSpPr>
            <p:cNvPr id="17" name="Group 16"/>
            <p:cNvGrpSpPr/>
            <p:nvPr/>
          </p:nvGrpSpPr>
          <p:grpSpPr>
            <a:xfrm>
              <a:off x="2121172" y="3526869"/>
              <a:ext cx="340877" cy="258665"/>
              <a:chOff x="4095889" y="3404874"/>
              <a:chExt cx="340877" cy="258665"/>
            </a:xfrm>
          </p:grpSpPr>
          <p:pic>
            <p:nvPicPr>
              <p:cNvPr id="31" name="Generic_Subscriber_Device_Image"/>
              <p:cNvPicPr>
                <a:picLocks noChangeAspect="1" noChangeArrowheads="1"/>
              </p:cNvPicPr>
              <p:nvPr>
                <p:custDataLst>
                  <p:tags r:id="rId25"/>
                </p:custDataLst>
              </p:nvPr>
            </p:nvPicPr>
            <p:blipFill>
              <a:blip r:embed="rId35"/>
              <a:stretch>
                <a:fillRect/>
              </a:stretch>
            </p:blipFill>
            <p:spPr bwMode="auto">
              <a:xfrm>
                <a:off x="4095889" y="3404874"/>
                <a:ext cx="340877" cy="258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2" name="Admin_PC_Background_Application" descr="Screen Clipping"/>
              <p:cNvPicPr>
                <a:picLocks noChangeAspect="1"/>
              </p:cNvPicPr>
              <p:nvPr>
                <p:custDataLst>
                  <p:tags r:id="rId26"/>
                </p:custDataLst>
              </p:nvPr>
            </p:nvPicPr>
            <p:blipFill>
              <a:blip r:embed="rId36">
                <a:duotone>
                  <a:prstClr val="black"/>
                  <a:schemeClr val="tx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4122633" y="3421338"/>
                <a:ext cx="286655" cy="225109"/>
              </a:xfrm>
              <a:prstGeom prst="rect">
                <a:avLst/>
              </a:prstGeom>
            </p:spPr>
          </p:pic>
        </p:grpSp>
        <p:grpSp>
          <p:nvGrpSpPr>
            <p:cNvPr id="18" name="Group 17"/>
            <p:cNvGrpSpPr/>
            <p:nvPr/>
          </p:nvGrpSpPr>
          <p:grpSpPr>
            <a:xfrm>
              <a:off x="1658088" y="2985813"/>
              <a:ext cx="866647" cy="657631"/>
              <a:chOff x="3499670" y="3279467"/>
              <a:chExt cx="866647" cy="657631"/>
            </a:xfrm>
          </p:grpSpPr>
          <p:pic>
            <p:nvPicPr>
              <p:cNvPr id="29" name="Generic_Subscriber_Device_Image"/>
              <p:cNvPicPr>
                <a:picLocks noChangeAspect="1" noChangeArrowheads="1"/>
              </p:cNvPicPr>
              <p:nvPr>
                <p:custDataLst>
                  <p:tags r:id="rId23"/>
                </p:custDataLst>
              </p:nvPr>
            </p:nvPicPr>
            <p:blipFill>
              <a:blip r:embed="rId35"/>
              <a:stretch>
                <a:fillRect/>
              </a:stretch>
            </p:blipFill>
            <p:spPr bwMode="auto">
              <a:xfrm>
                <a:off x="3499670" y="3279467"/>
                <a:ext cx="866647" cy="6576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" name="Admin_PC_Background_Application" descr="Screen Clipping"/>
              <p:cNvPicPr>
                <a:picLocks noChangeAspect="1"/>
              </p:cNvPicPr>
              <p:nvPr>
                <p:custDataLst>
                  <p:tags r:id="rId24"/>
                </p:custDataLst>
              </p:nvPr>
            </p:nvPicPr>
            <p:blipFill>
              <a:blip r:embed="rId36">
                <a:duotone>
                  <a:prstClr val="black"/>
                  <a:schemeClr val="tx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567661" y="3321327"/>
                <a:ext cx="728793" cy="572317"/>
              </a:xfrm>
              <a:prstGeom prst="rect">
                <a:avLst/>
              </a:prstGeom>
            </p:spPr>
          </p:pic>
        </p:grpSp>
        <p:grpSp>
          <p:nvGrpSpPr>
            <p:cNvPr id="19" name="Hacker_PC"/>
            <p:cNvGrpSpPr/>
            <p:nvPr>
              <p:custDataLst>
                <p:tags r:id="rId17"/>
              </p:custDataLst>
            </p:nvPr>
          </p:nvGrpSpPr>
          <p:grpSpPr>
            <a:xfrm>
              <a:off x="1199027" y="2461513"/>
              <a:ext cx="1433044" cy="1358759"/>
              <a:chOff x="294152" y="928855"/>
              <a:chExt cx="1433044" cy="1358759"/>
            </a:xfrm>
          </p:grpSpPr>
          <p:pic>
            <p:nvPicPr>
              <p:cNvPr id="25" name="Generic_PC_Image" descr="\\psf\Home\Desktop\Work_In_Progress\2012\Cisco\CES 2012\Support Files\macbookpro.png"/>
              <p:cNvPicPr>
                <a:picLocks noChangeAspect="1" noChangeArrowheads="1"/>
              </p:cNvPicPr>
              <p:nvPr>
                <p:custDataLst>
                  <p:tags r:id="rId19"/>
                </p:custDataLst>
              </p:nvPr>
            </p:nvPicPr>
            <p:blipFill rotWithShape="1">
              <a:blip r:embed="rId3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94152" y="928855"/>
                <a:ext cx="1433044" cy="995734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6" name="Generic_PC_Black_Screen"/>
              <p:cNvSpPr/>
              <p:nvPr>
                <p:custDataLst>
                  <p:tags r:id="rId20"/>
                </p:custDataLst>
              </p:nvPr>
            </p:nvSpPr>
            <p:spPr>
              <a:xfrm>
                <a:off x="489583" y="1009278"/>
                <a:ext cx="1097280" cy="731520"/>
              </a:xfrm>
              <a:prstGeom prst="rect">
                <a:avLst/>
              </a:prstGeom>
              <a:solidFill>
                <a:schemeClr val="tx1">
                  <a:lumMod val="75000"/>
                </a:schemeClr>
              </a:solidFill>
              <a:ln>
                <a:noFill/>
              </a:ln>
              <a:effectLst>
                <a:outerShdw blurRad="76200" dist="38100" dir="5400000">
                  <a:srgbClr val="000000">
                    <a:alpha val="16000"/>
                  </a:srgbClr>
                </a:outerShdw>
              </a:effectLst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lIns="38582" tIns="19291" rIns="38582" bIns="19291" rtlCol="0" anchor="ctr"/>
              <a:lstStyle/>
              <a:p>
                <a:pPr marL="0" marR="0" lvl="0" indent="0" algn="ctr" defTabSz="289367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0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7" name="Generic_PC_Label"/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810100" y="2081742"/>
                <a:ext cx="464625" cy="205872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rPr>
                  <a:t>Phone</a:t>
                </a:r>
              </a:p>
            </p:txBody>
          </p:sp>
          <p:sp>
            <p:nvSpPr>
              <p:cNvPr id="28" name="Generic_PC_Label"/>
              <p:cNvSpPr txBox="1"/>
              <p:nvPr>
                <p:custDataLst>
                  <p:tags r:id="rId22"/>
                </p:custDataLst>
              </p:nvPr>
            </p:nvSpPr>
            <p:spPr>
              <a:xfrm>
                <a:off x="352223" y="1897957"/>
                <a:ext cx="454532" cy="205872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0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rPr>
                  <a:t>Tablet</a:t>
                </a:r>
              </a:p>
            </p:txBody>
          </p:sp>
        </p:grpSp>
        <p:pic>
          <p:nvPicPr>
            <p:cNvPr id="20" name="Admin_PC_Background_Application" descr="Screen Clipping"/>
            <p:cNvPicPr>
              <a:picLocks noChangeAspect="1"/>
            </p:cNvPicPr>
            <p:nvPr>
              <p:custDataLst>
                <p:tags r:id="rId18"/>
              </p:custDataLst>
            </p:nvPr>
          </p:nvPicPr>
          <p:blipFill>
            <a:blip r:embed="rId36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394458" y="2539853"/>
              <a:ext cx="1082637" cy="721570"/>
            </a:xfrm>
            <a:prstGeom prst="rect">
              <a:avLst/>
            </a:prstGeom>
          </p:spPr>
        </p:pic>
        <p:pic>
          <p:nvPicPr>
            <p:cNvPr id="21" name="Picture 6" descr="File:Windows logo - 2012.svg"/>
            <p:cNvPicPr>
              <a:picLocks noChangeAspect="1" noChangeArrowheads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4503" y="2911336"/>
              <a:ext cx="194139" cy="1941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12" descr="Image result for linux logo"/>
            <p:cNvPicPr>
              <a:picLocks noChangeAspect="1" noChangeArrowheads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3473" y="3090325"/>
              <a:ext cx="218036" cy="2583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16" descr="Image result for android logo"/>
            <p:cNvPicPr>
              <a:picLocks noChangeAspect="1" noChangeArrowheads="1"/>
            </p:cNvPicPr>
            <p:nvPr/>
          </p:nvPicPr>
          <p:blipFill>
            <a:blip r:embed="rId4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2929" y="2680641"/>
              <a:ext cx="278591" cy="2785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14" descr="Image result for apple logo"/>
            <p:cNvPicPr>
              <a:picLocks noChangeAspect="1" noChangeArrowheads="1"/>
            </p:cNvPicPr>
            <p:nvPr/>
          </p:nvPicPr>
          <p:blipFill>
            <a:blip r:embed="rId4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0377" y="2495039"/>
              <a:ext cx="203685" cy="2036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3" name="TextBox 32"/>
          <p:cNvSpPr txBox="1"/>
          <p:nvPr/>
        </p:nvSpPr>
        <p:spPr>
          <a:xfrm>
            <a:off x="1175905" y="2260562"/>
            <a:ext cx="233986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Any</a:t>
            </a:r>
            <a:b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</a:b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Metho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     Multi-</a:t>
            </a:r>
            <a:b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</a:b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     Facto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Alway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On</a:t>
            </a:r>
          </a:p>
        </p:txBody>
      </p:sp>
      <p:cxnSp>
        <p:nvCxnSpPr>
          <p:cNvPr id="48" name="Connector: Elbow 47"/>
          <p:cNvCxnSpPr>
            <a:cxnSpLocks/>
          </p:cNvCxnSpPr>
          <p:nvPr/>
        </p:nvCxnSpPr>
        <p:spPr>
          <a:xfrm rot="16200000" flipH="1">
            <a:off x="1669282" y="2027550"/>
            <a:ext cx="224190" cy="76244"/>
          </a:xfrm>
          <a:prstGeom prst="bentConnector3">
            <a:avLst>
              <a:gd name="adj1" fmla="val 2010"/>
            </a:avLst>
          </a:prstGeom>
          <a:ln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Arc 48"/>
          <p:cNvSpPr/>
          <p:nvPr/>
        </p:nvSpPr>
        <p:spPr>
          <a:xfrm rot="283621">
            <a:off x="1480790" y="1703387"/>
            <a:ext cx="328341" cy="513316"/>
          </a:xfrm>
          <a:prstGeom prst="arc">
            <a:avLst>
              <a:gd name="adj1" fmla="val 16248627"/>
              <a:gd name="adj2" fmla="val 21312345"/>
            </a:avLst>
          </a:prstGeom>
          <a:ln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830669" y="1958532"/>
            <a:ext cx="279773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Force</a:t>
            </a:r>
          </a:p>
        </p:txBody>
      </p:sp>
      <p:sp>
        <p:nvSpPr>
          <p:cNvPr id="64" name="Right Brace 63"/>
          <p:cNvSpPr/>
          <p:nvPr/>
        </p:nvSpPr>
        <p:spPr>
          <a:xfrm rot="5400000">
            <a:off x="688502" y="2919207"/>
            <a:ext cx="243608" cy="716057"/>
          </a:xfrm>
          <a:prstGeom prst="rightBrace">
            <a:avLst/>
          </a:pr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pic>
        <p:nvPicPr>
          <p:cNvPr id="65" name="Picture 64" descr="http://pomeroy.me/wp-content/uploads/2013/04/AnyConnect.png"/>
          <p:cNvPicPr>
            <a:picLocks noChangeAspect="1" noChangeArrowheads="1"/>
          </p:cNvPicPr>
          <p:nvPr/>
        </p:nvPicPr>
        <p:blipFill rotWithShape="1"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5361" y="3131042"/>
            <a:ext cx="52391" cy="52133"/>
          </a:xfrm>
          <a:prstGeom prst="ellipse">
            <a:avLst/>
          </a:prstGeom>
          <a:noFill/>
          <a:extLst>
            <a:ext uri="{909E8E84-426E-40dd-AFC4-6F175D3DCCD1}">
              <a14:hiddenFill xmlns:lc="http://schemas.openxmlformats.org/drawingml/2006/lockedCanvas"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65" descr="http://pomeroy.me/wp-content/uploads/2013/04/AnyConnect.png"/>
          <p:cNvPicPr>
            <a:picLocks noChangeAspect="1" noChangeArrowheads="1"/>
          </p:cNvPicPr>
          <p:nvPr/>
        </p:nvPicPr>
        <p:blipFill rotWithShape="1"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31404" y="2973352"/>
            <a:ext cx="80304" cy="79907"/>
          </a:xfrm>
          <a:prstGeom prst="ellipse">
            <a:avLst/>
          </a:prstGeom>
          <a:noFill/>
          <a:extLst>
            <a:ext uri="{909E8E84-426E-40dd-AFC4-6F175D3DCCD1}">
              <a14:hiddenFill xmlns:lc="http://schemas.openxmlformats.org/drawingml/2006/lockedCanvas"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67" descr="http://pomeroy.me/wp-content/uploads/2013/04/AnyConnect.png"/>
          <p:cNvPicPr>
            <a:picLocks noChangeAspect="1" noChangeArrowheads="1"/>
          </p:cNvPicPr>
          <p:nvPr/>
        </p:nvPicPr>
        <p:blipFill rotWithShape="1"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4776" y="2308908"/>
            <a:ext cx="444813" cy="442610"/>
          </a:xfrm>
          <a:prstGeom prst="ellipse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lc="http://schemas.openxmlformats.org/drawingml/2006/lockedCanvas"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8" name="Picture 397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297599" y="2252747"/>
            <a:ext cx="250713" cy="512929"/>
          </a:xfrm>
          <a:prstGeom prst="rect">
            <a:avLst/>
          </a:prstGeom>
        </p:spPr>
      </p:pic>
      <p:sp>
        <p:nvSpPr>
          <p:cNvPr id="412" name="TextBox 411"/>
          <p:cNvSpPr txBox="1"/>
          <p:nvPr/>
        </p:nvSpPr>
        <p:spPr>
          <a:xfrm>
            <a:off x="1023413" y="3424023"/>
            <a:ext cx="426945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BYOD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769894" y="1750165"/>
            <a:ext cx="372884" cy="769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Allow or..</a:t>
            </a:r>
          </a:p>
        </p:txBody>
      </p:sp>
      <p:sp>
        <p:nvSpPr>
          <p:cNvPr id="429" name="Freeform: Shape 428"/>
          <p:cNvSpPr/>
          <p:nvPr/>
        </p:nvSpPr>
        <p:spPr>
          <a:xfrm rot="16200000">
            <a:off x="4191487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424" name="Arrow: Up 423"/>
          <p:cNvSpPr/>
          <p:nvPr/>
        </p:nvSpPr>
        <p:spPr>
          <a:xfrm>
            <a:off x="5550297" y="2974351"/>
            <a:ext cx="251019" cy="576383"/>
          </a:xfrm>
          <a:prstGeom prst="up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9831" tIns="149831" rIns="149831" bIns="149831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882663" y="562340"/>
            <a:ext cx="667528" cy="423890"/>
            <a:chOff x="3436770" y="454428"/>
            <a:chExt cx="1186716" cy="753583"/>
          </a:xfrm>
        </p:grpSpPr>
        <p:grpSp>
          <p:nvGrpSpPr>
            <p:cNvPr id="5" name="Group 4"/>
            <p:cNvGrpSpPr/>
            <p:nvPr/>
          </p:nvGrpSpPr>
          <p:grpSpPr>
            <a:xfrm>
              <a:off x="3436770" y="701172"/>
              <a:ext cx="1186716" cy="506839"/>
              <a:chOff x="6823603" y="245057"/>
              <a:chExt cx="949655" cy="405590"/>
            </a:xfrm>
          </p:grpSpPr>
          <p:pic>
            <p:nvPicPr>
              <p:cNvPr id="10" name="Generic_Network_Cloud_Image" descr="Cloud by cinemacookie"/>
              <p:cNvPicPr>
                <a:picLocks noChangeAspect="1"/>
              </p:cNvPicPr>
              <p:nvPr>
                <p:custDataLst>
                  <p:tags r:id="rId15"/>
                </p:custDataLst>
              </p:nvPr>
            </p:nvPicPr>
            <p:blipFill>
              <a:blip r:embed="rId4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18667" y="245057"/>
                <a:ext cx="734994" cy="393783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11" name="Generic_Network_Cloud_Label"/>
              <p:cNvSpPr txBox="1"/>
              <p:nvPr>
                <p:custDataLst>
                  <p:tags r:id="rId16"/>
                </p:custDataLst>
              </p:nvPr>
            </p:nvSpPr>
            <p:spPr>
              <a:xfrm>
                <a:off x="6823603" y="366041"/>
                <a:ext cx="949655" cy="2846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rPr>
                  <a:t>AWS/Azure</a:t>
                </a:r>
              </a:p>
            </p:txBody>
          </p:sp>
        </p:grp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45"/>
            <a:stretch>
              <a:fillRect/>
            </a:stretch>
          </p:blipFill>
          <p:spPr>
            <a:xfrm>
              <a:off x="3859834" y="454428"/>
              <a:ext cx="262790" cy="390427"/>
            </a:xfrm>
            <a:prstGeom prst="rect">
              <a:avLst/>
            </a:prstGeom>
          </p:spPr>
        </p:pic>
        <p:grpSp>
          <p:nvGrpSpPr>
            <p:cNvPr id="7" name="Group 6"/>
            <p:cNvGrpSpPr/>
            <p:nvPr/>
          </p:nvGrpSpPr>
          <p:grpSpPr>
            <a:xfrm>
              <a:off x="3521038" y="503848"/>
              <a:ext cx="387982" cy="387982"/>
              <a:chOff x="7775816" y="5755569"/>
              <a:chExt cx="509582" cy="509582"/>
            </a:xfrm>
          </p:grpSpPr>
          <p:sp>
            <p:nvSpPr>
              <p:cNvPr id="8" name="Oval 7"/>
              <p:cNvSpPr/>
              <p:nvPr/>
            </p:nvSpPr>
            <p:spPr>
              <a:xfrm>
                <a:off x="7775816" y="5755569"/>
                <a:ext cx="509582" cy="509582"/>
              </a:xfrm>
              <a:prstGeom prst="ellipse">
                <a:avLst/>
              </a:prstGeom>
              <a:solidFill>
                <a:schemeClr val="bg1">
                  <a:alpha val="50000"/>
                </a:schemeClr>
              </a:solidFill>
              <a:ln w="25400">
                <a:solidFill>
                  <a:srgbClr val="0070C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08610" rIns="51435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9" name="Freeform 11"/>
              <p:cNvSpPr>
                <a:spLocks noEditPoints="1"/>
              </p:cNvSpPr>
              <p:nvPr/>
            </p:nvSpPr>
            <p:spPr bwMode="auto">
              <a:xfrm>
                <a:off x="7819263" y="5889068"/>
                <a:ext cx="428388" cy="249976"/>
              </a:xfrm>
              <a:custGeom>
                <a:avLst/>
                <a:gdLst>
                  <a:gd name="T0" fmla="*/ 109 w 239"/>
                  <a:gd name="T1" fmla="*/ 16 h 139"/>
                  <a:gd name="T2" fmla="*/ 127 w 239"/>
                  <a:gd name="T3" fmla="*/ 16 h 139"/>
                  <a:gd name="T4" fmla="*/ 129 w 239"/>
                  <a:gd name="T5" fmla="*/ 12 h 139"/>
                  <a:gd name="T6" fmla="*/ 159 w 239"/>
                  <a:gd name="T7" fmla="*/ 9 h 139"/>
                  <a:gd name="T8" fmla="*/ 168 w 239"/>
                  <a:gd name="T9" fmla="*/ 18 h 139"/>
                  <a:gd name="T10" fmla="*/ 171 w 239"/>
                  <a:gd name="T11" fmla="*/ 20 h 139"/>
                  <a:gd name="T12" fmla="*/ 197 w 239"/>
                  <a:gd name="T13" fmla="*/ 29 h 139"/>
                  <a:gd name="T14" fmla="*/ 217 w 239"/>
                  <a:gd name="T15" fmla="*/ 46 h 139"/>
                  <a:gd name="T16" fmla="*/ 226 w 239"/>
                  <a:gd name="T17" fmla="*/ 112 h 139"/>
                  <a:gd name="T18" fmla="*/ 173 w 239"/>
                  <a:gd name="T19" fmla="*/ 135 h 139"/>
                  <a:gd name="T20" fmla="*/ 132 w 239"/>
                  <a:gd name="T21" fmla="*/ 95 h 139"/>
                  <a:gd name="T22" fmla="*/ 131 w 239"/>
                  <a:gd name="T23" fmla="*/ 93 h 139"/>
                  <a:gd name="T24" fmla="*/ 104 w 239"/>
                  <a:gd name="T25" fmla="*/ 93 h 139"/>
                  <a:gd name="T26" fmla="*/ 104 w 239"/>
                  <a:gd name="T27" fmla="*/ 96 h 139"/>
                  <a:gd name="T28" fmla="*/ 47 w 239"/>
                  <a:gd name="T29" fmla="*/ 135 h 139"/>
                  <a:gd name="T30" fmla="*/ 2 w 239"/>
                  <a:gd name="T31" fmla="*/ 90 h 139"/>
                  <a:gd name="T32" fmla="*/ 19 w 239"/>
                  <a:gd name="T33" fmla="*/ 46 h 139"/>
                  <a:gd name="T34" fmla="*/ 42 w 239"/>
                  <a:gd name="T35" fmla="*/ 28 h 139"/>
                  <a:gd name="T36" fmla="*/ 64 w 239"/>
                  <a:gd name="T37" fmla="*/ 20 h 139"/>
                  <a:gd name="T38" fmla="*/ 67 w 239"/>
                  <a:gd name="T39" fmla="*/ 18 h 139"/>
                  <a:gd name="T40" fmla="*/ 76 w 239"/>
                  <a:gd name="T41" fmla="*/ 10 h 139"/>
                  <a:gd name="T42" fmla="*/ 108 w 239"/>
                  <a:gd name="T43" fmla="*/ 15 h 139"/>
                  <a:gd name="T44" fmla="*/ 109 w 239"/>
                  <a:gd name="T45" fmla="*/ 16 h 139"/>
                  <a:gd name="T46" fmla="*/ 19 w 239"/>
                  <a:gd name="T47" fmla="*/ 84 h 139"/>
                  <a:gd name="T48" fmla="*/ 53 w 239"/>
                  <a:gd name="T49" fmla="*/ 119 h 139"/>
                  <a:gd name="T50" fmla="*/ 88 w 239"/>
                  <a:gd name="T51" fmla="*/ 85 h 139"/>
                  <a:gd name="T52" fmla="*/ 55 w 239"/>
                  <a:gd name="T53" fmla="*/ 50 h 139"/>
                  <a:gd name="T54" fmla="*/ 19 w 239"/>
                  <a:gd name="T55" fmla="*/ 84 h 139"/>
                  <a:gd name="T56" fmla="*/ 148 w 239"/>
                  <a:gd name="T57" fmla="*/ 84 h 139"/>
                  <a:gd name="T58" fmla="*/ 183 w 239"/>
                  <a:gd name="T59" fmla="*/ 119 h 139"/>
                  <a:gd name="T60" fmla="*/ 217 w 239"/>
                  <a:gd name="T61" fmla="*/ 83 h 139"/>
                  <a:gd name="T62" fmla="*/ 181 w 239"/>
                  <a:gd name="T63" fmla="*/ 50 h 139"/>
                  <a:gd name="T64" fmla="*/ 148 w 239"/>
                  <a:gd name="T65" fmla="*/ 84 h 139"/>
                  <a:gd name="T66" fmla="*/ 131 w 239"/>
                  <a:gd name="T67" fmla="*/ 70 h 139"/>
                  <a:gd name="T68" fmla="*/ 118 w 239"/>
                  <a:gd name="T69" fmla="*/ 56 h 139"/>
                  <a:gd name="T70" fmla="*/ 104 w 239"/>
                  <a:gd name="T71" fmla="*/ 69 h 139"/>
                  <a:gd name="T72" fmla="*/ 117 w 239"/>
                  <a:gd name="T73" fmla="*/ 83 h 139"/>
                  <a:gd name="T74" fmla="*/ 131 w 239"/>
                  <a:gd name="T75" fmla="*/ 7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39" h="139">
                    <a:moveTo>
                      <a:pt x="109" y="16"/>
                    </a:moveTo>
                    <a:cubicBezTo>
                      <a:pt x="115" y="13"/>
                      <a:pt x="121" y="13"/>
                      <a:pt x="127" y="16"/>
                    </a:cubicBezTo>
                    <a:cubicBezTo>
                      <a:pt x="128" y="15"/>
                      <a:pt x="128" y="13"/>
                      <a:pt x="129" y="12"/>
                    </a:cubicBezTo>
                    <a:cubicBezTo>
                      <a:pt x="136" y="2"/>
                      <a:pt x="150" y="1"/>
                      <a:pt x="159" y="9"/>
                    </a:cubicBezTo>
                    <a:cubicBezTo>
                      <a:pt x="162" y="12"/>
                      <a:pt x="165" y="15"/>
                      <a:pt x="168" y="18"/>
                    </a:cubicBezTo>
                    <a:cubicBezTo>
                      <a:pt x="169" y="19"/>
                      <a:pt x="170" y="20"/>
                      <a:pt x="171" y="20"/>
                    </a:cubicBezTo>
                    <a:cubicBezTo>
                      <a:pt x="181" y="20"/>
                      <a:pt x="189" y="24"/>
                      <a:pt x="197" y="29"/>
                    </a:cubicBezTo>
                    <a:cubicBezTo>
                      <a:pt x="203" y="35"/>
                      <a:pt x="210" y="40"/>
                      <a:pt x="217" y="46"/>
                    </a:cubicBezTo>
                    <a:cubicBezTo>
                      <a:pt x="235" y="62"/>
                      <a:pt x="239" y="91"/>
                      <a:pt x="226" y="112"/>
                    </a:cubicBezTo>
                    <a:cubicBezTo>
                      <a:pt x="214" y="129"/>
                      <a:pt x="194" y="139"/>
                      <a:pt x="173" y="135"/>
                    </a:cubicBezTo>
                    <a:cubicBezTo>
                      <a:pt x="152" y="131"/>
                      <a:pt x="136" y="116"/>
                      <a:pt x="132" y="95"/>
                    </a:cubicBezTo>
                    <a:cubicBezTo>
                      <a:pt x="132" y="94"/>
                      <a:pt x="131" y="94"/>
                      <a:pt x="131" y="93"/>
                    </a:cubicBezTo>
                    <a:cubicBezTo>
                      <a:pt x="122" y="97"/>
                      <a:pt x="114" y="98"/>
                      <a:pt x="104" y="93"/>
                    </a:cubicBezTo>
                    <a:cubicBezTo>
                      <a:pt x="104" y="94"/>
                      <a:pt x="104" y="95"/>
                      <a:pt x="104" y="96"/>
                    </a:cubicBezTo>
                    <a:cubicBezTo>
                      <a:pt x="98" y="122"/>
                      <a:pt x="72" y="139"/>
                      <a:pt x="47" y="135"/>
                    </a:cubicBezTo>
                    <a:cubicBezTo>
                      <a:pt x="23" y="132"/>
                      <a:pt x="5" y="114"/>
                      <a:pt x="2" y="90"/>
                    </a:cubicBezTo>
                    <a:cubicBezTo>
                      <a:pt x="0" y="73"/>
                      <a:pt x="6" y="58"/>
                      <a:pt x="19" y="46"/>
                    </a:cubicBezTo>
                    <a:cubicBezTo>
                      <a:pt x="26" y="40"/>
                      <a:pt x="34" y="34"/>
                      <a:pt x="42" y="28"/>
                    </a:cubicBezTo>
                    <a:cubicBezTo>
                      <a:pt x="48" y="23"/>
                      <a:pt x="56" y="20"/>
                      <a:pt x="64" y="20"/>
                    </a:cubicBezTo>
                    <a:cubicBezTo>
                      <a:pt x="65" y="20"/>
                      <a:pt x="67" y="19"/>
                      <a:pt x="67" y="18"/>
                    </a:cubicBezTo>
                    <a:cubicBezTo>
                      <a:pt x="70" y="16"/>
                      <a:pt x="73" y="13"/>
                      <a:pt x="76" y="10"/>
                    </a:cubicBezTo>
                    <a:cubicBezTo>
                      <a:pt x="87" y="0"/>
                      <a:pt x="101" y="2"/>
                      <a:pt x="108" y="15"/>
                    </a:cubicBezTo>
                    <a:cubicBezTo>
                      <a:pt x="108" y="15"/>
                      <a:pt x="109" y="15"/>
                      <a:pt x="109" y="16"/>
                    </a:cubicBezTo>
                    <a:close/>
                    <a:moveTo>
                      <a:pt x="19" y="84"/>
                    </a:moveTo>
                    <a:cubicBezTo>
                      <a:pt x="19" y="103"/>
                      <a:pt x="34" y="119"/>
                      <a:pt x="53" y="119"/>
                    </a:cubicBezTo>
                    <a:cubicBezTo>
                      <a:pt x="72" y="119"/>
                      <a:pt x="88" y="104"/>
                      <a:pt x="88" y="85"/>
                    </a:cubicBezTo>
                    <a:cubicBezTo>
                      <a:pt x="88" y="66"/>
                      <a:pt x="73" y="50"/>
                      <a:pt x="55" y="50"/>
                    </a:cubicBezTo>
                    <a:cubicBezTo>
                      <a:pt x="35" y="50"/>
                      <a:pt x="19" y="64"/>
                      <a:pt x="19" y="84"/>
                    </a:cubicBezTo>
                    <a:close/>
                    <a:moveTo>
                      <a:pt x="148" y="84"/>
                    </a:moveTo>
                    <a:cubicBezTo>
                      <a:pt x="148" y="104"/>
                      <a:pt x="163" y="119"/>
                      <a:pt x="183" y="119"/>
                    </a:cubicBezTo>
                    <a:cubicBezTo>
                      <a:pt x="203" y="118"/>
                      <a:pt x="217" y="102"/>
                      <a:pt x="217" y="83"/>
                    </a:cubicBezTo>
                    <a:cubicBezTo>
                      <a:pt x="216" y="64"/>
                      <a:pt x="200" y="49"/>
                      <a:pt x="181" y="50"/>
                    </a:cubicBezTo>
                    <a:cubicBezTo>
                      <a:pt x="163" y="50"/>
                      <a:pt x="147" y="66"/>
                      <a:pt x="148" y="84"/>
                    </a:cubicBezTo>
                    <a:close/>
                    <a:moveTo>
                      <a:pt x="131" y="70"/>
                    </a:moveTo>
                    <a:cubicBezTo>
                      <a:pt x="131" y="62"/>
                      <a:pt x="126" y="56"/>
                      <a:pt x="118" y="56"/>
                    </a:cubicBezTo>
                    <a:cubicBezTo>
                      <a:pt x="110" y="55"/>
                      <a:pt x="104" y="62"/>
                      <a:pt x="104" y="69"/>
                    </a:cubicBezTo>
                    <a:cubicBezTo>
                      <a:pt x="104" y="77"/>
                      <a:pt x="110" y="83"/>
                      <a:pt x="117" y="83"/>
                    </a:cubicBezTo>
                    <a:cubicBezTo>
                      <a:pt x="125" y="83"/>
                      <a:pt x="131" y="77"/>
                      <a:pt x="131" y="70"/>
                    </a:cubicBez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51435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67786" y="4279790"/>
          <a:ext cx="3087245" cy="7997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1896">
                  <a:extLst>
                    <a:ext uri="{9D8B030D-6E8A-4147-A177-3AD203B41FA5}">
                      <a16:colId xmlns="" xmlns:a16="http://schemas.microsoft.com/office/drawing/2014/main" val="769118700"/>
                    </a:ext>
                  </a:extLst>
                </a:gridCol>
                <a:gridCol w="2725349">
                  <a:extLst>
                    <a:ext uri="{9D8B030D-6E8A-4147-A177-3AD203B41FA5}">
                      <a16:colId xmlns="" xmlns:a16="http://schemas.microsoft.com/office/drawing/2014/main" val="3209637381"/>
                    </a:ext>
                  </a:extLst>
                </a:gridCol>
              </a:tblGrid>
              <a:tr h="199937">
                <a:tc>
                  <a:txBody>
                    <a:bodyPr/>
                    <a:lstStyle/>
                    <a:p>
                      <a:endParaRPr lang="en-US" sz="900" b="1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r>
                        <a:rPr lang="en-US" sz="800" b="0" i="0" dirty="0">
                          <a:latin typeface="CiscoSans ExtraLight" charset="0"/>
                          <a:ea typeface="CiscoSans ExtraLight" charset="0"/>
                          <a:cs typeface="CiscoSans ExtraLight" charset="0"/>
                        </a:rPr>
                        <a:t>Sends Telemetry to </a:t>
                      </a:r>
                      <a:r>
                        <a:rPr lang="en-US" sz="800" b="0" i="0" dirty="0" err="1">
                          <a:latin typeface="CiscoSans ExtraLight" charset="0"/>
                          <a:ea typeface="CiscoSans ExtraLight" charset="0"/>
                          <a:cs typeface="CiscoSans ExtraLight" charset="0"/>
                        </a:rPr>
                        <a:t>Stealthwatch</a:t>
                      </a:r>
                      <a:endParaRPr lang="en-US" sz="800" b="0" i="0" dirty="0">
                        <a:latin typeface="CiscoSans ExtraLight" charset="0"/>
                        <a:ea typeface="CiscoSans ExtraLight" charset="0"/>
                        <a:cs typeface="CiscoSans ExtraLight" charset="0"/>
                      </a:endParaRPr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="" xmlns:a16="http://schemas.microsoft.com/office/drawing/2014/main" val="1774058163"/>
                  </a:ext>
                </a:extLst>
              </a:tr>
              <a:tr h="199937">
                <a:tc>
                  <a:txBody>
                    <a:bodyPr/>
                    <a:lstStyle/>
                    <a:p>
                      <a:endParaRPr lang="en-US" sz="900" b="1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r>
                        <a:rPr lang="en-US" sz="800" b="0" i="0" dirty="0">
                          <a:latin typeface="CiscoSans ExtraLight" charset="0"/>
                          <a:ea typeface="CiscoSans ExtraLight" charset="0"/>
                          <a:cs typeface="CiscoSans ExtraLight" charset="0"/>
                        </a:rPr>
                        <a:t>Supports </a:t>
                      </a:r>
                      <a:r>
                        <a:rPr lang="en-US" sz="800" b="0" i="0" dirty="0" err="1">
                          <a:latin typeface="CiscoSans ExtraLight" charset="0"/>
                          <a:ea typeface="CiscoSans ExtraLight" charset="0"/>
                          <a:cs typeface="CiscoSans ExtraLight" charset="0"/>
                        </a:rPr>
                        <a:t>pxGrid</a:t>
                      </a:r>
                      <a:r>
                        <a:rPr lang="en-US" sz="800" b="0" i="0" dirty="0">
                          <a:latin typeface="CiscoSans ExtraLight" charset="0"/>
                          <a:ea typeface="CiscoSans ExtraLight" charset="0"/>
                          <a:cs typeface="CiscoSans ExtraLight" charset="0"/>
                        </a:rPr>
                        <a:t> &amp; Receives Identity Context from ISE</a:t>
                      </a:r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="" xmlns:a16="http://schemas.microsoft.com/office/drawing/2014/main" val="3053616508"/>
                  </a:ext>
                </a:extLst>
              </a:tr>
              <a:tr h="199937">
                <a:tc>
                  <a:txBody>
                    <a:bodyPr/>
                    <a:lstStyle/>
                    <a:p>
                      <a:endParaRPr lang="en-US" sz="900" b="1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r>
                        <a:rPr lang="en-US" sz="800" b="0" i="0" dirty="0">
                          <a:latin typeface="CiscoSans ExtraLight" charset="0"/>
                          <a:ea typeface="CiscoSans ExtraLight" charset="0"/>
                          <a:cs typeface="CiscoSans ExtraLight" charset="0"/>
                        </a:rPr>
                        <a:t>AMP Enabled</a:t>
                      </a:r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="" xmlns:a16="http://schemas.microsoft.com/office/drawing/2014/main" val="2778226852"/>
                  </a:ext>
                </a:extLst>
              </a:tr>
              <a:tr h="199937">
                <a:tc>
                  <a:txBody>
                    <a:bodyPr/>
                    <a:lstStyle/>
                    <a:p>
                      <a:endParaRPr lang="en-US" sz="900" b="1" dirty="0"/>
                    </a:p>
                  </a:txBody>
                  <a:tcPr marL="51435" marR="51435" marT="25718" marB="25718"/>
                </a:tc>
                <a:tc>
                  <a:txBody>
                    <a:bodyPr/>
                    <a:lstStyle/>
                    <a:p>
                      <a:r>
                        <a:rPr lang="en-US" sz="800" b="0" i="0" dirty="0">
                          <a:latin typeface="CiscoSans ExtraLight" charset="0"/>
                          <a:ea typeface="CiscoSans ExtraLight" charset="0"/>
                          <a:cs typeface="CiscoSans ExtraLight" charset="0"/>
                        </a:rPr>
                        <a:t>Receives </a:t>
                      </a:r>
                      <a:r>
                        <a:rPr lang="en-US" sz="800" b="0" i="0" dirty="0" err="1">
                          <a:latin typeface="CiscoSans ExtraLight" charset="0"/>
                          <a:ea typeface="CiscoSans ExtraLight" charset="0"/>
                          <a:cs typeface="CiscoSans ExtraLight" charset="0"/>
                        </a:rPr>
                        <a:t>Talos</a:t>
                      </a:r>
                      <a:r>
                        <a:rPr lang="en-US" sz="800" b="0" i="0" dirty="0">
                          <a:latin typeface="CiscoSans ExtraLight" charset="0"/>
                          <a:ea typeface="CiscoSans ExtraLight" charset="0"/>
                          <a:cs typeface="CiscoSans ExtraLight" charset="0"/>
                        </a:rPr>
                        <a:t> Real Time Threat Updates</a:t>
                      </a:r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="" xmlns:a16="http://schemas.microsoft.com/office/drawing/2014/main" val="697557377"/>
                  </a:ext>
                </a:extLst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6723599" y="1862524"/>
            <a:ext cx="1955056" cy="1723801"/>
          </a:xfrm>
          <a:prstGeom prst="rect">
            <a:avLst/>
          </a:prstGeom>
          <a:noFill/>
          <a:ln w="184150"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308" y="3319917"/>
            <a:ext cx="1757032" cy="1757032"/>
          </a:xfrm>
          <a:prstGeom prst="rect">
            <a:avLst/>
          </a:prstGeom>
        </p:spPr>
      </p:pic>
      <p:sp>
        <p:nvSpPr>
          <p:cNvPr id="52" name="Rectangle: Rounded Corners 51"/>
          <p:cNvSpPr/>
          <p:nvPr/>
        </p:nvSpPr>
        <p:spPr>
          <a:xfrm>
            <a:off x="2081550" y="2483131"/>
            <a:ext cx="611705" cy="476003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r>
              <a:rPr lang="en-US" sz="900" dirty="0">
                <a:latin typeface="CiscoSans ExtraLight" charset="0"/>
                <a:ea typeface="CiscoSans ExtraLight" charset="0"/>
                <a:cs typeface="CiscoSans ExtraLight" charset="0"/>
              </a:rPr>
              <a:t>Corp.</a:t>
            </a:r>
          </a:p>
          <a:p>
            <a:pPr algn="ctr" defTabSz="457200"/>
            <a:r>
              <a:rPr lang="en-US" sz="900" dirty="0">
                <a:latin typeface="CiscoSans ExtraLight" charset="0"/>
                <a:ea typeface="CiscoSans ExtraLight" charset="0"/>
                <a:cs typeface="CiscoSans ExtraLight" charset="0"/>
              </a:rPr>
              <a:t>Access</a:t>
            </a:r>
          </a:p>
          <a:p>
            <a:pPr algn="ctr" defTabSz="457200"/>
            <a:r>
              <a:rPr lang="en-US" sz="900" dirty="0">
                <a:latin typeface="CiscoSans ExtraLight" charset="0"/>
                <a:ea typeface="CiscoSans ExtraLight" charset="0"/>
                <a:cs typeface="CiscoSans ExtraLight" charset="0"/>
              </a:rPr>
              <a:t>Control</a:t>
            </a:r>
          </a:p>
        </p:txBody>
      </p:sp>
      <p:sp>
        <p:nvSpPr>
          <p:cNvPr id="55" name="Oval 54"/>
          <p:cNvSpPr/>
          <p:nvPr/>
        </p:nvSpPr>
        <p:spPr>
          <a:xfrm rot="16200000">
            <a:off x="3637816" y="2641583"/>
            <a:ext cx="483967" cy="168075"/>
          </a:xfrm>
          <a:prstGeom prst="ellipse">
            <a:avLst/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6" name="Arrow: Down 55"/>
          <p:cNvSpPr/>
          <p:nvPr/>
        </p:nvSpPr>
        <p:spPr>
          <a:xfrm rot="16200000">
            <a:off x="4190438" y="2694857"/>
            <a:ext cx="93792" cy="60027"/>
          </a:xfrm>
          <a:prstGeom prst="downArrow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7" name="Freeform: Shape 56"/>
          <p:cNvSpPr/>
          <p:nvPr/>
        </p:nvSpPr>
        <p:spPr>
          <a:xfrm rot="16200000">
            <a:off x="4086517" y="2668595"/>
            <a:ext cx="450202" cy="112551"/>
          </a:xfrm>
          <a:custGeom>
            <a:avLst/>
            <a:gdLst>
              <a:gd name="connsiteX0" fmla="*/ 0 w 4064000"/>
              <a:gd name="connsiteY0" fmla="*/ 0 h 1016000"/>
              <a:gd name="connsiteX1" fmla="*/ 4064000 w 4064000"/>
              <a:gd name="connsiteY1" fmla="*/ 0 h 1016000"/>
              <a:gd name="connsiteX2" fmla="*/ 4064000 w 4064000"/>
              <a:gd name="connsiteY2" fmla="*/ 1016000 h 1016000"/>
              <a:gd name="connsiteX3" fmla="*/ 0 w 4064000"/>
              <a:gd name="connsiteY3" fmla="*/ 1016000 h 1016000"/>
              <a:gd name="connsiteX4" fmla="*/ 0 w 4064000"/>
              <a:gd name="connsiteY4" fmla="*/ 0 h 10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4000" h="1016000">
                <a:moveTo>
                  <a:pt x="0" y="0"/>
                </a:moveTo>
                <a:lnTo>
                  <a:pt x="4064000" y="0"/>
                </a:lnTo>
                <a:lnTo>
                  <a:pt x="4064000" y="1016000"/>
                </a:lnTo>
                <a:lnTo>
                  <a:pt x="0" y="10160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44018" tIns="144018" rIns="144018" bIns="144018" numCol="1" spcCol="1270" anchor="ctr" anchorCtr="0">
            <a:noAutofit/>
          </a:bodyPr>
          <a:lstStyle/>
          <a:p>
            <a:pPr marL="0" marR="0" lvl="0" indent="0" algn="ctr" defTabSz="90001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2000" u="none" strike="noStrike" kern="120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58" name="Freeform: Shape 57"/>
          <p:cNvSpPr/>
          <p:nvPr/>
        </p:nvSpPr>
        <p:spPr>
          <a:xfrm rot="16200000">
            <a:off x="3988105" y="26143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59" name="Freeform: Shape 58"/>
          <p:cNvSpPr/>
          <p:nvPr/>
        </p:nvSpPr>
        <p:spPr>
          <a:xfrm rot="16200000">
            <a:off x="3876377" y="2743630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60" name="Freeform: Shape 59"/>
          <p:cNvSpPr/>
          <p:nvPr/>
        </p:nvSpPr>
        <p:spPr>
          <a:xfrm rot="16200000">
            <a:off x="3809343" y="2571053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62" name="Freeform: Shape 61"/>
          <p:cNvSpPr/>
          <p:nvPr/>
        </p:nvSpPr>
        <p:spPr>
          <a:xfrm rot="16200000">
            <a:off x="4362758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63" name="Freeform: Shape 62"/>
          <p:cNvSpPr/>
          <p:nvPr/>
        </p:nvSpPr>
        <p:spPr>
          <a:xfrm rot="16200000">
            <a:off x="4878630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pic>
        <p:nvPicPr>
          <p:cNvPr id="70" name="Generic_Network_Cloud_Image" descr="Cloud by cinemacookie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9632" y="679640"/>
            <a:ext cx="1005420" cy="538667"/>
          </a:xfrm>
          <a:prstGeom prst="rect">
            <a:avLst/>
          </a:prstGeom>
        </p:spPr>
      </p:pic>
      <p:sp>
        <p:nvSpPr>
          <p:cNvPr id="71" name="Generic_Network_Cloud_Label"/>
          <p:cNvSpPr txBox="1"/>
          <p:nvPr>
            <p:custDataLst>
              <p:tags r:id="rId4"/>
            </p:custDataLst>
          </p:nvPr>
        </p:nvSpPr>
        <p:spPr>
          <a:xfrm>
            <a:off x="3706248" y="850424"/>
            <a:ext cx="1002145" cy="380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The</a:t>
            </a:r>
          </a:p>
          <a:p>
            <a:pPr marL="0" marR="0" lvl="0" indent="0" algn="ctr" defTabSz="457200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Internet</a:t>
            </a:r>
          </a:p>
        </p:txBody>
      </p:sp>
      <p:pic>
        <p:nvPicPr>
          <p:cNvPr id="77" name="Generic_Network_Cloud_Image" descr="Cloud by cinemacookie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4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9652" y="596940"/>
            <a:ext cx="645714" cy="345948"/>
          </a:xfrm>
          <a:prstGeom prst="rect">
            <a:avLst/>
          </a:prstGeom>
          <a:noFill/>
        </p:spPr>
      </p:pic>
      <p:grpSp>
        <p:nvGrpSpPr>
          <p:cNvPr id="78" name="Group 77"/>
          <p:cNvGrpSpPr/>
          <p:nvPr/>
        </p:nvGrpSpPr>
        <p:grpSpPr>
          <a:xfrm>
            <a:off x="5050790" y="598794"/>
            <a:ext cx="466697" cy="250040"/>
            <a:chOff x="6789030" y="145286"/>
            <a:chExt cx="875939" cy="469296"/>
          </a:xfrm>
        </p:grpSpPr>
        <p:pic>
          <p:nvPicPr>
            <p:cNvPr id="79" name="Generic_Network_Cloud_Image" descr="Cloud by cinemacookie"/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4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89030" y="145286"/>
              <a:ext cx="875939" cy="469296"/>
            </a:xfrm>
            <a:prstGeom prst="rect">
              <a:avLst/>
            </a:prstGeom>
            <a:noFill/>
          </p:spPr>
        </p:pic>
        <p:sp>
          <p:nvSpPr>
            <p:cNvPr id="80" name="Generic_Network_Cloud_Label"/>
            <p:cNvSpPr txBox="1"/>
            <p:nvPr>
              <p:custDataLst>
                <p:tags r:id="rId14"/>
              </p:custDataLst>
            </p:nvPr>
          </p:nvSpPr>
          <p:spPr>
            <a:xfrm>
              <a:off x="6967901" y="311681"/>
              <a:ext cx="557887" cy="2310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/>
              </a:lvl1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SAAS</a:t>
              </a:r>
            </a:p>
          </p:txBody>
        </p:sp>
      </p:grpSp>
      <p:sp>
        <p:nvSpPr>
          <p:cNvPr id="90" name="Arrow: Up 89"/>
          <p:cNvSpPr/>
          <p:nvPr/>
        </p:nvSpPr>
        <p:spPr>
          <a:xfrm>
            <a:off x="4109906" y="2365568"/>
            <a:ext cx="251019" cy="267731"/>
          </a:xfrm>
          <a:prstGeom prst="up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9831" tIns="149831" rIns="149831" bIns="149831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cxnSp>
        <p:nvCxnSpPr>
          <p:cNvPr id="91" name="Straight Connector 90"/>
          <p:cNvCxnSpPr>
            <a:cxnSpLocks/>
            <a:stCxn id="352" idx="0"/>
            <a:endCxn id="70" idx="2"/>
          </p:cNvCxnSpPr>
          <p:nvPr/>
        </p:nvCxnSpPr>
        <p:spPr>
          <a:xfrm flipH="1" flipV="1">
            <a:off x="4202342" y="1218307"/>
            <a:ext cx="3258" cy="326872"/>
          </a:xfrm>
          <a:prstGeom prst="line">
            <a:avLst/>
          </a:prstGeom>
          <a:ln w="34925"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" name="Group 98"/>
          <p:cNvGrpSpPr/>
          <p:nvPr/>
        </p:nvGrpSpPr>
        <p:grpSpPr>
          <a:xfrm>
            <a:off x="3439810" y="709841"/>
            <a:ext cx="497621" cy="258699"/>
            <a:chOff x="5148077" y="902702"/>
            <a:chExt cx="2002674" cy="1041134"/>
          </a:xfrm>
        </p:grpSpPr>
        <p:pic>
          <p:nvPicPr>
            <p:cNvPr id="100" name="Picture 99"/>
            <p:cNvPicPr>
              <a:picLocks noChangeAspect="1"/>
            </p:cNvPicPr>
            <p:nvPr/>
          </p:nvPicPr>
          <p:blipFill>
            <a:blip r:embed="rId49"/>
            <a:stretch>
              <a:fillRect/>
            </a:stretch>
          </p:blipFill>
          <p:spPr>
            <a:xfrm>
              <a:off x="5191794" y="1276036"/>
              <a:ext cx="1934164" cy="667800"/>
            </a:xfrm>
            <a:prstGeom prst="rect">
              <a:avLst/>
            </a:prstGeom>
          </p:spPr>
        </p:pic>
        <p:sp>
          <p:nvSpPr>
            <p:cNvPr id="101" name="TextBox 100"/>
            <p:cNvSpPr txBox="1"/>
            <p:nvPr/>
          </p:nvSpPr>
          <p:spPr>
            <a:xfrm>
              <a:off x="5148077" y="902702"/>
              <a:ext cx="2002674" cy="3715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u="none" strike="noStrike" kern="120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V-Firepower</a:t>
              </a:r>
            </a:p>
          </p:txBody>
        </p:sp>
      </p:grpSp>
      <p:sp>
        <p:nvSpPr>
          <p:cNvPr id="102" name="Rectangle: Rounded Corners 101"/>
          <p:cNvSpPr/>
          <p:nvPr/>
        </p:nvSpPr>
        <p:spPr>
          <a:xfrm>
            <a:off x="3424688" y="3290842"/>
            <a:ext cx="1632590" cy="1786109"/>
          </a:xfrm>
          <a:prstGeom prst="round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03" name="Arrow: Bent-Up 102"/>
          <p:cNvSpPr/>
          <p:nvPr/>
        </p:nvSpPr>
        <p:spPr>
          <a:xfrm rot="5400000">
            <a:off x="2274055" y="2910581"/>
            <a:ext cx="1175366" cy="1291178"/>
          </a:xfrm>
          <a:prstGeom prst="bentUpArrow">
            <a:avLst>
              <a:gd name="adj1" fmla="val 8636"/>
              <a:gd name="adj2" fmla="val 8168"/>
              <a:gd name="adj3" fmla="val 11908"/>
            </a:avLst>
          </a:prstGeom>
          <a:solidFill>
            <a:srgbClr val="4472C4">
              <a:tint val="60000"/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cxnSp>
        <p:nvCxnSpPr>
          <p:cNvPr id="104" name="Connector: Elbow 103"/>
          <p:cNvCxnSpPr>
            <a:cxnSpLocks/>
          </p:cNvCxnSpPr>
          <p:nvPr/>
        </p:nvCxnSpPr>
        <p:spPr>
          <a:xfrm>
            <a:off x="812220" y="3554261"/>
            <a:ext cx="2682407" cy="645557"/>
          </a:xfrm>
          <a:prstGeom prst="bentConnector3">
            <a:avLst>
              <a:gd name="adj1" fmla="val 32166"/>
            </a:avLst>
          </a:prstGeom>
          <a:ln w="47625" cap="flat">
            <a:headEnd type="oval" w="sm" len="sm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/>
          <p:cNvSpPr txBox="1"/>
          <p:nvPr/>
        </p:nvSpPr>
        <p:spPr>
          <a:xfrm>
            <a:off x="6498410" y="3634363"/>
            <a:ext cx="237366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Cisco Software Defined Segmentation</a:t>
            </a:r>
          </a:p>
        </p:txBody>
      </p:sp>
      <p:grpSp>
        <p:nvGrpSpPr>
          <p:cNvPr id="111" name="Group 110"/>
          <p:cNvGrpSpPr/>
          <p:nvPr/>
        </p:nvGrpSpPr>
        <p:grpSpPr>
          <a:xfrm>
            <a:off x="4032752" y="3383102"/>
            <a:ext cx="416459" cy="362923"/>
            <a:chOff x="8587713" y="2039238"/>
            <a:chExt cx="3134387" cy="2731464"/>
          </a:xfrm>
        </p:grpSpPr>
        <p:sp>
          <p:nvSpPr>
            <p:cNvPr id="112" name="Rectangle 111"/>
            <p:cNvSpPr/>
            <p:nvPr/>
          </p:nvSpPr>
          <p:spPr>
            <a:xfrm>
              <a:off x="10160000" y="2039238"/>
              <a:ext cx="390525" cy="390525"/>
            </a:xfrm>
            <a:prstGeom prst="rect">
              <a:avLst/>
            </a:prstGeom>
            <a:solidFill>
              <a:srgbClr val="7030A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Web</a:t>
              </a:r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10550525" y="2039238"/>
              <a:ext cx="390525" cy="390525"/>
            </a:xfrm>
            <a:prstGeom prst="rect">
              <a:avLst/>
            </a:prstGeom>
            <a:solidFill>
              <a:srgbClr val="7030A0">
                <a:alpha val="50000"/>
              </a:srgb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App</a:t>
              </a: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10941050" y="2039238"/>
              <a:ext cx="390525" cy="390525"/>
            </a:xfrm>
            <a:prstGeom prst="rect">
              <a:avLst/>
            </a:prstGeom>
            <a:solidFill>
              <a:srgbClr val="7030A0">
                <a:alpha val="25000"/>
              </a:srgb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DB</a:t>
              </a: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11331575" y="2039238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8988425" y="2039238"/>
              <a:ext cx="390525" cy="390525"/>
            </a:xfrm>
            <a:prstGeom prst="rect">
              <a:avLst/>
            </a:prstGeom>
            <a:solidFill>
              <a:srgbClr val="0070C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Web</a:t>
              </a: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9378950" y="2039238"/>
              <a:ext cx="390525" cy="390525"/>
            </a:xfrm>
            <a:prstGeom prst="rect">
              <a:avLst/>
            </a:prstGeom>
            <a:solidFill>
              <a:srgbClr val="0070C0">
                <a:alpha val="50000"/>
              </a:srgb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App</a:t>
              </a: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9769475" y="2039238"/>
              <a:ext cx="390525" cy="390525"/>
            </a:xfrm>
            <a:prstGeom prst="rect">
              <a:avLst/>
            </a:prstGeom>
            <a:solidFill>
              <a:srgbClr val="0070C0">
                <a:alpha val="25000"/>
              </a:srgb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DB</a:t>
              </a: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10160000" y="2430061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10550525" y="2430061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10941050" y="2430061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11331575" y="2430061"/>
              <a:ext cx="390525" cy="390525"/>
            </a:xfrm>
            <a:prstGeom prst="rect">
              <a:avLst/>
            </a:prstGeom>
            <a:solidFill>
              <a:srgbClr val="7030A0">
                <a:alpha val="25000"/>
              </a:srgb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DB</a:t>
              </a:r>
            </a:p>
          </p:txBody>
        </p:sp>
        <p:sp>
          <p:nvSpPr>
            <p:cNvPr id="123" name="Rectangle 122"/>
            <p:cNvSpPr/>
            <p:nvPr/>
          </p:nvSpPr>
          <p:spPr>
            <a:xfrm>
              <a:off x="8988425" y="2430061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24" name="Rectangle 123"/>
            <p:cNvSpPr/>
            <p:nvPr/>
          </p:nvSpPr>
          <p:spPr>
            <a:xfrm>
              <a:off x="9378950" y="2430061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25" name="Rectangle 124"/>
            <p:cNvSpPr/>
            <p:nvPr/>
          </p:nvSpPr>
          <p:spPr>
            <a:xfrm>
              <a:off x="9769475" y="2430061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10160000" y="2820625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27" name="Rectangle 126"/>
            <p:cNvSpPr/>
            <p:nvPr/>
          </p:nvSpPr>
          <p:spPr>
            <a:xfrm>
              <a:off x="10550525" y="2820625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28" name="Rectangle 127"/>
            <p:cNvSpPr/>
            <p:nvPr/>
          </p:nvSpPr>
          <p:spPr>
            <a:xfrm>
              <a:off x="10941050" y="2820625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11331575" y="2820625"/>
              <a:ext cx="390525" cy="390525"/>
            </a:xfrm>
            <a:prstGeom prst="rect">
              <a:avLst/>
            </a:prstGeom>
            <a:solidFill>
              <a:srgbClr val="7030A0">
                <a:alpha val="50000"/>
              </a:srgb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App</a:t>
              </a:r>
            </a:p>
          </p:txBody>
        </p:sp>
        <p:sp>
          <p:nvSpPr>
            <p:cNvPr id="130" name="Rectangle 129"/>
            <p:cNvSpPr/>
            <p:nvPr/>
          </p:nvSpPr>
          <p:spPr>
            <a:xfrm>
              <a:off x="8988425" y="2820625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9378950" y="2820625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9769475" y="2820625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10160000" y="3209876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34" name="Rectangle 133"/>
            <p:cNvSpPr/>
            <p:nvPr/>
          </p:nvSpPr>
          <p:spPr>
            <a:xfrm>
              <a:off x="10550525" y="3209876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10941050" y="3209876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36" name="Rectangle 135"/>
            <p:cNvSpPr/>
            <p:nvPr/>
          </p:nvSpPr>
          <p:spPr>
            <a:xfrm>
              <a:off x="11331575" y="3209876"/>
              <a:ext cx="390525" cy="390525"/>
            </a:xfrm>
            <a:prstGeom prst="rect">
              <a:avLst/>
            </a:prstGeom>
            <a:solidFill>
              <a:srgbClr val="7030A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Web</a:t>
              </a:r>
            </a:p>
          </p:txBody>
        </p:sp>
        <p:sp>
          <p:nvSpPr>
            <p:cNvPr id="137" name="Rectangle 136"/>
            <p:cNvSpPr/>
            <p:nvPr/>
          </p:nvSpPr>
          <p:spPr>
            <a:xfrm>
              <a:off x="8988425" y="3209876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38" name="Rectangle 137"/>
            <p:cNvSpPr/>
            <p:nvPr/>
          </p:nvSpPr>
          <p:spPr>
            <a:xfrm>
              <a:off x="9378950" y="3209876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9769475" y="3209876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10160000" y="3600401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10550525" y="3600401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10941050" y="3600401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43" name="Rectangle 142"/>
            <p:cNvSpPr/>
            <p:nvPr/>
          </p:nvSpPr>
          <p:spPr>
            <a:xfrm>
              <a:off x="11331575" y="3600401"/>
              <a:ext cx="390525" cy="390525"/>
            </a:xfrm>
            <a:prstGeom prst="rect">
              <a:avLst/>
            </a:prstGeom>
            <a:solidFill>
              <a:srgbClr val="0070C0">
                <a:alpha val="25000"/>
              </a:srgb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DB</a:t>
              </a:r>
            </a:p>
          </p:txBody>
        </p:sp>
        <p:sp>
          <p:nvSpPr>
            <p:cNvPr id="144" name="Rectangle 143"/>
            <p:cNvSpPr/>
            <p:nvPr/>
          </p:nvSpPr>
          <p:spPr>
            <a:xfrm>
              <a:off x="8988425" y="3600401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45" name="Rectangle 144"/>
            <p:cNvSpPr/>
            <p:nvPr/>
          </p:nvSpPr>
          <p:spPr>
            <a:xfrm>
              <a:off x="9378950" y="3600401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9769475" y="3600401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47" name="Rectangle 146"/>
            <p:cNvSpPr/>
            <p:nvPr/>
          </p:nvSpPr>
          <p:spPr>
            <a:xfrm>
              <a:off x="10160000" y="3991504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48" name="Rectangle 147"/>
            <p:cNvSpPr/>
            <p:nvPr/>
          </p:nvSpPr>
          <p:spPr>
            <a:xfrm>
              <a:off x="10550525" y="3991504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49" name="Rectangle 148"/>
            <p:cNvSpPr/>
            <p:nvPr/>
          </p:nvSpPr>
          <p:spPr>
            <a:xfrm>
              <a:off x="10941050" y="3991504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50" name="Rectangle 149"/>
            <p:cNvSpPr/>
            <p:nvPr/>
          </p:nvSpPr>
          <p:spPr>
            <a:xfrm>
              <a:off x="11331575" y="3991504"/>
              <a:ext cx="390525" cy="390525"/>
            </a:xfrm>
            <a:prstGeom prst="rect">
              <a:avLst/>
            </a:prstGeom>
            <a:solidFill>
              <a:srgbClr val="0070C0">
                <a:alpha val="50000"/>
              </a:srgbClr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App</a:t>
              </a:r>
            </a:p>
          </p:txBody>
        </p:sp>
        <p:sp>
          <p:nvSpPr>
            <p:cNvPr id="151" name="Rectangle 150"/>
            <p:cNvSpPr/>
            <p:nvPr/>
          </p:nvSpPr>
          <p:spPr>
            <a:xfrm>
              <a:off x="9378950" y="3991504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52" name="Rectangle 151"/>
            <p:cNvSpPr/>
            <p:nvPr/>
          </p:nvSpPr>
          <p:spPr>
            <a:xfrm>
              <a:off x="9769475" y="3991504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53" name="Rectangle 152"/>
            <p:cNvSpPr/>
            <p:nvPr/>
          </p:nvSpPr>
          <p:spPr>
            <a:xfrm>
              <a:off x="10160000" y="4380177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54" name="Rectangle 153"/>
            <p:cNvSpPr/>
            <p:nvPr/>
          </p:nvSpPr>
          <p:spPr>
            <a:xfrm>
              <a:off x="10550525" y="4380177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10941050" y="4380177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11331575" y="4380177"/>
              <a:ext cx="390525" cy="390525"/>
            </a:xfrm>
            <a:prstGeom prst="rect">
              <a:avLst/>
            </a:prstGeom>
            <a:solidFill>
              <a:srgbClr val="0070C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Web</a:t>
              </a:r>
            </a:p>
          </p:txBody>
        </p:sp>
        <p:sp>
          <p:nvSpPr>
            <p:cNvPr id="157" name="Rectangle 156"/>
            <p:cNvSpPr/>
            <p:nvPr/>
          </p:nvSpPr>
          <p:spPr>
            <a:xfrm>
              <a:off x="8988425" y="4380177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58" name="Rectangle 157"/>
            <p:cNvSpPr/>
            <p:nvPr/>
          </p:nvSpPr>
          <p:spPr>
            <a:xfrm>
              <a:off x="9378950" y="4380177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59" name="Rectangle 158"/>
            <p:cNvSpPr/>
            <p:nvPr/>
          </p:nvSpPr>
          <p:spPr>
            <a:xfrm>
              <a:off x="9769475" y="4380177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160" name="Group 159"/>
            <p:cNvGrpSpPr/>
            <p:nvPr/>
          </p:nvGrpSpPr>
          <p:grpSpPr>
            <a:xfrm>
              <a:off x="8988425" y="3991504"/>
              <a:ext cx="390525" cy="390525"/>
              <a:chOff x="8124825" y="4270904"/>
              <a:chExt cx="390525" cy="390525"/>
            </a:xfrm>
          </p:grpSpPr>
          <p:sp>
            <p:nvSpPr>
              <p:cNvPr id="217" name="Rectangle 216"/>
              <p:cNvSpPr/>
              <p:nvPr/>
            </p:nvSpPr>
            <p:spPr>
              <a:xfrm>
                <a:off x="8124825" y="4270904"/>
                <a:ext cx="390525" cy="390525"/>
              </a:xfrm>
              <a:prstGeom prst="rect">
                <a:avLst/>
              </a:prstGeom>
              <a:solidFill>
                <a:srgbClr val="00B050"/>
              </a:solidFill>
              <a:ln w="254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pic>
            <p:nvPicPr>
              <p:cNvPr id="218" name="Picture 217"/>
              <p:cNvPicPr>
                <a:picLocks noChangeAspect="1"/>
              </p:cNvPicPr>
              <p:nvPr/>
            </p:nvPicPr>
            <p:blipFill>
              <a:blip r:embed="rId50">
                <a:biLevel thresh="25000"/>
              </a:blip>
              <a:stretch>
                <a:fillRect/>
              </a:stretch>
            </p:blipFill>
            <p:spPr>
              <a:xfrm>
                <a:off x="8172844" y="4312272"/>
                <a:ext cx="292018" cy="291549"/>
              </a:xfrm>
              <a:prstGeom prst="rect">
                <a:avLst/>
              </a:prstGeom>
            </p:spPr>
          </p:pic>
        </p:grpSp>
        <p:grpSp>
          <p:nvGrpSpPr>
            <p:cNvPr id="161" name="Group 160"/>
            <p:cNvGrpSpPr/>
            <p:nvPr/>
          </p:nvGrpSpPr>
          <p:grpSpPr>
            <a:xfrm>
              <a:off x="10157596" y="2819062"/>
              <a:ext cx="390525" cy="390525"/>
              <a:chOff x="8124825" y="4270904"/>
              <a:chExt cx="390525" cy="390525"/>
            </a:xfrm>
          </p:grpSpPr>
          <p:sp>
            <p:nvSpPr>
              <p:cNvPr id="215" name="Rectangle 214"/>
              <p:cNvSpPr/>
              <p:nvPr/>
            </p:nvSpPr>
            <p:spPr>
              <a:xfrm>
                <a:off x="8124825" y="4270904"/>
                <a:ext cx="390525" cy="390525"/>
              </a:xfrm>
              <a:prstGeom prst="rect">
                <a:avLst/>
              </a:prstGeom>
              <a:solidFill>
                <a:srgbClr val="00B050"/>
              </a:solidFill>
              <a:ln w="254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pic>
            <p:nvPicPr>
              <p:cNvPr id="216" name="Picture 215"/>
              <p:cNvPicPr>
                <a:picLocks noChangeAspect="1"/>
              </p:cNvPicPr>
              <p:nvPr/>
            </p:nvPicPr>
            <p:blipFill>
              <a:blip r:embed="rId50">
                <a:biLevel thresh="25000"/>
              </a:blip>
              <a:stretch>
                <a:fillRect/>
              </a:stretch>
            </p:blipFill>
            <p:spPr>
              <a:xfrm>
                <a:off x="8172844" y="4312272"/>
                <a:ext cx="292018" cy="291549"/>
              </a:xfrm>
              <a:prstGeom prst="rect">
                <a:avLst/>
              </a:prstGeom>
            </p:spPr>
          </p:pic>
        </p:grpSp>
        <p:grpSp>
          <p:nvGrpSpPr>
            <p:cNvPr id="162" name="Group 161"/>
            <p:cNvGrpSpPr/>
            <p:nvPr/>
          </p:nvGrpSpPr>
          <p:grpSpPr>
            <a:xfrm>
              <a:off x="10550524" y="2427911"/>
              <a:ext cx="390525" cy="390525"/>
              <a:chOff x="8124825" y="4270904"/>
              <a:chExt cx="390525" cy="390525"/>
            </a:xfrm>
          </p:grpSpPr>
          <p:sp>
            <p:nvSpPr>
              <p:cNvPr id="213" name="Rectangle 212"/>
              <p:cNvSpPr/>
              <p:nvPr/>
            </p:nvSpPr>
            <p:spPr>
              <a:xfrm>
                <a:off x="8124825" y="4270904"/>
                <a:ext cx="390525" cy="390525"/>
              </a:xfrm>
              <a:prstGeom prst="rect">
                <a:avLst/>
              </a:prstGeom>
              <a:solidFill>
                <a:srgbClr val="00B050"/>
              </a:solidFill>
              <a:ln w="254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pic>
            <p:nvPicPr>
              <p:cNvPr id="214" name="Picture 213"/>
              <p:cNvPicPr>
                <a:picLocks noChangeAspect="1"/>
              </p:cNvPicPr>
              <p:nvPr/>
            </p:nvPicPr>
            <p:blipFill>
              <a:blip r:embed="rId50">
                <a:biLevel thresh="25000"/>
              </a:blip>
              <a:stretch>
                <a:fillRect/>
              </a:stretch>
            </p:blipFill>
            <p:spPr>
              <a:xfrm>
                <a:off x="8172844" y="4312272"/>
                <a:ext cx="292018" cy="291549"/>
              </a:xfrm>
              <a:prstGeom prst="rect">
                <a:avLst/>
              </a:prstGeom>
            </p:spPr>
          </p:pic>
        </p:grpSp>
        <p:grpSp>
          <p:nvGrpSpPr>
            <p:cNvPr id="163" name="Group 162"/>
            <p:cNvGrpSpPr/>
            <p:nvPr/>
          </p:nvGrpSpPr>
          <p:grpSpPr>
            <a:xfrm>
              <a:off x="10943454" y="2427911"/>
              <a:ext cx="390525" cy="390525"/>
              <a:chOff x="8124825" y="4270904"/>
              <a:chExt cx="390525" cy="390525"/>
            </a:xfrm>
          </p:grpSpPr>
          <p:sp>
            <p:nvSpPr>
              <p:cNvPr id="211" name="Rectangle 210"/>
              <p:cNvSpPr/>
              <p:nvPr/>
            </p:nvSpPr>
            <p:spPr>
              <a:xfrm>
                <a:off x="8124825" y="4270904"/>
                <a:ext cx="390525" cy="390525"/>
              </a:xfrm>
              <a:prstGeom prst="rect">
                <a:avLst/>
              </a:prstGeom>
              <a:solidFill>
                <a:srgbClr val="00B050"/>
              </a:solidFill>
              <a:ln w="254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pic>
            <p:nvPicPr>
              <p:cNvPr id="212" name="Picture 211"/>
              <p:cNvPicPr>
                <a:picLocks noChangeAspect="1"/>
              </p:cNvPicPr>
              <p:nvPr/>
            </p:nvPicPr>
            <p:blipFill>
              <a:blip r:embed="rId50">
                <a:biLevel thresh="25000"/>
              </a:blip>
              <a:stretch>
                <a:fillRect/>
              </a:stretch>
            </p:blipFill>
            <p:spPr>
              <a:xfrm>
                <a:off x="8172844" y="4312272"/>
                <a:ext cx="292018" cy="291549"/>
              </a:xfrm>
              <a:prstGeom prst="rect">
                <a:avLst/>
              </a:prstGeom>
            </p:spPr>
          </p:pic>
        </p:grpSp>
        <p:grpSp>
          <p:nvGrpSpPr>
            <p:cNvPr id="164" name="Group 163"/>
            <p:cNvGrpSpPr/>
            <p:nvPr/>
          </p:nvGrpSpPr>
          <p:grpSpPr>
            <a:xfrm>
              <a:off x="9378950" y="3598549"/>
              <a:ext cx="390525" cy="390525"/>
              <a:chOff x="8124825" y="4270904"/>
              <a:chExt cx="390525" cy="390525"/>
            </a:xfrm>
          </p:grpSpPr>
          <p:sp>
            <p:nvSpPr>
              <p:cNvPr id="209" name="Rectangle 208"/>
              <p:cNvSpPr/>
              <p:nvPr/>
            </p:nvSpPr>
            <p:spPr>
              <a:xfrm>
                <a:off x="8124825" y="4270904"/>
                <a:ext cx="390525" cy="390525"/>
              </a:xfrm>
              <a:prstGeom prst="rect">
                <a:avLst/>
              </a:prstGeom>
              <a:solidFill>
                <a:srgbClr val="00B050"/>
              </a:solidFill>
              <a:ln w="254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pic>
            <p:nvPicPr>
              <p:cNvPr id="210" name="Picture 209"/>
              <p:cNvPicPr>
                <a:picLocks noChangeAspect="1"/>
              </p:cNvPicPr>
              <p:nvPr/>
            </p:nvPicPr>
            <p:blipFill>
              <a:blip r:embed="rId50">
                <a:biLevel thresh="25000"/>
              </a:blip>
              <a:stretch>
                <a:fillRect/>
              </a:stretch>
            </p:blipFill>
            <p:spPr>
              <a:xfrm>
                <a:off x="8172844" y="4312272"/>
                <a:ext cx="292018" cy="291549"/>
              </a:xfrm>
              <a:prstGeom prst="rect">
                <a:avLst/>
              </a:prstGeom>
            </p:spPr>
          </p:pic>
        </p:grpSp>
        <p:grpSp>
          <p:nvGrpSpPr>
            <p:cNvPr id="165" name="Group 164"/>
            <p:cNvGrpSpPr/>
            <p:nvPr/>
          </p:nvGrpSpPr>
          <p:grpSpPr>
            <a:xfrm>
              <a:off x="9766612" y="3598549"/>
              <a:ext cx="390525" cy="390525"/>
              <a:chOff x="8124825" y="4270904"/>
              <a:chExt cx="390525" cy="390525"/>
            </a:xfrm>
          </p:grpSpPr>
          <p:sp>
            <p:nvSpPr>
              <p:cNvPr id="207" name="Rectangle 206"/>
              <p:cNvSpPr/>
              <p:nvPr/>
            </p:nvSpPr>
            <p:spPr>
              <a:xfrm>
                <a:off x="8124825" y="4270904"/>
                <a:ext cx="390525" cy="390525"/>
              </a:xfrm>
              <a:prstGeom prst="rect">
                <a:avLst/>
              </a:prstGeom>
              <a:solidFill>
                <a:srgbClr val="00B050"/>
              </a:solidFill>
              <a:ln w="254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pic>
            <p:nvPicPr>
              <p:cNvPr id="208" name="Picture 207"/>
              <p:cNvPicPr>
                <a:picLocks noChangeAspect="1"/>
              </p:cNvPicPr>
              <p:nvPr/>
            </p:nvPicPr>
            <p:blipFill>
              <a:blip r:embed="rId50">
                <a:biLevel thresh="25000"/>
              </a:blip>
              <a:stretch>
                <a:fillRect/>
              </a:stretch>
            </p:blipFill>
            <p:spPr>
              <a:xfrm>
                <a:off x="8172844" y="4312272"/>
                <a:ext cx="292018" cy="291549"/>
              </a:xfrm>
              <a:prstGeom prst="rect">
                <a:avLst/>
              </a:prstGeom>
            </p:spPr>
          </p:pic>
        </p:grpSp>
        <p:sp>
          <p:nvSpPr>
            <p:cNvPr id="166" name="Rectangle 165"/>
            <p:cNvSpPr/>
            <p:nvPr/>
          </p:nvSpPr>
          <p:spPr>
            <a:xfrm>
              <a:off x="9378950" y="2431921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7" name="Rectangle 166"/>
            <p:cNvSpPr/>
            <p:nvPr/>
          </p:nvSpPr>
          <p:spPr>
            <a:xfrm>
              <a:off x="9768273" y="2431622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8" name="Rectangle 167"/>
            <p:cNvSpPr/>
            <p:nvPr/>
          </p:nvSpPr>
          <p:spPr>
            <a:xfrm>
              <a:off x="10163606" y="2431615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69" name="Rectangle 168"/>
            <p:cNvSpPr/>
            <p:nvPr/>
          </p:nvSpPr>
          <p:spPr>
            <a:xfrm>
              <a:off x="9764262" y="2819055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70" name="Rectangle 169"/>
            <p:cNvSpPr/>
            <p:nvPr/>
          </p:nvSpPr>
          <p:spPr>
            <a:xfrm>
              <a:off x="9765377" y="3207098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71" name="Rectangle 170"/>
            <p:cNvSpPr/>
            <p:nvPr/>
          </p:nvSpPr>
          <p:spPr>
            <a:xfrm>
              <a:off x="10156873" y="3207098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72" name="Rectangle 171"/>
            <p:cNvSpPr/>
            <p:nvPr/>
          </p:nvSpPr>
          <p:spPr>
            <a:xfrm>
              <a:off x="10156873" y="3601327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73" name="Rectangle 172"/>
            <p:cNvSpPr/>
            <p:nvPr/>
          </p:nvSpPr>
          <p:spPr>
            <a:xfrm>
              <a:off x="10156873" y="3991503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74" name="Rectangle 173"/>
            <p:cNvSpPr/>
            <p:nvPr/>
          </p:nvSpPr>
          <p:spPr>
            <a:xfrm>
              <a:off x="10156873" y="4378168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175" name="Group 174"/>
            <p:cNvGrpSpPr/>
            <p:nvPr/>
          </p:nvGrpSpPr>
          <p:grpSpPr>
            <a:xfrm>
              <a:off x="9378950" y="4378168"/>
              <a:ext cx="390525" cy="390525"/>
              <a:chOff x="8124825" y="4270904"/>
              <a:chExt cx="390525" cy="390525"/>
            </a:xfrm>
          </p:grpSpPr>
          <p:sp>
            <p:nvSpPr>
              <p:cNvPr id="205" name="Rectangle 204"/>
              <p:cNvSpPr/>
              <p:nvPr/>
            </p:nvSpPr>
            <p:spPr>
              <a:xfrm>
                <a:off x="8124825" y="4270904"/>
                <a:ext cx="390525" cy="390525"/>
              </a:xfrm>
              <a:prstGeom prst="rect">
                <a:avLst/>
              </a:prstGeom>
              <a:solidFill>
                <a:srgbClr val="00B050"/>
              </a:solidFill>
              <a:ln w="254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pic>
            <p:nvPicPr>
              <p:cNvPr id="206" name="Picture 205"/>
              <p:cNvPicPr>
                <a:picLocks noChangeAspect="1"/>
              </p:cNvPicPr>
              <p:nvPr/>
            </p:nvPicPr>
            <p:blipFill>
              <a:blip r:embed="rId50">
                <a:biLevel thresh="25000"/>
              </a:blip>
              <a:stretch>
                <a:fillRect/>
              </a:stretch>
            </p:blipFill>
            <p:spPr>
              <a:xfrm>
                <a:off x="8172844" y="4312272"/>
                <a:ext cx="292018" cy="291549"/>
              </a:xfrm>
              <a:prstGeom prst="rect">
                <a:avLst/>
              </a:prstGeom>
            </p:spPr>
          </p:pic>
        </p:grpSp>
        <p:grpSp>
          <p:nvGrpSpPr>
            <p:cNvPr id="176" name="Group 175"/>
            <p:cNvGrpSpPr/>
            <p:nvPr/>
          </p:nvGrpSpPr>
          <p:grpSpPr>
            <a:xfrm>
              <a:off x="9766612" y="3991503"/>
              <a:ext cx="390525" cy="390525"/>
              <a:chOff x="8124825" y="4270904"/>
              <a:chExt cx="390525" cy="390525"/>
            </a:xfrm>
          </p:grpSpPr>
          <p:sp>
            <p:nvSpPr>
              <p:cNvPr id="203" name="Rectangle 202"/>
              <p:cNvSpPr/>
              <p:nvPr/>
            </p:nvSpPr>
            <p:spPr>
              <a:xfrm>
                <a:off x="8124825" y="4270904"/>
                <a:ext cx="390525" cy="390525"/>
              </a:xfrm>
              <a:prstGeom prst="rect">
                <a:avLst/>
              </a:prstGeom>
              <a:solidFill>
                <a:srgbClr val="00B050"/>
              </a:solidFill>
              <a:ln w="254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pic>
            <p:nvPicPr>
              <p:cNvPr id="204" name="Picture 203"/>
              <p:cNvPicPr>
                <a:picLocks noChangeAspect="1"/>
              </p:cNvPicPr>
              <p:nvPr/>
            </p:nvPicPr>
            <p:blipFill>
              <a:blip r:embed="rId50">
                <a:biLevel thresh="25000"/>
              </a:blip>
              <a:stretch>
                <a:fillRect/>
              </a:stretch>
            </p:blipFill>
            <p:spPr>
              <a:xfrm>
                <a:off x="8172844" y="4312272"/>
                <a:ext cx="292018" cy="291549"/>
              </a:xfrm>
              <a:prstGeom prst="rect">
                <a:avLst/>
              </a:prstGeom>
            </p:spPr>
          </p:pic>
        </p:grpSp>
        <p:sp>
          <p:nvSpPr>
            <p:cNvPr id="177" name="Rectangle 176"/>
            <p:cNvSpPr/>
            <p:nvPr/>
          </p:nvSpPr>
          <p:spPr>
            <a:xfrm>
              <a:off x="9378950" y="3988712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78" name="Rectangle 177"/>
            <p:cNvSpPr/>
            <p:nvPr/>
          </p:nvSpPr>
          <p:spPr>
            <a:xfrm>
              <a:off x="9771038" y="4380177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179" name="Group 178"/>
            <p:cNvGrpSpPr/>
            <p:nvPr/>
          </p:nvGrpSpPr>
          <p:grpSpPr>
            <a:xfrm>
              <a:off x="10943454" y="2820254"/>
              <a:ext cx="390525" cy="390525"/>
              <a:chOff x="8124825" y="4270904"/>
              <a:chExt cx="390525" cy="390525"/>
            </a:xfrm>
          </p:grpSpPr>
          <p:sp>
            <p:nvSpPr>
              <p:cNvPr id="201" name="Rectangle 200"/>
              <p:cNvSpPr/>
              <p:nvPr/>
            </p:nvSpPr>
            <p:spPr>
              <a:xfrm>
                <a:off x="8124825" y="4270904"/>
                <a:ext cx="390525" cy="390525"/>
              </a:xfrm>
              <a:prstGeom prst="rect">
                <a:avLst/>
              </a:prstGeom>
              <a:solidFill>
                <a:srgbClr val="00B050"/>
              </a:solidFill>
              <a:ln w="254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pic>
            <p:nvPicPr>
              <p:cNvPr id="202" name="Picture 201"/>
              <p:cNvPicPr>
                <a:picLocks noChangeAspect="1"/>
              </p:cNvPicPr>
              <p:nvPr/>
            </p:nvPicPr>
            <p:blipFill>
              <a:blip r:embed="rId50">
                <a:biLevel thresh="25000"/>
              </a:blip>
              <a:stretch>
                <a:fillRect/>
              </a:stretch>
            </p:blipFill>
            <p:spPr>
              <a:xfrm>
                <a:off x="8172844" y="4312272"/>
                <a:ext cx="292018" cy="291549"/>
              </a:xfrm>
              <a:prstGeom prst="rect">
                <a:avLst/>
              </a:prstGeom>
            </p:spPr>
          </p:pic>
        </p:grpSp>
        <p:sp>
          <p:nvSpPr>
            <p:cNvPr id="180" name="Rectangle 179"/>
            <p:cNvSpPr/>
            <p:nvPr/>
          </p:nvSpPr>
          <p:spPr>
            <a:xfrm>
              <a:off x="10553388" y="2816706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181" name="Group 180"/>
            <p:cNvGrpSpPr/>
            <p:nvPr/>
          </p:nvGrpSpPr>
          <p:grpSpPr>
            <a:xfrm>
              <a:off x="10550524" y="3209898"/>
              <a:ext cx="390525" cy="390525"/>
              <a:chOff x="8124825" y="4270904"/>
              <a:chExt cx="390525" cy="390525"/>
            </a:xfrm>
          </p:grpSpPr>
          <p:sp>
            <p:nvSpPr>
              <p:cNvPr id="199" name="Rectangle 198"/>
              <p:cNvSpPr/>
              <p:nvPr/>
            </p:nvSpPr>
            <p:spPr>
              <a:xfrm>
                <a:off x="8124825" y="4270904"/>
                <a:ext cx="390525" cy="390525"/>
              </a:xfrm>
              <a:prstGeom prst="rect">
                <a:avLst/>
              </a:prstGeom>
              <a:solidFill>
                <a:srgbClr val="00B050"/>
              </a:solidFill>
              <a:ln w="254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pic>
            <p:nvPicPr>
              <p:cNvPr id="200" name="Picture 199"/>
              <p:cNvPicPr>
                <a:picLocks noChangeAspect="1"/>
              </p:cNvPicPr>
              <p:nvPr/>
            </p:nvPicPr>
            <p:blipFill>
              <a:blip r:embed="rId50">
                <a:biLevel thresh="25000"/>
              </a:blip>
              <a:stretch>
                <a:fillRect/>
              </a:stretch>
            </p:blipFill>
            <p:spPr>
              <a:xfrm>
                <a:off x="8172844" y="4312272"/>
                <a:ext cx="292018" cy="291549"/>
              </a:xfrm>
              <a:prstGeom prst="rect">
                <a:avLst/>
              </a:prstGeom>
            </p:spPr>
          </p:pic>
        </p:grpSp>
        <p:sp>
          <p:nvSpPr>
            <p:cNvPr id="182" name="Rectangle 181"/>
            <p:cNvSpPr/>
            <p:nvPr/>
          </p:nvSpPr>
          <p:spPr>
            <a:xfrm>
              <a:off x="10941049" y="3213934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83" name="Rectangle 182"/>
            <p:cNvSpPr/>
            <p:nvPr/>
          </p:nvSpPr>
          <p:spPr>
            <a:xfrm>
              <a:off x="10550524" y="3596689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84" name="Rectangle 183"/>
            <p:cNvSpPr/>
            <p:nvPr/>
          </p:nvSpPr>
          <p:spPr>
            <a:xfrm>
              <a:off x="10550524" y="3987253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85" name="Rectangle 184"/>
            <p:cNvSpPr/>
            <p:nvPr/>
          </p:nvSpPr>
          <p:spPr>
            <a:xfrm>
              <a:off x="10550524" y="4376504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86" name="Rectangle 185"/>
            <p:cNvSpPr/>
            <p:nvPr/>
          </p:nvSpPr>
          <p:spPr>
            <a:xfrm>
              <a:off x="10941049" y="4376504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87" name="Rectangle 186"/>
            <p:cNvSpPr/>
            <p:nvPr/>
          </p:nvSpPr>
          <p:spPr>
            <a:xfrm>
              <a:off x="10941049" y="3598549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88" name="Rectangle 187"/>
            <p:cNvSpPr/>
            <p:nvPr/>
          </p:nvSpPr>
          <p:spPr>
            <a:xfrm>
              <a:off x="10941049" y="3983156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89" name="Rectangle 188"/>
            <p:cNvSpPr/>
            <p:nvPr/>
          </p:nvSpPr>
          <p:spPr>
            <a:xfrm>
              <a:off x="8589510" y="2430061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90" name="Rectangle 189"/>
            <p:cNvSpPr/>
            <p:nvPr/>
          </p:nvSpPr>
          <p:spPr>
            <a:xfrm>
              <a:off x="8589510" y="2820625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91" name="Rectangle 190"/>
            <p:cNvSpPr/>
            <p:nvPr/>
          </p:nvSpPr>
          <p:spPr>
            <a:xfrm>
              <a:off x="8589510" y="3209876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92" name="Rectangle 191"/>
            <p:cNvSpPr/>
            <p:nvPr/>
          </p:nvSpPr>
          <p:spPr>
            <a:xfrm>
              <a:off x="8589510" y="3600401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93" name="Rectangle 192"/>
            <p:cNvSpPr/>
            <p:nvPr/>
          </p:nvSpPr>
          <p:spPr>
            <a:xfrm>
              <a:off x="8589510" y="3991504"/>
              <a:ext cx="390525" cy="390525"/>
            </a:xfrm>
            <a:prstGeom prst="rect">
              <a:avLst/>
            </a:prstGeom>
            <a:solidFill>
              <a:srgbClr val="FF000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94" name="Rectangle 193"/>
            <p:cNvSpPr/>
            <p:nvPr/>
          </p:nvSpPr>
          <p:spPr>
            <a:xfrm>
              <a:off x="8589510" y="4380177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95" name="Rectangle 194"/>
            <p:cNvSpPr/>
            <p:nvPr/>
          </p:nvSpPr>
          <p:spPr>
            <a:xfrm>
              <a:off x="8587713" y="2039238"/>
              <a:ext cx="390525" cy="390525"/>
            </a:xfrm>
            <a:prstGeom prst="rect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pic>
          <p:nvPicPr>
            <p:cNvPr id="196" name="Picture 195"/>
            <p:cNvPicPr>
              <a:picLocks noChangeAspect="1"/>
            </p:cNvPicPr>
            <p:nvPr/>
          </p:nvPicPr>
          <p:blipFill>
            <a:blip r:embed="rId51"/>
            <a:stretch>
              <a:fillRect/>
            </a:stretch>
          </p:blipFill>
          <p:spPr>
            <a:xfrm>
              <a:off x="8691900" y="2056398"/>
              <a:ext cx="171778" cy="351437"/>
            </a:xfrm>
            <a:prstGeom prst="rect">
              <a:avLst/>
            </a:prstGeom>
          </p:spPr>
        </p:pic>
        <p:pic>
          <p:nvPicPr>
            <p:cNvPr id="197" name="Picture 196"/>
            <p:cNvPicPr>
              <a:picLocks noChangeAspect="1"/>
            </p:cNvPicPr>
            <p:nvPr/>
          </p:nvPicPr>
          <p:blipFill>
            <a:blip r:embed="rId43"/>
            <a:stretch>
              <a:fillRect/>
            </a:stretch>
          </p:blipFill>
          <p:spPr>
            <a:xfrm>
              <a:off x="8695820" y="3229222"/>
              <a:ext cx="174309" cy="356616"/>
            </a:xfrm>
            <a:prstGeom prst="rect">
              <a:avLst/>
            </a:prstGeom>
          </p:spPr>
        </p:pic>
        <p:pic>
          <p:nvPicPr>
            <p:cNvPr id="198" name="Picture 197"/>
            <p:cNvPicPr>
              <a:picLocks noChangeAspect="1"/>
            </p:cNvPicPr>
            <p:nvPr/>
          </p:nvPicPr>
          <p:blipFill>
            <a:blip r:embed="rId52"/>
            <a:stretch>
              <a:fillRect/>
            </a:stretch>
          </p:blipFill>
          <p:spPr>
            <a:xfrm>
              <a:off x="8688309" y="4400248"/>
              <a:ext cx="174426" cy="356854"/>
            </a:xfrm>
            <a:prstGeom prst="rect">
              <a:avLst/>
            </a:prstGeom>
          </p:spPr>
        </p:pic>
      </p:grpSp>
      <p:sp>
        <p:nvSpPr>
          <p:cNvPr id="235" name="Rectangle 234"/>
          <p:cNvSpPr/>
          <p:nvPr/>
        </p:nvSpPr>
        <p:spPr>
          <a:xfrm>
            <a:off x="7703006" y="1959673"/>
            <a:ext cx="219671" cy="219671"/>
          </a:xfrm>
          <a:prstGeom prst="rect">
            <a:avLst/>
          </a:prstGeom>
          <a:solidFill>
            <a:srgbClr val="7030A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236" name="Rectangle 235"/>
          <p:cNvSpPr/>
          <p:nvPr/>
        </p:nvSpPr>
        <p:spPr>
          <a:xfrm>
            <a:off x="7922677" y="1959673"/>
            <a:ext cx="219671" cy="219671"/>
          </a:xfrm>
          <a:prstGeom prst="rect">
            <a:avLst/>
          </a:prstGeom>
          <a:solidFill>
            <a:srgbClr val="7030A0">
              <a:alpha val="50000"/>
            </a:srgbClr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App</a:t>
            </a:r>
          </a:p>
        </p:txBody>
      </p:sp>
      <p:sp>
        <p:nvSpPr>
          <p:cNvPr id="237" name="Rectangle 236"/>
          <p:cNvSpPr/>
          <p:nvPr/>
        </p:nvSpPr>
        <p:spPr>
          <a:xfrm>
            <a:off x="8142347" y="1959673"/>
            <a:ext cx="219671" cy="219671"/>
          </a:xfrm>
          <a:prstGeom prst="rect">
            <a:avLst/>
          </a:prstGeom>
          <a:solidFill>
            <a:srgbClr val="7030A0">
              <a:alpha val="25000"/>
            </a:srgbClr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DB</a:t>
            </a:r>
          </a:p>
        </p:txBody>
      </p:sp>
      <p:sp>
        <p:nvSpPr>
          <p:cNvPr id="238" name="Rectangle 237"/>
          <p:cNvSpPr/>
          <p:nvPr/>
        </p:nvSpPr>
        <p:spPr>
          <a:xfrm>
            <a:off x="8362017" y="1959673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39" name="Rectangle 238"/>
          <p:cNvSpPr/>
          <p:nvPr/>
        </p:nvSpPr>
        <p:spPr>
          <a:xfrm>
            <a:off x="7043995" y="1959673"/>
            <a:ext cx="219671" cy="219671"/>
          </a:xfrm>
          <a:prstGeom prst="rect">
            <a:avLst/>
          </a:prstGeom>
          <a:solidFill>
            <a:srgbClr val="0070C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240" name="Rectangle 239"/>
          <p:cNvSpPr/>
          <p:nvPr/>
        </p:nvSpPr>
        <p:spPr>
          <a:xfrm>
            <a:off x="7263666" y="1959673"/>
            <a:ext cx="219671" cy="219671"/>
          </a:xfrm>
          <a:prstGeom prst="rect">
            <a:avLst/>
          </a:prstGeom>
          <a:solidFill>
            <a:srgbClr val="0070C0">
              <a:alpha val="50000"/>
            </a:srgbClr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App</a:t>
            </a:r>
          </a:p>
        </p:txBody>
      </p:sp>
      <p:sp>
        <p:nvSpPr>
          <p:cNvPr id="241" name="Rectangle 240"/>
          <p:cNvSpPr/>
          <p:nvPr/>
        </p:nvSpPr>
        <p:spPr>
          <a:xfrm>
            <a:off x="7483336" y="1959673"/>
            <a:ext cx="219671" cy="219671"/>
          </a:xfrm>
          <a:prstGeom prst="rect">
            <a:avLst/>
          </a:prstGeom>
          <a:solidFill>
            <a:srgbClr val="0070C0">
              <a:alpha val="25000"/>
            </a:srgbClr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DB</a:t>
            </a:r>
          </a:p>
        </p:txBody>
      </p:sp>
      <p:sp>
        <p:nvSpPr>
          <p:cNvPr id="242" name="Rectangle 241"/>
          <p:cNvSpPr/>
          <p:nvPr/>
        </p:nvSpPr>
        <p:spPr>
          <a:xfrm>
            <a:off x="7703006" y="2179510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43" name="Rectangle 242"/>
          <p:cNvSpPr/>
          <p:nvPr/>
        </p:nvSpPr>
        <p:spPr>
          <a:xfrm>
            <a:off x="7922677" y="2179510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44" name="Rectangle 243"/>
          <p:cNvSpPr/>
          <p:nvPr/>
        </p:nvSpPr>
        <p:spPr>
          <a:xfrm>
            <a:off x="8142347" y="2179510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45" name="Rectangle 244"/>
          <p:cNvSpPr/>
          <p:nvPr/>
        </p:nvSpPr>
        <p:spPr>
          <a:xfrm>
            <a:off x="8362017" y="2179510"/>
            <a:ext cx="219671" cy="219671"/>
          </a:xfrm>
          <a:prstGeom prst="rect">
            <a:avLst/>
          </a:prstGeom>
          <a:solidFill>
            <a:srgbClr val="7030A0">
              <a:alpha val="25000"/>
            </a:srgbClr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DB</a:t>
            </a:r>
          </a:p>
        </p:txBody>
      </p:sp>
      <p:sp>
        <p:nvSpPr>
          <p:cNvPr id="246" name="Rectangle 245"/>
          <p:cNvSpPr/>
          <p:nvPr/>
        </p:nvSpPr>
        <p:spPr>
          <a:xfrm>
            <a:off x="7043995" y="2179510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47" name="Rectangle 246"/>
          <p:cNvSpPr/>
          <p:nvPr/>
        </p:nvSpPr>
        <p:spPr>
          <a:xfrm>
            <a:off x="7263666" y="2179510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48" name="Rectangle 247"/>
          <p:cNvSpPr/>
          <p:nvPr/>
        </p:nvSpPr>
        <p:spPr>
          <a:xfrm>
            <a:off x="7483336" y="2179510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49" name="Rectangle 248"/>
          <p:cNvSpPr/>
          <p:nvPr/>
        </p:nvSpPr>
        <p:spPr>
          <a:xfrm>
            <a:off x="7703006" y="2399203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50" name="Rectangle 249"/>
          <p:cNvSpPr/>
          <p:nvPr/>
        </p:nvSpPr>
        <p:spPr>
          <a:xfrm>
            <a:off x="7922677" y="2399203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51" name="Rectangle 250"/>
          <p:cNvSpPr/>
          <p:nvPr/>
        </p:nvSpPr>
        <p:spPr>
          <a:xfrm>
            <a:off x="8142347" y="2399203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52" name="Rectangle 251"/>
          <p:cNvSpPr/>
          <p:nvPr/>
        </p:nvSpPr>
        <p:spPr>
          <a:xfrm>
            <a:off x="8362017" y="2399203"/>
            <a:ext cx="219671" cy="219671"/>
          </a:xfrm>
          <a:prstGeom prst="rect">
            <a:avLst/>
          </a:prstGeom>
          <a:solidFill>
            <a:srgbClr val="7030A0">
              <a:alpha val="50000"/>
            </a:srgbClr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App</a:t>
            </a:r>
          </a:p>
        </p:txBody>
      </p:sp>
      <p:sp>
        <p:nvSpPr>
          <p:cNvPr id="253" name="Rectangle 252"/>
          <p:cNvSpPr/>
          <p:nvPr/>
        </p:nvSpPr>
        <p:spPr>
          <a:xfrm>
            <a:off x="7043995" y="2399203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54" name="Rectangle 253"/>
          <p:cNvSpPr/>
          <p:nvPr/>
        </p:nvSpPr>
        <p:spPr>
          <a:xfrm>
            <a:off x="7263666" y="2399203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55" name="Rectangle 254"/>
          <p:cNvSpPr/>
          <p:nvPr/>
        </p:nvSpPr>
        <p:spPr>
          <a:xfrm>
            <a:off x="7483336" y="2399203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56" name="Rectangle 255"/>
          <p:cNvSpPr/>
          <p:nvPr/>
        </p:nvSpPr>
        <p:spPr>
          <a:xfrm>
            <a:off x="7703006" y="2618157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57" name="Rectangle 256"/>
          <p:cNvSpPr/>
          <p:nvPr/>
        </p:nvSpPr>
        <p:spPr>
          <a:xfrm>
            <a:off x="7922677" y="2618157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58" name="Rectangle 257"/>
          <p:cNvSpPr/>
          <p:nvPr/>
        </p:nvSpPr>
        <p:spPr>
          <a:xfrm>
            <a:off x="8142347" y="2618157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59" name="Rectangle 258"/>
          <p:cNvSpPr/>
          <p:nvPr/>
        </p:nvSpPr>
        <p:spPr>
          <a:xfrm>
            <a:off x="8362017" y="2618157"/>
            <a:ext cx="219671" cy="219671"/>
          </a:xfrm>
          <a:prstGeom prst="rect">
            <a:avLst/>
          </a:prstGeom>
          <a:solidFill>
            <a:srgbClr val="7030A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260" name="Rectangle 259"/>
          <p:cNvSpPr/>
          <p:nvPr/>
        </p:nvSpPr>
        <p:spPr>
          <a:xfrm>
            <a:off x="7043995" y="2618157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61" name="Rectangle 260"/>
          <p:cNvSpPr/>
          <p:nvPr/>
        </p:nvSpPr>
        <p:spPr>
          <a:xfrm>
            <a:off x="7263666" y="2618157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62" name="Rectangle 261"/>
          <p:cNvSpPr/>
          <p:nvPr/>
        </p:nvSpPr>
        <p:spPr>
          <a:xfrm>
            <a:off x="7483336" y="2618157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63" name="Rectangle 262"/>
          <p:cNvSpPr/>
          <p:nvPr/>
        </p:nvSpPr>
        <p:spPr>
          <a:xfrm>
            <a:off x="7703006" y="2837827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64" name="Rectangle 263"/>
          <p:cNvSpPr/>
          <p:nvPr/>
        </p:nvSpPr>
        <p:spPr>
          <a:xfrm>
            <a:off x="7922677" y="2837827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65" name="Rectangle 264"/>
          <p:cNvSpPr/>
          <p:nvPr/>
        </p:nvSpPr>
        <p:spPr>
          <a:xfrm>
            <a:off x="8142347" y="2837827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66" name="Rectangle 265"/>
          <p:cNvSpPr/>
          <p:nvPr/>
        </p:nvSpPr>
        <p:spPr>
          <a:xfrm>
            <a:off x="8362017" y="2837827"/>
            <a:ext cx="219671" cy="219671"/>
          </a:xfrm>
          <a:prstGeom prst="rect">
            <a:avLst/>
          </a:prstGeom>
          <a:solidFill>
            <a:srgbClr val="0070C0">
              <a:alpha val="25000"/>
            </a:srgbClr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DB</a:t>
            </a:r>
          </a:p>
        </p:txBody>
      </p:sp>
      <p:sp>
        <p:nvSpPr>
          <p:cNvPr id="267" name="Rectangle 266"/>
          <p:cNvSpPr/>
          <p:nvPr/>
        </p:nvSpPr>
        <p:spPr>
          <a:xfrm>
            <a:off x="7043995" y="2837827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68" name="Rectangle 267"/>
          <p:cNvSpPr/>
          <p:nvPr/>
        </p:nvSpPr>
        <p:spPr>
          <a:xfrm>
            <a:off x="7263666" y="2837827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69" name="Rectangle 268"/>
          <p:cNvSpPr/>
          <p:nvPr/>
        </p:nvSpPr>
        <p:spPr>
          <a:xfrm>
            <a:off x="7483336" y="2837827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70" name="Rectangle 269"/>
          <p:cNvSpPr/>
          <p:nvPr/>
        </p:nvSpPr>
        <p:spPr>
          <a:xfrm>
            <a:off x="7703006" y="3057823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71" name="Rectangle 270"/>
          <p:cNvSpPr/>
          <p:nvPr/>
        </p:nvSpPr>
        <p:spPr>
          <a:xfrm>
            <a:off x="7922677" y="3057823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72" name="Rectangle 271"/>
          <p:cNvSpPr/>
          <p:nvPr/>
        </p:nvSpPr>
        <p:spPr>
          <a:xfrm>
            <a:off x="8142347" y="3057823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73" name="Rectangle 272"/>
          <p:cNvSpPr/>
          <p:nvPr/>
        </p:nvSpPr>
        <p:spPr>
          <a:xfrm>
            <a:off x="8362017" y="3057823"/>
            <a:ext cx="219671" cy="219671"/>
          </a:xfrm>
          <a:prstGeom prst="rect">
            <a:avLst/>
          </a:prstGeom>
          <a:solidFill>
            <a:srgbClr val="0070C0">
              <a:alpha val="50000"/>
            </a:srgbClr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App</a:t>
            </a:r>
          </a:p>
        </p:txBody>
      </p:sp>
      <p:sp>
        <p:nvSpPr>
          <p:cNvPr id="274" name="Rectangle 273"/>
          <p:cNvSpPr/>
          <p:nvPr/>
        </p:nvSpPr>
        <p:spPr>
          <a:xfrm>
            <a:off x="7263666" y="3057823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75" name="Rectangle 274"/>
          <p:cNvSpPr/>
          <p:nvPr/>
        </p:nvSpPr>
        <p:spPr>
          <a:xfrm>
            <a:off x="7483336" y="3057823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76" name="Rectangle 275"/>
          <p:cNvSpPr/>
          <p:nvPr/>
        </p:nvSpPr>
        <p:spPr>
          <a:xfrm>
            <a:off x="7703006" y="3276451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77" name="Rectangle 276"/>
          <p:cNvSpPr/>
          <p:nvPr/>
        </p:nvSpPr>
        <p:spPr>
          <a:xfrm>
            <a:off x="7922677" y="3276451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78" name="Rectangle 277"/>
          <p:cNvSpPr/>
          <p:nvPr/>
        </p:nvSpPr>
        <p:spPr>
          <a:xfrm>
            <a:off x="8142347" y="3276451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79" name="Rectangle 278"/>
          <p:cNvSpPr/>
          <p:nvPr/>
        </p:nvSpPr>
        <p:spPr>
          <a:xfrm>
            <a:off x="8362017" y="3276451"/>
            <a:ext cx="219671" cy="219671"/>
          </a:xfrm>
          <a:prstGeom prst="rect">
            <a:avLst/>
          </a:prstGeom>
          <a:solidFill>
            <a:srgbClr val="0070C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280" name="Rectangle 279"/>
          <p:cNvSpPr/>
          <p:nvPr/>
        </p:nvSpPr>
        <p:spPr>
          <a:xfrm>
            <a:off x="7043995" y="3276451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81" name="Rectangle 280"/>
          <p:cNvSpPr/>
          <p:nvPr/>
        </p:nvSpPr>
        <p:spPr>
          <a:xfrm>
            <a:off x="7263666" y="3276451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82" name="Rectangle 281"/>
          <p:cNvSpPr/>
          <p:nvPr/>
        </p:nvSpPr>
        <p:spPr>
          <a:xfrm>
            <a:off x="7483336" y="3276451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283" name="Group 282"/>
          <p:cNvGrpSpPr/>
          <p:nvPr/>
        </p:nvGrpSpPr>
        <p:grpSpPr>
          <a:xfrm>
            <a:off x="7043995" y="3057823"/>
            <a:ext cx="219671" cy="219671"/>
            <a:chOff x="8124825" y="4270904"/>
            <a:chExt cx="390525" cy="390525"/>
          </a:xfrm>
        </p:grpSpPr>
        <p:sp>
          <p:nvSpPr>
            <p:cNvPr id="340" name="Rectangle 339"/>
            <p:cNvSpPr/>
            <p:nvPr/>
          </p:nvSpPr>
          <p:spPr>
            <a:xfrm>
              <a:off x="8124825" y="4270904"/>
              <a:ext cx="390525" cy="390525"/>
            </a:xfrm>
            <a:prstGeom prst="rect">
              <a:avLst/>
            </a:prstGeom>
            <a:solidFill>
              <a:srgbClr val="00B05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pic>
          <p:nvPicPr>
            <p:cNvPr id="341" name="Picture 340"/>
            <p:cNvPicPr>
              <a:picLocks noChangeAspect="1"/>
            </p:cNvPicPr>
            <p:nvPr/>
          </p:nvPicPr>
          <p:blipFill>
            <a:blip r:embed="rId50">
              <a:biLevel thresh="25000"/>
            </a:blip>
            <a:stretch>
              <a:fillRect/>
            </a:stretch>
          </p:blipFill>
          <p:spPr>
            <a:xfrm>
              <a:off x="8172844" y="4312272"/>
              <a:ext cx="292018" cy="291549"/>
            </a:xfrm>
            <a:prstGeom prst="rect">
              <a:avLst/>
            </a:prstGeom>
          </p:spPr>
        </p:pic>
      </p:grpSp>
      <p:grpSp>
        <p:nvGrpSpPr>
          <p:cNvPr id="284" name="Group 283"/>
          <p:cNvGrpSpPr/>
          <p:nvPr/>
        </p:nvGrpSpPr>
        <p:grpSpPr>
          <a:xfrm>
            <a:off x="7701654" y="2398324"/>
            <a:ext cx="219671" cy="219671"/>
            <a:chOff x="8124825" y="4270904"/>
            <a:chExt cx="390525" cy="390525"/>
          </a:xfrm>
        </p:grpSpPr>
        <p:sp>
          <p:nvSpPr>
            <p:cNvPr id="338" name="Rectangle 337"/>
            <p:cNvSpPr/>
            <p:nvPr/>
          </p:nvSpPr>
          <p:spPr>
            <a:xfrm>
              <a:off x="8124825" y="4270904"/>
              <a:ext cx="390525" cy="390525"/>
            </a:xfrm>
            <a:prstGeom prst="rect">
              <a:avLst/>
            </a:prstGeom>
            <a:solidFill>
              <a:srgbClr val="00B05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pic>
          <p:nvPicPr>
            <p:cNvPr id="339" name="Picture 338"/>
            <p:cNvPicPr>
              <a:picLocks noChangeAspect="1"/>
            </p:cNvPicPr>
            <p:nvPr/>
          </p:nvPicPr>
          <p:blipFill>
            <a:blip r:embed="rId50">
              <a:biLevel thresh="25000"/>
            </a:blip>
            <a:stretch>
              <a:fillRect/>
            </a:stretch>
          </p:blipFill>
          <p:spPr>
            <a:xfrm>
              <a:off x="8172844" y="4312272"/>
              <a:ext cx="292018" cy="291549"/>
            </a:xfrm>
            <a:prstGeom prst="rect">
              <a:avLst/>
            </a:prstGeom>
          </p:spPr>
        </p:pic>
      </p:grpSp>
      <p:grpSp>
        <p:nvGrpSpPr>
          <p:cNvPr id="285" name="Group 284"/>
          <p:cNvGrpSpPr/>
          <p:nvPr/>
        </p:nvGrpSpPr>
        <p:grpSpPr>
          <a:xfrm>
            <a:off x="7922676" y="2178301"/>
            <a:ext cx="219671" cy="219671"/>
            <a:chOff x="8124825" y="4270904"/>
            <a:chExt cx="390525" cy="390525"/>
          </a:xfrm>
        </p:grpSpPr>
        <p:sp>
          <p:nvSpPr>
            <p:cNvPr id="336" name="Rectangle 335"/>
            <p:cNvSpPr/>
            <p:nvPr/>
          </p:nvSpPr>
          <p:spPr>
            <a:xfrm>
              <a:off x="8124825" y="4270904"/>
              <a:ext cx="390525" cy="390525"/>
            </a:xfrm>
            <a:prstGeom prst="rect">
              <a:avLst/>
            </a:prstGeom>
            <a:solidFill>
              <a:srgbClr val="00B05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pic>
          <p:nvPicPr>
            <p:cNvPr id="337" name="Picture 336"/>
            <p:cNvPicPr>
              <a:picLocks noChangeAspect="1"/>
            </p:cNvPicPr>
            <p:nvPr/>
          </p:nvPicPr>
          <p:blipFill>
            <a:blip r:embed="rId50">
              <a:biLevel thresh="25000"/>
            </a:blip>
            <a:stretch>
              <a:fillRect/>
            </a:stretch>
          </p:blipFill>
          <p:spPr>
            <a:xfrm>
              <a:off x="8172844" y="4312272"/>
              <a:ext cx="292018" cy="291549"/>
            </a:xfrm>
            <a:prstGeom prst="rect">
              <a:avLst/>
            </a:prstGeom>
          </p:spPr>
        </p:pic>
      </p:grpSp>
      <p:grpSp>
        <p:nvGrpSpPr>
          <p:cNvPr id="286" name="Group 285"/>
          <p:cNvGrpSpPr/>
          <p:nvPr/>
        </p:nvGrpSpPr>
        <p:grpSpPr>
          <a:xfrm>
            <a:off x="8143699" y="2178301"/>
            <a:ext cx="219671" cy="219671"/>
            <a:chOff x="8124825" y="4270904"/>
            <a:chExt cx="390525" cy="390525"/>
          </a:xfrm>
        </p:grpSpPr>
        <p:sp>
          <p:nvSpPr>
            <p:cNvPr id="334" name="Rectangle 333"/>
            <p:cNvSpPr/>
            <p:nvPr/>
          </p:nvSpPr>
          <p:spPr>
            <a:xfrm>
              <a:off x="8124825" y="4270904"/>
              <a:ext cx="390525" cy="390525"/>
            </a:xfrm>
            <a:prstGeom prst="rect">
              <a:avLst/>
            </a:prstGeom>
            <a:solidFill>
              <a:srgbClr val="00B05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pic>
          <p:nvPicPr>
            <p:cNvPr id="335" name="Picture 334"/>
            <p:cNvPicPr>
              <a:picLocks noChangeAspect="1"/>
            </p:cNvPicPr>
            <p:nvPr/>
          </p:nvPicPr>
          <p:blipFill>
            <a:blip r:embed="rId50">
              <a:biLevel thresh="25000"/>
            </a:blip>
            <a:stretch>
              <a:fillRect/>
            </a:stretch>
          </p:blipFill>
          <p:spPr>
            <a:xfrm>
              <a:off x="8172844" y="4312272"/>
              <a:ext cx="292018" cy="291549"/>
            </a:xfrm>
            <a:prstGeom prst="rect">
              <a:avLst/>
            </a:prstGeom>
          </p:spPr>
        </p:pic>
      </p:grpSp>
      <p:sp>
        <p:nvSpPr>
          <p:cNvPr id="332" name="Rectangle 331"/>
          <p:cNvSpPr/>
          <p:nvPr/>
        </p:nvSpPr>
        <p:spPr>
          <a:xfrm>
            <a:off x="7263666" y="2836785"/>
            <a:ext cx="219671" cy="219671"/>
          </a:xfrm>
          <a:prstGeom prst="rect">
            <a:avLst/>
          </a:prstGeom>
          <a:solidFill>
            <a:srgbClr val="00B05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pic>
        <p:nvPicPr>
          <p:cNvPr id="333" name="Picture 332"/>
          <p:cNvPicPr>
            <a:picLocks noChangeAspect="1"/>
          </p:cNvPicPr>
          <p:nvPr/>
        </p:nvPicPr>
        <p:blipFill>
          <a:blip r:embed="rId50">
            <a:biLevel thresh="25000"/>
          </a:blip>
          <a:stretch>
            <a:fillRect/>
          </a:stretch>
        </p:blipFill>
        <p:spPr>
          <a:xfrm>
            <a:off x="7290676" y="2860054"/>
            <a:ext cx="164261" cy="163997"/>
          </a:xfrm>
          <a:prstGeom prst="rect">
            <a:avLst/>
          </a:prstGeom>
        </p:spPr>
      </p:pic>
      <p:grpSp>
        <p:nvGrpSpPr>
          <p:cNvPr id="288" name="Group 287"/>
          <p:cNvGrpSpPr/>
          <p:nvPr/>
        </p:nvGrpSpPr>
        <p:grpSpPr>
          <a:xfrm>
            <a:off x="7481725" y="2836785"/>
            <a:ext cx="219671" cy="219671"/>
            <a:chOff x="8124825" y="4270904"/>
            <a:chExt cx="390525" cy="390525"/>
          </a:xfrm>
        </p:grpSpPr>
        <p:sp>
          <p:nvSpPr>
            <p:cNvPr id="330" name="Rectangle 329"/>
            <p:cNvSpPr/>
            <p:nvPr/>
          </p:nvSpPr>
          <p:spPr>
            <a:xfrm>
              <a:off x="8124825" y="4270904"/>
              <a:ext cx="390525" cy="390525"/>
            </a:xfrm>
            <a:prstGeom prst="rect">
              <a:avLst/>
            </a:prstGeom>
            <a:solidFill>
              <a:srgbClr val="00B05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pic>
          <p:nvPicPr>
            <p:cNvPr id="331" name="Picture 330"/>
            <p:cNvPicPr>
              <a:picLocks noChangeAspect="1"/>
            </p:cNvPicPr>
            <p:nvPr/>
          </p:nvPicPr>
          <p:blipFill>
            <a:blip r:embed="rId50">
              <a:biLevel thresh="25000"/>
            </a:blip>
            <a:stretch>
              <a:fillRect/>
            </a:stretch>
          </p:blipFill>
          <p:spPr>
            <a:xfrm>
              <a:off x="8172844" y="4312272"/>
              <a:ext cx="292018" cy="291549"/>
            </a:xfrm>
            <a:prstGeom prst="rect">
              <a:avLst/>
            </a:prstGeom>
          </p:spPr>
        </p:pic>
      </p:grpSp>
      <p:sp>
        <p:nvSpPr>
          <p:cNvPr id="289" name="Rectangle 288"/>
          <p:cNvSpPr/>
          <p:nvPr/>
        </p:nvSpPr>
        <p:spPr>
          <a:xfrm>
            <a:off x="7263666" y="2180557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90" name="Rectangle 289"/>
          <p:cNvSpPr/>
          <p:nvPr/>
        </p:nvSpPr>
        <p:spPr>
          <a:xfrm>
            <a:off x="7482660" y="2180389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91" name="Rectangle 290"/>
          <p:cNvSpPr/>
          <p:nvPr/>
        </p:nvSpPr>
        <p:spPr>
          <a:xfrm>
            <a:off x="7705035" y="2180385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92" name="Rectangle 291"/>
          <p:cNvSpPr/>
          <p:nvPr/>
        </p:nvSpPr>
        <p:spPr>
          <a:xfrm>
            <a:off x="7480404" y="2398320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93" name="Rectangle 292"/>
          <p:cNvSpPr/>
          <p:nvPr/>
        </p:nvSpPr>
        <p:spPr>
          <a:xfrm>
            <a:off x="7481031" y="2616594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94" name="Rectangle 293"/>
          <p:cNvSpPr/>
          <p:nvPr/>
        </p:nvSpPr>
        <p:spPr>
          <a:xfrm>
            <a:off x="7701247" y="2616594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95" name="Rectangle 294"/>
          <p:cNvSpPr/>
          <p:nvPr/>
        </p:nvSpPr>
        <p:spPr>
          <a:xfrm>
            <a:off x="7701247" y="2838348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96" name="Rectangle 295"/>
          <p:cNvSpPr/>
          <p:nvPr/>
        </p:nvSpPr>
        <p:spPr>
          <a:xfrm>
            <a:off x="7701247" y="3057822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97" name="Rectangle 296"/>
          <p:cNvSpPr/>
          <p:nvPr/>
        </p:nvSpPr>
        <p:spPr>
          <a:xfrm>
            <a:off x="7701247" y="3275321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298" name="Group 297"/>
          <p:cNvGrpSpPr/>
          <p:nvPr/>
        </p:nvGrpSpPr>
        <p:grpSpPr>
          <a:xfrm>
            <a:off x="7263666" y="3275321"/>
            <a:ext cx="219671" cy="219671"/>
            <a:chOff x="8124825" y="4270904"/>
            <a:chExt cx="390525" cy="390525"/>
          </a:xfrm>
        </p:grpSpPr>
        <p:sp>
          <p:nvSpPr>
            <p:cNvPr id="328" name="Rectangle 327"/>
            <p:cNvSpPr/>
            <p:nvPr/>
          </p:nvSpPr>
          <p:spPr>
            <a:xfrm>
              <a:off x="8124825" y="4270904"/>
              <a:ext cx="390525" cy="390525"/>
            </a:xfrm>
            <a:prstGeom prst="rect">
              <a:avLst/>
            </a:prstGeom>
            <a:solidFill>
              <a:srgbClr val="00B05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pic>
          <p:nvPicPr>
            <p:cNvPr id="329" name="Picture 328"/>
            <p:cNvPicPr>
              <a:picLocks noChangeAspect="1"/>
            </p:cNvPicPr>
            <p:nvPr/>
          </p:nvPicPr>
          <p:blipFill>
            <a:blip r:embed="rId50">
              <a:biLevel thresh="25000"/>
            </a:blip>
            <a:stretch>
              <a:fillRect/>
            </a:stretch>
          </p:blipFill>
          <p:spPr>
            <a:xfrm>
              <a:off x="8172844" y="4312272"/>
              <a:ext cx="292018" cy="291549"/>
            </a:xfrm>
            <a:prstGeom prst="rect">
              <a:avLst/>
            </a:prstGeom>
          </p:spPr>
        </p:pic>
      </p:grpSp>
      <p:grpSp>
        <p:nvGrpSpPr>
          <p:cNvPr id="299" name="Group 298"/>
          <p:cNvGrpSpPr/>
          <p:nvPr/>
        </p:nvGrpSpPr>
        <p:grpSpPr>
          <a:xfrm>
            <a:off x="7481725" y="3057822"/>
            <a:ext cx="219671" cy="219671"/>
            <a:chOff x="8124825" y="4270904"/>
            <a:chExt cx="390525" cy="390525"/>
          </a:xfrm>
        </p:grpSpPr>
        <p:sp>
          <p:nvSpPr>
            <p:cNvPr id="326" name="Rectangle 325"/>
            <p:cNvSpPr/>
            <p:nvPr/>
          </p:nvSpPr>
          <p:spPr>
            <a:xfrm>
              <a:off x="8124825" y="4270904"/>
              <a:ext cx="390525" cy="390525"/>
            </a:xfrm>
            <a:prstGeom prst="rect">
              <a:avLst/>
            </a:prstGeom>
            <a:solidFill>
              <a:srgbClr val="00B05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pic>
          <p:nvPicPr>
            <p:cNvPr id="327" name="Picture 326"/>
            <p:cNvPicPr>
              <a:picLocks noChangeAspect="1"/>
            </p:cNvPicPr>
            <p:nvPr/>
          </p:nvPicPr>
          <p:blipFill>
            <a:blip r:embed="rId50">
              <a:biLevel thresh="25000"/>
            </a:blip>
            <a:stretch>
              <a:fillRect/>
            </a:stretch>
          </p:blipFill>
          <p:spPr>
            <a:xfrm>
              <a:off x="8172844" y="4312272"/>
              <a:ext cx="292018" cy="291549"/>
            </a:xfrm>
            <a:prstGeom prst="rect">
              <a:avLst/>
            </a:prstGeom>
          </p:spPr>
        </p:pic>
      </p:grpSp>
      <p:sp>
        <p:nvSpPr>
          <p:cNvPr id="300" name="Rectangle 299"/>
          <p:cNvSpPr/>
          <p:nvPr/>
        </p:nvSpPr>
        <p:spPr>
          <a:xfrm>
            <a:off x="7263666" y="3056252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01" name="Rectangle 300"/>
          <p:cNvSpPr/>
          <p:nvPr/>
        </p:nvSpPr>
        <p:spPr>
          <a:xfrm>
            <a:off x="7484215" y="3276451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302" name="Group 301"/>
          <p:cNvGrpSpPr/>
          <p:nvPr/>
        </p:nvGrpSpPr>
        <p:grpSpPr>
          <a:xfrm>
            <a:off x="8143699" y="2398994"/>
            <a:ext cx="219671" cy="219671"/>
            <a:chOff x="8124825" y="4270904"/>
            <a:chExt cx="390525" cy="390525"/>
          </a:xfrm>
        </p:grpSpPr>
        <p:sp>
          <p:nvSpPr>
            <p:cNvPr id="324" name="Rectangle 323"/>
            <p:cNvSpPr/>
            <p:nvPr/>
          </p:nvSpPr>
          <p:spPr>
            <a:xfrm>
              <a:off x="8124825" y="4270904"/>
              <a:ext cx="390525" cy="390525"/>
            </a:xfrm>
            <a:prstGeom prst="rect">
              <a:avLst/>
            </a:prstGeom>
            <a:solidFill>
              <a:srgbClr val="00B05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pic>
          <p:nvPicPr>
            <p:cNvPr id="325" name="Picture 324"/>
            <p:cNvPicPr>
              <a:picLocks noChangeAspect="1"/>
            </p:cNvPicPr>
            <p:nvPr/>
          </p:nvPicPr>
          <p:blipFill>
            <a:blip r:embed="rId50">
              <a:biLevel thresh="25000"/>
            </a:blip>
            <a:stretch>
              <a:fillRect/>
            </a:stretch>
          </p:blipFill>
          <p:spPr>
            <a:xfrm>
              <a:off x="8172844" y="4312272"/>
              <a:ext cx="292018" cy="291549"/>
            </a:xfrm>
            <a:prstGeom prst="rect">
              <a:avLst/>
            </a:prstGeom>
          </p:spPr>
        </p:pic>
      </p:grpSp>
      <p:sp>
        <p:nvSpPr>
          <p:cNvPr id="303" name="Rectangle 302"/>
          <p:cNvSpPr/>
          <p:nvPr/>
        </p:nvSpPr>
        <p:spPr>
          <a:xfrm>
            <a:off x="7924287" y="2396998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304" name="Group 303"/>
          <p:cNvGrpSpPr/>
          <p:nvPr/>
        </p:nvGrpSpPr>
        <p:grpSpPr>
          <a:xfrm>
            <a:off x="7922676" y="2618169"/>
            <a:ext cx="219671" cy="219671"/>
            <a:chOff x="8124825" y="4270904"/>
            <a:chExt cx="390525" cy="390525"/>
          </a:xfrm>
        </p:grpSpPr>
        <p:sp>
          <p:nvSpPr>
            <p:cNvPr id="322" name="Rectangle 321"/>
            <p:cNvSpPr/>
            <p:nvPr/>
          </p:nvSpPr>
          <p:spPr>
            <a:xfrm>
              <a:off x="8124825" y="4270904"/>
              <a:ext cx="390525" cy="390525"/>
            </a:xfrm>
            <a:prstGeom prst="rect">
              <a:avLst/>
            </a:prstGeom>
            <a:solidFill>
              <a:srgbClr val="00B050"/>
            </a:solidFill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pic>
          <p:nvPicPr>
            <p:cNvPr id="323" name="Picture 322"/>
            <p:cNvPicPr>
              <a:picLocks noChangeAspect="1"/>
            </p:cNvPicPr>
            <p:nvPr/>
          </p:nvPicPr>
          <p:blipFill>
            <a:blip r:embed="rId50">
              <a:biLevel thresh="25000"/>
            </a:blip>
            <a:stretch>
              <a:fillRect/>
            </a:stretch>
          </p:blipFill>
          <p:spPr>
            <a:xfrm>
              <a:off x="8172844" y="4312272"/>
              <a:ext cx="292018" cy="291549"/>
            </a:xfrm>
            <a:prstGeom prst="rect">
              <a:avLst/>
            </a:prstGeom>
          </p:spPr>
        </p:pic>
      </p:grpSp>
      <p:sp>
        <p:nvSpPr>
          <p:cNvPr id="305" name="Rectangle 304"/>
          <p:cNvSpPr/>
          <p:nvPr/>
        </p:nvSpPr>
        <p:spPr>
          <a:xfrm>
            <a:off x="8142346" y="2620439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06" name="Rectangle 305"/>
          <p:cNvSpPr/>
          <p:nvPr/>
        </p:nvSpPr>
        <p:spPr>
          <a:xfrm>
            <a:off x="7922676" y="2835739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07" name="Rectangle 306"/>
          <p:cNvSpPr/>
          <p:nvPr/>
        </p:nvSpPr>
        <p:spPr>
          <a:xfrm>
            <a:off x="7922676" y="3055431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08" name="Rectangle 307"/>
          <p:cNvSpPr/>
          <p:nvPr/>
        </p:nvSpPr>
        <p:spPr>
          <a:xfrm>
            <a:off x="7922676" y="3274385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09" name="Rectangle 308"/>
          <p:cNvSpPr/>
          <p:nvPr/>
        </p:nvSpPr>
        <p:spPr>
          <a:xfrm>
            <a:off x="8142346" y="3274385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10" name="Rectangle 309"/>
          <p:cNvSpPr/>
          <p:nvPr/>
        </p:nvSpPr>
        <p:spPr>
          <a:xfrm>
            <a:off x="8142346" y="2836785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11" name="Rectangle 310"/>
          <p:cNvSpPr/>
          <p:nvPr/>
        </p:nvSpPr>
        <p:spPr>
          <a:xfrm>
            <a:off x="8142346" y="3053127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12" name="Rectangle 311"/>
          <p:cNvSpPr/>
          <p:nvPr/>
        </p:nvSpPr>
        <p:spPr>
          <a:xfrm>
            <a:off x="6819606" y="2179510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13" name="Rectangle 312"/>
          <p:cNvSpPr/>
          <p:nvPr/>
        </p:nvSpPr>
        <p:spPr>
          <a:xfrm>
            <a:off x="6819606" y="2399203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14" name="Rectangle 313"/>
          <p:cNvSpPr/>
          <p:nvPr/>
        </p:nvSpPr>
        <p:spPr>
          <a:xfrm>
            <a:off x="6819606" y="2618157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15" name="Rectangle 314"/>
          <p:cNvSpPr/>
          <p:nvPr/>
        </p:nvSpPr>
        <p:spPr>
          <a:xfrm>
            <a:off x="6819606" y="2837827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16" name="Rectangle 315"/>
          <p:cNvSpPr/>
          <p:nvPr/>
        </p:nvSpPr>
        <p:spPr>
          <a:xfrm>
            <a:off x="6819606" y="3057823"/>
            <a:ext cx="219671" cy="219671"/>
          </a:xfrm>
          <a:prstGeom prst="rect">
            <a:avLst/>
          </a:prstGeom>
          <a:solidFill>
            <a:srgbClr val="FF0000"/>
          </a:solidFill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17" name="Rectangle 316"/>
          <p:cNvSpPr/>
          <p:nvPr/>
        </p:nvSpPr>
        <p:spPr>
          <a:xfrm>
            <a:off x="6819606" y="3276451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18" name="Rectangle 317"/>
          <p:cNvSpPr/>
          <p:nvPr/>
        </p:nvSpPr>
        <p:spPr>
          <a:xfrm>
            <a:off x="6818595" y="1959673"/>
            <a:ext cx="219671" cy="219671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pic>
        <p:nvPicPr>
          <p:cNvPr id="319" name="Picture 318"/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6877200" y="1969325"/>
            <a:ext cx="96625" cy="197684"/>
          </a:xfrm>
          <a:prstGeom prst="rect">
            <a:avLst/>
          </a:prstGeom>
        </p:spPr>
      </p:pic>
      <p:pic>
        <p:nvPicPr>
          <p:cNvPr id="320" name="Picture 319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6879405" y="2629039"/>
            <a:ext cx="98049" cy="200597"/>
          </a:xfrm>
          <a:prstGeom prst="rect">
            <a:avLst/>
          </a:prstGeom>
        </p:spPr>
      </p:pic>
      <p:pic>
        <p:nvPicPr>
          <p:cNvPr id="321" name="Picture 320"/>
          <p:cNvPicPr>
            <a:picLocks noChangeAspect="1"/>
          </p:cNvPicPr>
          <p:nvPr/>
        </p:nvPicPr>
        <p:blipFill>
          <a:blip r:embed="rId52"/>
          <a:stretch>
            <a:fillRect/>
          </a:stretch>
        </p:blipFill>
        <p:spPr>
          <a:xfrm>
            <a:off x="6875181" y="3287742"/>
            <a:ext cx="98114" cy="200731"/>
          </a:xfrm>
          <a:prstGeom prst="rect">
            <a:avLst/>
          </a:prstGeom>
        </p:spPr>
      </p:pic>
      <p:sp>
        <p:nvSpPr>
          <p:cNvPr id="343" name="Arrow: Right 342"/>
          <p:cNvSpPr/>
          <p:nvPr/>
        </p:nvSpPr>
        <p:spPr>
          <a:xfrm>
            <a:off x="6806347" y="2659567"/>
            <a:ext cx="1543422" cy="157210"/>
          </a:xfrm>
          <a:prstGeom prst="rightArrow">
            <a:avLst/>
          </a:prstGeom>
          <a:solidFill>
            <a:srgbClr val="7030A0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aphicFrame>
        <p:nvGraphicFramePr>
          <p:cNvPr id="344" name="Diagram 343">
            <a:hlinkClick r:id="" action="ppaction://noaction" highlightClick="1"/>
          </p:cNvPr>
          <p:cNvGraphicFramePr/>
          <p:nvPr>
            <p:extLst>
              <p:ext uri="{D42A27DB-BD31-4B8C-83A1-F6EECF244321}">
                <p14:modId xmlns:p14="http://schemas.microsoft.com/office/powerpoint/2010/main" val="715804013"/>
              </p:ext>
            </p:extLst>
          </p:nvPr>
        </p:nvGraphicFramePr>
        <p:xfrm>
          <a:off x="3120120" y="3374698"/>
          <a:ext cx="2224501" cy="14830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3" r:lo="rId54" r:qs="rId55" r:cs="rId56"/>
          </a:graphicData>
        </a:graphic>
      </p:graphicFrame>
      <p:grpSp>
        <p:nvGrpSpPr>
          <p:cNvPr id="345" name="Group 344"/>
          <p:cNvGrpSpPr/>
          <p:nvPr/>
        </p:nvGrpSpPr>
        <p:grpSpPr>
          <a:xfrm>
            <a:off x="3507326" y="4311592"/>
            <a:ext cx="1453659" cy="346109"/>
            <a:chOff x="4911269" y="6077550"/>
            <a:chExt cx="2584283" cy="615305"/>
          </a:xfrm>
        </p:grpSpPr>
        <p:sp>
          <p:nvSpPr>
            <p:cNvPr id="346" name="Freeform: Shape 345"/>
            <p:cNvSpPr/>
            <p:nvPr/>
          </p:nvSpPr>
          <p:spPr>
            <a:xfrm>
              <a:off x="4911269" y="6077550"/>
              <a:ext cx="615305" cy="615305"/>
            </a:xfrm>
            <a:custGeom>
              <a:avLst/>
              <a:gdLst>
                <a:gd name="connsiteX0" fmla="*/ 0 w 615305"/>
                <a:gd name="connsiteY0" fmla="*/ 307653 h 615305"/>
                <a:gd name="connsiteX1" fmla="*/ 307653 w 615305"/>
                <a:gd name="connsiteY1" fmla="*/ 0 h 615305"/>
                <a:gd name="connsiteX2" fmla="*/ 615306 w 615305"/>
                <a:gd name="connsiteY2" fmla="*/ 307653 h 615305"/>
                <a:gd name="connsiteX3" fmla="*/ 307653 w 615305"/>
                <a:gd name="connsiteY3" fmla="*/ 615306 h 615305"/>
                <a:gd name="connsiteX4" fmla="*/ 0 w 615305"/>
                <a:gd name="connsiteY4" fmla="*/ 307653 h 615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305" h="615305">
                  <a:moveTo>
                    <a:pt x="0" y="307653"/>
                  </a:moveTo>
                  <a:cubicBezTo>
                    <a:pt x="0" y="137741"/>
                    <a:pt x="137741" y="0"/>
                    <a:pt x="307653" y="0"/>
                  </a:cubicBezTo>
                  <a:cubicBezTo>
                    <a:pt x="477565" y="0"/>
                    <a:pt x="615306" y="137741"/>
                    <a:pt x="615306" y="307653"/>
                  </a:cubicBezTo>
                  <a:cubicBezTo>
                    <a:pt x="615306" y="477565"/>
                    <a:pt x="477565" y="615306"/>
                    <a:pt x="307653" y="615306"/>
                  </a:cubicBezTo>
                  <a:cubicBezTo>
                    <a:pt x="137741" y="615306"/>
                    <a:pt x="0" y="477565"/>
                    <a:pt x="0" y="307653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50687" tIns="50687" rIns="50687" bIns="50687" numCol="1" spcCol="1270" anchor="ctr" anchorCtr="0">
              <a:noAutofit/>
            </a:bodyPr>
            <a:lstStyle/>
            <a:p>
              <a:pPr marL="0" marR="0" lvl="0" indent="0" algn="ctr" defTabSz="26250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Who</a:t>
              </a:r>
            </a:p>
          </p:txBody>
        </p:sp>
        <p:sp>
          <p:nvSpPr>
            <p:cNvPr id="347" name="Freeform: Shape 346"/>
            <p:cNvSpPr/>
            <p:nvPr/>
          </p:nvSpPr>
          <p:spPr>
            <a:xfrm>
              <a:off x="5403513" y="6077550"/>
              <a:ext cx="615305" cy="615305"/>
            </a:xfrm>
            <a:custGeom>
              <a:avLst/>
              <a:gdLst>
                <a:gd name="connsiteX0" fmla="*/ 0 w 615305"/>
                <a:gd name="connsiteY0" fmla="*/ 307653 h 615305"/>
                <a:gd name="connsiteX1" fmla="*/ 307653 w 615305"/>
                <a:gd name="connsiteY1" fmla="*/ 0 h 615305"/>
                <a:gd name="connsiteX2" fmla="*/ 615306 w 615305"/>
                <a:gd name="connsiteY2" fmla="*/ 307653 h 615305"/>
                <a:gd name="connsiteX3" fmla="*/ 307653 w 615305"/>
                <a:gd name="connsiteY3" fmla="*/ 615306 h 615305"/>
                <a:gd name="connsiteX4" fmla="*/ 0 w 615305"/>
                <a:gd name="connsiteY4" fmla="*/ 307653 h 615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305" h="615305">
                  <a:moveTo>
                    <a:pt x="0" y="307653"/>
                  </a:moveTo>
                  <a:cubicBezTo>
                    <a:pt x="0" y="137741"/>
                    <a:pt x="137741" y="0"/>
                    <a:pt x="307653" y="0"/>
                  </a:cubicBezTo>
                  <a:cubicBezTo>
                    <a:pt x="477565" y="0"/>
                    <a:pt x="615306" y="137741"/>
                    <a:pt x="615306" y="307653"/>
                  </a:cubicBezTo>
                  <a:cubicBezTo>
                    <a:pt x="615306" y="477565"/>
                    <a:pt x="477565" y="615306"/>
                    <a:pt x="307653" y="615306"/>
                  </a:cubicBezTo>
                  <a:cubicBezTo>
                    <a:pt x="137741" y="615306"/>
                    <a:pt x="0" y="477565"/>
                    <a:pt x="0" y="307653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50687" tIns="50687" rIns="50687" bIns="50687" numCol="1" spcCol="1270" anchor="ctr" anchorCtr="0">
              <a:noAutofit/>
            </a:bodyPr>
            <a:lstStyle/>
            <a:p>
              <a:pPr marL="0" marR="0" lvl="0" indent="0" algn="ctr" defTabSz="26250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What</a:t>
              </a:r>
            </a:p>
          </p:txBody>
        </p:sp>
        <p:sp>
          <p:nvSpPr>
            <p:cNvPr id="348" name="Freeform: Shape 347"/>
            <p:cNvSpPr/>
            <p:nvPr/>
          </p:nvSpPr>
          <p:spPr>
            <a:xfrm>
              <a:off x="5895758" y="6077550"/>
              <a:ext cx="615305" cy="615305"/>
            </a:xfrm>
            <a:custGeom>
              <a:avLst/>
              <a:gdLst>
                <a:gd name="connsiteX0" fmla="*/ 0 w 615305"/>
                <a:gd name="connsiteY0" fmla="*/ 307653 h 615305"/>
                <a:gd name="connsiteX1" fmla="*/ 307653 w 615305"/>
                <a:gd name="connsiteY1" fmla="*/ 0 h 615305"/>
                <a:gd name="connsiteX2" fmla="*/ 615306 w 615305"/>
                <a:gd name="connsiteY2" fmla="*/ 307653 h 615305"/>
                <a:gd name="connsiteX3" fmla="*/ 307653 w 615305"/>
                <a:gd name="connsiteY3" fmla="*/ 615306 h 615305"/>
                <a:gd name="connsiteX4" fmla="*/ 0 w 615305"/>
                <a:gd name="connsiteY4" fmla="*/ 307653 h 615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305" h="615305">
                  <a:moveTo>
                    <a:pt x="0" y="307653"/>
                  </a:moveTo>
                  <a:cubicBezTo>
                    <a:pt x="0" y="137741"/>
                    <a:pt x="137741" y="0"/>
                    <a:pt x="307653" y="0"/>
                  </a:cubicBezTo>
                  <a:cubicBezTo>
                    <a:pt x="477565" y="0"/>
                    <a:pt x="615306" y="137741"/>
                    <a:pt x="615306" y="307653"/>
                  </a:cubicBezTo>
                  <a:cubicBezTo>
                    <a:pt x="615306" y="477565"/>
                    <a:pt x="477565" y="615306"/>
                    <a:pt x="307653" y="615306"/>
                  </a:cubicBezTo>
                  <a:cubicBezTo>
                    <a:pt x="137741" y="615306"/>
                    <a:pt x="0" y="477565"/>
                    <a:pt x="0" y="307653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50687" tIns="50687" rIns="50687" bIns="50687" numCol="1" spcCol="1270" anchor="ctr" anchorCtr="0">
              <a:noAutofit/>
            </a:bodyPr>
            <a:lstStyle/>
            <a:p>
              <a:pPr marL="0" marR="0" lvl="0" indent="0" algn="ctr" defTabSz="26250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Where</a:t>
              </a:r>
            </a:p>
          </p:txBody>
        </p:sp>
        <p:sp>
          <p:nvSpPr>
            <p:cNvPr id="349" name="Freeform: Shape 348"/>
            <p:cNvSpPr/>
            <p:nvPr/>
          </p:nvSpPr>
          <p:spPr>
            <a:xfrm>
              <a:off x="6388002" y="6077550"/>
              <a:ext cx="615305" cy="615305"/>
            </a:xfrm>
            <a:custGeom>
              <a:avLst/>
              <a:gdLst>
                <a:gd name="connsiteX0" fmla="*/ 0 w 615305"/>
                <a:gd name="connsiteY0" fmla="*/ 307653 h 615305"/>
                <a:gd name="connsiteX1" fmla="*/ 307653 w 615305"/>
                <a:gd name="connsiteY1" fmla="*/ 0 h 615305"/>
                <a:gd name="connsiteX2" fmla="*/ 615306 w 615305"/>
                <a:gd name="connsiteY2" fmla="*/ 307653 h 615305"/>
                <a:gd name="connsiteX3" fmla="*/ 307653 w 615305"/>
                <a:gd name="connsiteY3" fmla="*/ 615306 h 615305"/>
                <a:gd name="connsiteX4" fmla="*/ 0 w 615305"/>
                <a:gd name="connsiteY4" fmla="*/ 307653 h 615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305" h="615305">
                  <a:moveTo>
                    <a:pt x="0" y="307653"/>
                  </a:moveTo>
                  <a:cubicBezTo>
                    <a:pt x="0" y="137741"/>
                    <a:pt x="137741" y="0"/>
                    <a:pt x="307653" y="0"/>
                  </a:cubicBezTo>
                  <a:cubicBezTo>
                    <a:pt x="477565" y="0"/>
                    <a:pt x="615306" y="137741"/>
                    <a:pt x="615306" y="307653"/>
                  </a:cubicBezTo>
                  <a:cubicBezTo>
                    <a:pt x="615306" y="477565"/>
                    <a:pt x="477565" y="615306"/>
                    <a:pt x="307653" y="615306"/>
                  </a:cubicBezTo>
                  <a:cubicBezTo>
                    <a:pt x="137741" y="615306"/>
                    <a:pt x="0" y="477565"/>
                    <a:pt x="0" y="307653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50687" tIns="50687" rIns="50687" bIns="50687" numCol="1" spcCol="1270" anchor="ctr" anchorCtr="0">
              <a:noAutofit/>
            </a:bodyPr>
            <a:lstStyle/>
            <a:p>
              <a:pPr marL="0" marR="0" lvl="0" indent="0" algn="ctr" defTabSz="26250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When</a:t>
              </a:r>
            </a:p>
          </p:txBody>
        </p:sp>
        <p:sp>
          <p:nvSpPr>
            <p:cNvPr id="350" name="Freeform: Shape 349"/>
            <p:cNvSpPr/>
            <p:nvPr/>
          </p:nvSpPr>
          <p:spPr>
            <a:xfrm>
              <a:off x="6880247" y="6077550"/>
              <a:ext cx="615305" cy="615305"/>
            </a:xfrm>
            <a:custGeom>
              <a:avLst/>
              <a:gdLst>
                <a:gd name="connsiteX0" fmla="*/ 0 w 615305"/>
                <a:gd name="connsiteY0" fmla="*/ 307653 h 615305"/>
                <a:gd name="connsiteX1" fmla="*/ 307653 w 615305"/>
                <a:gd name="connsiteY1" fmla="*/ 0 h 615305"/>
                <a:gd name="connsiteX2" fmla="*/ 615306 w 615305"/>
                <a:gd name="connsiteY2" fmla="*/ 307653 h 615305"/>
                <a:gd name="connsiteX3" fmla="*/ 307653 w 615305"/>
                <a:gd name="connsiteY3" fmla="*/ 615306 h 615305"/>
                <a:gd name="connsiteX4" fmla="*/ 0 w 615305"/>
                <a:gd name="connsiteY4" fmla="*/ 307653 h 615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5305" h="615305">
                  <a:moveTo>
                    <a:pt x="0" y="307653"/>
                  </a:moveTo>
                  <a:cubicBezTo>
                    <a:pt x="0" y="137741"/>
                    <a:pt x="137741" y="0"/>
                    <a:pt x="307653" y="0"/>
                  </a:cubicBezTo>
                  <a:cubicBezTo>
                    <a:pt x="477565" y="0"/>
                    <a:pt x="615306" y="137741"/>
                    <a:pt x="615306" y="307653"/>
                  </a:cubicBezTo>
                  <a:cubicBezTo>
                    <a:pt x="615306" y="477565"/>
                    <a:pt x="477565" y="615306"/>
                    <a:pt x="307653" y="615306"/>
                  </a:cubicBezTo>
                  <a:cubicBezTo>
                    <a:pt x="137741" y="615306"/>
                    <a:pt x="0" y="477565"/>
                    <a:pt x="0" y="307653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50687" tIns="50687" rIns="50687" bIns="50687" numCol="1" spcCol="1270" anchor="ctr" anchorCtr="0">
              <a:noAutofit/>
            </a:bodyPr>
            <a:lstStyle/>
            <a:p>
              <a:pPr marL="0" marR="0" lvl="0" indent="0" algn="ctr" defTabSz="262502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How</a:t>
              </a:r>
            </a:p>
          </p:txBody>
        </p:sp>
      </p:grpSp>
      <p:grpSp>
        <p:nvGrpSpPr>
          <p:cNvPr id="449" name="Group 448"/>
          <p:cNvGrpSpPr/>
          <p:nvPr/>
        </p:nvGrpSpPr>
        <p:grpSpPr>
          <a:xfrm>
            <a:off x="3385190" y="1545178"/>
            <a:ext cx="1949187" cy="887941"/>
            <a:chOff x="4790648" y="2045355"/>
            <a:chExt cx="1942569" cy="884928"/>
          </a:xfrm>
        </p:grpSpPr>
        <p:grpSp>
          <p:nvGrpSpPr>
            <p:cNvPr id="87" name="Group 86"/>
            <p:cNvGrpSpPr/>
            <p:nvPr/>
          </p:nvGrpSpPr>
          <p:grpSpPr>
            <a:xfrm>
              <a:off x="4790648" y="2210247"/>
              <a:ext cx="1942569" cy="720036"/>
              <a:chOff x="5066729" y="1276036"/>
              <a:chExt cx="2590092" cy="960052"/>
            </a:xfrm>
          </p:grpSpPr>
          <p:pic>
            <p:nvPicPr>
              <p:cNvPr id="88" name="Picture 87"/>
              <p:cNvPicPr>
                <a:picLocks noChangeAspect="1"/>
              </p:cNvPicPr>
              <p:nvPr/>
            </p:nvPicPr>
            <p:blipFill>
              <a:blip r:embed="rId49"/>
              <a:stretch>
                <a:fillRect/>
              </a:stretch>
            </p:blipFill>
            <p:spPr>
              <a:xfrm>
                <a:off x="5191794" y="1276036"/>
                <a:ext cx="1934164" cy="667800"/>
              </a:xfrm>
              <a:prstGeom prst="rect">
                <a:avLst/>
              </a:prstGeom>
            </p:spPr>
          </p:pic>
          <p:sp>
            <p:nvSpPr>
              <p:cNvPr id="89" name="TextBox 88"/>
              <p:cNvSpPr txBox="1"/>
              <p:nvPr/>
            </p:nvSpPr>
            <p:spPr>
              <a:xfrm>
                <a:off x="5066729" y="1888457"/>
                <a:ext cx="2590092" cy="3476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u="none" strike="noStrike" kern="1200" cap="none" spc="0" normalizeH="0" baseline="0" noProof="0" dirty="0">
                    <a:ln>
                      <a:noFill/>
                    </a:ln>
                    <a:solidFill>
                      <a:srgbClr val="008080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rPr>
                  <a:t>Cisco Firepower NGFW</a:t>
                </a:r>
              </a:p>
            </p:txBody>
          </p:sp>
        </p:grpSp>
        <p:sp>
          <p:nvSpPr>
            <p:cNvPr id="352" name="Rectangle: Rounded Corners 351"/>
            <p:cNvSpPr/>
            <p:nvPr/>
          </p:nvSpPr>
          <p:spPr>
            <a:xfrm>
              <a:off x="4884446" y="2045355"/>
              <a:ext cx="1447653" cy="15535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Cisco DDOS Protection</a:t>
              </a:r>
            </a:p>
          </p:txBody>
        </p:sp>
      </p:grpSp>
      <p:sp>
        <p:nvSpPr>
          <p:cNvPr id="353" name="TextBox 352"/>
          <p:cNvSpPr txBox="1"/>
          <p:nvPr/>
        </p:nvSpPr>
        <p:spPr>
          <a:xfrm>
            <a:off x="6641114" y="3472955"/>
            <a:ext cx="163589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Data Center Switching Fabric</a:t>
            </a:r>
          </a:p>
        </p:txBody>
      </p:sp>
      <p:sp>
        <p:nvSpPr>
          <p:cNvPr id="354" name="TextBox 353"/>
          <p:cNvSpPr txBox="1"/>
          <p:nvPr/>
        </p:nvSpPr>
        <p:spPr>
          <a:xfrm>
            <a:off x="7351320" y="1742188"/>
            <a:ext cx="144974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Nexus/Catalyst</a:t>
            </a:r>
          </a:p>
        </p:txBody>
      </p:sp>
      <p:grpSp>
        <p:nvGrpSpPr>
          <p:cNvPr id="361" name="Group 360"/>
          <p:cNvGrpSpPr/>
          <p:nvPr/>
        </p:nvGrpSpPr>
        <p:grpSpPr>
          <a:xfrm>
            <a:off x="4456714" y="2809972"/>
            <a:ext cx="147194" cy="147194"/>
            <a:chOff x="7775816" y="5655489"/>
            <a:chExt cx="509582" cy="509582"/>
          </a:xfrm>
        </p:grpSpPr>
        <p:sp>
          <p:nvSpPr>
            <p:cNvPr id="362" name="Oval 361"/>
            <p:cNvSpPr/>
            <p:nvPr/>
          </p:nvSpPr>
          <p:spPr>
            <a:xfrm>
              <a:off x="7775816" y="5655489"/>
              <a:ext cx="509582" cy="509582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 w="15875">
              <a:solidFill>
                <a:srgbClr val="0070C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08610" rIns="51435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63" name="Freeform 11"/>
            <p:cNvSpPr>
              <a:spLocks noEditPoints="1"/>
            </p:cNvSpPr>
            <p:nvPr/>
          </p:nvSpPr>
          <p:spPr bwMode="auto">
            <a:xfrm>
              <a:off x="7821238" y="5798872"/>
              <a:ext cx="428389" cy="249977"/>
            </a:xfrm>
            <a:custGeom>
              <a:avLst/>
              <a:gdLst>
                <a:gd name="T0" fmla="*/ 109 w 239"/>
                <a:gd name="T1" fmla="*/ 16 h 139"/>
                <a:gd name="T2" fmla="*/ 127 w 239"/>
                <a:gd name="T3" fmla="*/ 16 h 139"/>
                <a:gd name="T4" fmla="*/ 129 w 239"/>
                <a:gd name="T5" fmla="*/ 12 h 139"/>
                <a:gd name="T6" fmla="*/ 159 w 239"/>
                <a:gd name="T7" fmla="*/ 9 h 139"/>
                <a:gd name="T8" fmla="*/ 168 w 239"/>
                <a:gd name="T9" fmla="*/ 18 h 139"/>
                <a:gd name="T10" fmla="*/ 171 w 239"/>
                <a:gd name="T11" fmla="*/ 20 h 139"/>
                <a:gd name="T12" fmla="*/ 197 w 239"/>
                <a:gd name="T13" fmla="*/ 29 h 139"/>
                <a:gd name="T14" fmla="*/ 217 w 239"/>
                <a:gd name="T15" fmla="*/ 46 h 139"/>
                <a:gd name="T16" fmla="*/ 226 w 239"/>
                <a:gd name="T17" fmla="*/ 112 h 139"/>
                <a:gd name="T18" fmla="*/ 173 w 239"/>
                <a:gd name="T19" fmla="*/ 135 h 139"/>
                <a:gd name="T20" fmla="*/ 132 w 239"/>
                <a:gd name="T21" fmla="*/ 95 h 139"/>
                <a:gd name="T22" fmla="*/ 131 w 239"/>
                <a:gd name="T23" fmla="*/ 93 h 139"/>
                <a:gd name="T24" fmla="*/ 104 w 239"/>
                <a:gd name="T25" fmla="*/ 93 h 139"/>
                <a:gd name="T26" fmla="*/ 104 w 239"/>
                <a:gd name="T27" fmla="*/ 96 h 139"/>
                <a:gd name="T28" fmla="*/ 47 w 239"/>
                <a:gd name="T29" fmla="*/ 135 h 139"/>
                <a:gd name="T30" fmla="*/ 2 w 239"/>
                <a:gd name="T31" fmla="*/ 90 h 139"/>
                <a:gd name="T32" fmla="*/ 19 w 239"/>
                <a:gd name="T33" fmla="*/ 46 h 139"/>
                <a:gd name="T34" fmla="*/ 42 w 239"/>
                <a:gd name="T35" fmla="*/ 28 h 139"/>
                <a:gd name="T36" fmla="*/ 64 w 239"/>
                <a:gd name="T37" fmla="*/ 20 h 139"/>
                <a:gd name="T38" fmla="*/ 67 w 239"/>
                <a:gd name="T39" fmla="*/ 18 h 139"/>
                <a:gd name="T40" fmla="*/ 76 w 239"/>
                <a:gd name="T41" fmla="*/ 10 h 139"/>
                <a:gd name="T42" fmla="*/ 108 w 239"/>
                <a:gd name="T43" fmla="*/ 15 h 139"/>
                <a:gd name="T44" fmla="*/ 109 w 239"/>
                <a:gd name="T45" fmla="*/ 16 h 139"/>
                <a:gd name="T46" fmla="*/ 19 w 239"/>
                <a:gd name="T47" fmla="*/ 84 h 139"/>
                <a:gd name="T48" fmla="*/ 53 w 239"/>
                <a:gd name="T49" fmla="*/ 119 h 139"/>
                <a:gd name="T50" fmla="*/ 88 w 239"/>
                <a:gd name="T51" fmla="*/ 85 h 139"/>
                <a:gd name="T52" fmla="*/ 55 w 239"/>
                <a:gd name="T53" fmla="*/ 50 h 139"/>
                <a:gd name="T54" fmla="*/ 19 w 239"/>
                <a:gd name="T55" fmla="*/ 84 h 139"/>
                <a:gd name="T56" fmla="*/ 148 w 239"/>
                <a:gd name="T57" fmla="*/ 84 h 139"/>
                <a:gd name="T58" fmla="*/ 183 w 239"/>
                <a:gd name="T59" fmla="*/ 119 h 139"/>
                <a:gd name="T60" fmla="*/ 217 w 239"/>
                <a:gd name="T61" fmla="*/ 83 h 139"/>
                <a:gd name="T62" fmla="*/ 181 w 239"/>
                <a:gd name="T63" fmla="*/ 50 h 139"/>
                <a:gd name="T64" fmla="*/ 148 w 239"/>
                <a:gd name="T65" fmla="*/ 84 h 139"/>
                <a:gd name="T66" fmla="*/ 131 w 239"/>
                <a:gd name="T67" fmla="*/ 70 h 139"/>
                <a:gd name="T68" fmla="*/ 118 w 239"/>
                <a:gd name="T69" fmla="*/ 56 h 139"/>
                <a:gd name="T70" fmla="*/ 104 w 239"/>
                <a:gd name="T71" fmla="*/ 69 h 139"/>
                <a:gd name="T72" fmla="*/ 117 w 239"/>
                <a:gd name="T73" fmla="*/ 83 h 139"/>
                <a:gd name="T74" fmla="*/ 131 w 239"/>
                <a:gd name="T75" fmla="*/ 7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9" h="139">
                  <a:moveTo>
                    <a:pt x="109" y="16"/>
                  </a:moveTo>
                  <a:cubicBezTo>
                    <a:pt x="115" y="13"/>
                    <a:pt x="121" y="13"/>
                    <a:pt x="127" y="16"/>
                  </a:cubicBezTo>
                  <a:cubicBezTo>
                    <a:pt x="128" y="15"/>
                    <a:pt x="128" y="13"/>
                    <a:pt x="129" y="12"/>
                  </a:cubicBezTo>
                  <a:cubicBezTo>
                    <a:pt x="136" y="2"/>
                    <a:pt x="150" y="1"/>
                    <a:pt x="159" y="9"/>
                  </a:cubicBezTo>
                  <a:cubicBezTo>
                    <a:pt x="162" y="12"/>
                    <a:pt x="165" y="15"/>
                    <a:pt x="168" y="18"/>
                  </a:cubicBezTo>
                  <a:cubicBezTo>
                    <a:pt x="169" y="19"/>
                    <a:pt x="170" y="20"/>
                    <a:pt x="171" y="20"/>
                  </a:cubicBezTo>
                  <a:cubicBezTo>
                    <a:pt x="181" y="20"/>
                    <a:pt x="189" y="24"/>
                    <a:pt x="197" y="29"/>
                  </a:cubicBezTo>
                  <a:cubicBezTo>
                    <a:pt x="203" y="35"/>
                    <a:pt x="210" y="40"/>
                    <a:pt x="217" y="46"/>
                  </a:cubicBezTo>
                  <a:cubicBezTo>
                    <a:pt x="235" y="62"/>
                    <a:pt x="239" y="91"/>
                    <a:pt x="226" y="112"/>
                  </a:cubicBezTo>
                  <a:cubicBezTo>
                    <a:pt x="214" y="129"/>
                    <a:pt x="194" y="139"/>
                    <a:pt x="173" y="135"/>
                  </a:cubicBezTo>
                  <a:cubicBezTo>
                    <a:pt x="152" y="131"/>
                    <a:pt x="136" y="116"/>
                    <a:pt x="132" y="95"/>
                  </a:cubicBezTo>
                  <a:cubicBezTo>
                    <a:pt x="132" y="94"/>
                    <a:pt x="131" y="94"/>
                    <a:pt x="131" y="93"/>
                  </a:cubicBezTo>
                  <a:cubicBezTo>
                    <a:pt x="122" y="97"/>
                    <a:pt x="114" y="98"/>
                    <a:pt x="104" y="93"/>
                  </a:cubicBezTo>
                  <a:cubicBezTo>
                    <a:pt x="104" y="94"/>
                    <a:pt x="104" y="95"/>
                    <a:pt x="104" y="96"/>
                  </a:cubicBezTo>
                  <a:cubicBezTo>
                    <a:pt x="98" y="122"/>
                    <a:pt x="72" y="139"/>
                    <a:pt x="47" y="135"/>
                  </a:cubicBezTo>
                  <a:cubicBezTo>
                    <a:pt x="23" y="132"/>
                    <a:pt x="5" y="114"/>
                    <a:pt x="2" y="90"/>
                  </a:cubicBezTo>
                  <a:cubicBezTo>
                    <a:pt x="0" y="73"/>
                    <a:pt x="6" y="58"/>
                    <a:pt x="19" y="46"/>
                  </a:cubicBezTo>
                  <a:cubicBezTo>
                    <a:pt x="26" y="40"/>
                    <a:pt x="34" y="34"/>
                    <a:pt x="42" y="28"/>
                  </a:cubicBezTo>
                  <a:cubicBezTo>
                    <a:pt x="48" y="23"/>
                    <a:pt x="56" y="20"/>
                    <a:pt x="64" y="20"/>
                  </a:cubicBezTo>
                  <a:cubicBezTo>
                    <a:pt x="65" y="20"/>
                    <a:pt x="67" y="19"/>
                    <a:pt x="67" y="18"/>
                  </a:cubicBezTo>
                  <a:cubicBezTo>
                    <a:pt x="70" y="16"/>
                    <a:pt x="73" y="13"/>
                    <a:pt x="76" y="10"/>
                  </a:cubicBezTo>
                  <a:cubicBezTo>
                    <a:pt x="87" y="0"/>
                    <a:pt x="101" y="2"/>
                    <a:pt x="108" y="15"/>
                  </a:cubicBezTo>
                  <a:cubicBezTo>
                    <a:pt x="108" y="15"/>
                    <a:pt x="109" y="15"/>
                    <a:pt x="109" y="16"/>
                  </a:cubicBezTo>
                  <a:close/>
                  <a:moveTo>
                    <a:pt x="19" y="84"/>
                  </a:moveTo>
                  <a:cubicBezTo>
                    <a:pt x="19" y="103"/>
                    <a:pt x="34" y="119"/>
                    <a:pt x="53" y="119"/>
                  </a:cubicBezTo>
                  <a:cubicBezTo>
                    <a:pt x="72" y="119"/>
                    <a:pt x="88" y="104"/>
                    <a:pt x="88" y="85"/>
                  </a:cubicBezTo>
                  <a:cubicBezTo>
                    <a:pt x="88" y="66"/>
                    <a:pt x="73" y="50"/>
                    <a:pt x="55" y="50"/>
                  </a:cubicBezTo>
                  <a:cubicBezTo>
                    <a:pt x="35" y="50"/>
                    <a:pt x="19" y="64"/>
                    <a:pt x="19" y="84"/>
                  </a:cubicBezTo>
                  <a:close/>
                  <a:moveTo>
                    <a:pt x="148" y="84"/>
                  </a:moveTo>
                  <a:cubicBezTo>
                    <a:pt x="148" y="104"/>
                    <a:pt x="163" y="119"/>
                    <a:pt x="183" y="119"/>
                  </a:cubicBezTo>
                  <a:cubicBezTo>
                    <a:pt x="203" y="118"/>
                    <a:pt x="217" y="102"/>
                    <a:pt x="217" y="83"/>
                  </a:cubicBezTo>
                  <a:cubicBezTo>
                    <a:pt x="216" y="64"/>
                    <a:pt x="200" y="49"/>
                    <a:pt x="181" y="50"/>
                  </a:cubicBezTo>
                  <a:cubicBezTo>
                    <a:pt x="163" y="50"/>
                    <a:pt x="147" y="66"/>
                    <a:pt x="148" y="84"/>
                  </a:cubicBezTo>
                  <a:close/>
                  <a:moveTo>
                    <a:pt x="131" y="70"/>
                  </a:moveTo>
                  <a:cubicBezTo>
                    <a:pt x="131" y="62"/>
                    <a:pt x="126" y="56"/>
                    <a:pt x="118" y="56"/>
                  </a:cubicBezTo>
                  <a:cubicBezTo>
                    <a:pt x="110" y="55"/>
                    <a:pt x="104" y="62"/>
                    <a:pt x="104" y="69"/>
                  </a:cubicBezTo>
                  <a:cubicBezTo>
                    <a:pt x="104" y="77"/>
                    <a:pt x="110" y="83"/>
                    <a:pt x="117" y="83"/>
                  </a:cubicBezTo>
                  <a:cubicBezTo>
                    <a:pt x="125" y="83"/>
                    <a:pt x="131" y="77"/>
                    <a:pt x="131" y="70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51435" rIns="51435" bIns="2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grpSp>
        <p:nvGrpSpPr>
          <p:cNvPr id="364" name="Group 363"/>
          <p:cNvGrpSpPr/>
          <p:nvPr/>
        </p:nvGrpSpPr>
        <p:grpSpPr>
          <a:xfrm>
            <a:off x="6588682" y="1729355"/>
            <a:ext cx="218240" cy="218240"/>
            <a:chOff x="7775816" y="5655489"/>
            <a:chExt cx="509582" cy="509582"/>
          </a:xfrm>
        </p:grpSpPr>
        <p:sp>
          <p:nvSpPr>
            <p:cNvPr id="365" name="Oval 364"/>
            <p:cNvSpPr/>
            <p:nvPr/>
          </p:nvSpPr>
          <p:spPr>
            <a:xfrm>
              <a:off x="7775816" y="5655489"/>
              <a:ext cx="509582" cy="509582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0070C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08610" rIns="51435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66" name="Freeform 11"/>
            <p:cNvSpPr>
              <a:spLocks noEditPoints="1"/>
            </p:cNvSpPr>
            <p:nvPr/>
          </p:nvSpPr>
          <p:spPr bwMode="auto">
            <a:xfrm>
              <a:off x="7821238" y="5798872"/>
              <a:ext cx="428389" cy="249977"/>
            </a:xfrm>
            <a:custGeom>
              <a:avLst/>
              <a:gdLst>
                <a:gd name="T0" fmla="*/ 109 w 239"/>
                <a:gd name="T1" fmla="*/ 16 h 139"/>
                <a:gd name="T2" fmla="*/ 127 w 239"/>
                <a:gd name="T3" fmla="*/ 16 h 139"/>
                <a:gd name="T4" fmla="*/ 129 w 239"/>
                <a:gd name="T5" fmla="*/ 12 h 139"/>
                <a:gd name="T6" fmla="*/ 159 w 239"/>
                <a:gd name="T7" fmla="*/ 9 h 139"/>
                <a:gd name="T8" fmla="*/ 168 w 239"/>
                <a:gd name="T9" fmla="*/ 18 h 139"/>
                <a:gd name="T10" fmla="*/ 171 w 239"/>
                <a:gd name="T11" fmla="*/ 20 h 139"/>
                <a:gd name="T12" fmla="*/ 197 w 239"/>
                <a:gd name="T13" fmla="*/ 29 h 139"/>
                <a:gd name="T14" fmla="*/ 217 w 239"/>
                <a:gd name="T15" fmla="*/ 46 h 139"/>
                <a:gd name="T16" fmla="*/ 226 w 239"/>
                <a:gd name="T17" fmla="*/ 112 h 139"/>
                <a:gd name="T18" fmla="*/ 173 w 239"/>
                <a:gd name="T19" fmla="*/ 135 h 139"/>
                <a:gd name="T20" fmla="*/ 132 w 239"/>
                <a:gd name="T21" fmla="*/ 95 h 139"/>
                <a:gd name="T22" fmla="*/ 131 w 239"/>
                <a:gd name="T23" fmla="*/ 93 h 139"/>
                <a:gd name="T24" fmla="*/ 104 w 239"/>
                <a:gd name="T25" fmla="*/ 93 h 139"/>
                <a:gd name="T26" fmla="*/ 104 w 239"/>
                <a:gd name="T27" fmla="*/ 96 h 139"/>
                <a:gd name="T28" fmla="*/ 47 w 239"/>
                <a:gd name="T29" fmla="*/ 135 h 139"/>
                <a:gd name="T30" fmla="*/ 2 w 239"/>
                <a:gd name="T31" fmla="*/ 90 h 139"/>
                <a:gd name="T32" fmla="*/ 19 w 239"/>
                <a:gd name="T33" fmla="*/ 46 h 139"/>
                <a:gd name="T34" fmla="*/ 42 w 239"/>
                <a:gd name="T35" fmla="*/ 28 h 139"/>
                <a:gd name="T36" fmla="*/ 64 w 239"/>
                <a:gd name="T37" fmla="*/ 20 h 139"/>
                <a:gd name="T38" fmla="*/ 67 w 239"/>
                <a:gd name="T39" fmla="*/ 18 h 139"/>
                <a:gd name="T40" fmla="*/ 76 w 239"/>
                <a:gd name="T41" fmla="*/ 10 h 139"/>
                <a:gd name="T42" fmla="*/ 108 w 239"/>
                <a:gd name="T43" fmla="*/ 15 h 139"/>
                <a:gd name="T44" fmla="*/ 109 w 239"/>
                <a:gd name="T45" fmla="*/ 16 h 139"/>
                <a:gd name="T46" fmla="*/ 19 w 239"/>
                <a:gd name="T47" fmla="*/ 84 h 139"/>
                <a:gd name="T48" fmla="*/ 53 w 239"/>
                <a:gd name="T49" fmla="*/ 119 h 139"/>
                <a:gd name="T50" fmla="*/ 88 w 239"/>
                <a:gd name="T51" fmla="*/ 85 h 139"/>
                <a:gd name="T52" fmla="*/ 55 w 239"/>
                <a:gd name="T53" fmla="*/ 50 h 139"/>
                <a:gd name="T54" fmla="*/ 19 w 239"/>
                <a:gd name="T55" fmla="*/ 84 h 139"/>
                <a:gd name="T56" fmla="*/ 148 w 239"/>
                <a:gd name="T57" fmla="*/ 84 h 139"/>
                <a:gd name="T58" fmla="*/ 183 w 239"/>
                <a:gd name="T59" fmla="*/ 119 h 139"/>
                <a:gd name="T60" fmla="*/ 217 w 239"/>
                <a:gd name="T61" fmla="*/ 83 h 139"/>
                <a:gd name="T62" fmla="*/ 181 w 239"/>
                <a:gd name="T63" fmla="*/ 50 h 139"/>
                <a:gd name="T64" fmla="*/ 148 w 239"/>
                <a:gd name="T65" fmla="*/ 84 h 139"/>
                <a:gd name="T66" fmla="*/ 131 w 239"/>
                <a:gd name="T67" fmla="*/ 70 h 139"/>
                <a:gd name="T68" fmla="*/ 118 w 239"/>
                <a:gd name="T69" fmla="*/ 56 h 139"/>
                <a:gd name="T70" fmla="*/ 104 w 239"/>
                <a:gd name="T71" fmla="*/ 69 h 139"/>
                <a:gd name="T72" fmla="*/ 117 w 239"/>
                <a:gd name="T73" fmla="*/ 83 h 139"/>
                <a:gd name="T74" fmla="*/ 131 w 239"/>
                <a:gd name="T75" fmla="*/ 7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9" h="139">
                  <a:moveTo>
                    <a:pt x="109" y="16"/>
                  </a:moveTo>
                  <a:cubicBezTo>
                    <a:pt x="115" y="13"/>
                    <a:pt x="121" y="13"/>
                    <a:pt x="127" y="16"/>
                  </a:cubicBezTo>
                  <a:cubicBezTo>
                    <a:pt x="128" y="15"/>
                    <a:pt x="128" y="13"/>
                    <a:pt x="129" y="12"/>
                  </a:cubicBezTo>
                  <a:cubicBezTo>
                    <a:pt x="136" y="2"/>
                    <a:pt x="150" y="1"/>
                    <a:pt x="159" y="9"/>
                  </a:cubicBezTo>
                  <a:cubicBezTo>
                    <a:pt x="162" y="12"/>
                    <a:pt x="165" y="15"/>
                    <a:pt x="168" y="18"/>
                  </a:cubicBezTo>
                  <a:cubicBezTo>
                    <a:pt x="169" y="19"/>
                    <a:pt x="170" y="20"/>
                    <a:pt x="171" y="20"/>
                  </a:cubicBezTo>
                  <a:cubicBezTo>
                    <a:pt x="181" y="20"/>
                    <a:pt x="189" y="24"/>
                    <a:pt x="197" y="29"/>
                  </a:cubicBezTo>
                  <a:cubicBezTo>
                    <a:pt x="203" y="35"/>
                    <a:pt x="210" y="40"/>
                    <a:pt x="217" y="46"/>
                  </a:cubicBezTo>
                  <a:cubicBezTo>
                    <a:pt x="235" y="62"/>
                    <a:pt x="239" y="91"/>
                    <a:pt x="226" y="112"/>
                  </a:cubicBezTo>
                  <a:cubicBezTo>
                    <a:pt x="214" y="129"/>
                    <a:pt x="194" y="139"/>
                    <a:pt x="173" y="135"/>
                  </a:cubicBezTo>
                  <a:cubicBezTo>
                    <a:pt x="152" y="131"/>
                    <a:pt x="136" y="116"/>
                    <a:pt x="132" y="95"/>
                  </a:cubicBezTo>
                  <a:cubicBezTo>
                    <a:pt x="132" y="94"/>
                    <a:pt x="131" y="94"/>
                    <a:pt x="131" y="93"/>
                  </a:cubicBezTo>
                  <a:cubicBezTo>
                    <a:pt x="122" y="97"/>
                    <a:pt x="114" y="98"/>
                    <a:pt x="104" y="93"/>
                  </a:cubicBezTo>
                  <a:cubicBezTo>
                    <a:pt x="104" y="94"/>
                    <a:pt x="104" y="95"/>
                    <a:pt x="104" y="96"/>
                  </a:cubicBezTo>
                  <a:cubicBezTo>
                    <a:pt x="98" y="122"/>
                    <a:pt x="72" y="139"/>
                    <a:pt x="47" y="135"/>
                  </a:cubicBezTo>
                  <a:cubicBezTo>
                    <a:pt x="23" y="132"/>
                    <a:pt x="5" y="114"/>
                    <a:pt x="2" y="90"/>
                  </a:cubicBezTo>
                  <a:cubicBezTo>
                    <a:pt x="0" y="73"/>
                    <a:pt x="6" y="58"/>
                    <a:pt x="19" y="46"/>
                  </a:cubicBezTo>
                  <a:cubicBezTo>
                    <a:pt x="26" y="40"/>
                    <a:pt x="34" y="34"/>
                    <a:pt x="42" y="28"/>
                  </a:cubicBezTo>
                  <a:cubicBezTo>
                    <a:pt x="48" y="23"/>
                    <a:pt x="56" y="20"/>
                    <a:pt x="64" y="20"/>
                  </a:cubicBezTo>
                  <a:cubicBezTo>
                    <a:pt x="65" y="20"/>
                    <a:pt x="67" y="19"/>
                    <a:pt x="67" y="18"/>
                  </a:cubicBezTo>
                  <a:cubicBezTo>
                    <a:pt x="70" y="16"/>
                    <a:pt x="73" y="13"/>
                    <a:pt x="76" y="10"/>
                  </a:cubicBezTo>
                  <a:cubicBezTo>
                    <a:pt x="87" y="0"/>
                    <a:pt x="101" y="2"/>
                    <a:pt x="108" y="15"/>
                  </a:cubicBezTo>
                  <a:cubicBezTo>
                    <a:pt x="108" y="15"/>
                    <a:pt x="109" y="15"/>
                    <a:pt x="109" y="16"/>
                  </a:cubicBezTo>
                  <a:close/>
                  <a:moveTo>
                    <a:pt x="19" y="84"/>
                  </a:moveTo>
                  <a:cubicBezTo>
                    <a:pt x="19" y="103"/>
                    <a:pt x="34" y="119"/>
                    <a:pt x="53" y="119"/>
                  </a:cubicBezTo>
                  <a:cubicBezTo>
                    <a:pt x="72" y="119"/>
                    <a:pt x="88" y="104"/>
                    <a:pt x="88" y="85"/>
                  </a:cubicBezTo>
                  <a:cubicBezTo>
                    <a:pt x="88" y="66"/>
                    <a:pt x="73" y="50"/>
                    <a:pt x="55" y="50"/>
                  </a:cubicBezTo>
                  <a:cubicBezTo>
                    <a:pt x="35" y="50"/>
                    <a:pt x="19" y="64"/>
                    <a:pt x="19" y="84"/>
                  </a:cubicBezTo>
                  <a:close/>
                  <a:moveTo>
                    <a:pt x="148" y="84"/>
                  </a:moveTo>
                  <a:cubicBezTo>
                    <a:pt x="148" y="104"/>
                    <a:pt x="163" y="119"/>
                    <a:pt x="183" y="119"/>
                  </a:cubicBezTo>
                  <a:cubicBezTo>
                    <a:pt x="203" y="118"/>
                    <a:pt x="217" y="102"/>
                    <a:pt x="217" y="83"/>
                  </a:cubicBezTo>
                  <a:cubicBezTo>
                    <a:pt x="216" y="64"/>
                    <a:pt x="200" y="49"/>
                    <a:pt x="181" y="50"/>
                  </a:cubicBezTo>
                  <a:cubicBezTo>
                    <a:pt x="163" y="50"/>
                    <a:pt x="147" y="66"/>
                    <a:pt x="148" y="84"/>
                  </a:cubicBezTo>
                  <a:close/>
                  <a:moveTo>
                    <a:pt x="131" y="70"/>
                  </a:moveTo>
                  <a:cubicBezTo>
                    <a:pt x="131" y="62"/>
                    <a:pt x="126" y="56"/>
                    <a:pt x="118" y="56"/>
                  </a:cubicBezTo>
                  <a:cubicBezTo>
                    <a:pt x="110" y="55"/>
                    <a:pt x="104" y="62"/>
                    <a:pt x="104" y="69"/>
                  </a:cubicBezTo>
                  <a:cubicBezTo>
                    <a:pt x="104" y="77"/>
                    <a:pt x="110" y="83"/>
                    <a:pt x="117" y="83"/>
                  </a:cubicBezTo>
                  <a:cubicBezTo>
                    <a:pt x="125" y="83"/>
                    <a:pt x="131" y="77"/>
                    <a:pt x="131" y="70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51435" rIns="51435" bIns="2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sp>
        <p:nvSpPr>
          <p:cNvPr id="373" name="Oval 372"/>
          <p:cNvSpPr/>
          <p:nvPr/>
        </p:nvSpPr>
        <p:spPr>
          <a:xfrm>
            <a:off x="4987523" y="4598464"/>
            <a:ext cx="738530" cy="337139"/>
          </a:xfrm>
          <a:prstGeom prst="ellipse">
            <a:avLst/>
          </a:prstGeom>
          <a:noFill/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baseline="0" noProof="0" dirty="0" err="1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pxGrid</a:t>
            </a:r>
            <a:endParaRPr kumimoji="0" lang="en-US" sz="1400" u="none" strike="noStrike" kern="1200" cap="none" spc="0" normalizeH="0" baseline="0" noProof="0" dirty="0">
              <a:ln>
                <a:noFill/>
              </a:ln>
              <a:solidFill>
                <a:srgbClr val="008080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cxnSp>
        <p:nvCxnSpPr>
          <p:cNvPr id="374" name="Straight Arrow Connector 373"/>
          <p:cNvCxnSpPr>
            <a:cxnSpLocks/>
          </p:cNvCxnSpPr>
          <p:nvPr/>
        </p:nvCxnSpPr>
        <p:spPr>
          <a:xfrm>
            <a:off x="4421816" y="4774175"/>
            <a:ext cx="585069" cy="0"/>
          </a:xfrm>
          <a:prstGeom prst="straightConnector1">
            <a:avLst/>
          </a:prstGeom>
          <a:ln w="41275">
            <a:solidFill>
              <a:srgbClr val="00808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Connector: Elbow 378"/>
          <p:cNvCxnSpPr>
            <a:cxnSpLocks/>
            <a:stCxn id="98" idx="0"/>
          </p:cNvCxnSpPr>
          <p:nvPr/>
        </p:nvCxnSpPr>
        <p:spPr>
          <a:xfrm rot="16200000" flipH="1" flipV="1">
            <a:off x="6292122" y="2732790"/>
            <a:ext cx="199226" cy="2827887"/>
          </a:xfrm>
          <a:prstGeom prst="bentConnector4">
            <a:avLst>
              <a:gd name="adj1" fmla="val -46615"/>
              <a:gd name="adj2" fmla="val 46326"/>
            </a:avLst>
          </a:prstGeom>
          <a:ln w="5715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3" name="Oval 382"/>
          <p:cNvSpPr/>
          <p:nvPr/>
        </p:nvSpPr>
        <p:spPr>
          <a:xfrm>
            <a:off x="111859" y="4515518"/>
            <a:ext cx="286319" cy="135458"/>
          </a:xfrm>
          <a:prstGeom prst="ellipse">
            <a:avLst/>
          </a:prstGeom>
          <a:noFill/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u="none" strike="noStrike" kern="1200" cap="none" spc="0" normalizeH="0" baseline="0" noProof="0" dirty="0" err="1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pxGrid</a:t>
            </a:r>
            <a:endParaRPr kumimoji="0" lang="en-US" sz="500" u="none" strike="noStrike" kern="1200" cap="none" spc="0" normalizeH="0" baseline="0" noProof="0" dirty="0">
              <a:ln>
                <a:noFill/>
              </a:ln>
              <a:solidFill>
                <a:srgbClr val="008080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84" name="TextBox 383"/>
          <p:cNvSpPr txBox="1"/>
          <p:nvPr/>
        </p:nvSpPr>
        <p:spPr>
          <a:xfrm>
            <a:off x="1" y="68650"/>
            <a:ext cx="9144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Only Cisco Delivers Comprehensive, Synergistic End-to-End Security</a:t>
            </a:r>
          </a:p>
        </p:txBody>
      </p:sp>
      <p:pic>
        <p:nvPicPr>
          <p:cNvPr id="386" name="Picture 385"/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126088" y="4715848"/>
            <a:ext cx="269153" cy="134576"/>
          </a:xfrm>
          <a:prstGeom prst="ellipse">
            <a:avLst/>
          </a:prstGeom>
        </p:spPr>
      </p:pic>
      <p:pic>
        <p:nvPicPr>
          <p:cNvPr id="392" name="Picture 2" descr="Cisco logo.svg"/>
          <p:cNvPicPr>
            <a:picLocks noChangeAspect="1" noChangeArrowheads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6975" y="541229"/>
            <a:ext cx="2084215" cy="1105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3" name="Freeform: Shape 392"/>
          <p:cNvSpPr/>
          <p:nvPr/>
        </p:nvSpPr>
        <p:spPr>
          <a:xfrm rot="16200000">
            <a:off x="3429990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99" name="TextBox 398"/>
          <p:cNvSpPr txBox="1"/>
          <p:nvPr/>
        </p:nvSpPr>
        <p:spPr>
          <a:xfrm>
            <a:off x="2216324" y="3117678"/>
            <a:ext cx="9666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A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D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I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U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S</a:t>
            </a:r>
          </a:p>
        </p:txBody>
      </p:sp>
      <p:pic>
        <p:nvPicPr>
          <p:cNvPr id="400" name="Picture 399"/>
          <p:cNvPicPr>
            <a:picLocks noChangeAspect="1"/>
          </p:cNvPicPr>
          <p:nvPr/>
        </p:nvPicPr>
        <p:blipFill>
          <a:blip r:embed="rId60"/>
          <a:stretch>
            <a:fillRect/>
          </a:stretch>
        </p:blipFill>
        <p:spPr>
          <a:xfrm>
            <a:off x="94811" y="4940070"/>
            <a:ext cx="316502" cy="85151"/>
          </a:xfrm>
          <a:prstGeom prst="rect">
            <a:avLst/>
          </a:prstGeom>
        </p:spPr>
      </p:pic>
      <p:sp>
        <p:nvSpPr>
          <p:cNvPr id="401" name="TextBox 400"/>
          <p:cNvSpPr txBox="1"/>
          <p:nvPr/>
        </p:nvSpPr>
        <p:spPr>
          <a:xfrm>
            <a:off x="1707665" y="3615148"/>
            <a:ext cx="92477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MDM</a:t>
            </a:r>
          </a:p>
        </p:txBody>
      </p:sp>
      <p:grpSp>
        <p:nvGrpSpPr>
          <p:cNvPr id="450" name="Group 449"/>
          <p:cNvGrpSpPr/>
          <p:nvPr/>
        </p:nvGrpSpPr>
        <p:grpSpPr>
          <a:xfrm>
            <a:off x="6475072" y="4037502"/>
            <a:ext cx="2557628" cy="915362"/>
            <a:chOff x="8938228" y="5625481"/>
            <a:chExt cx="2799311" cy="1001858"/>
          </a:xfrm>
        </p:grpSpPr>
        <p:pic>
          <p:nvPicPr>
            <p:cNvPr id="98" name="Picture 97"/>
            <p:cNvPicPr>
              <a:picLocks noChangeAspect="1"/>
            </p:cNvPicPr>
            <p:nvPr/>
          </p:nvPicPr>
          <p:blipFill>
            <a:blip r:embed="rId61"/>
            <a:stretch>
              <a:fillRect/>
            </a:stretch>
          </p:blipFill>
          <p:spPr>
            <a:xfrm>
              <a:off x="9764038" y="5636012"/>
              <a:ext cx="1261064" cy="802799"/>
            </a:xfrm>
            <a:prstGeom prst="rect">
              <a:avLst/>
            </a:prstGeom>
          </p:spPr>
        </p:pic>
        <p:sp>
          <p:nvSpPr>
            <p:cNvPr id="357" name="TextBox 356"/>
            <p:cNvSpPr txBox="1"/>
            <p:nvPr/>
          </p:nvSpPr>
          <p:spPr>
            <a:xfrm>
              <a:off x="9594467" y="6425223"/>
              <a:ext cx="1659829" cy="2021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u="none" strike="noStrike" kern="120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Cisco </a:t>
              </a:r>
              <a:r>
                <a:rPr kumimoji="0" lang="en-US" sz="1200" u="none" strike="noStrike" kern="1200" cap="none" spc="0" normalizeH="0" baseline="0" noProof="0" dirty="0" err="1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Stealthwatch</a:t>
              </a:r>
              <a:endParaRPr kumimoji="0" lang="en-US" sz="120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72" name="Oval 371"/>
            <p:cNvSpPr/>
            <p:nvPr/>
          </p:nvSpPr>
          <p:spPr>
            <a:xfrm>
              <a:off x="10463933" y="6121479"/>
              <a:ext cx="490310" cy="231967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u="none" strike="noStrike" kern="1200" cap="none" spc="0" normalizeH="0" baseline="0" noProof="0" dirty="0" err="1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pxGrid</a:t>
              </a:r>
              <a:endParaRPr kumimoji="0" lang="en-US" sz="80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375" name="Group 374"/>
            <p:cNvGrpSpPr/>
            <p:nvPr/>
          </p:nvGrpSpPr>
          <p:grpSpPr>
            <a:xfrm>
              <a:off x="8938228" y="5773762"/>
              <a:ext cx="634790" cy="634790"/>
              <a:chOff x="7775816" y="5655489"/>
              <a:chExt cx="509582" cy="509582"/>
            </a:xfrm>
          </p:grpSpPr>
          <p:sp>
            <p:nvSpPr>
              <p:cNvPr id="376" name="Oval 375"/>
              <p:cNvSpPr/>
              <p:nvPr/>
            </p:nvSpPr>
            <p:spPr>
              <a:xfrm>
                <a:off x="7775816" y="5655489"/>
                <a:ext cx="509582" cy="509582"/>
              </a:xfrm>
              <a:prstGeom prst="ellipse">
                <a:avLst/>
              </a:prstGeom>
              <a:solidFill>
                <a:schemeClr val="bg1">
                  <a:alpha val="50000"/>
                </a:schemeClr>
              </a:solidFill>
              <a:ln w="31750">
                <a:solidFill>
                  <a:srgbClr val="0070C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08610" rIns="51435"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77" name="Freeform 11"/>
              <p:cNvSpPr>
                <a:spLocks noEditPoints="1"/>
              </p:cNvSpPr>
              <p:nvPr/>
            </p:nvSpPr>
            <p:spPr bwMode="auto">
              <a:xfrm>
                <a:off x="7821238" y="5798872"/>
                <a:ext cx="428389" cy="249977"/>
              </a:xfrm>
              <a:custGeom>
                <a:avLst/>
                <a:gdLst>
                  <a:gd name="T0" fmla="*/ 109 w 239"/>
                  <a:gd name="T1" fmla="*/ 16 h 139"/>
                  <a:gd name="T2" fmla="*/ 127 w 239"/>
                  <a:gd name="T3" fmla="*/ 16 h 139"/>
                  <a:gd name="T4" fmla="*/ 129 w 239"/>
                  <a:gd name="T5" fmla="*/ 12 h 139"/>
                  <a:gd name="T6" fmla="*/ 159 w 239"/>
                  <a:gd name="T7" fmla="*/ 9 h 139"/>
                  <a:gd name="T8" fmla="*/ 168 w 239"/>
                  <a:gd name="T9" fmla="*/ 18 h 139"/>
                  <a:gd name="T10" fmla="*/ 171 w 239"/>
                  <a:gd name="T11" fmla="*/ 20 h 139"/>
                  <a:gd name="T12" fmla="*/ 197 w 239"/>
                  <a:gd name="T13" fmla="*/ 29 h 139"/>
                  <a:gd name="T14" fmla="*/ 217 w 239"/>
                  <a:gd name="T15" fmla="*/ 46 h 139"/>
                  <a:gd name="T16" fmla="*/ 226 w 239"/>
                  <a:gd name="T17" fmla="*/ 112 h 139"/>
                  <a:gd name="T18" fmla="*/ 173 w 239"/>
                  <a:gd name="T19" fmla="*/ 135 h 139"/>
                  <a:gd name="T20" fmla="*/ 132 w 239"/>
                  <a:gd name="T21" fmla="*/ 95 h 139"/>
                  <a:gd name="T22" fmla="*/ 131 w 239"/>
                  <a:gd name="T23" fmla="*/ 93 h 139"/>
                  <a:gd name="T24" fmla="*/ 104 w 239"/>
                  <a:gd name="T25" fmla="*/ 93 h 139"/>
                  <a:gd name="T26" fmla="*/ 104 w 239"/>
                  <a:gd name="T27" fmla="*/ 96 h 139"/>
                  <a:gd name="T28" fmla="*/ 47 w 239"/>
                  <a:gd name="T29" fmla="*/ 135 h 139"/>
                  <a:gd name="T30" fmla="*/ 2 w 239"/>
                  <a:gd name="T31" fmla="*/ 90 h 139"/>
                  <a:gd name="T32" fmla="*/ 19 w 239"/>
                  <a:gd name="T33" fmla="*/ 46 h 139"/>
                  <a:gd name="T34" fmla="*/ 42 w 239"/>
                  <a:gd name="T35" fmla="*/ 28 h 139"/>
                  <a:gd name="T36" fmla="*/ 64 w 239"/>
                  <a:gd name="T37" fmla="*/ 20 h 139"/>
                  <a:gd name="T38" fmla="*/ 67 w 239"/>
                  <a:gd name="T39" fmla="*/ 18 h 139"/>
                  <a:gd name="T40" fmla="*/ 76 w 239"/>
                  <a:gd name="T41" fmla="*/ 10 h 139"/>
                  <a:gd name="T42" fmla="*/ 108 w 239"/>
                  <a:gd name="T43" fmla="*/ 15 h 139"/>
                  <a:gd name="T44" fmla="*/ 109 w 239"/>
                  <a:gd name="T45" fmla="*/ 16 h 139"/>
                  <a:gd name="T46" fmla="*/ 19 w 239"/>
                  <a:gd name="T47" fmla="*/ 84 h 139"/>
                  <a:gd name="T48" fmla="*/ 53 w 239"/>
                  <a:gd name="T49" fmla="*/ 119 h 139"/>
                  <a:gd name="T50" fmla="*/ 88 w 239"/>
                  <a:gd name="T51" fmla="*/ 85 h 139"/>
                  <a:gd name="T52" fmla="*/ 55 w 239"/>
                  <a:gd name="T53" fmla="*/ 50 h 139"/>
                  <a:gd name="T54" fmla="*/ 19 w 239"/>
                  <a:gd name="T55" fmla="*/ 84 h 139"/>
                  <a:gd name="T56" fmla="*/ 148 w 239"/>
                  <a:gd name="T57" fmla="*/ 84 h 139"/>
                  <a:gd name="T58" fmla="*/ 183 w 239"/>
                  <a:gd name="T59" fmla="*/ 119 h 139"/>
                  <a:gd name="T60" fmla="*/ 217 w 239"/>
                  <a:gd name="T61" fmla="*/ 83 h 139"/>
                  <a:gd name="T62" fmla="*/ 181 w 239"/>
                  <a:gd name="T63" fmla="*/ 50 h 139"/>
                  <a:gd name="T64" fmla="*/ 148 w 239"/>
                  <a:gd name="T65" fmla="*/ 84 h 139"/>
                  <a:gd name="T66" fmla="*/ 131 w 239"/>
                  <a:gd name="T67" fmla="*/ 70 h 139"/>
                  <a:gd name="T68" fmla="*/ 118 w 239"/>
                  <a:gd name="T69" fmla="*/ 56 h 139"/>
                  <a:gd name="T70" fmla="*/ 104 w 239"/>
                  <a:gd name="T71" fmla="*/ 69 h 139"/>
                  <a:gd name="T72" fmla="*/ 117 w 239"/>
                  <a:gd name="T73" fmla="*/ 83 h 139"/>
                  <a:gd name="T74" fmla="*/ 131 w 239"/>
                  <a:gd name="T75" fmla="*/ 7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39" h="139">
                    <a:moveTo>
                      <a:pt x="109" y="16"/>
                    </a:moveTo>
                    <a:cubicBezTo>
                      <a:pt x="115" y="13"/>
                      <a:pt x="121" y="13"/>
                      <a:pt x="127" y="16"/>
                    </a:cubicBezTo>
                    <a:cubicBezTo>
                      <a:pt x="128" y="15"/>
                      <a:pt x="128" y="13"/>
                      <a:pt x="129" y="12"/>
                    </a:cubicBezTo>
                    <a:cubicBezTo>
                      <a:pt x="136" y="2"/>
                      <a:pt x="150" y="1"/>
                      <a:pt x="159" y="9"/>
                    </a:cubicBezTo>
                    <a:cubicBezTo>
                      <a:pt x="162" y="12"/>
                      <a:pt x="165" y="15"/>
                      <a:pt x="168" y="18"/>
                    </a:cubicBezTo>
                    <a:cubicBezTo>
                      <a:pt x="169" y="19"/>
                      <a:pt x="170" y="20"/>
                      <a:pt x="171" y="20"/>
                    </a:cubicBezTo>
                    <a:cubicBezTo>
                      <a:pt x="181" y="20"/>
                      <a:pt x="189" y="24"/>
                      <a:pt x="197" y="29"/>
                    </a:cubicBezTo>
                    <a:cubicBezTo>
                      <a:pt x="203" y="35"/>
                      <a:pt x="210" y="40"/>
                      <a:pt x="217" y="46"/>
                    </a:cubicBezTo>
                    <a:cubicBezTo>
                      <a:pt x="235" y="62"/>
                      <a:pt x="239" y="91"/>
                      <a:pt x="226" y="112"/>
                    </a:cubicBezTo>
                    <a:cubicBezTo>
                      <a:pt x="214" y="129"/>
                      <a:pt x="194" y="139"/>
                      <a:pt x="173" y="135"/>
                    </a:cubicBezTo>
                    <a:cubicBezTo>
                      <a:pt x="152" y="131"/>
                      <a:pt x="136" y="116"/>
                      <a:pt x="132" y="95"/>
                    </a:cubicBezTo>
                    <a:cubicBezTo>
                      <a:pt x="132" y="94"/>
                      <a:pt x="131" y="94"/>
                      <a:pt x="131" y="93"/>
                    </a:cubicBezTo>
                    <a:cubicBezTo>
                      <a:pt x="122" y="97"/>
                      <a:pt x="114" y="98"/>
                      <a:pt x="104" y="93"/>
                    </a:cubicBezTo>
                    <a:cubicBezTo>
                      <a:pt x="104" y="94"/>
                      <a:pt x="104" y="95"/>
                      <a:pt x="104" y="96"/>
                    </a:cubicBezTo>
                    <a:cubicBezTo>
                      <a:pt x="98" y="122"/>
                      <a:pt x="72" y="139"/>
                      <a:pt x="47" y="135"/>
                    </a:cubicBezTo>
                    <a:cubicBezTo>
                      <a:pt x="23" y="132"/>
                      <a:pt x="5" y="114"/>
                      <a:pt x="2" y="90"/>
                    </a:cubicBezTo>
                    <a:cubicBezTo>
                      <a:pt x="0" y="73"/>
                      <a:pt x="6" y="58"/>
                      <a:pt x="19" y="46"/>
                    </a:cubicBezTo>
                    <a:cubicBezTo>
                      <a:pt x="26" y="40"/>
                      <a:pt x="34" y="34"/>
                      <a:pt x="42" y="28"/>
                    </a:cubicBezTo>
                    <a:cubicBezTo>
                      <a:pt x="48" y="23"/>
                      <a:pt x="56" y="20"/>
                      <a:pt x="64" y="20"/>
                    </a:cubicBezTo>
                    <a:cubicBezTo>
                      <a:pt x="65" y="20"/>
                      <a:pt x="67" y="19"/>
                      <a:pt x="67" y="18"/>
                    </a:cubicBezTo>
                    <a:cubicBezTo>
                      <a:pt x="70" y="16"/>
                      <a:pt x="73" y="13"/>
                      <a:pt x="76" y="10"/>
                    </a:cubicBezTo>
                    <a:cubicBezTo>
                      <a:pt x="87" y="0"/>
                      <a:pt x="101" y="2"/>
                      <a:pt x="108" y="15"/>
                    </a:cubicBezTo>
                    <a:cubicBezTo>
                      <a:pt x="108" y="15"/>
                      <a:pt x="109" y="15"/>
                      <a:pt x="109" y="16"/>
                    </a:cubicBezTo>
                    <a:close/>
                    <a:moveTo>
                      <a:pt x="19" y="84"/>
                    </a:moveTo>
                    <a:cubicBezTo>
                      <a:pt x="19" y="103"/>
                      <a:pt x="34" y="119"/>
                      <a:pt x="53" y="119"/>
                    </a:cubicBezTo>
                    <a:cubicBezTo>
                      <a:pt x="72" y="119"/>
                      <a:pt x="88" y="104"/>
                      <a:pt x="88" y="85"/>
                    </a:cubicBezTo>
                    <a:cubicBezTo>
                      <a:pt x="88" y="66"/>
                      <a:pt x="73" y="50"/>
                      <a:pt x="55" y="50"/>
                    </a:cubicBezTo>
                    <a:cubicBezTo>
                      <a:pt x="35" y="50"/>
                      <a:pt x="19" y="64"/>
                      <a:pt x="19" y="84"/>
                    </a:cubicBezTo>
                    <a:close/>
                    <a:moveTo>
                      <a:pt x="148" y="84"/>
                    </a:moveTo>
                    <a:cubicBezTo>
                      <a:pt x="148" y="104"/>
                      <a:pt x="163" y="119"/>
                      <a:pt x="183" y="119"/>
                    </a:cubicBezTo>
                    <a:cubicBezTo>
                      <a:pt x="203" y="118"/>
                      <a:pt x="217" y="102"/>
                      <a:pt x="217" y="83"/>
                    </a:cubicBezTo>
                    <a:cubicBezTo>
                      <a:pt x="216" y="64"/>
                      <a:pt x="200" y="49"/>
                      <a:pt x="181" y="50"/>
                    </a:cubicBezTo>
                    <a:cubicBezTo>
                      <a:pt x="163" y="50"/>
                      <a:pt x="147" y="66"/>
                      <a:pt x="148" y="84"/>
                    </a:cubicBezTo>
                    <a:close/>
                    <a:moveTo>
                      <a:pt x="131" y="70"/>
                    </a:moveTo>
                    <a:cubicBezTo>
                      <a:pt x="131" y="62"/>
                      <a:pt x="126" y="56"/>
                      <a:pt x="118" y="56"/>
                    </a:cubicBezTo>
                    <a:cubicBezTo>
                      <a:pt x="110" y="55"/>
                      <a:pt x="104" y="62"/>
                      <a:pt x="104" y="69"/>
                    </a:cubicBezTo>
                    <a:cubicBezTo>
                      <a:pt x="104" y="77"/>
                      <a:pt x="110" y="83"/>
                      <a:pt x="117" y="83"/>
                    </a:cubicBezTo>
                    <a:cubicBezTo>
                      <a:pt x="125" y="83"/>
                      <a:pt x="131" y="77"/>
                      <a:pt x="131" y="70"/>
                    </a:cubicBezTo>
                    <a:close/>
                  </a:path>
                </a:pathLst>
              </a:custGeom>
              <a:solidFill>
                <a:srgbClr val="007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51435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sp>
          <p:nvSpPr>
            <p:cNvPr id="378" name="Arrow: Right 377"/>
            <p:cNvSpPr/>
            <p:nvPr/>
          </p:nvSpPr>
          <p:spPr>
            <a:xfrm>
              <a:off x="9573019" y="5985034"/>
              <a:ext cx="239960" cy="217091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85" name="TextBox 384"/>
            <p:cNvSpPr txBox="1"/>
            <p:nvPr/>
          </p:nvSpPr>
          <p:spPr>
            <a:xfrm>
              <a:off x="11028592" y="5761586"/>
              <a:ext cx="708947" cy="5558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Network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Behavior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Analysis</a:t>
              </a:r>
            </a:p>
          </p:txBody>
        </p:sp>
        <p:pic>
          <p:nvPicPr>
            <p:cNvPr id="402" name="Picture 401"/>
            <p:cNvPicPr>
              <a:picLocks noChangeAspect="1"/>
            </p:cNvPicPr>
            <p:nvPr/>
          </p:nvPicPr>
          <p:blipFill>
            <a:blip r:embed="rId60"/>
            <a:stretch>
              <a:fillRect/>
            </a:stretch>
          </p:blipFill>
          <p:spPr>
            <a:xfrm>
              <a:off x="10594992" y="5625481"/>
              <a:ext cx="422002" cy="113534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2997057" y="1780583"/>
            <a:ext cx="474880" cy="427998"/>
            <a:chOff x="4478934" y="2303658"/>
            <a:chExt cx="394831" cy="355851"/>
          </a:xfrm>
        </p:grpSpPr>
        <p:grpSp>
          <p:nvGrpSpPr>
            <p:cNvPr id="95" name="Group 94"/>
            <p:cNvGrpSpPr/>
            <p:nvPr/>
          </p:nvGrpSpPr>
          <p:grpSpPr>
            <a:xfrm>
              <a:off x="4478934" y="2303658"/>
              <a:ext cx="394831" cy="355851"/>
              <a:chOff x="3937447" y="1583063"/>
              <a:chExt cx="526442" cy="474466"/>
            </a:xfrm>
          </p:grpSpPr>
          <p:pic>
            <p:nvPicPr>
              <p:cNvPr id="96" name="Picture 95"/>
              <p:cNvPicPr>
                <a:picLocks noChangeAspect="1"/>
              </p:cNvPicPr>
              <p:nvPr/>
            </p:nvPicPr>
            <p:blipFill>
              <a:blip r:embed="rId62"/>
              <a:stretch>
                <a:fillRect/>
              </a:stretch>
            </p:blipFill>
            <p:spPr>
              <a:xfrm>
                <a:off x="3955456" y="1583063"/>
                <a:ext cx="508433" cy="352513"/>
              </a:xfrm>
              <a:prstGeom prst="rect">
                <a:avLst/>
              </a:prstGeom>
            </p:spPr>
          </p:pic>
          <p:sp>
            <p:nvSpPr>
              <p:cNvPr id="97" name="TextBox 96"/>
              <p:cNvSpPr txBox="1"/>
              <p:nvPr/>
            </p:nvSpPr>
            <p:spPr>
              <a:xfrm>
                <a:off x="3937447" y="1938112"/>
                <a:ext cx="505589" cy="1194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u="none" strike="noStrike" kern="1200" cap="none" spc="0" normalizeH="0" baseline="0" noProof="0" dirty="0">
                    <a:ln>
                      <a:noFill/>
                    </a:ln>
                    <a:solidFill>
                      <a:srgbClr val="008080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rPr>
                  <a:t>Cisco WSA</a:t>
                </a:r>
              </a:p>
            </p:txBody>
          </p:sp>
        </p:grpSp>
        <p:sp>
          <p:nvSpPr>
            <p:cNvPr id="371" name="Oval 370"/>
            <p:cNvSpPr/>
            <p:nvPr/>
          </p:nvSpPr>
          <p:spPr>
            <a:xfrm>
              <a:off x="4507174" y="2310885"/>
              <a:ext cx="168403" cy="7967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" u="none" strike="noStrike" kern="1200" cap="none" spc="0" normalizeH="0" baseline="0" noProof="0" dirty="0" err="1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pxGrid</a:t>
              </a:r>
              <a:endParaRPr kumimoji="0" lang="en-US" sz="40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pic>
          <p:nvPicPr>
            <p:cNvPr id="388" name="Picture 387"/>
            <p:cNvPicPr>
              <a:picLocks noChangeAspect="1"/>
            </p:cNvPicPr>
            <p:nvPr/>
          </p:nvPicPr>
          <p:blipFill>
            <a:blip r:embed="rId58"/>
            <a:stretch>
              <a:fillRect/>
            </a:stretch>
          </p:blipFill>
          <p:spPr>
            <a:xfrm>
              <a:off x="4720548" y="2318711"/>
              <a:ext cx="127313" cy="63656"/>
            </a:xfrm>
            <a:prstGeom prst="ellipse">
              <a:avLst/>
            </a:prstGeom>
          </p:spPr>
        </p:pic>
        <p:pic>
          <p:nvPicPr>
            <p:cNvPr id="403" name="Picture 402"/>
            <p:cNvPicPr>
              <a:picLocks noChangeAspect="1"/>
            </p:cNvPicPr>
            <p:nvPr/>
          </p:nvPicPr>
          <p:blipFill>
            <a:blip r:embed="rId60"/>
            <a:stretch>
              <a:fillRect/>
            </a:stretch>
          </p:blipFill>
          <p:spPr>
            <a:xfrm>
              <a:off x="4653218" y="2506323"/>
              <a:ext cx="169936" cy="45719"/>
            </a:xfrm>
            <a:prstGeom prst="rect">
              <a:avLst/>
            </a:prstGeom>
          </p:spPr>
        </p:pic>
      </p:grpSp>
      <p:pic>
        <p:nvPicPr>
          <p:cNvPr id="409" name="Picture 408"/>
          <p:cNvPicPr>
            <a:picLocks noChangeAspect="1"/>
          </p:cNvPicPr>
          <p:nvPr/>
        </p:nvPicPr>
        <p:blipFill>
          <a:blip r:embed="rId60"/>
          <a:stretch>
            <a:fillRect/>
          </a:stretch>
        </p:blipFill>
        <p:spPr>
          <a:xfrm>
            <a:off x="3973296" y="653498"/>
            <a:ext cx="495028" cy="133180"/>
          </a:xfrm>
          <a:prstGeom prst="rect">
            <a:avLst/>
          </a:prstGeom>
        </p:spPr>
      </p:pic>
      <p:graphicFrame>
        <p:nvGraphicFramePr>
          <p:cNvPr id="34" name="Diagram 33"/>
          <p:cNvGraphicFramePr/>
          <p:nvPr>
            <p:extLst/>
          </p:nvPr>
        </p:nvGraphicFramePr>
        <p:xfrm>
          <a:off x="1154598" y="1227802"/>
          <a:ext cx="859076" cy="5727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3" r:lo="rId64" r:qs="rId65" r:cs="rId66"/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965620" y="1233202"/>
            <a:ext cx="22025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DN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088653" y="1379668"/>
            <a:ext cx="2187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009294" y="1522475"/>
            <a:ext cx="40344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File</a:t>
            </a:r>
          </a:p>
        </p:txBody>
      </p:sp>
      <p:pic>
        <p:nvPicPr>
          <p:cNvPr id="46" name="Generic_Network_Cloud_Image" descr="Cloud by cinemacookie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6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35" y="950446"/>
            <a:ext cx="1058765" cy="293417"/>
          </a:xfrm>
          <a:prstGeom prst="rect">
            <a:avLst/>
          </a:prstGeom>
        </p:spPr>
      </p:pic>
      <p:sp>
        <p:nvSpPr>
          <p:cNvPr id="47" name="Generic_Network_Cloud_Label"/>
          <p:cNvSpPr txBox="1"/>
          <p:nvPr>
            <p:custDataLst>
              <p:tags r:id="rId7"/>
            </p:custDataLst>
          </p:nvPr>
        </p:nvSpPr>
        <p:spPr>
          <a:xfrm>
            <a:off x="1090116" y="1030868"/>
            <a:ext cx="10021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Untrusted Nets</a:t>
            </a:r>
          </a:p>
        </p:txBody>
      </p:sp>
      <p:sp>
        <p:nvSpPr>
          <p:cNvPr id="413" name="TextBox 412"/>
          <p:cNvSpPr txBox="1"/>
          <p:nvPr/>
        </p:nvSpPr>
        <p:spPr>
          <a:xfrm>
            <a:off x="1836395" y="4065628"/>
            <a:ext cx="358907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GUEST</a:t>
            </a:r>
          </a:p>
        </p:txBody>
      </p:sp>
      <p:sp>
        <p:nvSpPr>
          <p:cNvPr id="414" name="Arrow: Up 413"/>
          <p:cNvSpPr/>
          <p:nvPr/>
        </p:nvSpPr>
        <p:spPr>
          <a:xfrm>
            <a:off x="4115264" y="2805436"/>
            <a:ext cx="251019" cy="578984"/>
          </a:xfrm>
          <a:prstGeom prst="upArrow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9831" tIns="149831" rIns="149831" bIns="149831" numCol="1" spcCol="127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107" name="Group 106"/>
          <p:cNvGrpSpPr/>
          <p:nvPr/>
        </p:nvGrpSpPr>
        <p:grpSpPr>
          <a:xfrm>
            <a:off x="5203686" y="2564455"/>
            <a:ext cx="934097" cy="434261"/>
            <a:chOff x="5152001" y="1276036"/>
            <a:chExt cx="2002671" cy="931041"/>
          </a:xfrm>
        </p:grpSpPr>
        <p:pic>
          <p:nvPicPr>
            <p:cNvPr id="108" name="Picture 107"/>
            <p:cNvPicPr>
              <a:picLocks noChangeAspect="1"/>
            </p:cNvPicPr>
            <p:nvPr/>
          </p:nvPicPr>
          <p:blipFill>
            <a:blip r:embed="rId49"/>
            <a:stretch>
              <a:fillRect/>
            </a:stretch>
          </p:blipFill>
          <p:spPr>
            <a:xfrm>
              <a:off x="5191794" y="1276036"/>
              <a:ext cx="1934164" cy="667800"/>
            </a:xfrm>
            <a:prstGeom prst="rect">
              <a:avLst/>
            </a:prstGeom>
          </p:spPr>
        </p:pic>
        <p:sp>
          <p:nvSpPr>
            <p:cNvPr id="109" name="TextBox 108"/>
            <p:cNvSpPr txBox="1"/>
            <p:nvPr/>
          </p:nvSpPr>
          <p:spPr>
            <a:xfrm>
              <a:off x="5152001" y="1910140"/>
              <a:ext cx="2002671" cy="2969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u="none" strike="noStrike" kern="1200" cap="none" spc="0" normalizeH="0" baseline="0" noProof="0" dirty="0">
                  <a:ln>
                    <a:noFill/>
                  </a:ln>
                  <a:solidFill>
                    <a:srgbClr val="008080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Cisco Firepower</a:t>
              </a:r>
            </a:p>
          </p:txBody>
        </p:sp>
      </p:grpSp>
      <p:sp>
        <p:nvSpPr>
          <p:cNvPr id="110" name="Freeform: Shape 109"/>
          <p:cNvSpPr/>
          <p:nvPr/>
        </p:nvSpPr>
        <p:spPr>
          <a:xfrm rot="16200000">
            <a:off x="5052313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19" name="Freeform: Shape 218"/>
          <p:cNvSpPr/>
          <p:nvPr/>
        </p:nvSpPr>
        <p:spPr>
          <a:xfrm rot="16200000">
            <a:off x="5232431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>
              <a:alpha val="65000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20" name="Freeform: Shape 219"/>
          <p:cNvSpPr/>
          <p:nvPr/>
        </p:nvSpPr>
        <p:spPr>
          <a:xfrm rot="16200000">
            <a:off x="5592999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>
              <a:alpha val="65000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21" name="Freeform: Shape 220"/>
          <p:cNvSpPr/>
          <p:nvPr/>
        </p:nvSpPr>
        <p:spPr>
          <a:xfrm rot="16200000">
            <a:off x="5410470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>
              <a:alpha val="65000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22" name="Freeform: Shape 221"/>
          <p:cNvSpPr/>
          <p:nvPr/>
        </p:nvSpPr>
        <p:spPr>
          <a:xfrm rot="16200000">
            <a:off x="5955138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>
              <a:alpha val="65000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24" name="Freeform: Shape 223"/>
          <p:cNvSpPr/>
          <p:nvPr/>
        </p:nvSpPr>
        <p:spPr>
          <a:xfrm rot="16200000">
            <a:off x="5779752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>
              <a:alpha val="65000"/>
            </a:srgb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42" name="Freeform: Shape 341"/>
          <p:cNvSpPr/>
          <p:nvPr/>
        </p:nvSpPr>
        <p:spPr>
          <a:xfrm rot="16200000">
            <a:off x="6121425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358" name="Group 357"/>
          <p:cNvGrpSpPr/>
          <p:nvPr/>
        </p:nvGrpSpPr>
        <p:grpSpPr>
          <a:xfrm>
            <a:off x="4117266" y="2001949"/>
            <a:ext cx="199902" cy="199902"/>
            <a:chOff x="7495337" y="6154154"/>
            <a:chExt cx="509582" cy="509583"/>
          </a:xfrm>
        </p:grpSpPr>
        <p:sp>
          <p:nvSpPr>
            <p:cNvPr id="359" name="Oval 358"/>
            <p:cNvSpPr/>
            <p:nvPr/>
          </p:nvSpPr>
          <p:spPr>
            <a:xfrm>
              <a:off x="7495337" y="6154154"/>
              <a:ext cx="509582" cy="50958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70C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08610" rIns="51435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60" name="Freeform 11"/>
            <p:cNvSpPr>
              <a:spLocks noEditPoints="1"/>
            </p:cNvSpPr>
            <p:nvPr/>
          </p:nvSpPr>
          <p:spPr bwMode="auto">
            <a:xfrm>
              <a:off x="7540754" y="6297530"/>
              <a:ext cx="428390" cy="249977"/>
            </a:xfrm>
            <a:custGeom>
              <a:avLst/>
              <a:gdLst>
                <a:gd name="T0" fmla="*/ 109 w 239"/>
                <a:gd name="T1" fmla="*/ 16 h 139"/>
                <a:gd name="T2" fmla="*/ 127 w 239"/>
                <a:gd name="T3" fmla="*/ 16 h 139"/>
                <a:gd name="T4" fmla="*/ 129 w 239"/>
                <a:gd name="T5" fmla="*/ 12 h 139"/>
                <a:gd name="T6" fmla="*/ 159 w 239"/>
                <a:gd name="T7" fmla="*/ 9 h 139"/>
                <a:gd name="T8" fmla="*/ 168 w 239"/>
                <a:gd name="T9" fmla="*/ 18 h 139"/>
                <a:gd name="T10" fmla="*/ 171 w 239"/>
                <a:gd name="T11" fmla="*/ 20 h 139"/>
                <a:gd name="T12" fmla="*/ 197 w 239"/>
                <a:gd name="T13" fmla="*/ 29 h 139"/>
                <a:gd name="T14" fmla="*/ 217 w 239"/>
                <a:gd name="T15" fmla="*/ 46 h 139"/>
                <a:gd name="T16" fmla="*/ 226 w 239"/>
                <a:gd name="T17" fmla="*/ 112 h 139"/>
                <a:gd name="T18" fmla="*/ 173 w 239"/>
                <a:gd name="T19" fmla="*/ 135 h 139"/>
                <a:gd name="T20" fmla="*/ 132 w 239"/>
                <a:gd name="T21" fmla="*/ 95 h 139"/>
                <a:gd name="T22" fmla="*/ 131 w 239"/>
                <a:gd name="T23" fmla="*/ 93 h 139"/>
                <a:gd name="T24" fmla="*/ 104 w 239"/>
                <a:gd name="T25" fmla="*/ 93 h 139"/>
                <a:gd name="T26" fmla="*/ 104 w 239"/>
                <a:gd name="T27" fmla="*/ 96 h 139"/>
                <a:gd name="T28" fmla="*/ 47 w 239"/>
                <a:gd name="T29" fmla="*/ 135 h 139"/>
                <a:gd name="T30" fmla="*/ 2 w 239"/>
                <a:gd name="T31" fmla="*/ 90 h 139"/>
                <a:gd name="T32" fmla="*/ 19 w 239"/>
                <a:gd name="T33" fmla="*/ 46 h 139"/>
                <a:gd name="T34" fmla="*/ 42 w 239"/>
                <a:gd name="T35" fmla="*/ 28 h 139"/>
                <a:gd name="T36" fmla="*/ 64 w 239"/>
                <a:gd name="T37" fmla="*/ 20 h 139"/>
                <a:gd name="T38" fmla="*/ 67 w 239"/>
                <a:gd name="T39" fmla="*/ 18 h 139"/>
                <a:gd name="T40" fmla="*/ 76 w 239"/>
                <a:gd name="T41" fmla="*/ 10 h 139"/>
                <a:gd name="T42" fmla="*/ 108 w 239"/>
                <a:gd name="T43" fmla="*/ 15 h 139"/>
                <a:gd name="T44" fmla="*/ 109 w 239"/>
                <a:gd name="T45" fmla="*/ 16 h 139"/>
                <a:gd name="T46" fmla="*/ 19 w 239"/>
                <a:gd name="T47" fmla="*/ 84 h 139"/>
                <a:gd name="T48" fmla="*/ 53 w 239"/>
                <a:gd name="T49" fmla="*/ 119 h 139"/>
                <a:gd name="T50" fmla="*/ 88 w 239"/>
                <a:gd name="T51" fmla="*/ 85 h 139"/>
                <a:gd name="T52" fmla="*/ 55 w 239"/>
                <a:gd name="T53" fmla="*/ 50 h 139"/>
                <a:gd name="T54" fmla="*/ 19 w 239"/>
                <a:gd name="T55" fmla="*/ 84 h 139"/>
                <a:gd name="T56" fmla="*/ 148 w 239"/>
                <a:gd name="T57" fmla="*/ 84 h 139"/>
                <a:gd name="T58" fmla="*/ 183 w 239"/>
                <a:gd name="T59" fmla="*/ 119 h 139"/>
                <a:gd name="T60" fmla="*/ 217 w 239"/>
                <a:gd name="T61" fmla="*/ 83 h 139"/>
                <a:gd name="T62" fmla="*/ 181 w 239"/>
                <a:gd name="T63" fmla="*/ 50 h 139"/>
                <a:gd name="T64" fmla="*/ 148 w 239"/>
                <a:gd name="T65" fmla="*/ 84 h 139"/>
                <a:gd name="T66" fmla="*/ 131 w 239"/>
                <a:gd name="T67" fmla="*/ 70 h 139"/>
                <a:gd name="T68" fmla="*/ 118 w 239"/>
                <a:gd name="T69" fmla="*/ 56 h 139"/>
                <a:gd name="T70" fmla="*/ 104 w 239"/>
                <a:gd name="T71" fmla="*/ 69 h 139"/>
                <a:gd name="T72" fmla="*/ 117 w 239"/>
                <a:gd name="T73" fmla="*/ 83 h 139"/>
                <a:gd name="T74" fmla="*/ 131 w 239"/>
                <a:gd name="T75" fmla="*/ 7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9" h="139">
                  <a:moveTo>
                    <a:pt x="109" y="16"/>
                  </a:moveTo>
                  <a:cubicBezTo>
                    <a:pt x="115" y="13"/>
                    <a:pt x="121" y="13"/>
                    <a:pt x="127" y="16"/>
                  </a:cubicBezTo>
                  <a:cubicBezTo>
                    <a:pt x="128" y="15"/>
                    <a:pt x="128" y="13"/>
                    <a:pt x="129" y="12"/>
                  </a:cubicBezTo>
                  <a:cubicBezTo>
                    <a:pt x="136" y="2"/>
                    <a:pt x="150" y="1"/>
                    <a:pt x="159" y="9"/>
                  </a:cubicBezTo>
                  <a:cubicBezTo>
                    <a:pt x="162" y="12"/>
                    <a:pt x="165" y="15"/>
                    <a:pt x="168" y="18"/>
                  </a:cubicBezTo>
                  <a:cubicBezTo>
                    <a:pt x="169" y="19"/>
                    <a:pt x="170" y="20"/>
                    <a:pt x="171" y="20"/>
                  </a:cubicBezTo>
                  <a:cubicBezTo>
                    <a:pt x="181" y="20"/>
                    <a:pt x="189" y="24"/>
                    <a:pt x="197" y="29"/>
                  </a:cubicBezTo>
                  <a:cubicBezTo>
                    <a:pt x="203" y="35"/>
                    <a:pt x="210" y="40"/>
                    <a:pt x="217" y="46"/>
                  </a:cubicBezTo>
                  <a:cubicBezTo>
                    <a:pt x="235" y="62"/>
                    <a:pt x="239" y="91"/>
                    <a:pt x="226" y="112"/>
                  </a:cubicBezTo>
                  <a:cubicBezTo>
                    <a:pt x="214" y="129"/>
                    <a:pt x="194" y="139"/>
                    <a:pt x="173" y="135"/>
                  </a:cubicBezTo>
                  <a:cubicBezTo>
                    <a:pt x="152" y="131"/>
                    <a:pt x="136" y="116"/>
                    <a:pt x="132" y="95"/>
                  </a:cubicBezTo>
                  <a:cubicBezTo>
                    <a:pt x="132" y="94"/>
                    <a:pt x="131" y="94"/>
                    <a:pt x="131" y="93"/>
                  </a:cubicBezTo>
                  <a:cubicBezTo>
                    <a:pt x="122" y="97"/>
                    <a:pt x="114" y="98"/>
                    <a:pt x="104" y="93"/>
                  </a:cubicBezTo>
                  <a:cubicBezTo>
                    <a:pt x="104" y="94"/>
                    <a:pt x="104" y="95"/>
                    <a:pt x="104" y="96"/>
                  </a:cubicBezTo>
                  <a:cubicBezTo>
                    <a:pt x="98" y="122"/>
                    <a:pt x="72" y="139"/>
                    <a:pt x="47" y="135"/>
                  </a:cubicBezTo>
                  <a:cubicBezTo>
                    <a:pt x="23" y="132"/>
                    <a:pt x="5" y="114"/>
                    <a:pt x="2" y="90"/>
                  </a:cubicBezTo>
                  <a:cubicBezTo>
                    <a:pt x="0" y="73"/>
                    <a:pt x="6" y="58"/>
                    <a:pt x="19" y="46"/>
                  </a:cubicBezTo>
                  <a:cubicBezTo>
                    <a:pt x="26" y="40"/>
                    <a:pt x="34" y="34"/>
                    <a:pt x="42" y="28"/>
                  </a:cubicBezTo>
                  <a:cubicBezTo>
                    <a:pt x="48" y="23"/>
                    <a:pt x="56" y="20"/>
                    <a:pt x="64" y="20"/>
                  </a:cubicBezTo>
                  <a:cubicBezTo>
                    <a:pt x="65" y="20"/>
                    <a:pt x="67" y="19"/>
                    <a:pt x="67" y="18"/>
                  </a:cubicBezTo>
                  <a:cubicBezTo>
                    <a:pt x="70" y="16"/>
                    <a:pt x="73" y="13"/>
                    <a:pt x="76" y="10"/>
                  </a:cubicBezTo>
                  <a:cubicBezTo>
                    <a:pt x="87" y="0"/>
                    <a:pt x="101" y="2"/>
                    <a:pt x="108" y="15"/>
                  </a:cubicBezTo>
                  <a:cubicBezTo>
                    <a:pt x="108" y="15"/>
                    <a:pt x="109" y="15"/>
                    <a:pt x="109" y="16"/>
                  </a:cubicBezTo>
                  <a:close/>
                  <a:moveTo>
                    <a:pt x="19" y="84"/>
                  </a:moveTo>
                  <a:cubicBezTo>
                    <a:pt x="19" y="103"/>
                    <a:pt x="34" y="119"/>
                    <a:pt x="53" y="119"/>
                  </a:cubicBezTo>
                  <a:cubicBezTo>
                    <a:pt x="72" y="119"/>
                    <a:pt x="88" y="104"/>
                    <a:pt x="88" y="85"/>
                  </a:cubicBezTo>
                  <a:cubicBezTo>
                    <a:pt x="88" y="66"/>
                    <a:pt x="73" y="50"/>
                    <a:pt x="55" y="50"/>
                  </a:cubicBezTo>
                  <a:cubicBezTo>
                    <a:pt x="35" y="50"/>
                    <a:pt x="19" y="64"/>
                    <a:pt x="19" y="84"/>
                  </a:cubicBezTo>
                  <a:close/>
                  <a:moveTo>
                    <a:pt x="148" y="84"/>
                  </a:moveTo>
                  <a:cubicBezTo>
                    <a:pt x="148" y="104"/>
                    <a:pt x="163" y="119"/>
                    <a:pt x="183" y="119"/>
                  </a:cubicBezTo>
                  <a:cubicBezTo>
                    <a:pt x="203" y="118"/>
                    <a:pt x="217" y="102"/>
                    <a:pt x="217" y="83"/>
                  </a:cubicBezTo>
                  <a:cubicBezTo>
                    <a:pt x="216" y="64"/>
                    <a:pt x="200" y="49"/>
                    <a:pt x="181" y="50"/>
                  </a:cubicBezTo>
                  <a:cubicBezTo>
                    <a:pt x="163" y="50"/>
                    <a:pt x="147" y="66"/>
                    <a:pt x="148" y="84"/>
                  </a:cubicBezTo>
                  <a:close/>
                  <a:moveTo>
                    <a:pt x="131" y="70"/>
                  </a:moveTo>
                  <a:cubicBezTo>
                    <a:pt x="131" y="62"/>
                    <a:pt x="126" y="56"/>
                    <a:pt x="118" y="56"/>
                  </a:cubicBezTo>
                  <a:cubicBezTo>
                    <a:pt x="110" y="55"/>
                    <a:pt x="104" y="62"/>
                    <a:pt x="104" y="69"/>
                  </a:cubicBezTo>
                  <a:cubicBezTo>
                    <a:pt x="104" y="77"/>
                    <a:pt x="110" y="83"/>
                    <a:pt x="117" y="83"/>
                  </a:cubicBezTo>
                  <a:cubicBezTo>
                    <a:pt x="125" y="83"/>
                    <a:pt x="131" y="77"/>
                    <a:pt x="131" y="70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51435" rIns="51435" bIns="2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pic>
        <p:nvPicPr>
          <p:cNvPr id="405" name="Picture 404"/>
          <p:cNvPicPr>
            <a:picLocks noChangeAspect="1"/>
          </p:cNvPicPr>
          <p:nvPr/>
        </p:nvPicPr>
        <p:blipFill>
          <a:blip r:embed="rId60"/>
          <a:stretch>
            <a:fillRect/>
          </a:stretch>
        </p:blipFill>
        <p:spPr>
          <a:xfrm>
            <a:off x="4067394" y="1716119"/>
            <a:ext cx="303286" cy="81596"/>
          </a:xfrm>
          <a:prstGeom prst="rect">
            <a:avLst/>
          </a:prstGeom>
        </p:spPr>
      </p:pic>
      <p:sp>
        <p:nvSpPr>
          <p:cNvPr id="415" name="Freeform: Shape 414"/>
          <p:cNvSpPr/>
          <p:nvPr/>
        </p:nvSpPr>
        <p:spPr>
          <a:xfrm rot="16200000">
            <a:off x="6298173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416" name="Freeform: Shape 415"/>
          <p:cNvSpPr/>
          <p:nvPr/>
        </p:nvSpPr>
        <p:spPr>
          <a:xfrm rot="16200000">
            <a:off x="6477320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417" name="Freeform: Shape 416"/>
          <p:cNvSpPr/>
          <p:nvPr/>
        </p:nvSpPr>
        <p:spPr>
          <a:xfrm rot="16200000">
            <a:off x="6654440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427" name="Freeform: Shape 426"/>
          <p:cNvSpPr/>
          <p:nvPr/>
        </p:nvSpPr>
        <p:spPr>
          <a:xfrm rot="16200000">
            <a:off x="4533764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428" name="Freeform: Shape 427"/>
          <p:cNvSpPr/>
          <p:nvPr/>
        </p:nvSpPr>
        <p:spPr>
          <a:xfrm rot="16200000">
            <a:off x="4707195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432" name="Freeform: Shape 431"/>
          <p:cNvSpPr/>
          <p:nvPr/>
        </p:nvSpPr>
        <p:spPr>
          <a:xfrm rot="16200000">
            <a:off x="3250384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433" name="Freeform: Shape 432"/>
          <p:cNvSpPr/>
          <p:nvPr/>
        </p:nvSpPr>
        <p:spPr>
          <a:xfrm rot="16200000">
            <a:off x="2895659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435" name="Freeform: Shape 434"/>
          <p:cNvSpPr/>
          <p:nvPr/>
        </p:nvSpPr>
        <p:spPr>
          <a:xfrm rot="16200000">
            <a:off x="2716190" y="2640459"/>
            <a:ext cx="168826" cy="168826"/>
          </a:xfrm>
          <a:custGeom>
            <a:avLst/>
            <a:gdLst>
              <a:gd name="connsiteX0" fmla="*/ 0 w 1524000"/>
              <a:gd name="connsiteY0" fmla="*/ 762000 h 1524000"/>
              <a:gd name="connsiteX1" fmla="*/ 762000 w 1524000"/>
              <a:gd name="connsiteY1" fmla="*/ 0 h 1524000"/>
              <a:gd name="connsiteX2" fmla="*/ 1524000 w 1524000"/>
              <a:gd name="connsiteY2" fmla="*/ 762000 h 1524000"/>
              <a:gd name="connsiteX3" fmla="*/ 762000 w 1524000"/>
              <a:gd name="connsiteY3" fmla="*/ 1524000 h 1524000"/>
              <a:gd name="connsiteX4" fmla="*/ 0 w 1524000"/>
              <a:gd name="connsiteY4" fmla="*/ 762000 h 15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524000">
                <a:moveTo>
                  <a:pt x="0" y="762000"/>
                </a:moveTo>
                <a:cubicBezTo>
                  <a:pt x="0" y="341159"/>
                  <a:pt x="341159" y="0"/>
                  <a:pt x="762000" y="0"/>
                </a:cubicBezTo>
                <a:cubicBezTo>
                  <a:pt x="1182841" y="0"/>
                  <a:pt x="1524000" y="341159"/>
                  <a:pt x="1524000" y="762000"/>
                </a:cubicBezTo>
                <a:cubicBezTo>
                  <a:pt x="1524000" y="1182841"/>
                  <a:pt x="1182841" y="1524000"/>
                  <a:pt x="762000" y="1524000"/>
                </a:cubicBezTo>
                <a:cubicBezTo>
                  <a:pt x="341159" y="1524000"/>
                  <a:pt x="0" y="1182841"/>
                  <a:pt x="0" y="76200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448" name="Group 447"/>
          <p:cNvGrpSpPr/>
          <p:nvPr/>
        </p:nvGrpSpPr>
        <p:grpSpPr>
          <a:xfrm>
            <a:off x="4938450" y="1780582"/>
            <a:ext cx="484461" cy="433663"/>
            <a:chOff x="6341898" y="2301149"/>
            <a:chExt cx="402796" cy="360561"/>
          </a:xfrm>
        </p:grpSpPr>
        <p:grpSp>
          <p:nvGrpSpPr>
            <p:cNvPr id="92" name="Group 91"/>
            <p:cNvGrpSpPr/>
            <p:nvPr/>
          </p:nvGrpSpPr>
          <p:grpSpPr>
            <a:xfrm>
              <a:off x="6341898" y="2301149"/>
              <a:ext cx="402796" cy="360561"/>
              <a:chOff x="4420574" y="1576781"/>
              <a:chExt cx="537062" cy="480746"/>
            </a:xfrm>
          </p:grpSpPr>
          <p:pic>
            <p:nvPicPr>
              <p:cNvPr id="93" name="Picture 92"/>
              <p:cNvPicPr>
                <a:picLocks noChangeAspect="1"/>
              </p:cNvPicPr>
              <p:nvPr/>
            </p:nvPicPr>
            <p:blipFill>
              <a:blip r:embed="rId69"/>
              <a:stretch>
                <a:fillRect/>
              </a:stretch>
            </p:blipFill>
            <p:spPr>
              <a:xfrm>
                <a:off x="4433092" y="1576781"/>
                <a:ext cx="524544" cy="355721"/>
              </a:xfrm>
              <a:prstGeom prst="rect">
                <a:avLst/>
              </a:prstGeom>
            </p:spPr>
          </p:pic>
          <p:sp>
            <p:nvSpPr>
              <p:cNvPr id="94" name="TextBox 93"/>
              <p:cNvSpPr txBox="1"/>
              <p:nvPr/>
            </p:nvSpPr>
            <p:spPr>
              <a:xfrm>
                <a:off x="4420574" y="1938110"/>
                <a:ext cx="503273" cy="11941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00" u="none" strike="noStrike" kern="1200" cap="none" spc="0" normalizeH="0" baseline="0" noProof="0" dirty="0">
                    <a:ln>
                      <a:noFill/>
                    </a:ln>
                    <a:solidFill>
                      <a:srgbClr val="008080"/>
                    </a:solidFill>
                    <a:effectLst/>
                    <a:uLnTx/>
                    <a:uFillTx/>
                    <a:latin typeface="CiscoSans ExtraLight" charset="0"/>
                    <a:ea typeface="CiscoSans ExtraLight" charset="0"/>
                    <a:cs typeface="CiscoSans ExtraLight" charset="0"/>
                  </a:rPr>
                  <a:t>Cisco ESA</a:t>
                </a:r>
              </a:p>
            </p:txBody>
          </p:sp>
        </p:grpSp>
        <p:pic>
          <p:nvPicPr>
            <p:cNvPr id="453" name="Picture 452"/>
            <p:cNvPicPr>
              <a:picLocks noChangeAspect="1"/>
            </p:cNvPicPr>
            <p:nvPr/>
          </p:nvPicPr>
          <p:blipFill>
            <a:blip r:embed="rId58"/>
            <a:stretch>
              <a:fillRect/>
            </a:stretch>
          </p:blipFill>
          <p:spPr>
            <a:xfrm>
              <a:off x="6584284" y="2314417"/>
              <a:ext cx="127313" cy="63656"/>
            </a:xfrm>
            <a:prstGeom prst="ellipse">
              <a:avLst/>
            </a:prstGeom>
          </p:spPr>
        </p:pic>
        <p:pic>
          <p:nvPicPr>
            <p:cNvPr id="454" name="Picture 453"/>
            <p:cNvPicPr>
              <a:picLocks noChangeAspect="1"/>
            </p:cNvPicPr>
            <p:nvPr/>
          </p:nvPicPr>
          <p:blipFill>
            <a:blip r:embed="rId60"/>
            <a:stretch>
              <a:fillRect/>
            </a:stretch>
          </p:blipFill>
          <p:spPr>
            <a:xfrm>
              <a:off x="6525015" y="2515571"/>
              <a:ext cx="169936" cy="45719"/>
            </a:xfrm>
            <a:prstGeom prst="rect">
              <a:avLst/>
            </a:prstGeom>
          </p:spPr>
        </p:pic>
      </p:grpSp>
      <p:sp>
        <p:nvSpPr>
          <p:cNvPr id="455" name="Oval 454"/>
          <p:cNvSpPr/>
          <p:nvPr/>
        </p:nvSpPr>
        <p:spPr>
          <a:xfrm>
            <a:off x="4069917" y="1811488"/>
            <a:ext cx="282218" cy="133518"/>
          </a:xfrm>
          <a:prstGeom prst="ellipse">
            <a:avLst/>
          </a:prstGeom>
          <a:solidFill>
            <a:schemeClr val="bg1"/>
          </a:solidFill>
          <a:ln w="9525"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u="none" strike="noStrike" kern="1200" cap="none" spc="0" normalizeH="0" baseline="0" noProof="0" dirty="0" err="1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pxGrid</a:t>
            </a:r>
            <a:endParaRPr kumimoji="0" lang="en-US" sz="500" u="none" strike="noStrike" kern="1200" cap="none" spc="0" normalizeH="0" baseline="0" noProof="0" dirty="0">
              <a:ln>
                <a:noFill/>
              </a:ln>
              <a:solidFill>
                <a:srgbClr val="008080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461" name="Oval 460"/>
          <p:cNvSpPr/>
          <p:nvPr/>
        </p:nvSpPr>
        <p:spPr>
          <a:xfrm>
            <a:off x="4397763" y="1749198"/>
            <a:ext cx="218626" cy="105706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462" name="Group 461"/>
          <p:cNvGrpSpPr/>
          <p:nvPr/>
        </p:nvGrpSpPr>
        <p:grpSpPr>
          <a:xfrm>
            <a:off x="180720" y="4293929"/>
            <a:ext cx="165133" cy="165133"/>
            <a:chOff x="7775816" y="5655489"/>
            <a:chExt cx="509582" cy="509582"/>
          </a:xfrm>
        </p:grpSpPr>
        <p:sp>
          <p:nvSpPr>
            <p:cNvPr id="463" name="Oval 462"/>
            <p:cNvSpPr/>
            <p:nvPr/>
          </p:nvSpPr>
          <p:spPr>
            <a:xfrm>
              <a:off x="7775816" y="5655489"/>
              <a:ext cx="509582" cy="509582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rgbClr val="0070C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08610" rIns="51435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464" name="Freeform 11"/>
            <p:cNvSpPr>
              <a:spLocks noEditPoints="1"/>
            </p:cNvSpPr>
            <p:nvPr/>
          </p:nvSpPr>
          <p:spPr bwMode="auto">
            <a:xfrm>
              <a:off x="7821238" y="5798872"/>
              <a:ext cx="428389" cy="249977"/>
            </a:xfrm>
            <a:custGeom>
              <a:avLst/>
              <a:gdLst>
                <a:gd name="T0" fmla="*/ 109 w 239"/>
                <a:gd name="T1" fmla="*/ 16 h 139"/>
                <a:gd name="T2" fmla="*/ 127 w 239"/>
                <a:gd name="T3" fmla="*/ 16 h 139"/>
                <a:gd name="T4" fmla="*/ 129 w 239"/>
                <a:gd name="T5" fmla="*/ 12 h 139"/>
                <a:gd name="T6" fmla="*/ 159 w 239"/>
                <a:gd name="T7" fmla="*/ 9 h 139"/>
                <a:gd name="T8" fmla="*/ 168 w 239"/>
                <a:gd name="T9" fmla="*/ 18 h 139"/>
                <a:gd name="T10" fmla="*/ 171 w 239"/>
                <a:gd name="T11" fmla="*/ 20 h 139"/>
                <a:gd name="T12" fmla="*/ 197 w 239"/>
                <a:gd name="T13" fmla="*/ 29 h 139"/>
                <a:gd name="T14" fmla="*/ 217 w 239"/>
                <a:gd name="T15" fmla="*/ 46 h 139"/>
                <a:gd name="T16" fmla="*/ 226 w 239"/>
                <a:gd name="T17" fmla="*/ 112 h 139"/>
                <a:gd name="T18" fmla="*/ 173 w 239"/>
                <a:gd name="T19" fmla="*/ 135 h 139"/>
                <a:gd name="T20" fmla="*/ 132 w 239"/>
                <a:gd name="T21" fmla="*/ 95 h 139"/>
                <a:gd name="T22" fmla="*/ 131 w 239"/>
                <a:gd name="T23" fmla="*/ 93 h 139"/>
                <a:gd name="T24" fmla="*/ 104 w 239"/>
                <a:gd name="T25" fmla="*/ 93 h 139"/>
                <a:gd name="T26" fmla="*/ 104 w 239"/>
                <a:gd name="T27" fmla="*/ 96 h 139"/>
                <a:gd name="T28" fmla="*/ 47 w 239"/>
                <a:gd name="T29" fmla="*/ 135 h 139"/>
                <a:gd name="T30" fmla="*/ 2 w 239"/>
                <a:gd name="T31" fmla="*/ 90 h 139"/>
                <a:gd name="T32" fmla="*/ 19 w 239"/>
                <a:gd name="T33" fmla="*/ 46 h 139"/>
                <a:gd name="T34" fmla="*/ 42 w 239"/>
                <a:gd name="T35" fmla="*/ 28 h 139"/>
                <a:gd name="T36" fmla="*/ 64 w 239"/>
                <a:gd name="T37" fmla="*/ 20 h 139"/>
                <a:gd name="T38" fmla="*/ 67 w 239"/>
                <a:gd name="T39" fmla="*/ 18 h 139"/>
                <a:gd name="T40" fmla="*/ 76 w 239"/>
                <a:gd name="T41" fmla="*/ 10 h 139"/>
                <a:gd name="T42" fmla="*/ 108 w 239"/>
                <a:gd name="T43" fmla="*/ 15 h 139"/>
                <a:gd name="T44" fmla="*/ 109 w 239"/>
                <a:gd name="T45" fmla="*/ 16 h 139"/>
                <a:gd name="T46" fmla="*/ 19 w 239"/>
                <a:gd name="T47" fmla="*/ 84 h 139"/>
                <a:gd name="T48" fmla="*/ 53 w 239"/>
                <a:gd name="T49" fmla="*/ 119 h 139"/>
                <a:gd name="T50" fmla="*/ 88 w 239"/>
                <a:gd name="T51" fmla="*/ 85 h 139"/>
                <a:gd name="T52" fmla="*/ 55 w 239"/>
                <a:gd name="T53" fmla="*/ 50 h 139"/>
                <a:gd name="T54" fmla="*/ 19 w 239"/>
                <a:gd name="T55" fmla="*/ 84 h 139"/>
                <a:gd name="T56" fmla="*/ 148 w 239"/>
                <a:gd name="T57" fmla="*/ 84 h 139"/>
                <a:gd name="T58" fmla="*/ 183 w 239"/>
                <a:gd name="T59" fmla="*/ 119 h 139"/>
                <a:gd name="T60" fmla="*/ 217 w 239"/>
                <a:gd name="T61" fmla="*/ 83 h 139"/>
                <a:gd name="T62" fmla="*/ 181 w 239"/>
                <a:gd name="T63" fmla="*/ 50 h 139"/>
                <a:gd name="T64" fmla="*/ 148 w 239"/>
                <a:gd name="T65" fmla="*/ 84 h 139"/>
                <a:gd name="T66" fmla="*/ 131 w 239"/>
                <a:gd name="T67" fmla="*/ 70 h 139"/>
                <a:gd name="T68" fmla="*/ 118 w 239"/>
                <a:gd name="T69" fmla="*/ 56 h 139"/>
                <a:gd name="T70" fmla="*/ 104 w 239"/>
                <a:gd name="T71" fmla="*/ 69 h 139"/>
                <a:gd name="T72" fmla="*/ 117 w 239"/>
                <a:gd name="T73" fmla="*/ 83 h 139"/>
                <a:gd name="T74" fmla="*/ 131 w 239"/>
                <a:gd name="T75" fmla="*/ 7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9" h="139">
                  <a:moveTo>
                    <a:pt x="109" y="16"/>
                  </a:moveTo>
                  <a:cubicBezTo>
                    <a:pt x="115" y="13"/>
                    <a:pt x="121" y="13"/>
                    <a:pt x="127" y="16"/>
                  </a:cubicBezTo>
                  <a:cubicBezTo>
                    <a:pt x="128" y="15"/>
                    <a:pt x="128" y="13"/>
                    <a:pt x="129" y="12"/>
                  </a:cubicBezTo>
                  <a:cubicBezTo>
                    <a:pt x="136" y="2"/>
                    <a:pt x="150" y="1"/>
                    <a:pt x="159" y="9"/>
                  </a:cubicBezTo>
                  <a:cubicBezTo>
                    <a:pt x="162" y="12"/>
                    <a:pt x="165" y="15"/>
                    <a:pt x="168" y="18"/>
                  </a:cubicBezTo>
                  <a:cubicBezTo>
                    <a:pt x="169" y="19"/>
                    <a:pt x="170" y="20"/>
                    <a:pt x="171" y="20"/>
                  </a:cubicBezTo>
                  <a:cubicBezTo>
                    <a:pt x="181" y="20"/>
                    <a:pt x="189" y="24"/>
                    <a:pt x="197" y="29"/>
                  </a:cubicBezTo>
                  <a:cubicBezTo>
                    <a:pt x="203" y="35"/>
                    <a:pt x="210" y="40"/>
                    <a:pt x="217" y="46"/>
                  </a:cubicBezTo>
                  <a:cubicBezTo>
                    <a:pt x="235" y="62"/>
                    <a:pt x="239" y="91"/>
                    <a:pt x="226" y="112"/>
                  </a:cubicBezTo>
                  <a:cubicBezTo>
                    <a:pt x="214" y="129"/>
                    <a:pt x="194" y="139"/>
                    <a:pt x="173" y="135"/>
                  </a:cubicBezTo>
                  <a:cubicBezTo>
                    <a:pt x="152" y="131"/>
                    <a:pt x="136" y="116"/>
                    <a:pt x="132" y="95"/>
                  </a:cubicBezTo>
                  <a:cubicBezTo>
                    <a:pt x="132" y="94"/>
                    <a:pt x="131" y="94"/>
                    <a:pt x="131" y="93"/>
                  </a:cubicBezTo>
                  <a:cubicBezTo>
                    <a:pt x="122" y="97"/>
                    <a:pt x="114" y="98"/>
                    <a:pt x="104" y="93"/>
                  </a:cubicBezTo>
                  <a:cubicBezTo>
                    <a:pt x="104" y="94"/>
                    <a:pt x="104" y="95"/>
                    <a:pt x="104" y="96"/>
                  </a:cubicBezTo>
                  <a:cubicBezTo>
                    <a:pt x="98" y="122"/>
                    <a:pt x="72" y="139"/>
                    <a:pt x="47" y="135"/>
                  </a:cubicBezTo>
                  <a:cubicBezTo>
                    <a:pt x="23" y="132"/>
                    <a:pt x="5" y="114"/>
                    <a:pt x="2" y="90"/>
                  </a:cubicBezTo>
                  <a:cubicBezTo>
                    <a:pt x="0" y="73"/>
                    <a:pt x="6" y="58"/>
                    <a:pt x="19" y="46"/>
                  </a:cubicBezTo>
                  <a:cubicBezTo>
                    <a:pt x="26" y="40"/>
                    <a:pt x="34" y="34"/>
                    <a:pt x="42" y="28"/>
                  </a:cubicBezTo>
                  <a:cubicBezTo>
                    <a:pt x="48" y="23"/>
                    <a:pt x="56" y="20"/>
                    <a:pt x="64" y="20"/>
                  </a:cubicBezTo>
                  <a:cubicBezTo>
                    <a:pt x="65" y="20"/>
                    <a:pt x="67" y="19"/>
                    <a:pt x="67" y="18"/>
                  </a:cubicBezTo>
                  <a:cubicBezTo>
                    <a:pt x="70" y="16"/>
                    <a:pt x="73" y="13"/>
                    <a:pt x="76" y="10"/>
                  </a:cubicBezTo>
                  <a:cubicBezTo>
                    <a:pt x="87" y="0"/>
                    <a:pt x="101" y="2"/>
                    <a:pt x="108" y="15"/>
                  </a:cubicBezTo>
                  <a:cubicBezTo>
                    <a:pt x="108" y="15"/>
                    <a:pt x="109" y="15"/>
                    <a:pt x="109" y="16"/>
                  </a:cubicBezTo>
                  <a:close/>
                  <a:moveTo>
                    <a:pt x="19" y="84"/>
                  </a:moveTo>
                  <a:cubicBezTo>
                    <a:pt x="19" y="103"/>
                    <a:pt x="34" y="119"/>
                    <a:pt x="53" y="119"/>
                  </a:cubicBezTo>
                  <a:cubicBezTo>
                    <a:pt x="72" y="119"/>
                    <a:pt x="88" y="104"/>
                    <a:pt x="88" y="85"/>
                  </a:cubicBezTo>
                  <a:cubicBezTo>
                    <a:pt x="88" y="66"/>
                    <a:pt x="73" y="50"/>
                    <a:pt x="55" y="50"/>
                  </a:cubicBezTo>
                  <a:cubicBezTo>
                    <a:pt x="35" y="50"/>
                    <a:pt x="19" y="64"/>
                    <a:pt x="19" y="84"/>
                  </a:cubicBezTo>
                  <a:close/>
                  <a:moveTo>
                    <a:pt x="148" y="84"/>
                  </a:moveTo>
                  <a:cubicBezTo>
                    <a:pt x="148" y="104"/>
                    <a:pt x="163" y="119"/>
                    <a:pt x="183" y="119"/>
                  </a:cubicBezTo>
                  <a:cubicBezTo>
                    <a:pt x="203" y="118"/>
                    <a:pt x="217" y="102"/>
                    <a:pt x="217" y="83"/>
                  </a:cubicBezTo>
                  <a:cubicBezTo>
                    <a:pt x="216" y="64"/>
                    <a:pt x="200" y="49"/>
                    <a:pt x="181" y="50"/>
                  </a:cubicBezTo>
                  <a:cubicBezTo>
                    <a:pt x="163" y="50"/>
                    <a:pt x="147" y="66"/>
                    <a:pt x="148" y="84"/>
                  </a:cubicBezTo>
                  <a:close/>
                  <a:moveTo>
                    <a:pt x="131" y="70"/>
                  </a:moveTo>
                  <a:cubicBezTo>
                    <a:pt x="131" y="62"/>
                    <a:pt x="126" y="56"/>
                    <a:pt x="118" y="56"/>
                  </a:cubicBezTo>
                  <a:cubicBezTo>
                    <a:pt x="110" y="55"/>
                    <a:pt x="104" y="62"/>
                    <a:pt x="104" y="69"/>
                  </a:cubicBezTo>
                  <a:cubicBezTo>
                    <a:pt x="104" y="77"/>
                    <a:pt x="110" y="83"/>
                    <a:pt x="117" y="83"/>
                  </a:cubicBezTo>
                  <a:cubicBezTo>
                    <a:pt x="125" y="83"/>
                    <a:pt x="131" y="77"/>
                    <a:pt x="131" y="70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51435" rIns="51435" bIns="2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grpSp>
        <p:nvGrpSpPr>
          <p:cNvPr id="465" name="Group 464"/>
          <p:cNvGrpSpPr/>
          <p:nvPr/>
        </p:nvGrpSpPr>
        <p:grpSpPr>
          <a:xfrm>
            <a:off x="2529297" y="2501559"/>
            <a:ext cx="147194" cy="147194"/>
            <a:chOff x="7775816" y="5655489"/>
            <a:chExt cx="509582" cy="509582"/>
          </a:xfrm>
        </p:grpSpPr>
        <p:sp>
          <p:nvSpPr>
            <p:cNvPr id="466" name="Oval 465"/>
            <p:cNvSpPr/>
            <p:nvPr/>
          </p:nvSpPr>
          <p:spPr>
            <a:xfrm>
              <a:off x="7775816" y="5655489"/>
              <a:ext cx="509582" cy="50958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070C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08610" rIns="51435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467" name="Freeform 11"/>
            <p:cNvSpPr>
              <a:spLocks noEditPoints="1"/>
            </p:cNvSpPr>
            <p:nvPr/>
          </p:nvSpPr>
          <p:spPr bwMode="auto">
            <a:xfrm>
              <a:off x="7821238" y="5798872"/>
              <a:ext cx="428389" cy="249977"/>
            </a:xfrm>
            <a:custGeom>
              <a:avLst/>
              <a:gdLst>
                <a:gd name="T0" fmla="*/ 109 w 239"/>
                <a:gd name="T1" fmla="*/ 16 h 139"/>
                <a:gd name="T2" fmla="*/ 127 w 239"/>
                <a:gd name="T3" fmla="*/ 16 h 139"/>
                <a:gd name="T4" fmla="*/ 129 w 239"/>
                <a:gd name="T5" fmla="*/ 12 h 139"/>
                <a:gd name="T6" fmla="*/ 159 w 239"/>
                <a:gd name="T7" fmla="*/ 9 h 139"/>
                <a:gd name="T8" fmla="*/ 168 w 239"/>
                <a:gd name="T9" fmla="*/ 18 h 139"/>
                <a:gd name="T10" fmla="*/ 171 w 239"/>
                <a:gd name="T11" fmla="*/ 20 h 139"/>
                <a:gd name="T12" fmla="*/ 197 w 239"/>
                <a:gd name="T13" fmla="*/ 29 h 139"/>
                <a:gd name="T14" fmla="*/ 217 w 239"/>
                <a:gd name="T15" fmla="*/ 46 h 139"/>
                <a:gd name="T16" fmla="*/ 226 w 239"/>
                <a:gd name="T17" fmla="*/ 112 h 139"/>
                <a:gd name="T18" fmla="*/ 173 w 239"/>
                <a:gd name="T19" fmla="*/ 135 h 139"/>
                <a:gd name="T20" fmla="*/ 132 w 239"/>
                <a:gd name="T21" fmla="*/ 95 h 139"/>
                <a:gd name="T22" fmla="*/ 131 w 239"/>
                <a:gd name="T23" fmla="*/ 93 h 139"/>
                <a:gd name="T24" fmla="*/ 104 w 239"/>
                <a:gd name="T25" fmla="*/ 93 h 139"/>
                <a:gd name="T26" fmla="*/ 104 w 239"/>
                <a:gd name="T27" fmla="*/ 96 h 139"/>
                <a:gd name="T28" fmla="*/ 47 w 239"/>
                <a:gd name="T29" fmla="*/ 135 h 139"/>
                <a:gd name="T30" fmla="*/ 2 w 239"/>
                <a:gd name="T31" fmla="*/ 90 h 139"/>
                <a:gd name="T32" fmla="*/ 19 w 239"/>
                <a:gd name="T33" fmla="*/ 46 h 139"/>
                <a:gd name="T34" fmla="*/ 42 w 239"/>
                <a:gd name="T35" fmla="*/ 28 h 139"/>
                <a:gd name="T36" fmla="*/ 64 w 239"/>
                <a:gd name="T37" fmla="*/ 20 h 139"/>
                <a:gd name="T38" fmla="*/ 67 w 239"/>
                <a:gd name="T39" fmla="*/ 18 h 139"/>
                <a:gd name="T40" fmla="*/ 76 w 239"/>
                <a:gd name="T41" fmla="*/ 10 h 139"/>
                <a:gd name="T42" fmla="*/ 108 w 239"/>
                <a:gd name="T43" fmla="*/ 15 h 139"/>
                <a:gd name="T44" fmla="*/ 109 w 239"/>
                <a:gd name="T45" fmla="*/ 16 h 139"/>
                <a:gd name="T46" fmla="*/ 19 w 239"/>
                <a:gd name="T47" fmla="*/ 84 h 139"/>
                <a:gd name="T48" fmla="*/ 53 w 239"/>
                <a:gd name="T49" fmla="*/ 119 h 139"/>
                <a:gd name="T50" fmla="*/ 88 w 239"/>
                <a:gd name="T51" fmla="*/ 85 h 139"/>
                <a:gd name="T52" fmla="*/ 55 w 239"/>
                <a:gd name="T53" fmla="*/ 50 h 139"/>
                <a:gd name="T54" fmla="*/ 19 w 239"/>
                <a:gd name="T55" fmla="*/ 84 h 139"/>
                <a:gd name="T56" fmla="*/ 148 w 239"/>
                <a:gd name="T57" fmla="*/ 84 h 139"/>
                <a:gd name="T58" fmla="*/ 183 w 239"/>
                <a:gd name="T59" fmla="*/ 119 h 139"/>
                <a:gd name="T60" fmla="*/ 217 w 239"/>
                <a:gd name="T61" fmla="*/ 83 h 139"/>
                <a:gd name="T62" fmla="*/ 181 w 239"/>
                <a:gd name="T63" fmla="*/ 50 h 139"/>
                <a:gd name="T64" fmla="*/ 148 w 239"/>
                <a:gd name="T65" fmla="*/ 84 h 139"/>
                <a:gd name="T66" fmla="*/ 131 w 239"/>
                <a:gd name="T67" fmla="*/ 70 h 139"/>
                <a:gd name="T68" fmla="*/ 118 w 239"/>
                <a:gd name="T69" fmla="*/ 56 h 139"/>
                <a:gd name="T70" fmla="*/ 104 w 239"/>
                <a:gd name="T71" fmla="*/ 69 h 139"/>
                <a:gd name="T72" fmla="*/ 117 w 239"/>
                <a:gd name="T73" fmla="*/ 83 h 139"/>
                <a:gd name="T74" fmla="*/ 131 w 239"/>
                <a:gd name="T75" fmla="*/ 7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9" h="139">
                  <a:moveTo>
                    <a:pt x="109" y="16"/>
                  </a:moveTo>
                  <a:cubicBezTo>
                    <a:pt x="115" y="13"/>
                    <a:pt x="121" y="13"/>
                    <a:pt x="127" y="16"/>
                  </a:cubicBezTo>
                  <a:cubicBezTo>
                    <a:pt x="128" y="15"/>
                    <a:pt x="128" y="13"/>
                    <a:pt x="129" y="12"/>
                  </a:cubicBezTo>
                  <a:cubicBezTo>
                    <a:pt x="136" y="2"/>
                    <a:pt x="150" y="1"/>
                    <a:pt x="159" y="9"/>
                  </a:cubicBezTo>
                  <a:cubicBezTo>
                    <a:pt x="162" y="12"/>
                    <a:pt x="165" y="15"/>
                    <a:pt x="168" y="18"/>
                  </a:cubicBezTo>
                  <a:cubicBezTo>
                    <a:pt x="169" y="19"/>
                    <a:pt x="170" y="20"/>
                    <a:pt x="171" y="20"/>
                  </a:cubicBezTo>
                  <a:cubicBezTo>
                    <a:pt x="181" y="20"/>
                    <a:pt x="189" y="24"/>
                    <a:pt x="197" y="29"/>
                  </a:cubicBezTo>
                  <a:cubicBezTo>
                    <a:pt x="203" y="35"/>
                    <a:pt x="210" y="40"/>
                    <a:pt x="217" y="46"/>
                  </a:cubicBezTo>
                  <a:cubicBezTo>
                    <a:pt x="235" y="62"/>
                    <a:pt x="239" y="91"/>
                    <a:pt x="226" y="112"/>
                  </a:cubicBezTo>
                  <a:cubicBezTo>
                    <a:pt x="214" y="129"/>
                    <a:pt x="194" y="139"/>
                    <a:pt x="173" y="135"/>
                  </a:cubicBezTo>
                  <a:cubicBezTo>
                    <a:pt x="152" y="131"/>
                    <a:pt x="136" y="116"/>
                    <a:pt x="132" y="95"/>
                  </a:cubicBezTo>
                  <a:cubicBezTo>
                    <a:pt x="132" y="94"/>
                    <a:pt x="131" y="94"/>
                    <a:pt x="131" y="93"/>
                  </a:cubicBezTo>
                  <a:cubicBezTo>
                    <a:pt x="122" y="97"/>
                    <a:pt x="114" y="98"/>
                    <a:pt x="104" y="93"/>
                  </a:cubicBezTo>
                  <a:cubicBezTo>
                    <a:pt x="104" y="94"/>
                    <a:pt x="104" y="95"/>
                    <a:pt x="104" y="96"/>
                  </a:cubicBezTo>
                  <a:cubicBezTo>
                    <a:pt x="98" y="122"/>
                    <a:pt x="72" y="139"/>
                    <a:pt x="47" y="135"/>
                  </a:cubicBezTo>
                  <a:cubicBezTo>
                    <a:pt x="23" y="132"/>
                    <a:pt x="5" y="114"/>
                    <a:pt x="2" y="90"/>
                  </a:cubicBezTo>
                  <a:cubicBezTo>
                    <a:pt x="0" y="73"/>
                    <a:pt x="6" y="58"/>
                    <a:pt x="19" y="46"/>
                  </a:cubicBezTo>
                  <a:cubicBezTo>
                    <a:pt x="26" y="40"/>
                    <a:pt x="34" y="34"/>
                    <a:pt x="42" y="28"/>
                  </a:cubicBezTo>
                  <a:cubicBezTo>
                    <a:pt x="48" y="23"/>
                    <a:pt x="56" y="20"/>
                    <a:pt x="64" y="20"/>
                  </a:cubicBezTo>
                  <a:cubicBezTo>
                    <a:pt x="65" y="20"/>
                    <a:pt x="67" y="19"/>
                    <a:pt x="67" y="18"/>
                  </a:cubicBezTo>
                  <a:cubicBezTo>
                    <a:pt x="70" y="16"/>
                    <a:pt x="73" y="13"/>
                    <a:pt x="76" y="10"/>
                  </a:cubicBezTo>
                  <a:cubicBezTo>
                    <a:pt x="87" y="0"/>
                    <a:pt x="101" y="2"/>
                    <a:pt x="108" y="15"/>
                  </a:cubicBezTo>
                  <a:cubicBezTo>
                    <a:pt x="108" y="15"/>
                    <a:pt x="109" y="15"/>
                    <a:pt x="109" y="16"/>
                  </a:cubicBezTo>
                  <a:close/>
                  <a:moveTo>
                    <a:pt x="19" y="84"/>
                  </a:moveTo>
                  <a:cubicBezTo>
                    <a:pt x="19" y="103"/>
                    <a:pt x="34" y="119"/>
                    <a:pt x="53" y="119"/>
                  </a:cubicBezTo>
                  <a:cubicBezTo>
                    <a:pt x="72" y="119"/>
                    <a:pt x="88" y="104"/>
                    <a:pt x="88" y="85"/>
                  </a:cubicBezTo>
                  <a:cubicBezTo>
                    <a:pt x="88" y="66"/>
                    <a:pt x="73" y="50"/>
                    <a:pt x="55" y="50"/>
                  </a:cubicBezTo>
                  <a:cubicBezTo>
                    <a:pt x="35" y="50"/>
                    <a:pt x="19" y="64"/>
                    <a:pt x="19" y="84"/>
                  </a:cubicBezTo>
                  <a:close/>
                  <a:moveTo>
                    <a:pt x="148" y="84"/>
                  </a:moveTo>
                  <a:cubicBezTo>
                    <a:pt x="148" y="104"/>
                    <a:pt x="163" y="119"/>
                    <a:pt x="183" y="119"/>
                  </a:cubicBezTo>
                  <a:cubicBezTo>
                    <a:pt x="203" y="118"/>
                    <a:pt x="217" y="102"/>
                    <a:pt x="217" y="83"/>
                  </a:cubicBezTo>
                  <a:cubicBezTo>
                    <a:pt x="216" y="64"/>
                    <a:pt x="200" y="49"/>
                    <a:pt x="181" y="50"/>
                  </a:cubicBezTo>
                  <a:cubicBezTo>
                    <a:pt x="163" y="50"/>
                    <a:pt x="147" y="66"/>
                    <a:pt x="148" y="84"/>
                  </a:cubicBezTo>
                  <a:close/>
                  <a:moveTo>
                    <a:pt x="131" y="70"/>
                  </a:moveTo>
                  <a:cubicBezTo>
                    <a:pt x="131" y="62"/>
                    <a:pt x="126" y="56"/>
                    <a:pt x="118" y="56"/>
                  </a:cubicBezTo>
                  <a:cubicBezTo>
                    <a:pt x="110" y="55"/>
                    <a:pt x="104" y="62"/>
                    <a:pt x="104" y="69"/>
                  </a:cubicBezTo>
                  <a:cubicBezTo>
                    <a:pt x="104" y="77"/>
                    <a:pt x="110" y="83"/>
                    <a:pt x="117" y="83"/>
                  </a:cubicBezTo>
                  <a:cubicBezTo>
                    <a:pt x="125" y="83"/>
                    <a:pt x="131" y="77"/>
                    <a:pt x="131" y="70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51435" rIns="51435" bIns="2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pic>
        <p:nvPicPr>
          <p:cNvPr id="468" name="Picture 467"/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3141651" y="586874"/>
            <a:ext cx="95485" cy="47742"/>
          </a:xfrm>
          <a:prstGeom prst="ellipse">
            <a:avLst/>
          </a:prstGeom>
        </p:spPr>
      </p:pic>
      <p:sp>
        <p:nvSpPr>
          <p:cNvPr id="426" name="TextBox 425"/>
          <p:cNvSpPr txBox="1"/>
          <p:nvPr/>
        </p:nvSpPr>
        <p:spPr>
          <a:xfrm>
            <a:off x="5082138" y="4041347"/>
            <a:ext cx="151273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Rapid Threat Containment</a:t>
            </a:r>
          </a:p>
        </p:txBody>
      </p:sp>
      <p:sp>
        <p:nvSpPr>
          <p:cNvPr id="2" name="Arrow: Bent-Up 1"/>
          <p:cNvSpPr/>
          <p:nvPr/>
        </p:nvSpPr>
        <p:spPr>
          <a:xfrm flipH="1">
            <a:off x="2444097" y="2969336"/>
            <a:ext cx="1581293" cy="669846"/>
          </a:xfrm>
          <a:prstGeom prst="bentUpArrow">
            <a:avLst>
              <a:gd name="adj1" fmla="val 18616"/>
              <a:gd name="adj2" fmla="val 18880"/>
              <a:gd name="adj3" fmla="val 2500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831" tIns="149831" rIns="149831" bIns="149831" numCol="1" spcCol="1270" anchor="ctr" anchorCtr="0">
            <a:noAutofit/>
          </a:bodyPr>
          <a:lstStyle/>
          <a:p>
            <a:pPr marL="0" marR="0" lvl="0" indent="0" algn="ctr" defTabSz="85001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pic>
        <p:nvPicPr>
          <p:cNvPr id="436" name="Picture 435"/>
          <p:cNvPicPr>
            <a:picLocks noChangeAspect="1"/>
          </p:cNvPicPr>
          <p:nvPr/>
        </p:nvPicPr>
        <p:blipFill>
          <a:blip r:embed="rId50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6200000">
            <a:off x="6841157" y="2653135"/>
            <a:ext cx="164261" cy="163997"/>
          </a:xfrm>
          <a:prstGeom prst="rect">
            <a:avLst/>
          </a:prstGeom>
          <a:ln>
            <a:noFill/>
          </a:ln>
        </p:spPr>
      </p:pic>
      <p:sp>
        <p:nvSpPr>
          <p:cNvPr id="440" name="TextBox 439"/>
          <p:cNvSpPr txBox="1"/>
          <p:nvPr/>
        </p:nvSpPr>
        <p:spPr>
          <a:xfrm>
            <a:off x="3618944" y="2927668"/>
            <a:ext cx="151273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Network      Devices</a:t>
            </a:r>
          </a:p>
        </p:txBody>
      </p:sp>
      <p:sp>
        <p:nvSpPr>
          <p:cNvPr id="441" name="TextBox 440"/>
          <p:cNvSpPr txBox="1"/>
          <p:nvPr/>
        </p:nvSpPr>
        <p:spPr>
          <a:xfrm>
            <a:off x="2619726" y="3987510"/>
            <a:ext cx="358907" cy="12311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AAA</a:t>
            </a:r>
          </a:p>
        </p:txBody>
      </p:sp>
      <p:cxnSp>
        <p:nvCxnSpPr>
          <p:cNvPr id="470" name="Connector: Elbow 469"/>
          <p:cNvCxnSpPr>
            <a:cxnSpLocks/>
            <a:stCxn id="47" idx="3"/>
            <a:endCxn id="71" idx="1"/>
          </p:cNvCxnSpPr>
          <p:nvPr/>
        </p:nvCxnSpPr>
        <p:spPr>
          <a:xfrm flipV="1">
            <a:off x="2092261" y="1040861"/>
            <a:ext cx="1613987" cy="10542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4" name="TextBox 443"/>
          <p:cNvSpPr txBox="1"/>
          <p:nvPr/>
        </p:nvSpPr>
        <p:spPr>
          <a:xfrm>
            <a:off x="2532223" y="3512629"/>
            <a:ext cx="1446917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RADIUS ACCEPT/REJECT/POLICY</a:t>
            </a:r>
          </a:p>
        </p:txBody>
      </p:sp>
      <p:grpSp>
        <p:nvGrpSpPr>
          <p:cNvPr id="471" name="Group 470"/>
          <p:cNvGrpSpPr/>
          <p:nvPr/>
        </p:nvGrpSpPr>
        <p:grpSpPr>
          <a:xfrm>
            <a:off x="4459869" y="3450392"/>
            <a:ext cx="2229089" cy="251019"/>
            <a:chOff x="5946491" y="4600523"/>
            <a:chExt cx="2972119" cy="334692"/>
          </a:xfrm>
        </p:grpSpPr>
        <p:sp>
          <p:nvSpPr>
            <p:cNvPr id="355" name="Arrow: Up 354"/>
            <p:cNvSpPr/>
            <p:nvPr/>
          </p:nvSpPr>
          <p:spPr>
            <a:xfrm rot="5400000">
              <a:off x="7265205" y="3281809"/>
              <a:ext cx="334692" cy="2972119"/>
            </a:xfrm>
            <a:prstGeom prst="upArrow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9831" tIns="149831" rIns="149831" bIns="149831" numCol="1" spcCol="127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50011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445" name="TextBox 444"/>
            <p:cNvSpPr txBox="1"/>
            <p:nvPr/>
          </p:nvSpPr>
          <p:spPr>
            <a:xfrm>
              <a:off x="6160227" y="4673346"/>
              <a:ext cx="2440818" cy="16414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Endpoint Identity, Context and Policy</a:t>
              </a:r>
            </a:p>
          </p:txBody>
        </p:sp>
      </p:grpSp>
      <p:cxnSp>
        <p:nvCxnSpPr>
          <p:cNvPr id="356" name="Connector: Elbow 355"/>
          <p:cNvCxnSpPr>
            <a:cxnSpLocks/>
          </p:cNvCxnSpPr>
          <p:nvPr/>
        </p:nvCxnSpPr>
        <p:spPr>
          <a:xfrm rot="5400000">
            <a:off x="4817128" y="3036595"/>
            <a:ext cx="1208879" cy="887552"/>
          </a:xfrm>
          <a:prstGeom prst="bentConnector3">
            <a:avLst>
              <a:gd name="adj1" fmla="val 99639"/>
            </a:avLst>
          </a:prstGeom>
          <a:ln w="57150">
            <a:solidFill>
              <a:srgbClr val="FF0000">
                <a:alpha val="5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3" name="TextBox 472"/>
          <p:cNvSpPr txBox="1"/>
          <p:nvPr/>
        </p:nvSpPr>
        <p:spPr>
          <a:xfrm>
            <a:off x="2729960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75" name="TextBox 474"/>
          <p:cNvSpPr txBox="1"/>
          <p:nvPr/>
        </p:nvSpPr>
        <p:spPr>
          <a:xfrm>
            <a:off x="2909771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76" name="TextBox 475"/>
          <p:cNvSpPr txBox="1"/>
          <p:nvPr/>
        </p:nvSpPr>
        <p:spPr>
          <a:xfrm>
            <a:off x="3062001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78" name="TextBox 477"/>
          <p:cNvSpPr txBox="1"/>
          <p:nvPr/>
        </p:nvSpPr>
        <p:spPr>
          <a:xfrm>
            <a:off x="3261117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SSH</a:t>
            </a:r>
          </a:p>
        </p:txBody>
      </p:sp>
      <p:sp>
        <p:nvSpPr>
          <p:cNvPr id="479" name="TextBox 478"/>
          <p:cNvSpPr txBox="1"/>
          <p:nvPr/>
        </p:nvSpPr>
        <p:spPr>
          <a:xfrm>
            <a:off x="3440607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SMB</a:t>
            </a:r>
          </a:p>
        </p:txBody>
      </p:sp>
      <p:grpSp>
        <p:nvGrpSpPr>
          <p:cNvPr id="228" name="Group 227"/>
          <p:cNvGrpSpPr/>
          <p:nvPr/>
        </p:nvGrpSpPr>
        <p:grpSpPr>
          <a:xfrm>
            <a:off x="3604665" y="2640459"/>
            <a:ext cx="168826" cy="168826"/>
            <a:chOff x="3601944" y="2640459"/>
            <a:chExt cx="168826" cy="168826"/>
          </a:xfrm>
        </p:grpSpPr>
        <p:sp>
          <p:nvSpPr>
            <p:cNvPr id="394" name="Freeform: Shape 393"/>
            <p:cNvSpPr/>
            <p:nvPr/>
          </p:nvSpPr>
          <p:spPr>
            <a:xfrm rot="16200000">
              <a:off x="3601944" y="2640459"/>
              <a:ext cx="168826" cy="168826"/>
            </a:xfrm>
            <a:custGeom>
              <a:avLst/>
              <a:gdLst>
                <a:gd name="connsiteX0" fmla="*/ 0 w 1524000"/>
                <a:gd name="connsiteY0" fmla="*/ 762000 h 1524000"/>
                <a:gd name="connsiteX1" fmla="*/ 762000 w 1524000"/>
                <a:gd name="connsiteY1" fmla="*/ 0 h 1524000"/>
                <a:gd name="connsiteX2" fmla="*/ 1524000 w 1524000"/>
                <a:gd name="connsiteY2" fmla="*/ 762000 h 1524000"/>
                <a:gd name="connsiteX3" fmla="*/ 762000 w 1524000"/>
                <a:gd name="connsiteY3" fmla="*/ 1524000 h 1524000"/>
                <a:gd name="connsiteX4" fmla="*/ 0 w 1524000"/>
                <a:gd name="connsiteY4" fmla="*/ 762000 h 152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0" h="1524000">
                  <a:moveTo>
                    <a:pt x="0" y="762000"/>
                  </a:moveTo>
                  <a:cubicBezTo>
                    <a:pt x="0" y="341159"/>
                    <a:pt x="341159" y="0"/>
                    <a:pt x="762000" y="0"/>
                  </a:cubicBezTo>
                  <a:cubicBezTo>
                    <a:pt x="1182841" y="0"/>
                    <a:pt x="1524000" y="341159"/>
                    <a:pt x="1524000" y="762000"/>
                  </a:cubicBezTo>
                  <a:cubicBezTo>
                    <a:pt x="1524000" y="1182841"/>
                    <a:pt x="1182841" y="1524000"/>
                    <a:pt x="762000" y="1524000"/>
                  </a:cubicBezTo>
                  <a:cubicBezTo>
                    <a:pt x="341159" y="1524000"/>
                    <a:pt x="0" y="1182841"/>
                    <a:pt x="0" y="762000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9831" tIns="149831" rIns="149831" bIns="149831" numCol="1" spcCol="1270" anchor="ctr" anchorCtr="0">
              <a:noAutofit/>
            </a:bodyPr>
            <a:lstStyle/>
            <a:p>
              <a:pPr marL="0" marR="0" lvl="0" indent="0" algn="ctr" defTabSz="850011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480" name="TextBox 479"/>
            <p:cNvSpPr txBox="1"/>
            <p:nvPr/>
          </p:nvSpPr>
          <p:spPr>
            <a:xfrm>
              <a:off x="3615368" y="2691633"/>
              <a:ext cx="138742" cy="6155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Web</a:t>
              </a:r>
            </a:p>
          </p:txBody>
        </p:sp>
      </p:grpSp>
      <p:sp>
        <p:nvSpPr>
          <p:cNvPr id="481" name="TextBox 480"/>
          <p:cNvSpPr txBox="1"/>
          <p:nvPr/>
        </p:nvSpPr>
        <p:spPr>
          <a:xfrm>
            <a:off x="4196927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82" name="TextBox 481"/>
          <p:cNvSpPr txBox="1"/>
          <p:nvPr/>
        </p:nvSpPr>
        <p:spPr>
          <a:xfrm>
            <a:off x="4378079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83" name="TextBox 482"/>
          <p:cNvSpPr txBox="1"/>
          <p:nvPr/>
        </p:nvSpPr>
        <p:spPr>
          <a:xfrm>
            <a:off x="4546333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84" name="TextBox 483"/>
          <p:cNvSpPr txBox="1"/>
          <p:nvPr/>
        </p:nvSpPr>
        <p:spPr>
          <a:xfrm>
            <a:off x="4720782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85" name="TextBox 484"/>
          <p:cNvSpPr txBox="1"/>
          <p:nvPr/>
        </p:nvSpPr>
        <p:spPr>
          <a:xfrm>
            <a:off x="4892577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86" name="TextBox 485"/>
          <p:cNvSpPr txBox="1"/>
          <p:nvPr/>
        </p:nvSpPr>
        <p:spPr>
          <a:xfrm>
            <a:off x="5070068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87" name="TextBox 486"/>
          <p:cNvSpPr txBox="1"/>
          <p:nvPr/>
        </p:nvSpPr>
        <p:spPr>
          <a:xfrm>
            <a:off x="5242761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88" name="TextBox 487"/>
          <p:cNvSpPr txBox="1"/>
          <p:nvPr/>
        </p:nvSpPr>
        <p:spPr>
          <a:xfrm>
            <a:off x="5423586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90" name="TextBox 489"/>
          <p:cNvSpPr txBox="1"/>
          <p:nvPr/>
        </p:nvSpPr>
        <p:spPr>
          <a:xfrm>
            <a:off x="5869074" y="2232577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89" name="TextBox 488"/>
          <p:cNvSpPr txBox="1"/>
          <p:nvPr/>
        </p:nvSpPr>
        <p:spPr>
          <a:xfrm>
            <a:off x="5604821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91" name="TextBox 490"/>
          <p:cNvSpPr txBox="1"/>
          <p:nvPr/>
        </p:nvSpPr>
        <p:spPr>
          <a:xfrm>
            <a:off x="5969307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92" name="TextBox 491"/>
          <p:cNvSpPr txBox="1"/>
          <p:nvPr/>
        </p:nvSpPr>
        <p:spPr>
          <a:xfrm>
            <a:off x="6131079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93" name="TextBox 492"/>
          <p:cNvSpPr txBox="1"/>
          <p:nvPr/>
        </p:nvSpPr>
        <p:spPr>
          <a:xfrm>
            <a:off x="6312042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94" name="TextBox 493"/>
          <p:cNvSpPr txBox="1"/>
          <p:nvPr/>
        </p:nvSpPr>
        <p:spPr>
          <a:xfrm>
            <a:off x="6492361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95" name="TextBox 494"/>
          <p:cNvSpPr txBox="1"/>
          <p:nvPr/>
        </p:nvSpPr>
        <p:spPr>
          <a:xfrm>
            <a:off x="6668255" y="2691633"/>
            <a:ext cx="138742" cy="6155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Web</a:t>
            </a:r>
          </a:p>
        </p:txBody>
      </p:sp>
      <p:sp>
        <p:nvSpPr>
          <p:cNvPr id="496" name="TextBox 495"/>
          <p:cNvSpPr txBox="1"/>
          <p:nvPr/>
        </p:nvSpPr>
        <p:spPr>
          <a:xfrm>
            <a:off x="5661172" y="4505928"/>
            <a:ext cx="7420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Endpoin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   Identity &amp;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Context</a:t>
            </a:r>
          </a:p>
        </p:txBody>
      </p:sp>
      <p:grpSp>
        <p:nvGrpSpPr>
          <p:cNvPr id="497" name="Block_Opportunity_Group"/>
          <p:cNvGrpSpPr/>
          <p:nvPr/>
        </p:nvGrpSpPr>
        <p:grpSpPr>
          <a:xfrm>
            <a:off x="5802789" y="2664250"/>
            <a:ext cx="122099" cy="122099"/>
            <a:chOff x="6822684" y="1570849"/>
            <a:chExt cx="389912" cy="389912"/>
          </a:xfrm>
        </p:grpSpPr>
        <p:sp>
          <p:nvSpPr>
            <p:cNvPr id="498" name="Oval 497"/>
            <p:cNvSpPr/>
            <p:nvPr/>
          </p:nvSpPr>
          <p:spPr>
            <a:xfrm>
              <a:off x="6835541" y="1581979"/>
              <a:ext cx="367652" cy="3676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499" name="Malware_Bug_Red_1"/>
            <p:cNvGrpSpPr/>
            <p:nvPr/>
          </p:nvGrpSpPr>
          <p:grpSpPr>
            <a:xfrm rot="1526083">
              <a:off x="6888994" y="1638807"/>
              <a:ext cx="249800" cy="265174"/>
              <a:chOff x="14712090" y="2609581"/>
              <a:chExt cx="469856" cy="505316"/>
            </a:xfrm>
            <a:solidFill>
              <a:srgbClr val="FF0000"/>
            </a:solidFill>
          </p:grpSpPr>
          <p:sp>
            <p:nvSpPr>
              <p:cNvPr id="501" name="Part4"/>
              <p:cNvSpPr>
                <a:spLocks/>
              </p:cNvSpPr>
              <p:nvPr/>
            </p:nvSpPr>
            <p:spPr bwMode="auto">
              <a:xfrm>
                <a:off x="14712090" y="2771925"/>
                <a:ext cx="224955" cy="342972"/>
              </a:xfrm>
              <a:custGeom>
                <a:avLst/>
                <a:gdLst>
                  <a:gd name="T0" fmla="*/ 172 w 172"/>
                  <a:gd name="T1" fmla="*/ 50 h 262"/>
                  <a:gd name="T2" fmla="*/ 96 w 172"/>
                  <a:gd name="T3" fmla="*/ 133 h 262"/>
                  <a:gd name="T4" fmla="*/ 172 w 172"/>
                  <a:gd name="T5" fmla="*/ 216 h 262"/>
                  <a:gd name="T6" fmla="*/ 172 w 172"/>
                  <a:gd name="T7" fmla="*/ 262 h 262"/>
                  <a:gd name="T8" fmla="*/ 75 w 172"/>
                  <a:gd name="T9" fmla="*/ 181 h 262"/>
                  <a:gd name="T10" fmla="*/ 30 w 172"/>
                  <a:gd name="T11" fmla="*/ 200 h 262"/>
                  <a:gd name="T12" fmla="*/ 26 w 172"/>
                  <a:gd name="T13" fmla="*/ 202 h 262"/>
                  <a:gd name="T14" fmla="*/ 13 w 172"/>
                  <a:gd name="T15" fmla="*/ 194 h 262"/>
                  <a:gd name="T16" fmla="*/ 21 w 172"/>
                  <a:gd name="T17" fmla="*/ 176 h 262"/>
                  <a:gd name="T18" fmla="*/ 66 w 172"/>
                  <a:gd name="T19" fmla="*/ 156 h 262"/>
                  <a:gd name="T20" fmla="*/ 61 w 172"/>
                  <a:gd name="T21" fmla="*/ 118 h 262"/>
                  <a:gd name="T22" fmla="*/ 13 w 172"/>
                  <a:gd name="T23" fmla="*/ 118 h 262"/>
                  <a:gd name="T24" fmla="*/ 0 w 172"/>
                  <a:gd name="T25" fmla="*/ 105 h 262"/>
                  <a:gd name="T26" fmla="*/ 13 w 172"/>
                  <a:gd name="T27" fmla="*/ 92 h 262"/>
                  <a:gd name="T28" fmla="*/ 61 w 172"/>
                  <a:gd name="T29" fmla="*/ 92 h 262"/>
                  <a:gd name="T30" fmla="*/ 66 w 172"/>
                  <a:gd name="T31" fmla="*/ 53 h 262"/>
                  <a:gd name="T32" fmla="*/ 21 w 172"/>
                  <a:gd name="T33" fmla="*/ 34 h 262"/>
                  <a:gd name="T34" fmla="*/ 13 w 172"/>
                  <a:gd name="T35" fmla="*/ 17 h 262"/>
                  <a:gd name="T36" fmla="*/ 30 w 172"/>
                  <a:gd name="T37" fmla="*/ 10 h 262"/>
                  <a:gd name="T38" fmla="*/ 73 w 172"/>
                  <a:gd name="T39" fmla="*/ 28 h 262"/>
                  <a:gd name="T40" fmla="*/ 86 w 172"/>
                  <a:gd name="T41" fmla="*/ 0 h 262"/>
                  <a:gd name="T42" fmla="*/ 92 w 172"/>
                  <a:gd name="T43" fmla="*/ 4 h 262"/>
                  <a:gd name="T44" fmla="*/ 172 w 172"/>
                  <a:gd name="T45" fmla="*/ 23 h 262"/>
                  <a:gd name="T46" fmla="*/ 172 w 172"/>
                  <a:gd name="T47" fmla="*/ 5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2" h="262">
                    <a:moveTo>
                      <a:pt x="172" y="50"/>
                    </a:moveTo>
                    <a:cubicBezTo>
                      <a:pt x="130" y="53"/>
                      <a:pt x="96" y="89"/>
                      <a:pt x="96" y="133"/>
                    </a:cubicBezTo>
                    <a:cubicBezTo>
                      <a:pt x="96" y="177"/>
                      <a:pt x="130" y="212"/>
                      <a:pt x="172" y="216"/>
                    </a:cubicBezTo>
                    <a:cubicBezTo>
                      <a:pt x="172" y="230"/>
                      <a:pt x="172" y="246"/>
                      <a:pt x="172" y="262"/>
                    </a:cubicBezTo>
                    <a:cubicBezTo>
                      <a:pt x="128" y="247"/>
                      <a:pt x="93" y="222"/>
                      <a:pt x="75" y="181"/>
                    </a:cubicBezTo>
                    <a:cubicBezTo>
                      <a:pt x="75" y="181"/>
                      <a:pt x="75" y="181"/>
                      <a:pt x="30" y="200"/>
                    </a:cubicBezTo>
                    <a:cubicBezTo>
                      <a:pt x="29" y="200"/>
                      <a:pt x="27" y="202"/>
                      <a:pt x="26" y="202"/>
                    </a:cubicBezTo>
                    <a:cubicBezTo>
                      <a:pt x="21" y="202"/>
                      <a:pt x="16" y="198"/>
                      <a:pt x="13" y="194"/>
                    </a:cubicBezTo>
                    <a:cubicBezTo>
                      <a:pt x="10" y="187"/>
                      <a:pt x="13" y="180"/>
                      <a:pt x="21" y="176"/>
                    </a:cubicBezTo>
                    <a:cubicBezTo>
                      <a:pt x="21" y="176"/>
                      <a:pt x="21" y="176"/>
                      <a:pt x="66" y="156"/>
                    </a:cubicBezTo>
                    <a:cubicBezTo>
                      <a:pt x="64" y="145"/>
                      <a:pt x="61" y="132"/>
                      <a:pt x="61" y="118"/>
                    </a:cubicBezTo>
                    <a:cubicBezTo>
                      <a:pt x="61" y="118"/>
                      <a:pt x="61" y="118"/>
                      <a:pt x="13" y="118"/>
                    </a:cubicBezTo>
                    <a:cubicBezTo>
                      <a:pt x="5" y="118"/>
                      <a:pt x="0" y="111"/>
                      <a:pt x="0" y="105"/>
                    </a:cubicBezTo>
                    <a:cubicBezTo>
                      <a:pt x="0" y="97"/>
                      <a:pt x="5" y="92"/>
                      <a:pt x="13" y="92"/>
                    </a:cubicBezTo>
                    <a:cubicBezTo>
                      <a:pt x="13" y="92"/>
                      <a:pt x="13" y="92"/>
                      <a:pt x="61" y="92"/>
                    </a:cubicBezTo>
                    <a:cubicBezTo>
                      <a:pt x="61" y="79"/>
                      <a:pt x="64" y="66"/>
                      <a:pt x="66" y="53"/>
                    </a:cubicBezTo>
                    <a:cubicBezTo>
                      <a:pt x="66" y="53"/>
                      <a:pt x="66" y="53"/>
                      <a:pt x="21" y="34"/>
                    </a:cubicBezTo>
                    <a:cubicBezTo>
                      <a:pt x="14" y="31"/>
                      <a:pt x="10" y="23"/>
                      <a:pt x="13" y="17"/>
                    </a:cubicBezTo>
                    <a:cubicBezTo>
                      <a:pt x="16" y="10"/>
                      <a:pt x="23" y="8"/>
                      <a:pt x="30" y="10"/>
                    </a:cubicBezTo>
                    <a:cubicBezTo>
                      <a:pt x="30" y="10"/>
                      <a:pt x="30" y="10"/>
                      <a:pt x="73" y="28"/>
                    </a:cubicBezTo>
                    <a:cubicBezTo>
                      <a:pt x="76" y="18"/>
                      <a:pt x="80" y="9"/>
                      <a:pt x="86" y="0"/>
                    </a:cubicBezTo>
                    <a:cubicBezTo>
                      <a:pt x="88" y="1"/>
                      <a:pt x="91" y="3"/>
                      <a:pt x="92" y="4"/>
                    </a:cubicBezTo>
                    <a:cubicBezTo>
                      <a:pt x="114" y="16"/>
                      <a:pt x="141" y="23"/>
                      <a:pt x="172" y="23"/>
                    </a:cubicBezTo>
                    <a:cubicBezTo>
                      <a:pt x="172" y="23"/>
                      <a:pt x="172" y="23"/>
                      <a:pt x="172" y="5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34281" tIns="17141" rIns="34281" bIns="171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502" name="Part3"/>
              <p:cNvSpPr>
                <a:spLocks/>
              </p:cNvSpPr>
              <p:nvPr/>
            </p:nvSpPr>
            <p:spPr bwMode="auto">
              <a:xfrm>
                <a:off x="14786336" y="2609581"/>
                <a:ext cx="318039" cy="173979"/>
              </a:xfrm>
              <a:custGeom>
                <a:avLst/>
                <a:gdLst>
                  <a:gd name="T0" fmla="*/ 43 w 243"/>
                  <a:gd name="T1" fmla="*/ 115 h 133"/>
                  <a:gd name="T2" fmla="*/ 38 w 243"/>
                  <a:gd name="T3" fmla="*/ 111 h 133"/>
                  <a:gd name="T4" fmla="*/ 61 w 243"/>
                  <a:gd name="T5" fmla="*/ 84 h 133"/>
                  <a:gd name="T6" fmla="*/ 26 w 243"/>
                  <a:gd name="T7" fmla="*/ 43 h 133"/>
                  <a:gd name="T8" fmla="*/ 22 w 243"/>
                  <a:gd name="T9" fmla="*/ 44 h 133"/>
                  <a:gd name="T10" fmla="*/ 0 w 243"/>
                  <a:gd name="T11" fmla="*/ 22 h 133"/>
                  <a:gd name="T12" fmla="*/ 22 w 243"/>
                  <a:gd name="T13" fmla="*/ 0 h 133"/>
                  <a:gd name="T14" fmla="*/ 44 w 243"/>
                  <a:gd name="T15" fmla="*/ 22 h 133"/>
                  <a:gd name="T16" fmla="*/ 41 w 243"/>
                  <a:gd name="T17" fmla="*/ 31 h 133"/>
                  <a:gd name="T18" fmla="*/ 78 w 243"/>
                  <a:gd name="T19" fmla="*/ 72 h 133"/>
                  <a:gd name="T20" fmla="*/ 123 w 243"/>
                  <a:gd name="T21" fmla="*/ 61 h 133"/>
                  <a:gd name="T22" fmla="*/ 166 w 243"/>
                  <a:gd name="T23" fmla="*/ 71 h 133"/>
                  <a:gd name="T24" fmla="*/ 201 w 243"/>
                  <a:gd name="T25" fmla="*/ 31 h 133"/>
                  <a:gd name="T26" fmla="*/ 199 w 243"/>
                  <a:gd name="T27" fmla="*/ 22 h 133"/>
                  <a:gd name="T28" fmla="*/ 221 w 243"/>
                  <a:gd name="T29" fmla="*/ 0 h 133"/>
                  <a:gd name="T30" fmla="*/ 243 w 243"/>
                  <a:gd name="T31" fmla="*/ 22 h 133"/>
                  <a:gd name="T32" fmla="*/ 221 w 243"/>
                  <a:gd name="T33" fmla="*/ 44 h 133"/>
                  <a:gd name="T34" fmla="*/ 218 w 243"/>
                  <a:gd name="T35" fmla="*/ 43 h 133"/>
                  <a:gd name="T36" fmla="*/ 183 w 243"/>
                  <a:gd name="T37" fmla="*/ 83 h 133"/>
                  <a:gd name="T38" fmla="*/ 209 w 243"/>
                  <a:gd name="T39" fmla="*/ 111 h 133"/>
                  <a:gd name="T40" fmla="*/ 203 w 243"/>
                  <a:gd name="T41" fmla="*/ 115 h 133"/>
                  <a:gd name="T42" fmla="*/ 123 w 243"/>
                  <a:gd name="T43" fmla="*/ 133 h 133"/>
                  <a:gd name="T44" fmla="*/ 43 w 243"/>
                  <a:gd name="T45" fmla="*/ 115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3" h="133">
                    <a:moveTo>
                      <a:pt x="43" y="115"/>
                    </a:moveTo>
                    <a:cubicBezTo>
                      <a:pt x="40" y="114"/>
                      <a:pt x="39" y="112"/>
                      <a:pt x="38" y="111"/>
                    </a:cubicBezTo>
                    <a:cubicBezTo>
                      <a:pt x="44" y="101"/>
                      <a:pt x="52" y="92"/>
                      <a:pt x="61" y="84"/>
                    </a:cubicBezTo>
                    <a:cubicBezTo>
                      <a:pt x="61" y="84"/>
                      <a:pt x="61" y="84"/>
                      <a:pt x="26" y="43"/>
                    </a:cubicBezTo>
                    <a:cubicBezTo>
                      <a:pt x="25" y="44"/>
                      <a:pt x="23" y="44"/>
                      <a:pt x="22" y="44"/>
                    </a:cubicBezTo>
                    <a:cubicBezTo>
                      <a:pt x="9" y="44"/>
                      <a:pt x="0" y="34"/>
                      <a:pt x="0" y="22"/>
                    </a:cubicBezTo>
                    <a:cubicBezTo>
                      <a:pt x="0" y="9"/>
                      <a:pt x="9" y="0"/>
                      <a:pt x="22" y="0"/>
                    </a:cubicBezTo>
                    <a:cubicBezTo>
                      <a:pt x="34" y="0"/>
                      <a:pt x="44" y="9"/>
                      <a:pt x="44" y="22"/>
                    </a:cubicBezTo>
                    <a:cubicBezTo>
                      <a:pt x="44" y="25"/>
                      <a:pt x="43" y="28"/>
                      <a:pt x="41" y="31"/>
                    </a:cubicBezTo>
                    <a:cubicBezTo>
                      <a:pt x="41" y="31"/>
                      <a:pt x="41" y="31"/>
                      <a:pt x="78" y="72"/>
                    </a:cubicBezTo>
                    <a:cubicBezTo>
                      <a:pt x="92" y="65"/>
                      <a:pt x="108" y="61"/>
                      <a:pt x="123" y="61"/>
                    </a:cubicBezTo>
                    <a:cubicBezTo>
                      <a:pt x="139" y="61"/>
                      <a:pt x="153" y="65"/>
                      <a:pt x="166" y="71"/>
                    </a:cubicBezTo>
                    <a:cubicBezTo>
                      <a:pt x="166" y="71"/>
                      <a:pt x="166" y="71"/>
                      <a:pt x="201" y="31"/>
                    </a:cubicBezTo>
                    <a:cubicBezTo>
                      <a:pt x="199" y="28"/>
                      <a:pt x="199" y="25"/>
                      <a:pt x="199" y="22"/>
                    </a:cubicBezTo>
                    <a:cubicBezTo>
                      <a:pt x="199" y="9"/>
                      <a:pt x="209" y="0"/>
                      <a:pt x="221" y="0"/>
                    </a:cubicBezTo>
                    <a:cubicBezTo>
                      <a:pt x="233" y="0"/>
                      <a:pt x="243" y="9"/>
                      <a:pt x="243" y="22"/>
                    </a:cubicBezTo>
                    <a:cubicBezTo>
                      <a:pt x="243" y="34"/>
                      <a:pt x="233" y="44"/>
                      <a:pt x="221" y="44"/>
                    </a:cubicBezTo>
                    <a:cubicBezTo>
                      <a:pt x="220" y="44"/>
                      <a:pt x="219" y="44"/>
                      <a:pt x="218" y="43"/>
                    </a:cubicBezTo>
                    <a:cubicBezTo>
                      <a:pt x="218" y="43"/>
                      <a:pt x="218" y="43"/>
                      <a:pt x="183" y="83"/>
                    </a:cubicBezTo>
                    <a:cubicBezTo>
                      <a:pt x="193" y="90"/>
                      <a:pt x="202" y="99"/>
                      <a:pt x="209" y="111"/>
                    </a:cubicBezTo>
                    <a:cubicBezTo>
                      <a:pt x="207" y="112"/>
                      <a:pt x="206" y="114"/>
                      <a:pt x="203" y="115"/>
                    </a:cubicBezTo>
                    <a:cubicBezTo>
                      <a:pt x="183" y="125"/>
                      <a:pt x="154" y="133"/>
                      <a:pt x="123" y="133"/>
                    </a:cubicBezTo>
                    <a:cubicBezTo>
                      <a:pt x="92" y="133"/>
                      <a:pt x="64" y="125"/>
                      <a:pt x="43" y="11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34281" tIns="17141" rIns="34281" bIns="171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503" name="Part2"/>
              <p:cNvSpPr>
                <a:spLocks/>
              </p:cNvSpPr>
              <p:nvPr/>
            </p:nvSpPr>
            <p:spPr bwMode="auto">
              <a:xfrm>
                <a:off x="14958100" y="2771925"/>
                <a:ext cx="223846" cy="342972"/>
              </a:xfrm>
              <a:custGeom>
                <a:avLst/>
                <a:gdLst>
                  <a:gd name="T0" fmla="*/ 156 w 171"/>
                  <a:gd name="T1" fmla="*/ 118 h 262"/>
                  <a:gd name="T2" fmla="*/ 111 w 171"/>
                  <a:gd name="T3" fmla="*/ 118 h 262"/>
                  <a:gd name="T4" fmla="*/ 105 w 171"/>
                  <a:gd name="T5" fmla="*/ 158 h 262"/>
                  <a:gd name="T6" fmla="*/ 150 w 171"/>
                  <a:gd name="T7" fmla="*/ 176 h 262"/>
                  <a:gd name="T8" fmla="*/ 156 w 171"/>
                  <a:gd name="T9" fmla="*/ 194 h 262"/>
                  <a:gd name="T10" fmla="*/ 145 w 171"/>
                  <a:gd name="T11" fmla="*/ 202 h 262"/>
                  <a:gd name="T12" fmla="*/ 140 w 171"/>
                  <a:gd name="T13" fmla="*/ 200 h 262"/>
                  <a:gd name="T14" fmla="*/ 97 w 171"/>
                  <a:gd name="T15" fmla="*/ 182 h 262"/>
                  <a:gd name="T16" fmla="*/ 0 w 171"/>
                  <a:gd name="T17" fmla="*/ 262 h 262"/>
                  <a:gd name="T18" fmla="*/ 0 w 171"/>
                  <a:gd name="T19" fmla="*/ 216 h 262"/>
                  <a:gd name="T20" fmla="*/ 75 w 171"/>
                  <a:gd name="T21" fmla="*/ 133 h 262"/>
                  <a:gd name="T22" fmla="*/ 0 w 171"/>
                  <a:gd name="T23" fmla="*/ 50 h 262"/>
                  <a:gd name="T24" fmla="*/ 0 w 171"/>
                  <a:gd name="T25" fmla="*/ 23 h 262"/>
                  <a:gd name="T26" fmla="*/ 80 w 171"/>
                  <a:gd name="T27" fmla="*/ 4 h 262"/>
                  <a:gd name="T28" fmla="*/ 87 w 171"/>
                  <a:gd name="T29" fmla="*/ 0 h 262"/>
                  <a:gd name="T30" fmla="*/ 98 w 171"/>
                  <a:gd name="T31" fmla="*/ 27 h 262"/>
                  <a:gd name="T32" fmla="*/ 140 w 171"/>
                  <a:gd name="T33" fmla="*/ 10 h 262"/>
                  <a:gd name="T34" fmla="*/ 156 w 171"/>
                  <a:gd name="T35" fmla="*/ 17 h 262"/>
                  <a:gd name="T36" fmla="*/ 150 w 171"/>
                  <a:gd name="T37" fmla="*/ 34 h 262"/>
                  <a:gd name="T38" fmla="*/ 106 w 171"/>
                  <a:gd name="T39" fmla="*/ 53 h 262"/>
                  <a:gd name="T40" fmla="*/ 111 w 171"/>
                  <a:gd name="T41" fmla="*/ 92 h 262"/>
                  <a:gd name="T42" fmla="*/ 158 w 171"/>
                  <a:gd name="T43" fmla="*/ 92 h 262"/>
                  <a:gd name="T44" fmla="*/ 171 w 171"/>
                  <a:gd name="T45" fmla="*/ 105 h 262"/>
                  <a:gd name="T46" fmla="*/ 156 w 171"/>
                  <a:gd name="T47" fmla="*/ 118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1" h="262">
                    <a:moveTo>
                      <a:pt x="156" y="118"/>
                    </a:moveTo>
                    <a:cubicBezTo>
                      <a:pt x="111" y="118"/>
                      <a:pt x="111" y="118"/>
                      <a:pt x="111" y="118"/>
                    </a:cubicBezTo>
                    <a:cubicBezTo>
                      <a:pt x="111" y="132"/>
                      <a:pt x="109" y="145"/>
                      <a:pt x="105" y="158"/>
                    </a:cubicBezTo>
                    <a:cubicBezTo>
                      <a:pt x="105" y="158"/>
                      <a:pt x="105" y="158"/>
                      <a:pt x="150" y="176"/>
                    </a:cubicBezTo>
                    <a:cubicBezTo>
                      <a:pt x="156" y="180"/>
                      <a:pt x="159" y="187"/>
                      <a:pt x="156" y="194"/>
                    </a:cubicBezTo>
                    <a:cubicBezTo>
                      <a:pt x="155" y="198"/>
                      <a:pt x="150" y="202"/>
                      <a:pt x="145" y="202"/>
                    </a:cubicBezTo>
                    <a:cubicBezTo>
                      <a:pt x="144" y="202"/>
                      <a:pt x="141" y="200"/>
                      <a:pt x="140" y="200"/>
                    </a:cubicBezTo>
                    <a:cubicBezTo>
                      <a:pt x="140" y="200"/>
                      <a:pt x="140" y="200"/>
                      <a:pt x="97" y="182"/>
                    </a:cubicBezTo>
                    <a:cubicBezTo>
                      <a:pt x="78" y="222"/>
                      <a:pt x="43" y="248"/>
                      <a:pt x="0" y="262"/>
                    </a:cubicBezTo>
                    <a:cubicBezTo>
                      <a:pt x="0" y="262"/>
                      <a:pt x="0" y="262"/>
                      <a:pt x="0" y="216"/>
                    </a:cubicBezTo>
                    <a:cubicBezTo>
                      <a:pt x="42" y="212"/>
                      <a:pt x="75" y="176"/>
                      <a:pt x="75" y="133"/>
                    </a:cubicBezTo>
                    <a:cubicBezTo>
                      <a:pt x="75" y="90"/>
                      <a:pt x="42" y="54"/>
                      <a:pt x="0" y="50"/>
                    </a:cubicBezTo>
                    <a:cubicBezTo>
                      <a:pt x="0" y="41"/>
                      <a:pt x="0" y="32"/>
                      <a:pt x="0" y="23"/>
                    </a:cubicBezTo>
                    <a:cubicBezTo>
                      <a:pt x="31" y="23"/>
                      <a:pt x="58" y="16"/>
                      <a:pt x="80" y="4"/>
                    </a:cubicBezTo>
                    <a:cubicBezTo>
                      <a:pt x="81" y="3"/>
                      <a:pt x="84" y="1"/>
                      <a:pt x="87" y="0"/>
                    </a:cubicBezTo>
                    <a:cubicBezTo>
                      <a:pt x="92" y="9"/>
                      <a:pt x="96" y="18"/>
                      <a:pt x="98" y="27"/>
                    </a:cubicBezTo>
                    <a:cubicBezTo>
                      <a:pt x="98" y="27"/>
                      <a:pt x="98" y="27"/>
                      <a:pt x="140" y="10"/>
                    </a:cubicBezTo>
                    <a:cubicBezTo>
                      <a:pt x="146" y="8"/>
                      <a:pt x="154" y="10"/>
                      <a:pt x="156" y="17"/>
                    </a:cubicBezTo>
                    <a:cubicBezTo>
                      <a:pt x="159" y="23"/>
                      <a:pt x="156" y="31"/>
                      <a:pt x="150" y="34"/>
                    </a:cubicBezTo>
                    <a:cubicBezTo>
                      <a:pt x="150" y="34"/>
                      <a:pt x="150" y="34"/>
                      <a:pt x="106" y="53"/>
                    </a:cubicBezTo>
                    <a:cubicBezTo>
                      <a:pt x="109" y="65"/>
                      <a:pt x="111" y="78"/>
                      <a:pt x="111" y="92"/>
                    </a:cubicBezTo>
                    <a:cubicBezTo>
                      <a:pt x="111" y="92"/>
                      <a:pt x="111" y="92"/>
                      <a:pt x="158" y="92"/>
                    </a:cubicBezTo>
                    <a:cubicBezTo>
                      <a:pt x="164" y="92"/>
                      <a:pt x="171" y="97"/>
                      <a:pt x="171" y="105"/>
                    </a:cubicBezTo>
                    <a:cubicBezTo>
                      <a:pt x="169" y="111"/>
                      <a:pt x="164" y="118"/>
                      <a:pt x="156" y="118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34281" tIns="17141" rIns="34281" bIns="171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504" name="Part1"/>
              <p:cNvSpPr>
                <a:spLocks noEditPoints="1"/>
              </p:cNvSpPr>
              <p:nvPr/>
            </p:nvSpPr>
            <p:spPr bwMode="auto">
              <a:xfrm>
                <a:off x="14861444" y="2871397"/>
                <a:ext cx="171149" cy="149861"/>
              </a:xfrm>
              <a:custGeom>
                <a:avLst/>
                <a:gdLst/>
                <a:ahLst/>
                <a:cxnLst>
                  <a:cxn ang="0">
                    <a:pos x="139" y="218"/>
                  </a:cxn>
                  <a:cxn ang="0">
                    <a:pos x="185" y="230"/>
                  </a:cxn>
                  <a:cxn ang="0">
                    <a:pos x="189" y="232"/>
                  </a:cxn>
                  <a:cxn ang="0">
                    <a:pos x="216" y="256"/>
                  </a:cxn>
                  <a:cxn ang="0">
                    <a:pos x="223" y="251"/>
                  </a:cxn>
                  <a:cxn ang="0">
                    <a:pos x="221" y="240"/>
                  </a:cxn>
                  <a:cxn ang="0">
                    <a:pos x="248" y="207"/>
                  </a:cxn>
                  <a:cxn ang="0">
                    <a:pos x="248" y="199"/>
                  </a:cxn>
                  <a:cxn ang="0">
                    <a:pos x="241" y="12"/>
                  </a:cxn>
                  <a:cxn ang="0">
                    <a:pos x="241" y="0"/>
                  </a:cxn>
                  <a:cxn ang="0">
                    <a:pos x="136" y="173"/>
                  </a:cxn>
                  <a:cxn ang="0">
                    <a:pos x="38" y="355"/>
                  </a:cxn>
                  <a:cxn ang="0">
                    <a:pos x="52" y="347"/>
                  </a:cxn>
                  <a:cxn ang="0">
                    <a:pos x="139" y="218"/>
                  </a:cxn>
                  <a:cxn ang="0">
                    <a:pos x="188" y="149"/>
                  </a:cxn>
                  <a:cxn ang="0">
                    <a:pos x="318" y="148"/>
                  </a:cxn>
                  <a:cxn ang="0">
                    <a:pos x="329" y="128"/>
                  </a:cxn>
                  <a:cxn ang="0">
                    <a:pos x="180" y="128"/>
                  </a:cxn>
                  <a:cxn ang="0">
                    <a:pos x="188" y="149"/>
                  </a:cxn>
                  <a:cxn ang="0">
                    <a:pos x="122" y="235"/>
                  </a:cxn>
                  <a:cxn ang="0">
                    <a:pos x="201" y="362"/>
                  </a:cxn>
                  <a:cxn ang="0">
                    <a:pos x="213" y="342"/>
                  </a:cxn>
                  <a:cxn ang="0">
                    <a:pos x="142" y="233"/>
                  </a:cxn>
                  <a:cxn ang="0">
                    <a:pos x="122" y="235"/>
                  </a:cxn>
                  <a:cxn ang="0">
                    <a:pos x="274" y="319"/>
                  </a:cxn>
                  <a:cxn ang="0">
                    <a:pos x="286" y="268"/>
                  </a:cxn>
                  <a:cxn ang="0">
                    <a:pos x="277" y="263"/>
                  </a:cxn>
                  <a:cxn ang="0">
                    <a:pos x="254" y="272"/>
                  </a:cxn>
                  <a:cxn ang="0">
                    <a:pos x="229" y="261"/>
                  </a:cxn>
                  <a:cxn ang="0">
                    <a:pos x="222" y="266"/>
                  </a:cxn>
                  <a:cxn ang="0">
                    <a:pos x="232" y="319"/>
                  </a:cxn>
                  <a:cxn ang="0">
                    <a:pos x="139" y="406"/>
                  </a:cxn>
                  <a:cxn ang="0">
                    <a:pos x="63" y="367"/>
                  </a:cxn>
                  <a:cxn ang="0">
                    <a:pos x="50" y="375"/>
                  </a:cxn>
                  <a:cxn ang="0">
                    <a:pos x="151" y="426"/>
                  </a:cxn>
                  <a:cxn ang="0">
                    <a:pos x="254" y="371"/>
                  </a:cxn>
                  <a:cxn ang="0">
                    <a:pos x="455" y="375"/>
                  </a:cxn>
                  <a:cxn ang="0">
                    <a:pos x="443" y="369"/>
                  </a:cxn>
                  <a:cxn ang="0">
                    <a:pos x="274" y="319"/>
                  </a:cxn>
                  <a:cxn ang="0">
                    <a:pos x="369" y="173"/>
                  </a:cxn>
                  <a:cxn ang="0">
                    <a:pos x="266" y="0"/>
                  </a:cxn>
                  <a:cxn ang="0">
                    <a:pos x="266" y="12"/>
                  </a:cxn>
                  <a:cxn ang="0">
                    <a:pos x="260" y="199"/>
                  </a:cxn>
                  <a:cxn ang="0">
                    <a:pos x="260" y="207"/>
                  </a:cxn>
                  <a:cxn ang="0">
                    <a:pos x="287" y="240"/>
                  </a:cxn>
                  <a:cxn ang="0">
                    <a:pos x="285" y="252"/>
                  </a:cxn>
                  <a:cxn ang="0">
                    <a:pos x="292" y="256"/>
                  </a:cxn>
                  <a:cxn ang="0">
                    <a:pos x="369" y="217"/>
                  </a:cxn>
                  <a:cxn ang="0">
                    <a:pos x="455" y="347"/>
                  </a:cxn>
                  <a:cxn ang="0">
                    <a:pos x="469" y="355"/>
                  </a:cxn>
                  <a:cxn ang="0">
                    <a:pos x="369" y="173"/>
                  </a:cxn>
                  <a:cxn ang="0">
                    <a:pos x="297" y="342"/>
                  </a:cxn>
                  <a:cxn ang="0">
                    <a:pos x="307" y="362"/>
                  </a:cxn>
                  <a:cxn ang="0">
                    <a:pos x="388" y="234"/>
                  </a:cxn>
                  <a:cxn ang="0">
                    <a:pos x="366" y="232"/>
                  </a:cxn>
                  <a:cxn ang="0">
                    <a:pos x="297" y="342"/>
                  </a:cxn>
                </a:cxnLst>
                <a:rect l="0" t="0" r="r" b="b"/>
                <a:pathLst>
                  <a:path w="507" h="444">
                    <a:moveTo>
                      <a:pt x="139" y="218"/>
                    </a:moveTo>
                    <a:cubicBezTo>
                      <a:pt x="155" y="218"/>
                      <a:pt x="171" y="222"/>
                      <a:pt x="185" y="230"/>
                    </a:cubicBezTo>
                    <a:cubicBezTo>
                      <a:pt x="187" y="232"/>
                      <a:pt x="189" y="232"/>
                      <a:pt x="189" y="232"/>
                    </a:cubicBezTo>
                    <a:cubicBezTo>
                      <a:pt x="201" y="240"/>
                      <a:pt x="209" y="248"/>
                      <a:pt x="216" y="256"/>
                    </a:cubicBezTo>
                    <a:cubicBezTo>
                      <a:pt x="223" y="251"/>
                      <a:pt x="223" y="251"/>
                      <a:pt x="223" y="251"/>
                    </a:cubicBezTo>
                    <a:cubicBezTo>
                      <a:pt x="222" y="247"/>
                      <a:pt x="221" y="243"/>
                      <a:pt x="221" y="240"/>
                    </a:cubicBezTo>
                    <a:cubicBezTo>
                      <a:pt x="221" y="224"/>
                      <a:pt x="233" y="210"/>
                      <a:pt x="248" y="207"/>
                    </a:cubicBezTo>
                    <a:cubicBezTo>
                      <a:pt x="248" y="199"/>
                      <a:pt x="248" y="199"/>
                      <a:pt x="248" y="199"/>
                    </a:cubicBezTo>
                    <a:cubicBezTo>
                      <a:pt x="136" y="190"/>
                      <a:pt x="128" y="22"/>
                      <a:pt x="241" y="12"/>
                    </a:cubicBezTo>
                    <a:cubicBezTo>
                      <a:pt x="241" y="0"/>
                      <a:pt x="241" y="0"/>
                      <a:pt x="241" y="0"/>
                    </a:cubicBezTo>
                    <a:cubicBezTo>
                      <a:pt x="156" y="6"/>
                      <a:pt x="104" y="98"/>
                      <a:pt x="136" y="173"/>
                    </a:cubicBezTo>
                    <a:cubicBezTo>
                      <a:pt x="46" y="182"/>
                      <a:pt x="0" y="278"/>
                      <a:pt x="38" y="355"/>
                    </a:cubicBezTo>
                    <a:cubicBezTo>
                      <a:pt x="52" y="347"/>
                      <a:pt x="52" y="347"/>
                      <a:pt x="52" y="347"/>
                    </a:cubicBezTo>
                    <a:cubicBezTo>
                      <a:pt x="18" y="290"/>
                      <a:pt x="77" y="218"/>
                      <a:pt x="139" y="218"/>
                    </a:cubicBezTo>
                    <a:close/>
                    <a:moveTo>
                      <a:pt x="188" y="149"/>
                    </a:moveTo>
                    <a:cubicBezTo>
                      <a:pt x="227" y="118"/>
                      <a:pt x="280" y="118"/>
                      <a:pt x="318" y="148"/>
                    </a:cubicBezTo>
                    <a:cubicBezTo>
                      <a:pt x="323" y="142"/>
                      <a:pt x="327" y="136"/>
                      <a:pt x="329" y="128"/>
                    </a:cubicBezTo>
                    <a:cubicBezTo>
                      <a:pt x="283" y="96"/>
                      <a:pt x="225" y="96"/>
                      <a:pt x="180" y="128"/>
                    </a:cubicBezTo>
                    <a:cubicBezTo>
                      <a:pt x="182" y="139"/>
                      <a:pt x="184" y="143"/>
                      <a:pt x="188" y="149"/>
                    </a:cubicBezTo>
                    <a:close/>
                    <a:moveTo>
                      <a:pt x="122" y="235"/>
                    </a:moveTo>
                    <a:cubicBezTo>
                      <a:pt x="120" y="289"/>
                      <a:pt x="150" y="340"/>
                      <a:pt x="201" y="362"/>
                    </a:cubicBezTo>
                    <a:cubicBezTo>
                      <a:pt x="205" y="356"/>
                      <a:pt x="209" y="350"/>
                      <a:pt x="213" y="342"/>
                    </a:cubicBezTo>
                    <a:cubicBezTo>
                      <a:pt x="168" y="324"/>
                      <a:pt x="140" y="279"/>
                      <a:pt x="142" y="233"/>
                    </a:cubicBezTo>
                    <a:cubicBezTo>
                      <a:pt x="136" y="233"/>
                      <a:pt x="128" y="233"/>
                      <a:pt x="122" y="235"/>
                    </a:cubicBezTo>
                    <a:close/>
                    <a:moveTo>
                      <a:pt x="274" y="319"/>
                    </a:moveTo>
                    <a:cubicBezTo>
                      <a:pt x="273" y="296"/>
                      <a:pt x="274" y="288"/>
                      <a:pt x="286" y="268"/>
                    </a:cubicBezTo>
                    <a:cubicBezTo>
                      <a:pt x="277" y="263"/>
                      <a:pt x="277" y="263"/>
                      <a:pt x="277" y="263"/>
                    </a:cubicBezTo>
                    <a:cubicBezTo>
                      <a:pt x="271" y="269"/>
                      <a:pt x="263" y="272"/>
                      <a:pt x="254" y="272"/>
                    </a:cubicBezTo>
                    <a:cubicBezTo>
                      <a:pt x="244" y="272"/>
                      <a:pt x="235" y="268"/>
                      <a:pt x="229" y="261"/>
                    </a:cubicBezTo>
                    <a:cubicBezTo>
                      <a:pt x="222" y="266"/>
                      <a:pt x="222" y="266"/>
                      <a:pt x="222" y="266"/>
                    </a:cubicBezTo>
                    <a:cubicBezTo>
                      <a:pt x="230" y="282"/>
                      <a:pt x="232" y="299"/>
                      <a:pt x="232" y="319"/>
                    </a:cubicBezTo>
                    <a:cubicBezTo>
                      <a:pt x="230" y="367"/>
                      <a:pt x="187" y="406"/>
                      <a:pt x="139" y="406"/>
                    </a:cubicBezTo>
                    <a:cubicBezTo>
                      <a:pt x="107" y="406"/>
                      <a:pt x="81" y="391"/>
                      <a:pt x="63" y="367"/>
                    </a:cubicBezTo>
                    <a:cubicBezTo>
                      <a:pt x="50" y="375"/>
                      <a:pt x="50" y="375"/>
                      <a:pt x="50" y="375"/>
                    </a:cubicBezTo>
                    <a:cubicBezTo>
                      <a:pt x="73" y="405"/>
                      <a:pt x="111" y="426"/>
                      <a:pt x="151" y="426"/>
                    </a:cubicBezTo>
                    <a:cubicBezTo>
                      <a:pt x="194" y="426"/>
                      <a:pt x="230" y="404"/>
                      <a:pt x="254" y="371"/>
                    </a:cubicBezTo>
                    <a:cubicBezTo>
                      <a:pt x="302" y="441"/>
                      <a:pt x="405" y="444"/>
                      <a:pt x="455" y="375"/>
                    </a:cubicBezTo>
                    <a:cubicBezTo>
                      <a:pt x="443" y="369"/>
                      <a:pt x="443" y="369"/>
                      <a:pt x="443" y="369"/>
                    </a:cubicBezTo>
                    <a:cubicBezTo>
                      <a:pt x="394" y="437"/>
                      <a:pt x="281" y="403"/>
                      <a:pt x="274" y="319"/>
                    </a:cubicBezTo>
                    <a:close/>
                    <a:moveTo>
                      <a:pt x="369" y="173"/>
                    </a:moveTo>
                    <a:cubicBezTo>
                      <a:pt x="402" y="97"/>
                      <a:pt x="351" y="8"/>
                      <a:pt x="266" y="0"/>
                    </a:cubicBezTo>
                    <a:cubicBezTo>
                      <a:pt x="266" y="12"/>
                      <a:pt x="266" y="12"/>
                      <a:pt x="266" y="12"/>
                    </a:cubicBezTo>
                    <a:cubicBezTo>
                      <a:pt x="376" y="26"/>
                      <a:pt x="370" y="190"/>
                      <a:pt x="260" y="199"/>
                    </a:cubicBezTo>
                    <a:cubicBezTo>
                      <a:pt x="260" y="207"/>
                      <a:pt x="260" y="207"/>
                      <a:pt x="260" y="207"/>
                    </a:cubicBezTo>
                    <a:cubicBezTo>
                      <a:pt x="275" y="210"/>
                      <a:pt x="287" y="224"/>
                      <a:pt x="287" y="240"/>
                    </a:cubicBezTo>
                    <a:cubicBezTo>
                      <a:pt x="287" y="244"/>
                      <a:pt x="286" y="248"/>
                      <a:pt x="285" y="252"/>
                    </a:cubicBezTo>
                    <a:cubicBezTo>
                      <a:pt x="292" y="256"/>
                      <a:pt x="292" y="256"/>
                      <a:pt x="292" y="256"/>
                    </a:cubicBezTo>
                    <a:cubicBezTo>
                      <a:pt x="309" y="234"/>
                      <a:pt x="337" y="218"/>
                      <a:pt x="369" y="217"/>
                    </a:cubicBezTo>
                    <a:cubicBezTo>
                      <a:pt x="436" y="217"/>
                      <a:pt x="479" y="288"/>
                      <a:pt x="455" y="347"/>
                    </a:cubicBezTo>
                    <a:cubicBezTo>
                      <a:pt x="469" y="355"/>
                      <a:pt x="469" y="355"/>
                      <a:pt x="469" y="355"/>
                    </a:cubicBezTo>
                    <a:cubicBezTo>
                      <a:pt x="507" y="278"/>
                      <a:pt x="458" y="181"/>
                      <a:pt x="369" y="173"/>
                    </a:cubicBezTo>
                    <a:close/>
                    <a:moveTo>
                      <a:pt x="297" y="342"/>
                    </a:moveTo>
                    <a:cubicBezTo>
                      <a:pt x="301" y="350"/>
                      <a:pt x="303" y="356"/>
                      <a:pt x="307" y="362"/>
                    </a:cubicBezTo>
                    <a:cubicBezTo>
                      <a:pt x="358" y="340"/>
                      <a:pt x="390" y="289"/>
                      <a:pt x="388" y="234"/>
                    </a:cubicBezTo>
                    <a:cubicBezTo>
                      <a:pt x="382" y="232"/>
                      <a:pt x="374" y="232"/>
                      <a:pt x="366" y="232"/>
                    </a:cubicBezTo>
                    <a:cubicBezTo>
                      <a:pt x="370" y="281"/>
                      <a:pt x="341" y="326"/>
                      <a:pt x="297" y="342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34281" tIns="17141" rIns="34281" bIns="171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sp>
          <p:nvSpPr>
            <p:cNvPr id="500" name="No_Symbol"/>
            <p:cNvSpPr/>
            <p:nvPr/>
          </p:nvSpPr>
          <p:spPr>
            <a:xfrm>
              <a:off x="6822684" y="1570849"/>
              <a:ext cx="389912" cy="389912"/>
            </a:xfrm>
            <a:prstGeom prst="noSmoking">
              <a:avLst>
                <a:gd name="adj" fmla="val 9918"/>
              </a:avLst>
            </a:prstGeom>
            <a:solidFill>
              <a:srgbClr val="C00000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u="none" strike="noStrike" kern="1200" cap="none" spc="0" normalizeH="0" baseline="-25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sp>
        <p:nvSpPr>
          <p:cNvPr id="451" name="TextBox 450"/>
          <p:cNvSpPr txBox="1"/>
          <p:nvPr/>
        </p:nvSpPr>
        <p:spPr>
          <a:xfrm>
            <a:off x="4614666" y="736490"/>
            <a:ext cx="463911" cy="1777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700" dirty="0">
                <a:solidFill>
                  <a:srgbClr val="049FD9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Cisco</a:t>
            </a:r>
          </a:p>
          <a:p>
            <a:pPr algn="ctr">
              <a:lnSpc>
                <a:spcPct val="80000"/>
              </a:lnSpc>
            </a:pPr>
            <a:r>
              <a:rPr lang="en-US" sz="700" dirty="0" err="1">
                <a:solidFill>
                  <a:srgbClr val="049FD9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Cloudlock</a:t>
            </a:r>
            <a:endParaRPr lang="en-US" sz="700" dirty="0">
              <a:solidFill>
                <a:srgbClr val="049FD9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pic>
        <p:nvPicPr>
          <p:cNvPr id="74" name="Generic_Network_Cloud_Image" descr="Cloud by cinemacookie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4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9241" y="953382"/>
            <a:ext cx="656160" cy="351548"/>
          </a:xfrm>
          <a:prstGeom prst="rect">
            <a:avLst/>
          </a:prstGeom>
          <a:noFill/>
        </p:spPr>
      </p:pic>
      <p:grpSp>
        <p:nvGrpSpPr>
          <p:cNvPr id="81" name="Group 80"/>
          <p:cNvGrpSpPr/>
          <p:nvPr/>
        </p:nvGrpSpPr>
        <p:grpSpPr>
          <a:xfrm>
            <a:off x="5097529" y="1067720"/>
            <a:ext cx="454446" cy="243477"/>
            <a:chOff x="6789030" y="145286"/>
            <a:chExt cx="875939" cy="469296"/>
          </a:xfrm>
        </p:grpSpPr>
        <p:pic>
          <p:nvPicPr>
            <p:cNvPr id="82" name="Generic_Network_Cloud_Image" descr="Cloud by cinemacookie"/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7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89030" y="145286"/>
              <a:ext cx="875939" cy="469296"/>
            </a:xfrm>
            <a:prstGeom prst="rect">
              <a:avLst/>
            </a:prstGeom>
            <a:noFill/>
          </p:spPr>
        </p:pic>
        <p:sp>
          <p:nvSpPr>
            <p:cNvPr id="83" name="Generic_Network_Cloud_Label"/>
            <p:cNvSpPr txBox="1"/>
            <p:nvPr>
              <p:custDataLst>
                <p:tags r:id="rId12"/>
              </p:custDataLst>
            </p:nvPr>
          </p:nvSpPr>
          <p:spPr>
            <a:xfrm>
              <a:off x="6953279" y="302420"/>
              <a:ext cx="557886" cy="2372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200"/>
              </a:lvl1pPr>
            </a:lstStyle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DNS</a:t>
              </a: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5370380" y="909282"/>
            <a:ext cx="483722" cy="259161"/>
            <a:chOff x="6789030" y="145286"/>
            <a:chExt cx="875939" cy="469296"/>
          </a:xfrm>
        </p:grpSpPr>
        <p:pic>
          <p:nvPicPr>
            <p:cNvPr id="85" name="Generic_Network_Cloud_Image" descr="Cloud by cinemacookie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7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89030" y="145286"/>
              <a:ext cx="875939" cy="469296"/>
            </a:xfrm>
            <a:prstGeom prst="rect">
              <a:avLst/>
            </a:prstGeom>
            <a:noFill/>
          </p:spPr>
        </p:pic>
        <p:sp>
          <p:nvSpPr>
            <p:cNvPr id="86" name="Generic_Network_Cloud_Label"/>
            <p:cNvSpPr txBox="1"/>
            <p:nvPr>
              <p:custDataLst>
                <p:tags r:id="rId10"/>
              </p:custDataLst>
            </p:nvPr>
          </p:nvSpPr>
          <p:spPr>
            <a:xfrm>
              <a:off x="6961901" y="323678"/>
              <a:ext cx="557886" cy="2229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WEB</a:t>
              </a:r>
            </a:p>
          </p:txBody>
        </p:sp>
      </p:grpSp>
      <p:pic>
        <p:nvPicPr>
          <p:cNvPr id="391" name="Picture 390"/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4990388" y="1018484"/>
            <a:ext cx="233660" cy="116830"/>
          </a:xfrm>
          <a:prstGeom prst="ellipse">
            <a:avLst/>
          </a:prstGeom>
        </p:spPr>
      </p:pic>
      <p:pic>
        <p:nvPicPr>
          <p:cNvPr id="406" name="Picture 405"/>
          <p:cNvPicPr>
            <a:picLocks noChangeAspect="1"/>
          </p:cNvPicPr>
          <p:nvPr/>
        </p:nvPicPr>
        <p:blipFill>
          <a:blip r:embed="rId60"/>
          <a:stretch>
            <a:fillRect/>
          </a:stretch>
        </p:blipFill>
        <p:spPr>
          <a:xfrm>
            <a:off x="4676662" y="1275368"/>
            <a:ext cx="408258" cy="109839"/>
          </a:xfrm>
          <a:prstGeom prst="rect">
            <a:avLst/>
          </a:prstGeom>
        </p:spPr>
      </p:pic>
      <p:sp>
        <p:nvSpPr>
          <p:cNvPr id="472" name="TextBox 471"/>
          <p:cNvSpPr txBox="1"/>
          <p:nvPr/>
        </p:nvSpPr>
        <p:spPr>
          <a:xfrm>
            <a:off x="4637331" y="1087322"/>
            <a:ext cx="510186" cy="1777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700" dirty="0">
                <a:solidFill>
                  <a:srgbClr val="049FD9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Cisco</a:t>
            </a:r>
          </a:p>
          <a:p>
            <a:pPr algn="ctr">
              <a:lnSpc>
                <a:spcPct val="80000"/>
              </a:lnSpc>
            </a:pPr>
            <a:r>
              <a:rPr lang="en-US" sz="700" dirty="0">
                <a:solidFill>
                  <a:srgbClr val="049FD9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Umbrella</a:t>
            </a:r>
          </a:p>
        </p:txBody>
      </p:sp>
      <p:grpSp>
        <p:nvGrpSpPr>
          <p:cNvPr id="38" name="Block_Opportunity_Group"/>
          <p:cNvGrpSpPr/>
          <p:nvPr/>
        </p:nvGrpSpPr>
        <p:grpSpPr>
          <a:xfrm>
            <a:off x="1534456" y="1663170"/>
            <a:ext cx="104990" cy="104990"/>
            <a:chOff x="6822684" y="1570849"/>
            <a:chExt cx="389912" cy="389912"/>
          </a:xfrm>
        </p:grpSpPr>
        <p:sp>
          <p:nvSpPr>
            <p:cNvPr id="39" name="Oval 38"/>
            <p:cNvSpPr/>
            <p:nvPr/>
          </p:nvSpPr>
          <p:spPr>
            <a:xfrm>
              <a:off x="6835541" y="1581979"/>
              <a:ext cx="367652" cy="36765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40" name="Malware_Bug_Red_1"/>
            <p:cNvGrpSpPr/>
            <p:nvPr/>
          </p:nvGrpSpPr>
          <p:grpSpPr>
            <a:xfrm rot="1526083">
              <a:off x="6888994" y="1638807"/>
              <a:ext cx="249800" cy="265174"/>
              <a:chOff x="14712090" y="2609581"/>
              <a:chExt cx="469856" cy="505316"/>
            </a:xfrm>
            <a:solidFill>
              <a:srgbClr val="FF0000"/>
            </a:solidFill>
          </p:grpSpPr>
          <p:sp>
            <p:nvSpPr>
              <p:cNvPr id="42" name="Part4"/>
              <p:cNvSpPr>
                <a:spLocks/>
              </p:cNvSpPr>
              <p:nvPr/>
            </p:nvSpPr>
            <p:spPr bwMode="auto">
              <a:xfrm>
                <a:off x="14712090" y="2771925"/>
                <a:ext cx="224955" cy="342972"/>
              </a:xfrm>
              <a:custGeom>
                <a:avLst/>
                <a:gdLst>
                  <a:gd name="T0" fmla="*/ 172 w 172"/>
                  <a:gd name="T1" fmla="*/ 50 h 262"/>
                  <a:gd name="T2" fmla="*/ 96 w 172"/>
                  <a:gd name="T3" fmla="*/ 133 h 262"/>
                  <a:gd name="T4" fmla="*/ 172 w 172"/>
                  <a:gd name="T5" fmla="*/ 216 h 262"/>
                  <a:gd name="T6" fmla="*/ 172 w 172"/>
                  <a:gd name="T7" fmla="*/ 262 h 262"/>
                  <a:gd name="T8" fmla="*/ 75 w 172"/>
                  <a:gd name="T9" fmla="*/ 181 h 262"/>
                  <a:gd name="T10" fmla="*/ 30 w 172"/>
                  <a:gd name="T11" fmla="*/ 200 h 262"/>
                  <a:gd name="T12" fmla="*/ 26 w 172"/>
                  <a:gd name="T13" fmla="*/ 202 h 262"/>
                  <a:gd name="T14" fmla="*/ 13 w 172"/>
                  <a:gd name="T15" fmla="*/ 194 h 262"/>
                  <a:gd name="T16" fmla="*/ 21 w 172"/>
                  <a:gd name="T17" fmla="*/ 176 h 262"/>
                  <a:gd name="T18" fmla="*/ 66 w 172"/>
                  <a:gd name="T19" fmla="*/ 156 h 262"/>
                  <a:gd name="T20" fmla="*/ 61 w 172"/>
                  <a:gd name="T21" fmla="*/ 118 h 262"/>
                  <a:gd name="T22" fmla="*/ 13 w 172"/>
                  <a:gd name="T23" fmla="*/ 118 h 262"/>
                  <a:gd name="T24" fmla="*/ 0 w 172"/>
                  <a:gd name="T25" fmla="*/ 105 h 262"/>
                  <a:gd name="T26" fmla="*/ 13 w 172"/>
                  <a:gd name="T27" fmla="*/ 92 h 262"/>
                  <a:gd name="T28" fmla="*/ 61 w 172"/>
                  <a:gd name="T29" fmla="*/ 92 h 262"/>
                  <a:gd name="T30" fmla="*/ 66 w 172"/>
                  <a:gd name="T31" fmla="*/ 53 h 262"/>
                  <a:gd name="T32" fmla="*/ 21 w 172"/>
                  <a:gd name="T33" fmla="*/ 34 h 262"/>
                  <a:gd name="T34" fmla="*/ 13 w 172"/>
                  <a:gd name="T35" fmla="*/ 17 h 262"/>
                  <a:gd name="T36" fmla="*/ 30 w 172"/>
                  <a:gd name="T37" fmla="*/ 10 h 262"/>
                  <a:gd name="T38" fmla="*/ 73 w 172"/>
                  <a:gd name="T39" fmla="*/ 28 h 262"/>
                  <a:gd name="T40" fmla="*/ 86 w 172"/>
                  <a:gd name="T41" fmla="*/ 0 h 262"/>
                  <a:gd name="T42" fmla="*/ 92 w 172"/>
                  <a:gd name="T43" fmla="*/ 4 h 262"/>
                  <a:gd name="T44" fmla="*/ 172 w 172"/>
                  <a:gd name="T45" fmla="*/ 23 h 262"/>
                  <a:gd name="T46" fmla="*/ 172 w 172"/>
                  <a:gd name="T47" fmla="*/ 5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2" h="262">
                    <a:moveTo>
                      <a:pt x="172" y="50"/>
                    </a:moveTo>
                    <a:cubicBezTo>
                      <a:pt x="130" y="53"/>
                      <a:pt x="96" y="89"/>
                      <a:pt x="96" y="133"/>
                    </a:cubicBezTo>
                    <a:cubicBezTo>
                      <a:pt x="96" y="177"/>
                      <a:pt x="130" y="212"/>
                      <a:pt x="172" y="216"/>
                    </a:cubicBezTo>
                    <a:cubicBezTo>
                      <a:pt x="172" y="230"/>
                      <a:pt x="172" y="246"/>
                      <a:pt x="172" y="262"/>
                    </a:cubicBezTo>
                    <a:cubicBezTo>
                      <a:pt x="128" y="247"/>
                      <a:pt x="93" y="222"/>
                      <a:pt x="75" y="181"/>
                    </a:cubicBezTo>
                    <a:cubicBezTo>
                      <a:pt x="75" y="181"/>
                      <a:pt x="75" y="181"/>
                      <a:pt x="30" y="200"/>
                    </a:cubicBezTo>
                    <a:cubicBezTo>
                      <a:pt x="29" y="200"/>
                      <a:pt x="27" y="202"/>
                      <a:pt x="26" y="202"/>
                    </a:cubicBezTo>
                    <a:cubicBezTo>
                      <a:pt x="21" y="202"/>
                      <a:pt x="16" y="198"/>
                      <a:pt x="13" y="194"/>
                    </a:cubicBezTo>
                    <a:cubicBezTo>
                      <a:pt x="10" y="187"/>
                      <a:pt x="13" y="180"/>
                      <a:pt x="21" y="176"/>
                    </a:cubicBezTo>
                    <a:cubicBezTo>
                      <a:pt x="21" y="176"/>
                      <a:pt x="21" y="176"/>
                      <a:pt x="66" y="156"/>
                    </a:cubicBezTo>
                    <a:cubicBezTo>
                      <a:pt x="64" y="145"/>
                      <a:pt x="61" y="132"/>
                      <a:pt x="61" y="118"/>
                    </a:cubicBezTo>
                    <a:cubicBezTo>
                      <a:pt x="61" y="118"/>
                      <a:pt x="61" y="118"/>
                      <a:pt x="13" y="118"/>
                    </a:cubicBezTo>
                    <a:cubicBezTo>
                      <a:pt x="5" y="118"/>
                      <a:pt x="0" y="111"/>
                      <a:pt x="0" y="105"/>
                    </a:cubicBezTo>
                    <a:cubicBezTo>
                      <a:pt x="0" y="97"/>
                      <a:pt x="5" y="92"/>
                      <a:pt x="13" y="92"/>
                    </a:cubicBezTo>
                    <a:cubicBezTo>
                      <a:pt x="13" y="92"/>
                      <a:pt x="13" y="92"/>
                      <a:pt x="61" y="92"/>
                    </a:cubicBezTo>
                    <a:cubicBezTo>
                      <a:pt x="61" y="79"/>
                      <a:pt x="64" y="66"/>
                      <a:pt x="66" y="53"/>
                    </a:cubicBezTo>
                    <a:cubicBezTo>
                      <a:pt x="66" y="53"/>
                      <a:pt x="66" y="53"/>
                      <a:pt x="21" y="34"/>
                    </a:cubicBezTo>
                    <a:cubicBezTo>
                      <a:pt x="14" y="31"/>
                      <a:pt x="10" y="23"/>
                      <a:pt x="13" y="17"/>
                    </a:cubicBezTo>
                    <a:cubicBezTo>
                      <a:pt x="16" y="10"/>
                      <a:pt x="23" y="8"/>
                      <a:pt x="30" y="10"/>
                    </a:cubicBezTo>
                    <a:cubicBezTo>
                      <a:pt x="30" y="10"/>
                      <a:pt x="30" y="10"/>
                      <a:pt x="73" y="28"/>
                    </a:cubicBezTo>
                    <a:cubicBezTo>
                      <a:pt x="76" y="18"/>
                      <a:pt x="80" y="9"/>
                      <a:pt x="86" y="0"/>
                    </a:cubicBezTo>
                    <a:cubicBezTo>
                      <a:pt x="88" y="1"/>
                      <a:pt x="91" y="3"/>
                      <a:pt x="92" y="4"/>
                    </a:cubicBezTo>
                    <a:cubicBezTo>
                      <a:pt x="114" y="16"/>
                      <a:pt x="141" y="23"/>
                      <a:pt x="172" y="23"/>
                    </a:cubicBezTo>
                    <a:cubicBezTo>
                      <a:pt x="172" y="23"/>
                      <a:pt x="172" y="23"/>
                      <a:pt x="172" y="5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34281" tIns="17141" rIns="34281" bIns="171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43" name="Part3"/>
              <p:cNvSpPr>
                <a:spLocks/>
              </p:cNvSpPr>
              <p:nvPr/>
            </p:nvSpPr>
            <p:spPr bwMode="auto">
              <a:xfrm>
                <a:off x="14786336" y="2609581"/>
                <a:ext cx="318039" cy="173979"/>
              </a:xfrm>
              <a:custGeom>
                <a:avLst/>
                <a:gdLst>
                  <a:gd name="T0" fmla="*/ 43 w 243"/>
                  <a:gd name="T1" fmla="*/ 115 h 133"/>
                  <a:gd name="T2" fmla="*/ 38 w 243"/>
                  <a:gd name="T3" fmla="*/ 111 h 133"/>
                  <a:gd name="T4" fmla="*/ 61 w 243"/>
                  <a:gd name="T5" fmla="*/ 84 h 133"/>
                  <a:gd name="T6" fmla="*/ 26 w 243"/>
                  <a:gd name="T7" fmla="*/ 43 h 133"/>
                  <a:gd name="T8" fmla="*/ 22 w 243"/>
                  <a:gd name="T9" fmla="*/ 44 h 133"/>
                  <a:gd name="T10" fmla="*/ 0 w 243"/>
                  <a:gd name="T11" fmla="*/ 22 h 133"/>
                  <a:gd name="T12" fmla="*/ 22 w 243"/>
                  <a:gd name="T13" fmla="*/ 0 h 133"/>
                  <a:gd name="T14" fmla="*/ 44 w 243"/>
                  <a:gd name="T15" fmla="*/ 22 h 133"/>
                  <a:gd name="T16" fmla="*/ 41 w 243"/>
                  <a:gd name="T17" fmla="*/ 31 h 133"/>
                  <a:gd name="T18" fmla="*/ 78 w 243"/>
                  <a:gd name="T19" fmla="*/ 72 h 133"/>
                  <a:gd name="T20" fmla="*/ 123 w 243"/>
                  <a:gd name="T21" fmla="*/ 61 h 133"/>
                  <a:gd name="T22" fmla="*/ 166 w 243"/>
                  <a:gd name="T23" fmla="*/ 71 h 133"/>
                  <a:gd name="T24" fmla="*/ 201 w 243"/>
                  <a:gd name="T25" fmla="*/ 31 h 133"/>
                  <a:gd name="T26" fmla="*/ 199 w 243"/>
                  <a:gd name="T27" fmla="*/ 22 h 133"/>
                  <a:gd name="T28" fmla="*/ 221 w 243"/>
                  <a:gd name="T29" fmla="*/ 0 h 133"/>
                  <a:gd name="T30" fmla="*/ 243 w 243"/>
                  <a:gd name="T31" fmla="*/ 22 h 133"/>
                  <a:gd name="T32" fmla="*/ 221 w 243"/>
                  <a:gd name="T33" fmla="*/ 44 h 133"/>
                  <a:gd name="T34" fmla="*/ 218 w 243"/>
                  <a:gd name="T35" fmla="*/ 43 h 133"/>
                  <a:gd name="T36" fmla="*/ 183 w 243"/>
                  <a:gd name="T37" fmla="*/ 83 h 133"/>
                  <a:gd name="T38" fmla="*/ 209 w 243"/>
                  <a:gd name="T39" fmla="*/ 111 h 133"/>
                  <a:gd name="T40" fmla="*/ 203 w 243"/>
                  <a:gd name="T41" fmla="*/ 115 h 133"/>
                  <a:gd name="T42" fmla="*/ 123 w 243"/>
                  <a:gd name="T43" fmla="*/ 133 h 133"/>
                  <a:gd name="T44" fmla="*/ 43 w 243"/>
                  <a:gd name="T45" fmla="*/ 115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3" h="133">
                    <a:moveTo>
                      <a:pt x="43" y="115"/>
                    </a:moveTo>
                    <a:cubicBezTo>
                      <a:pt x="40" y="114"/>
                      <a:pt x="39" y="112"/>
                      <a:pt x="38" y="111"/>
                    </a:cubicBezTo>
                    <a:cubicBezTo>
                      <a:pt x="44" y="101"/>
                      <a:pt x="52" y="92"/>
                      <a:pt x="61" y="84"/>
                    </a:cubicBezTo>
                    <a:cubicBezTo>
                      <a:pt x="61" y="84"/>
                      <a:pt x="61" y="84"/>
                      <a:pt x="26" y="43"/>
                    </a:cubicBezTo>
                    <a:cubicBezTo>
                      <a:pt x="25" y="44"/>
                      <a:pt x="23" y="44"/>
                      <a:pt x="22" y="44"/>
                    </a:cubicBezTo>
                    <a:cubicBezTo>
                      <a:pt x="9" y="44"/>
                      <a:pt x="0" y="34"/>
                      <a:pt x="0" y="22"/>
                    </a:cubicBezTo>
                    <a:cubicBezTo>
                      <a:pt x="0" y="9"/>
                      <a:pt x="9" y="0"/>
                      <a:pt x="22" y="0"/>
                    </a:cubicBezTo>
                    <a:cubicBezTo>
                      <a:pt x="34" y="0"/>
                      <a:pt x="44" y="9"/>
                      <a:pt x="44" y="22"/>
                    </a:cubicBezTo>
                    <a:cubicBezTo>
                      <a:pt x="44" y="25"/>
                      <a:pt x="43" y="28"/>
                      <a:pt x="41" y="31"/>
                    </a:cubicBezTo>
                    <a:cubicBezTo>
                      <a:pt x="41" y="31"/>
                      <a:pt x="41" y="31"/>
                      <a:pt x="78" y="72"/>
                    </a:cubicBezTo>
                    <a:cubicBezTo>
                      <a:pt x="92" y="65"/>
                      <a:pt x="108" y="61"/>
                      <a:pt x="123" y="61"/>
                    </a:cubicBezTo>
                    <a:cubicBezTo>
                      <a:pt x="139" y="61"/>
                      <a:pt x="153" y="65"/>
                      <a:pt x="166" y="71"/>
                    </a:cubicBezTo>
                    <a:cubicBezTo>
                      <a:pt x="166" y="71"/>
                      <a:pt x="166" y="71"/>
                      <a:pt x="201" y="31"/>
                    </a:cubicBezTo>
                    <a:cubicBezTo>
                      <a:pt x="199" y="28"/>
                      <a:pt x="199" y="25"/>
                      <a:pt x="199" y="22"/>
                    </a:cubicBezTo>
                    <a:cubicBezTo>
                      <a:pt x="199" y="9"/>
                      <a:pt x="209" y="0"/>
                      <a:pt x="221" y="0"/>
                    </a:cubicBezTo>
                    <a:cubicBezTo>
                      <a:pt x="233" y="0"/>
                      <a:pt x="243" y="9"/>
                      <a:pt x="243" y="22"/>
                    </a:cubicBezTo>
                    <a:cubicBezTo>
                      <a:pt x="243" y="34"/>
                      <a:pt x="233" y="44"/>
                      <a:pt x="221" y="44"/>
                    </a:cubicBezTo>
                    <a:cubicBezTo>
                      <a:pt x="220" y="44"/>
                      <a:pt x="219" y="44"/>
                      <a:pt x="218" y="43"/>
                    </a:cubicBezTo>
                    <a:cubicBezTo>
                      <a:pt x="218" y="43"/>
                      <a:pt x="218" y="43"/>
                      <a:pt x="183" y="83"/>
                    </a:cubicBezTo>
                    <a:cubicBezTo>
                      <a:pt x="193" y="90"/>
                      <a:pt x="202" y="99"/>
                      <a:pt x="209" y="111"/>
                    </a:cubicBezTo>
                    <a:cubicBezTo>
                      <a:pt x="207" y="112"/>
                      <a:pt x="206" y="114"/>
                      <a:pt x="203" y="115"/>
                    </a:cubicBezTo>
                    <a:cubicBezTo>
                      <a:pt x="183" y="125"/>
                      <a:pt x="154" y="133"/>
                      <a:pt x="123" y="133"/>
                    </a:cubicBezTo>
                    <a:cubicBezTo>
                      <a:pt x="92" y="133"/>
                      <a:pt x="64" y="125"/>
                      <a:pt x="43" y="11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34281" tIns="17141" rIns="34281" bIns="171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44" name="Part2"/>
              <p:cNvSpPr>
                <a:spLocks/>
              </p:cNvSpPr>
              <p:nvPr/>
            </p:nvSpPr>
            <p:spPr bwMode="auto">
              <a:xfrm>
                <a:off x="14958100" y="2771925"/>
                <a:ext cx="223846" cy="342972"/>
              </a:xfrm>
              <a:custGeom>
                <a:avLst/>
                <a:gdLst>
                  <a:gd name="T0" fmla="*/ 156 w 171"/>
                  <a:gd name="T1" fmla="*/ 118 h 262"/>
                  <a:gd name="T2" fmla="*/ 111 w 171"/>
                  <a:gd name="T3" fmla="*/ 118 h 262"/>
                  <a:gd name="T4" fmla="*/ 105 w 171"/>
                  <a:gd name="T5" fmla="*/ 158 h 262"/>
                  <a:gd name="T6" fmla="*/ 150 w 171"/>
                  <a:gd name="T7" fmla="*/ 176 h 262"/>
                  <a:gd name="T8" fmla="*/ 156 w 171"/>
                  <a:gd name="T9" fmla="*/ 194 h 262"/>
                  <a:gd name="T10" fmla="*/ 145 w 171"/>
                  <a:gd name="T11" fmla="*/ 202 h 262"/>
                  <a:gd name="T12" fmla="*/ 140 w 171"/>
                  <a:gd name="T13" fmla="*/ 200 h 262"/>
                  <a:gd name="T14" fmla="*/ 97 w 171"/>
                  <a:gd name="T15" fmla="*/ 182 h 262"/>
                  <a:gd name="T16" fmla="*/ 0 w 171"/>
                  <a:gd name="T17" fmla="*/ 262 h 262"/>
                  <a:gd name="T18" fmla="*/ 0 w 171"/>
                  <a:gd name="T19" fmla="*/ 216 h 262"/>
                  <a:gd name="T20" fmla="*/ 75 w 171"/>
                  <a:gd name="T21" fmla="*/ 133 h 262"/>
                  <a:gd name="T22" fmla="*/ 0 w 171"/>
                  <a:gd name="T23" fmla="*/ 50 h 262"/>
                  <a:gd name="T24" fmla="*/ 0 w 171"/>
                  <a:gd name="T25" fmla="*/ 23 h 262"/>
                  <a:gd name="T26" fmla="*/ 80 w 171"/>
                  <a:gd name="T27" fmla="*/ 4 h 262"/>
                  <a:gd name="T28" fmla="*/ 87 w 171"/>
                  <a:gd name="T29" fmla="*/ 0 h 262"/>
                  <a:gd name="T30" fmla="*/ 98 w 171"/>
                  <a:gd name="T31" fmla="*/ 27 h 262"/>
                  <a:gd name="T32" fmla="*/ 140 w 171"/>
                  <a:gd name="T33" fmla="*/ 10 h 262"/>
                  <a:gd name="T34" fmla="*/ 156 w 171"/>
                  <a:gd name="T35" fmla="*/ 17 h 262"/>
                  <a:gd name="T36" fmla="*/ 150 w 171"/>
                  <a:gd name="T37" fmla="*/ 34 h 262"/>
                  <a:gd name="T38" fmla="*/ 106 w 171"/>
                  <a:gd name="T39" fmla="*/ 53 h 262"/>
                  <a:gd name="T40" fmla="*/ 111 w 171"/>
                  <a:gd name="T41" fmla="*/ 92 h 262"/>
                  <a:gd name="T42" fmla="*/ 158 w 171"/>
                  <a:gd name="T43" fmla="*/ 92 h 262"/>
                  <a:gd name="T44" fmla="*/ 171 w 171"/>
                  <a:gd name="T45" fmla="*/ 105 h 262"/>
                  <a:gd name="T46" fmla="*/ 156 w 171"/>
                  <a:gd name="T47" fmla="*/ 118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1" h="262">
                    <a:moveTo>
                      <a:pt x="156" y="118"/>
                    </a:moveTo>
                    <a:cubicBezTo>
                      <a:pt x="111" y="118"/>
                      <a:pt x="111" y="118"/>
                      <a:pt x="111" y="118"/>
                    </a:cubicBezTo>
                    <a:cubicBezTo>
                      <a:pt x="111" y="132"/>
                      <a:pt x="109" y="145"/>
                      <a:pt x="105" y="158"/>
                    </a:cubicBezTo>
                    <a:cubicBezTo>
                      <a:pt x="105" y="158"/>
                      <a:pt x="105" y="158"/>
                      <a:pt x="150" y="176"/>
                    </a:cubicBezTo>
                    <a:cubicBezTo>
                      <a:pt x="156" y="180"/>
                      <a:pt x="159" y="187"/>
                      <a:pt x="156" y="194"/>
                    </a:cubicBezTo>
                    <a:cubicBezTo>
                      <a:pt x="155" y="198"/>
                      <a:pt x="150" y="202"/>
                      <a:pt x="145" y="202"/>
                    </a:cubicBezTo>
                    <a:cubicBezTo>
                      <a:pt x="144" y="202"/>
                      <a:pt x="141" y="200"/>
                      <a:pt x="140" y="200"/>
                    </a:cubicBezTo>
                    <a:cubicBezTo>
                      <a:pt x="140" y="200"/>
                      <a:pt x="140" y="200"/>
                      <a:pt x="97" y="182"/>
                    </a:cubicBezTo>
                    <a:cubicBezTo>
                      <a:pt x="78" y="222"/>
                      <a:pt x="43" y="248"/>
                      <a:pt x="0" y="262"/>
                    </a:cubicBezTo>
                    <a:cubicBezTo>
                      <a:pt x="0" y="262"/>
                      <a:pt x="0" y="262"/>
                      <a:pt x="0" y="216"/>
                    </a:cubicBezTo>
                    <a:cubicBezTo>
                      <a:pt x="42" y="212"/>
                      <a:pt x="75" y="176"/>
                      <a:pt x="75" y="133"/>
                    </a:cubicBezTo>
                    <a:cubicBezTo>
                      <a:pt x="75" y="90"/>
                      <a:pt x="42" y="54"/>
                      <a:pt x="0" y="50"/>
                    </a:cubicBezTo>
                    <a:cubicBezTo>
                      <a:pt x="0" y="41"/>
                      <a:pt x="0" y="32"/>
                      <a:pt x="0" y="23"/>
                    </a:cubicBezTo>
                    <a:cubicBezTo>
                      <a:pt x="31" y="23"/>
                      <a:pt x="58" y="16"/>
                      <a:pt x="80" y="4"/>
                    </a:cubicBezTo>
                    <a:cubicBezTo>
                      <a:pt x="81" y="3"/>
                      <a:pt x="84" y="1"/>
                      <a:pt x="87" y="0"/>
                    </a:cubicBezTo>
                    <a:cubicBezTo>
                      <a:pt x="92" y="9"/>
                      <a:pt x="96" y="18"/>
                      <a:pt x="98" y="27"/>
                    </a:cubicBezTo>
                    <a:cubicBezTo>
                      <a:pt x="98" y="27"/>
                      <a:pt x="98" y="27"/>
                      <a:pt x="140" y="10"/>
                    </a:cubicBezTo>
                    <a:cubicBezTo>
                      <a:pt x="146" y="8"/>
                      <a:pt x="154" y="10"/>
                      <a:pt x="156" y="17"/>
                    </a:cubicBezTo>
                    <a:cubicBezTo>
                      <a:pt x="159" y="23"/>
                      <a:pt x="156" y="31"/>
                      <a:pt x="150" y="34"/>
                    </a:cubicBezTo>
                    <a:cubicBezTo>
                      <a:pt x="150" y="34"/>
                      <a:pt x="150" y="34"/>
                      <a:pt x="106" y="53"/>
                    </a:cubicBezTo>
                    <a:cubicBezTo>
                      <a:pt x="109" y="65"/>
                      <a:pt x="111" y="78"/>
                      <a:pt x="111" y="92"/>
                    </a:cubicBezTo>
                    <a:cubicBezTo>
                      <a:pt x="111" y="92"/>
                      <a:pt x="111" y="92"/>
                      <a:pt x="158" y="92"/>
                    </a:cubicBezTo>
                    <a:cubicBezTo>
                      <a:pt x="164" y="92"/>
                      <a:pt x="171" y="97"/>
                      <a:pt x="171" y="105"/>
                    </a:cubicBezTo>
                    <a:cubicBezTo>
                      <a:pt x="169" y="111"/>
                      <a:pt x="164" y="118"/>
                      <a:pt x="156" y="118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34281" tIns="17141" rIns="34281" bIns="171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45" name="Part1"/>
              <p:cNvSpPr>
                <a:spLocks noEditPoints="1"/>
              </p:cNvSpPr>
              <p:nvPr/>
            </p:nvSpPr>
            <p:spPr bwMode="auto">
              <a:xfrm>
                <a:off x="14861444" y="2871397"/>
                <a:ext cx="171149" cy="149861"/>
              </a:xfrm>
              <a:custGeom>
                <a:avLst/>
                <a:gdLst/>
                <a:ahLst/>
                <a:cxnLst>
                  <a:cxn ang="0">
                    <a:pos x="139" y="218"/>
                  </a:cxn>
                  <a:cxn ang="0">
                    <a:pos x="185" y="230"/>
                  </a:cxn>
                  <a:cxn ang="0">
                    <a:pos x="189" y="232"/>
                  </a:cxn>
                  <a:cxn ang="0">
                    <a:pos x="216" y="256"/>
                  </a:cxn>
                  <a:cxn ang="0">
                    <a:pos x="223" y="251"/>
                  </a:cxn>
                  <a:cxn ang="0">
                    <a:pos x="221" y="240"/>
                  </a:cxn>
                  <a:cxn ang="0">
                    <a:pos x="248" y="207"/>
                  </a:cxn>
                  <a:cxn ang="0">
                    <a:pos x="248" y="199"/>
                  </a:cxn>
                  <a:cxn ang="0">
                    <a:pos x="241" y="12"/>
                  </a:cxn>
                  <a:cxn ang="0">
                    <a:pos x="241" y="0"/>
                  </a:cxn>
                  <a:cxn ang="0">
                    <a:pos x="136" y="173"/>
                  </a:cxn>
                  <a:cxn ang="0">
                    <a:pos x="38" y="355"/>
                  </a:cxn>
                  <a:cxn ang="0">
                    <a:pos x="52" y="347"/>
                  </a:cxn>
                  <a:cxn ang="0">
                    <a:pos x="139" y="218"/>
                  </a:cxn>
                  <a:cxn ang="0">
                    <a:pos x="188" y="149"/>
                  </a:cxn>
                  <a:cxn ang="0">
                    <a:pos x="318" y="148"/>
                  </a:cxn>
                  <a:cxn ang="0">
                    <a:pos x="329" y="128"/>
                  </a:cxn>
                  <a:cxn ang="0">
                    <a:pos x="180" y="128"/>
                  </a:cxn>
                  <a:cxn ang="0">
                    <a:pos x="188" y="149"/>
                  </a:cxn>
                  <a:cxn ang="0">
                    <a:pos x="122" y="235"/>
                  </a:cxn>
                  <a:cxn ang="0">
                    <a:pos x="201" y="362"/>
                  </a:cxn>
                  <a:cxn ang="0">
                    <a:pos x="213" y="342"/>
                  </a:cxn>
                  <a:cxn ang="0">
                    <a:pos x="142" y="233"/>
                  </a:cxn>
                  <a:cxn ang="0">
                    <a:pos x="122" y="235"/>
                  </a:cxn>
                  <a:cxn ang="0">
                    <a:pos x="274" y="319"/>
                  </a:cxn>
                  <a:cxn ang="0">
                    <a:pos x="286" y="268"/>
                  </a:cxn>
                  <a:cxn ang="0">
                    <a:pos x="277" y="263"/>
                  </a:cxn>
                  <a:cxn ang="0">
                    <a:pos x="254" y="272"/>
                  </a:cxn>
                  <a:cxn ang="0">
                    <a:pos x="229" y="261"/>
                  </a:cxn>
                  <a:cxn ang="0">
                    <a:pos x="222" y="266"/>
                  </a:cxn>
                  <a:cxn ang="0">
                    <a:pos x="232" y="319"/>
                  </a:cxn>
                  <a:cxn ang="0">
                    <a:pos x="139" y="406"/>
                  </a:cxn>
                  <a:cxn ang="0">
                    <a:pos x="63" y="367"/>
                  </a:cxn>
                  <a:cxn ang="0">
                    <a:pos x="50" y="375"/>
                  </a:cxn>
                  <a:cxn ang="0">
                    <a:pos x="151" y="426"/>
                  </a:cxn>
                  <a:cxn ang="0">
                    <a:pos x="254" y="371"/>
                  </a:cxn>
                  <a:cxn ang="0">
                    <a:pos x="455" y="375"/>
                  </a:cxn>
                  <a:cxn ang="0">
                    <a:pos x="443" y="369"/>
                  </a:cxn>
                  <a:cxn ang="0">
                    <a:pos x="274" y="319"/>
                  </a:cxn>
                  <a:cxn ang="0">
                    <a:pos x="369" y="173"/>
                  </a:cxn>
                  <a:cxn ang="0">
                    <a:pos x="266" y="0"/>
                  </a:cxn>
                  <a:cxn ang="0">
                    <a:pos x="266" y="12"/>
                  </a:cxn>
                  <a:cxn ang="0">
                    <a:pos x="260" y="199"/>
                  </a:cxn>
                  <a:cxn ang="0">
                    <a:pos x="260" y="207"/>
                  </a:cxn>
                  <a:cxn ang="0">
                    <a:pos x="287" y="240"/>
                  </a:cxn>
                  <a:cxn ang="0">
                    <a:pos x="285" y="252"/>
                  </a:cxn>
                  <a:cxn ang="0">
                    <a:pos x="292" y="256"/>
                  </a:cxn>
                  <a:cxn ang="0">
                    <a:pos x="369" y="217"/>
                  </a:cxn>
                  <a:cxn ang="0">
                    <a:pos x="455" y="347"/>
                  </a:cxn>
                  <a:cxn ang="0">
                    <a:pos x="469" y="355"/>
                  </a:cxn>
                  <a:cxn ang="0">
                    <a:pos x="369" y="173"/>
                  </a:cxn>
                  <a:cxn ang="0">
                    <a:pos x="297" y="342"/>
                  </a:cxn>
                  <a:cxn ang="0">
                    <a:pos x="307" y="362"/>
                  </a:cxn>
                  <a:cxn ang="0">
                    <a:pos x="388" y="234"/>
                  </a:cxn>
                  <a:cxn ang="0">
                    <a:pos x="366" y="232"/>
                  </a:cxn>
                  <a:cxn ang="0">
                    <a:pos x="297" y="342"/>
                  </a:cxn>
                </a:cxnLst>
                <a:rect l="0" t="0" r="r" b="b"/>
                <a:pathLst>
                  <a:path w="507" h="444">
                    <a:moveTo>
                      <a:pt x="139" y="218"/>
                    </a:moveTo>
                    <a:cubicBezTo>
                      <a:pt x="155" y="218"/>
                      <a:pt x="171" y="222"/>
                      <a:pt x="185" y="230"/>
                    </a:cubicBezTo>
                    <a:cubicBezTo>
                      <a:pt x="187" y="232"/>
                      <a:pt x="189" y="232"/>
                      <a:pt x="189" y="232"/>
                    </a:cubicBezTo>
                    <a:cubicBezTo>
                      <a:pt x="201" y="240"/>
                      <a:pt x="209" y="248"/>
                      <a:pt x="216" y="256"/>
                    </a:cubicBezTo>
                    <a:cubicBezTo>
                      <a:pt x="223" y="251"/>
                      <a:pt x="223" y="251"/>
                      <a:pt x="223" y="251"/>
                    </a:cubicBezTo>
                    <a:cubicBezTo>
                      <a:pt x="222" y="247"/>
                      <a:pt x="221" y="243"/>
                      <a:pt x="221" y="240"/>
                    </a:cubicBezTo>
                    <a:cubicBezTo>
                      <a:pt x="221" y="224"/>
                      <a:pt x="233" y="210"/>
                      <a:pt x="248" y="207"/>
                    </a:cubicBezTo>
                    <a:cubicBezTo>
                      <a:pt x="248" y="199"/>
                      <a:pt x="248" y="199"/>
                      <a:pt x="248" y="199"/>
                    </a:cubicBezTo>
                    <a:cubicBezTo>
                      <a:pt x="136" y="190"/>
                      <a:pt x="128" y="22"/>
                      <a:pt x="241" y="12"/>
                    </a:cubicBezTo>
                    <a:cubicBezTo>
                      <a:pt x="241" y="0"/>
                      <a:pt x="241" y="0"/>
                      <a:pt x="241" y="0"/>
                    </a:cubicBezTo>
                    <a:cubicBezTo>
                      <a:pt x="156" y="6"/>
                      <a:pt x="104" y="98"/>
                      <a:pt x="136" y="173"/>
                    </a:cubicBezTo>
                    <a:cubicBezTo>
                      <a:pt x="46" y="182"/>
                      <a:pt x="0" y="278"/>
                      <a:pt x="38" y="355"/>
                    </a:cubicBezTo>
                    <a:cubicBezTo>
                      <a:pt x="52" y="347"/>
                      <a:pt x="52" y="347"/>
                      <a:pt x="52" y="347"/>
                    </a:cubicBezTo>
                    <a:cubicBezTo>
                      <a:pt x="18" y="290"/>
                      <a:pt x="77" y="218"/>
                      <a:pt x="139" y="218"/>
                    </a:cubicBezTo>
                    <a:close/>
                    <a:moveTo>
                      <a:pt x="188" y="149"/>
                    </a:moveTo>
                    <a:cubicBezTo>
                      <a:pt x="227" y="118"/>
                      <a:pt x="280" y="118"/>
                      <a:pt x="318" y="148"/>
                    </a:cubicBezTo>
                    <a:cubicBezTo>
                      <a:pt x="323" y="142"/>
                      <a:pt x="327" y="136"/>
                      <a:pt x="329" y="128"/>
                    </a:cubicBezTo>
                    <a:cubicBezTo>
                      <a:pt x="283" y="96"/>
                      <a:pt x="225" y="96"/>
                      <a:pt x="180" y="128"/>
                    </a:cubicBezTo>
                    <a:cubicBezTo>
                      <a:pt x="182" y="139"/>
                      <a:pt x="184" y="143"/>
                      <a:pt x="188" y="149"/>
                    </a:cubicBezTo>
                    <a:close/>
                    <a:moveTo>
                      <a:pt x="122" y="235"/>
                    </a:moveTo>
                    <a:cubicBezTo>
                      <a:pt x="120" y="289"/>
                      <a:pt x="150" y="340"/>
                      <a:pt x="201" y="362"/>
                    </a:cubicBezTo>
                    <a:cubicBezTo>
                      <a:pt x="205" y="356"/>
                      <a:pt x="209" y="350"/>
                      <a:pt x="213" y="342"/>
                    </a:cubicBezTo>
                    <a:cubicBezTo>
                      <a:pt x="168" y="324"/>
                      <a:pt x="140" y="279"/>
                      <a:pt x="142" y="233"/>
                    </a:cubicBezTo>
                    <a:cubicBezTo>
                      <a:pt x="136" y="233"/>
                      <a:pt x="128" y="233"/>
                      <a:pt x="122" y="235"/>
                    </a:cubicBezTo>
                    <a:close/>
                    <a:moveTo>
                      <a:pt x="274" y="319"/>
                    </a:moveTo>
                    <a:cubicBezTo>
                      <a:pt x="273" y="296"/>
                      <a:pt x="274" y="288"/>
                      <a:pt x="286" y="268"/>
                    </a:cubicBezTo>
                    <a:cubicBezTo>
                      <a:pt x="277" y="263"/>
                      <a:pt x="277" y="263"/>
                      <a:pt x="277" y="263"/>
                    </a:cubicBezTo>
                    <a:cubicBezTo>
                      <a:pt x="271" y="269"/>
                      <a:pt x="263" y="272"/>
                      <a:pt x="254" y="272"/>
                    </a:cubicBezTo>
                    <a:cubicBezTo>
                      <a:pt x="244" y="272"/>
                      <a:pt x="235" y="268"/>
                      <a:pt x="229" y="261"/>
                    </a:cubicBezTo>
                    <a:cubicBezTo>
                      <a:pt x="222" y="266"/>
                      <a:pt x="222" y="266"/>
                      <a:pt x="222" y="266"/>
                    </a:cubicBezTo>
                    <a:cubicBezTo>
                      <a:pt x="230" y="282"/>
                      <a:pt x="232" y="299"/>
                      <a:pt x="232" y="319"/>
                    </a:cubicBezTo>
                    <a:cubicBezTo>
                      <a:pt x="230" y="367"/>
                      <a:pt x="187" y="406"/>
                      <a:pt x="139" y="406"/>
                    </a:cubicBezTo>
                    <a:cubicBezTo>
                      <a:pt x="107" y="406"/>
                      <a:pt x="81" y="391"/>
                      <a:pt x="63" y="367"/>
                    </a:cubicBezTo>
                    <a:cubicBezTo>
                      <a:pt x="50" y="375"/>
                      <a:pt x="50" y="375"/>
                      <a:pt x="50" y="375"/>
                    </a:cubicBezTo>
                    <a:cubicBezTo>
                      <a:pt x="73" y="405"/>
                      <a:pt x="111" y="426"/>
                      <a:pt x="151" y="426"/>
                    </a:cubicBezTo>
                    <a:cubicBezTo>
                      <a:pt x="194" y="426"/>
                      <a:pt x="230" y="404"/>
                      <a:pt x="254" y="371"/>
                    </a:cubicBezTo>
                    <a:cubicBezTo>
                      <a:pt x="302" y="441"/>
                      <a:pt x="405" y="444"/>
                      <a:pt x="455" y="375"/>
                    </a:cubicBezTo>
                    <a:cubicBezTo>
                      <a:pt x="443" y="369"/>
                      <a:pt x="443" y="369"/>
                      <a:pt x="443" y="369"/>
                    </a:cubicBezTo>
                    <a:cubicBezTo>
                      <a:pt x="394" y="437"/>
                      <a:pt x="281" y="403"/>
                      <a:pt x="274" y="319"/>
                    </a:cubicBezTo>
                    <a:close/>
                    <a:moveTo>
                      <a:pt x="369" y="173"/>
                    </a:moveTo>
                    <a:cubicBezTo>
                      <a:pt x="402" y="97"/>
                      <a:pt x="351" y="8"/>
                      <a:pt x="266" y="0"/>
                    </a:cubicBezTo>
                    <a:cubicBezTo>
                      <a:pt x="266" y="12"/>
                      <a:pt x="266" y="12"/>
                      <a:pt x="266" y="12"/>
                    </a:cubicBezTo>
                    <a:cubicBezTo>
                      <a:pt x="376" y="26"/>
                      <a:pt x="370" y="190"/>
                      <a:pt x="260" y="199"/>
                    </a:cubicBezTo>
                    <a:cubicBezTo>
                      <a:pt x="260" y="207"/>
                      <a:pt x="260" y="207"/>
                      <a:pt x="260" y="207"/>
                    </a:cubicBezTo>
                    <a:cubicBezTo>
                      <a:pt x="275" y="210"/>
                      <a:pt x="287" y="224"/>
                      <a:pt x="287" y="240"/>
                    </a:cubicBezTo>
                    <a:cubicBezTo>
                      <a:pt x="287" y="244"/>
                      <a:pt x="286" y="248"/>
                      <a:pt x="285" y="252"/>
                    </a:cubicBezTo>
                    <a:cubicBezTo>
                      <a:pt x="292" y="256"/>
                      <a:pt x="292" y="256"/>
                      <a:pt x="292" y="256"/>
                    </a:cubicBezTo>
                    <a:cubicBezTo>
                      <a:pt x="309" y="234"/>
                      <a:pt x="337" y="218"/>
                      <a:pt x="369" y="217"/>
                    </a:cubicBezTo>
                    <a:cubicBezTo>
                      <a:pt x="436" y="217"/>
                      <a:pt x="479" y="288"/>
                      <a:pt x="455" y="347"/>
                    </a:cubicBezTo>
                    <a:cubicBezTo>
                      <a:pt x="469" y="355"/>
                      <a:pt x="469" y="355"/>
                      <a:pt x="469" y="355"/>
                    </a:cubicBezTo>
                    <a:cubicBezTo>
                      <a:pt x="507" y="278"/>
                      <a:pt x="458" y="181"/>
                      <a:pt x="369" y="173"/>
                    </a:cubicBezTo>
                    <a:close/>
                    <a:moveTo>
                      <a:pt x="297" y="342"/>
                    </a:moveTo>
                    <a:cubicBezTo>
                      <a:pt x="301" y="350"/>
                      <a:pt x="303" y="356"/>
                      <a:pt x="307" y="362"/>
                    </a:cubicBezTo>
                    <a:cubicBezTo>
                      <a:pt x="358" y="340"/>
                      <a:pt x="390" y="289"/>
                      <a:pt x="388" y="234"/>
                    </a:cubicBezTo>
                    <a:cubicBezTo>
                      <a:pt x="382" y="232"/>
                      <a:pt x="374" y="232"/>
                      <a:pt x="366" y="232"/>
                    </a:cubicBezTo>
                    <a:cubicBezTo>
                      <a:pt x="370" y="281"/>
                      <a:pt x="341" y="326"/>
                      <a:pt x="297" y="342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txBody>
              <a:bodyPr vert="horz" wrap="square" lIns="34281" tIns="17141" rIns="34281" bIns="1714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  <p:sp>
          <p:nvSpPr>
            <p:cNvPr id="41" name="No_Symbol"/>
            <p:cNvSpPr/>
            <p:nvPr/>
          </p:nvSpPr>
          <p:spPr>
            <a:xfrm>
              <a:off x="6822684" y="1570849"/>
              <a:ext cx="389912" cy="389912"/>
            </a:xfrm>
            <a:prstGeom prst="noSmoking">
              <a:avLst>
                <a:gd name="adj" fmla="val 9918"/>
              </a:avLst>
            </a:prstGeom>
            <a:solidFill>
              <a:srgbClr val="C00000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u="none" strike="noStrike" kern="1200" cap="none" spc="0" normalizeH="0" baseline="-25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grpSp>
        <p:nvGrpSpPr>
          <p:cNvPr id="512" name="Group 511"/>
          <p:cNvGrpSpPr/>
          <p:nvPr/>
        </p:nvGrpSpPr>
        <p:grpSpPr>
          <a:xfrm>
            <a:off x="3072448" y="2640459"/>
            <a:ext cx="168826" cy="168826"/>
            <a:chOff x="3601944" y="2640459"/>
            <a:chExt cx="168826" cy="168826"/>
          </a:xfrm>
        </p:grpSpPr>
        <p:sp>
          <p:nvSpPr>
            <p:cNvPr id="513" name="Freeform: Shape 512"/>
            <p:cNvSpPr/>
            <p:nvPr/>
          </p:nvSpPr>
          <p:spPr>
            <a:xfrm rot="16200000">
              <a:off x="3601944" y="2640459"/>
              <a:ext cx="168826" cy="168826"/>
            </a:xfrm>
            <a:custGeom>
              <a:avLst/>
              <a:gdLst>
                <a:gd name="connsiteX0" fmla="*/ 0 w 1524000"/>
                <a:gd name="connsiteY0" fmla="*/ 762000 h 1524000"/>
                <a:gd name="connsiteX1" fmla="*/ 762000 w 1524000"/>
                <a:gd name="connsiteY1" fmla="*/ 0 h 1524000"/>
                <a:gd name="connsiteX2" fmla="*/ 1524000 w 1524000"/>
                <a:gd name="connsiteY2" fmla="*/ 762000 h 1524000"/>
                <a:gd name="connsiteX3" fmla="*/ 762000 w 1524000"/>
                <a:gd name="connsiteY3" fmla="*/ 1524000 h 1524000"/>
                <a:gd name="connsiteX4" fmla="*/ 0 w 1524000"/>
                <a:gd name="connsiteY4" fmla="*/ 762000 h 152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0" h="1524000">
                  <a:moveTo>
                    <a:pt x="0" y="762000"/>
                  </a:moveTo>
                  <a:cubicBezTo>
                    <a:pt x="0" y="341159"/>
                    <a:pt x="341159" y="0"/>
                    <a:pt x="762000" y="0"/>
                  </a:cubicBezTo>
                  <a:cubicBezTo>
                    <a:pt x="1182841" y="0"/>
                    <a:pt x="1524000" y="341159"/>
                    <a:pt x="1524000" y="762000"/>
                  </a:cubicBezTo>
                  <a:cubicBezTo>
                    <a:pt x="1524000" y="1182841"/>
                    <a:pt x="1182841" y="1524000"/>
                    <a:pt x="762000" y="1524000"/>
                  </a:cubicBezTo>
                  <a:cubicBezTo>
                    <a:pt x="341159" y="1524000"/>
                    <a:pt x="0" y="1182841"/>
                    <a:pt x="0" y="762000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9831" tIns="149831" rIns="149831" bIns="149831" numCol="1" spcCol="1270" anchor="ctr" anchorCtr="0">
              <a:noAutofit/>
            </a:bodyPr>
            <a:lstStyle/>
            <a:p>
              <a:pPr marL="0" marR="0" lvl="0" indent="0" algn="ctr" defTabSz="850011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514" name="TextBox 513"/>
            <p:cNvSpPr txBox="1"/>
            <p:nvPr/>
          </p:nvSpPr>
          <p:spPr>
            <a:xfrm>
              <a:off x="3615368" y="2691633"/>
              <a:ext cx="138742" cy="6155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iscoSans ExtraLight" charset="0"/>
                  <a:ea typeface="CiscoSans ExtraLight" charset="0"/>
                  <a:cs typeface="CiscoSans ExtraLight" charset="0"/>
                </a:rPr>
                <a:t>Web</a:t>
              </a:r>
            </a:p>
          </p:txBody>
        </p:sp>
      </p:grpSp>
      <p:pic>
        <p:nvPicPr>
          <p:cNvPr id="515" name="Picture 2" descr="Cisco logo.svg"/>
          <p:cNvPicPr>
            <a:picLocks noChangeAspect="1" noChangeArrowheads="1"/>
          </p:cNvPicPr>
          <p:nvPr/>
        </p:nvPicPr>
        <p:blipFill>
          <a:blip r:embed="rId59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8693" y="979061"/>
            <a:ext cx="168172" cy="89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6" name="Picture 2" descr="Cisco logo.svg"/>
          <p:cNvPicPr>
            <a:picLocks noChangeAspect="1" noChangeArrowheads="1"/>
          </p:cNvPicPr>
          <p:nvPr/>
        </p:nvPicPr>
        <p:blipFill>
          <a:blip r:embed="rId59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5704" y="626746"/>
            <a:ext cx="168172" cy="89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7" name="Picture 2" descr="Cisco logo.svg"/>
          <p:cNvPicPr>
            <a:picLocks noChangeAspect="1" noChangeArrowheads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0392" y="518791"/>
            <a:ext cx="210974" cy="111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3" name="Oval 232"/>
          <p:cNvSpPr/>
          <p:nvPr/>
        </p:nvSpPr>
        <p:spPr>
          <a:xfrm>
            <a:off x="771907" y="2303855"/>
            <a:ext cx="453142" cy="453142"/>
          </a:xfrm>
          <a:prstGeom prst="ellipse">
            <a:avLst/>
          </a:prstGeom>
          <a:solidFill>
            <a:schemeClr val="bg1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74138" y="2396111"/>
            <a:ext cx="44219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Cisco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rPr>
              <a:t>Anyconnect</a:t>
            </a:r>
            <a:endParaRPr kumimoji="0" lang="en-US" sz="6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pic>
        <p:nvPicPr>
          <p:cNvPr id="387" name="Picture 386"/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643401" y="2261986"/>
            <a:ext cx="267998" cy="133998"/>
          </a:xfrm>
          <a:prstGeom prst="ellipse">
            <a:avLst/>
          </a:prstGeom>
        </p:spPr>
      </p:pic>
      <p:grpSp>
        <p:nvGrpSpPr>
          <p:cNvPr id="395" name="Group 394"/>
          <p:cNvGrpSpPr/>
          <p:nvPr/>
        </p:nvGrpSpPr>
        <p:grpSpPr>
          <a:xfrm>
            <a:off x="568426" y="2410425"/>
            <a:ext cx="218889" cy="218889"/>
            <a:chOff x="7733737" y="5597493"/>
            <a:chExt cx="509582" cy="509582"/>
          </a:xfrm>
          <a:noFill/>
        </p:grpSpPr>
        <p:sp>
          <p:nvSpPr>
            <p:cNvPr id="396" name="Oval 395"/>
            <p:cNvSpPr/>
            <p:nvPr/>
          </p:nvSpPr>
          <p:spPr>
            <a:xfrm>
              <a:off x="7733737" y="5597493"/>
              <a:ext cx="509582" cy="50958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0070C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08610" rIns="51435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97" name="Freeform 11"/>
            <p:cNvSpPr>
              <a:spLocks noEditPoints="1"/>
            </p:cNvSpPr>
            <p:nvPr/>
          </p:nvSpPr>
          <p:spPr bwMode="auto">
            <a:xfrm>
              <a:off x="7779162" y="5740877"/>
              <a:ext cx="428389" cy="249978"/>
            </a:xfrm>
            <a:custGeom>
              <a:avLst/>
              <a:gdLst>
                <a:gd name="T0" fmla="*/ 109 w 239"/>
                <a:gd name="T1" fmla="*/ 16 h 139"/>
                <a:gd name="T2" fmla="*/ 127 w 239"/>
                <a:gd name="T3" fmla="*/ 16 h 139"/>
                <a:gd name="T4" fmla="*/ 129 w 239"/>
                <a:gd name="T5" fmla="*/ 12 h 139"/>
                <a:gd name="T6" fmla="*/ 159 w 239"/>
                <a:gd name="T7" fmla="*/ 9 h 139"/>
                <a:gd name="T8" fmla="*/ 168 w 239"/>
                <a:gd name="T9" fmla="*/ 18 h 139"/>
                <a:gd name="T10" fmla="*/ 171 w 239"/>
                <a:gd name="T11" fmla="*/ 20 h 139"/>
                <a:gd name="T12" fmla="*/ 197 w 239"/>
                <a:gd name="T13" fmla="*/ 29 h 139"/>
                <a:gd name="T14" fmla="*/ 217 w 239"/>
                <a:gd name="T15" fmla="*/ 46 h 139"/>
                <a:gd name="T16" fmla="*/ 226 w 239"/>
                <a:gd name="T17" fmla="*/ 112 h 139"/>
                <a:gd name="T18" fmla="*/ 173 w 239"/>
                <a:gd name="T19" fmla="*/ 135 h 139"/>
                <a:gd name="T20" fmla="*/ 132 w 239"/>
                <a:gd name="T21" fmla="*/ 95 h 139"/>
                <a:gd name="T22" fmla="*/ 131 w 239"/>
                <a:gd name="T23" fmla="*/ 93 h 139"/>
                <a:gd name="T24" fmla="*/ 104 w 239"/>
                <a:gd name="T25" fmla="*/ 93 h 139"/>
                <a:gd name="T26" fmla="*/ 104 w 239"/>
                <a:gd name="T27" fmla="*/ 96 h 139"/>
                <a:gd name="T28" fmla="*/ 47 w 239"/>
                <a:gd name="T29" fmla="*/ 135 h 139"/>
                <a:gd name="T30" fmla="*/ 2 w 239"/>
                <a:gd name="T31" fmla="*/ 90 h 139"/>
                <a:gd name="T32" fmla="*/ 19 w 239"/>
                <a:gd name="T33" fmla="*/ 46 h 139"/>
                <a:gd name="T34" fmla="*/ 42 w 239"/>
                <a:gd name="T35" fmla="*/ 28 h 139"/>
                <a:gd name="T36" fmla="*/ 64 w 239"/>
                <a:gd name="T37" fmla="*/ 20 h 139"/>
                <a:gd name="T38" fmla="*/ 67 w 239"/>
                <a:gd name="T39" fmla="*/ 18 h 139"/>
                <a:gd name="T40" fmla="*/ 76 w 239"/>
                <a:gd name="T41" fmla="*/ 10 h 139"/>
                <a:gd name="T42" fmla="*/ 108 w 239"/>
                <a:gd name="T43" fmla="*/ 15 h 139"/>
                <a:gd name="T44" fmla="*/ 109 w 239"/>
                <a:gd name="T45" fmla="*/ 16 h 139"/>
                <a:gd name="T46" fmla="*/ 19 w 239"/>
                <a:gd name="T47" fmla="*/ 84 h 139"/>
                <a:gd name="T48" fmla="*/ 53 w 239"/>
                <a:gd name="T49" fmla="*/ 119 h 139"/>
                <a:gd name="T50" fmla="*/ 88 w 239"/>
                <a:gd name="T51" fmla="*/ 85 h 139"/>
                <a:gd name="T52" fmla="*/ 55 w 239"/>
                <a:gd name="T53" fmla="*/ 50 h 139"/>
                <a:gd name="T54" fmla="*/ 19 w 239"/>
                <a:gd name="T55" fmla="*/ 84 h 139"/>
                <a:gd name="T56" fmla="*/ 148 w 239"/>
                <a:gd name="T57" fmla="*/ 84 h 139"/>
                <a:gd name="T58" fmla="*/ 183 w 239"/>
                <a:gd name="T59" fmla="*/ 119 h 139"/>
                <a:gd name="T60" fmla="*/ 217 w 239"/>
                <a:gd name="T61" fmla="*/ 83 h 139"/>
                <a:gd name="T62" fmla="*/ 181 w 239"/>
                <a:gd name="T63" fmla="*/ 50 h 139"/>
                <a:gd name="T64" fmla="*/ 148 w 239"/>
                <a:gd name="T65" fmla="*/ 84 h 139"/>
                <a:gd name="T66" fmla="*/ 131 w 239"/>
                <a:gd name="T67" fmla="*/ 70 h 139"/>
                <a:gd name="T68" fmla="*/ 118 w 239"/>
                <a:gd name="T69" fmla="*/ 56 h 139"/>
                <a:gd name="T70" fmla="*/ 104 w 239"/>
                <a:gd name="T71" fmla="*/ 69 h 139"/>
                <a:gd name="T72" fmla="*/ 117 w 239"/>
                <a:gd name="T73" fmla="*/ 83 h 139"/>
                <a:gd name="T74" fmla="*/ 131 w 239"/>
                <a:gd name="T75" fmla="*/ 7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9" h="139">
                  <a:moveTo>
                    <a:pt x="109" y="16"/>
                  </a:moveTo>
                  <a:cubicBezTo>
                    <a:pt x="115" y="13"/>
                    <a:pt x="121" y="13"/>
                    <a:pt x="127" y="16"/>
                  </a:cubicBezTo>
                  <a:cubicBezTo>
                    <a:pt x="128" y="15"/>
                    <a:pt x="128" y="13"/>
                    <a:pt x="129" y="12"/>
                  </a:cubicBezTo>
                  <a:cubicBezTo>
                    <a:pt x="136" y="2"/>
                    <a:pt x="150" y="1"/>
                    <a:pt x="159" y="9"/>
                  </a:cubicBezTo>
                  <a:cubicBezTo>
                    <a:pt x="162" y="12"/>
                    <a:pt x="165" y="15"/>
                    <a:pt x="168" y="18"/>
                  </a:cubicBezTo>
                  <a:cubicBezTo>
                    <a:pt x="169" y="19"/>
                    <a:pt x="170" y="20"/>
                    <a:pt x="171" y="20"/>
                  </a:cubicBezTo>
                  <a:cubicBezTo>
                    <a:pt x="181" y="20"/>
                    <a:pt x="189" y="24"/>
                    <a:pt x="197" y="29"/>
                  </a:cubicBezTo>
                  <a:cubicBezTo>
                    <a:pt x="203" y="35"/>
                    <a:pt x="210" y="40"/>
                    <a:pt x="217" y="46"/>
                  </a:cubicBezTo>
                  <a:cubicBezTo>
                    <a:pt x="235" y="62"/>
                    <a:pt x="239" y="91"/>
                    <a:pt x="226" y="112"/>
                  </a:cubicBezTo>
                  <a:cubicBezTo>
                    <a:pt x="214" y="129"/>
                    <a:pt x="194" y="139"/>
                    <a:pt x="173" y="135"/>
                  </a:cubicBezTo>
                  <a:cubicBezTo>
                    <a:pt x="152" y="131"/>
                    <a:pt x="136" y="116"/>
                    <a:pt x="132" y="95"/>
                  </a:cubicBezTo>
                  <a:cubicBezTo>
                    <a:pt x="132" y="94"/>
                    <a:pt x="131" y="94"/>
                    <a:pt x="131" y="93"/>
                  </a:cubicBezTo>
                  <a:cubicBezTo>
                    <a:pt x="122" y="97"/>
                    <a:pt x="114" y="98"/>
                    <a:pt x="104" y="93"/>
                  </a:cubicBezTo>
                  <a:cubicBezTo>
                    <a:pt x="104" y="94"/>
                    <a:pt x="104" y="95"/>
                    <a:pt x="104" y="96"/>
                  </a:cubicBezTo>
                  <a:cubicBezTo>
                    <a:pt x="98" y="122"/>
                    <a:pt x="72" y="139"/>
                    <a:pt x="47" y="135"/>
                  </a:cubicBezTo>
                  <a:cubicBezTo>
                    <a:pt x="23" y="132"/>
                    <a:pt x="5" y="114"/>
                    <a:pt x="2" y="90"/>
                  </a:cubicBezTo>
                  <a:cubicBezTo>
                    <a:pt x="0" y="73"/>
                    <a:pt x="6" y="58"/>
                    <a:pt x="19" y="46"/>
                  </a:cubicBezTo>
                  <a:cubicBezTo>
                    <a:pt x="26" y="40"/>
                    <a:pt x="34" y="34"/>
                    <a:pt x="42" y="28"/>
                  </a:cubicBezTo>
                  <a:cubicBezTo>
                    <a:pt x="48" y="23"/>
                    <a:pt x="56" y="20"/>
                    <a:pt x="64" y="20"/>
                  </a:cubicBezTo>
                  <a:cubicBezTo>
                    <a:pt x="65" y="20"/>
                    <a:pt x="67" y="19"/>
                    <a:pt x="67" y="18"/>
                  </a:cubicBezTo>
                  <a:cubicBezTo>
                    <a:pt x="70" y="16"/>
                    <a:pt x="73" y="13"/>
                    <a:pt x="76" y="10"/>
                  </a:cubicBezTo>
                  <a:cubicBezTo>
                    <a:pt x="87" y="0"/>
                    <a:pt x="101" y="2"/>
                    <a:pt x="108" y="15"/>
                  </a:cubicBezTo>
                  <a:cubicBezTo>
                    <a:pt x="108" y="15"/>
                    <a:pt x="109" y="15"/>
                    <a:pt x="109" y="16"/>
                  </a:cubicBezTo>
                  <a:close/>
                  <a:moveTo>
                    <a:pt x="19" y="84"/>
                  </a:moveTo>
                  <a:cubicBezTo>
                    <a:pt x="19" y="103"/>
                    <a:pt x="34" y="119"/>
                    <a:pt x="53" y="119"/>
                  </a:cubicBezTo>
                  <a:cubicBezTo>
                    <a:pt x="72" y="119"/>
                    <a:pt x="88" y="104"/>
                    <a:pt x="88" y="85"/>
                  </a:cubicBezTo>
                  <a:cubicBezTo>
                    <a:pt x="88" y="66"/>
                    <a:pt x="73" y="50"/>
                    <a:pt x="55" y="50"/>
                  </a:cubicBezTo>
                  <a:cubicBezTo>
                    <a:pt x="35" y="50"/>
                    <a:pt x="19" y="64"/>
                    <a:pt x="19" y="84"/>
                  </a:cubicBezTo>
                  <a:close/>
                  <a:moveTo>
                    <a:pt x="148" y="84"/>
                  </a:moveTo>
                  <a:cubicBezTo>
                    <a:pt x="148" y="104"/>
                    <a:pt x="163" y="119"/>
                    <a:pt x="183" y="119"/>
                  </a:cubicBezTo>
                  <a:cubicBezTo>
                    <a:pt x="203" y="118"/>
                    <a:pt x="217" y="102"/>
                    <a:pt x="217" y="83"/>
                  </a:cubicBezTo>
                  <a:cubicBezTo>
                    <a:pt x="216" y="64"/>
                    <a:pt x="200" y="49"/>
                    <a:pt x="181" y="50"/>
                  </a:cubicBezTo>
                  <a:cubicBezTo>
                    <a:pt x="163" y="50"/>
                    <a:pt x="147" y="66"/>
                    <a:pt x="148" y="84"/>
                  </a:cubicBezTo>
                  <a:close/>
                  <a:moveTo>
                    <a:pt x="131" y="70"/>
                  </a:moveTo>
                  <a:cubicBezTo>
                    <a:pt x="131" y="62"/>
                    <a:pt x="126" y="56"/>
                    <a:pt x="118" y="56"/>
                  </a:cubicBezTo>
                  <a:cubicBezTo>
                    <a:pt x="110" y="55"/>
                    <a:pt x="104" y="62"/>
                    <a:pt x="104" y="69"/>
                  </a:cubicBezTo>
                  <a:cubicBezTo>
                    <a:pt x="104" y="77"/>
                    <a:pt x="110" y="83"/>
                    <a:pt x="117" y="83"/>
                  </a:cubicBezTo>
                  <a:cubicBezTo>
                    <a:pt x="125" y="83"/>
                    <a:pt x="131" y="77"/>
                    <a:pt x="131" y="70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1435" tIns="51435" rIns="51435" bIns="2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pic>
        <p:nvPicPr>
          <p:cNvPr id="407" name="Picture 406"/>
          <p:cNvPicPr>
            <a:picLocks noChangeAspect="1"/>
          </p:cNvPicPr>
          <p:nvPr/>
        </p:nvPicPr>
        <p:blipFill>
          <a:blip r:embed="rId60"/>
          <a:stretch>
            <a:fillRect/>
          </a:stretch>
        </p:blipFill>
        <p:spPr>
          <a:xfrm>
            <a:off x="641863" y="2664760"/>
            <a:ext cx="288598" cy="77642"/>
          </a:xfrm>
          <a:prstGeom prst="rect">
            <a:avLst/>
          </a:prstGeom>
        </p:spPr>
      </p:pic>
      <p:sp>
        <p:nvSpPr>
          <p:cNvPr id="61" name="Shape 60"/>
          <p:cNvSpPr/>
          <p:nvPr/>
        </p:nvSpPr>
        <p:spPr>
          <a:xfrm rot="16200000">
            <a:off x="3729748" y="2514778"/>
            <a:ext cx="525235" cy="420188"/>
          </a:xfrm>
          <a:prstGeom prst="funnel">
            <a:avLst/>
          </a:pr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17771005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029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456428" y="4566338"/>
            <a:ext cx="441146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5873828" y="4686578"/>
            <a:ext cx="2621230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 smtClean="0"/>
              <a:t>                                      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6431"/>
            <a:ext cx="9144000" cy="5137069"/>
          </a:xfrm>
          <a:prstGeom prst="rect">
            <a:avLst/>
          </a:prstGeom>
          <a:blipFill dpi="0" rotWithShape="1">
            <a:blip r:embed="rId3" cstate="email">
              <a:alphaModFix amt="43000"/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48" fontAlgn="auto"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FFFFFF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" name="AutoShape 2" descr="data:image/jpeg;base64,/9j/4AAQSkZJRgABAQAAAQABAAD/2wCEAAkGBxMTEhUUExQWFhUXGSAbGBcYGBwbHRgcGRwYGB0bFxgYHSggGhwlHhcdITEhJSkrLi4uHR8zODMsNygtLiwBCgoKDg0OGhAQGiwkHCQsLCwsLCwsLCwsLCwsLCwsLCwsLCwsLCwsLCwsLCwsLCwsLCwsLCwsLCwsLCwsLCwsLP/AABEIAL0BCwMBIgACEQEDEQH/xAAcAAACAwEBAQEAAAAAAAAAAAAEBQIDBgEHAAj/xABFEAACAQIEBAMFBQUGBQMFAAABAhEAAwQSITEFIkFRE2FxBjKBkbEUQlKhwQcjM2LRFXKCkqLwJFPS4fEWQ8MlY7Kzwv/EABkBAQEBAQEBAAAAAAAAAAAAAAEAAgMEBf/EACERAQEAAgMAAgMBAQAAAAAAAAABAhESITFBUQMTInFh/9oADAMBAAIRAxEAPwDTC8R1qV3FMEYqJYKSB0JiQKoFXLXGWummb4V7dPp49oDOoa3k6iSDMk+X5+VbjB4oOiuJhgCJ7ETr515FicM1q9lK/wAO6wzSplLnuyu+gKie3pXofs482V12kTt1nYeRrt+WyZdeKT+WlVqIRqzOK9obFpily6Aw1MgwPUgQPjTiziQQDuCJBGoM9R5VzmeNNxs9hmkVN7Ibc6du/r5UJZug9aKU1rphaBFUYqxmK9p1+GtXB6tBo4yraFV3boUFjson166UQorpHxrSUYe3lQA79fNjqx+ZNRsprPdj/wBI/IH50XFdS0BR6tqbCQWPdvpp/WvrpeRlykTzAzMeRH9KvFqosY3rUskZU3bwzZesT+lJr2JcZ7gJygtp/dAVdPNiZPlRjsVe45BAGg/uquafSSaX4YCRmkLAAzKTMzdeIH+ruKfVDD7aBIYCAT5+7lE9/ebzq+4wbWARt03B/rSpCJA94aayRvmusSOkQN/KpKzLBkHaYPYPcPzketWiMZVjt02O40/SuhSIqr7YMoDKSQOY9JAU6f5o6VNEE8h76fGD/wDiazpB0shXLdSpY+ug/SgfssW2ZRznl+J1J+Z/KnbAEqDv1/xAzr6ihbtg5DGuVp9dxVssulsgFYIn6dvl+ZqeGkjWJB0Hz1j5/Km18f1g/Hr6gUHdsjt6Af77D861KNPsI7LoZAPSdv8AegpknEcoh4YUotrEE7TE+f8A5JPwoi6kiT1G3cdKzrfpGPhLdwShg9v6UJd4aalhiQ6wIH9KZ4u4scxidq53FokuYVssRQT2yNxTNrjxKmRUftgI1FZLLcfwavaYjRgJBFeWj2nxKcu8aTr3r3bE2bbp2msVf9iAWJzjU1qaV7Pv7USOSHPkdB6mgMLxPFNmDi2jZuQhS6ldTzSwIOlZ98BJnUED3lMH5illzG4u0+RLd0qNpRmMHr10+Fdcvw6vXbUuMn9dU79tsTdtKl9lRwc1lyqlYfoG5jpowmfqKN9mseww7KrRm5w41PNpGUjU8prz7jOMxJYm8WhhIRgVykxqob0qXDeL5UCs72znHMjc0GSQAdD8Z6bUZYWzXyzjlPnxsuI8HS5lyPmuOffj+KTquskR3Pr023fAMLds20suFK20Cq6k6hQBzKfdPoSPTasrwDg2GW4j4fFYgiM4GfMJeZLqUI11GUakyN9a2fDset0SpmND/UeR3rGWOo1lnyX8QxYtWrlw7IhaO8AkADqTERUMHxYZjadlFxQswTllssgTOxZR/jT8UVHH33DWgsgFz4jATlQKx7ESWyj4ntQC8VtstvxbRDZgCGUgKV/esRofdCZ8p2K+U1mMNDZ4mucoSMwMREakZoB2Jy6wNYo9cQPSsw+AtlzcS9luOzayploSRpBkJZiM2gzTNFYO1fRhzB1ZgWYmYARFlfUqSR3aehBdjTSI3arRWRscVuB38RSozxbBEFgbngrrpGoD6zK3B2NG8O9oM+XTRiApkGcyq400b3HVtAQBMnu8hpoyaktCfafKrluinlBpeCakTVc1MNWg4FHqDvVF/AK2oJVgDBHTMAJg6dKJIqLho5SJ/m2/KpF1zg55ircxJIJH4gF28gIqi/g7g1MkTsNxmZR93oFmiX4lcQgXMO8Fwge2RcXm2ZgIZV7krp6a1ZgOOWLzMtu4CyPkdTKlXH3SGA18qdkm1YglokAj4sXiP7qDeoIY5ip27xsC2/q8Vp7uHRtSo9euxG49TQx4XbknXXfXzB/QVbRbaxhB2kAxvroSPoCavGUzBhnXQHpqT9TUH4I0NDTO3SNCPqxNU3cG6mcrAdY1017egpSGItHUsp9fif8AtQZtjcH4D4aTRlnFFRBIiYg7xr/01fae2SfusQRrt6j/AC1nRLsZh5VfToJ9aGtEiR26nzpxetMqCZ3Mx+VBeB96Pj61b0UcDZMliI7ULjsSTiLSDWJLUfhwV0Gxkz8tvKlqlicQ4UggZRI1239KNpPC3mZS0iCxCiOn+xS7GcRtWrgW5yl9idie3rTVEyW0U/dWT9P1rLe2Vi21q2HGpYkdxWcp01DK6n57UnxGKcMQIpZwTF3bd1UdibR016VsbnBpMgCK54m9F13hqn7vyqeOwq3ipaVcbMBMddjp8YpmDVWMQxI3Fd9a8ZuVvpFxvhQvPNwORlOsi4o0j+GwBQneVnXtWLvcEQk2sP4jrPMXgKPUwNu2tes2ralQSIJrtzAA9j6iqfz5Fy3qW9MZg3IXJcy5lHvQIEDc7aQNG07adT/Y4Orsr5ViYVGJWJkQW1OhmnGJ4CjxmQyNipgj0I1FQs8KyHMDLa5c0+90LHUxWZbN7dMrhkIxrXkcumdl8MaA/eDdFOksDEkQANTRTPauWy7qpEagjUEiCpnWYbKQY3gigPGxVse6HAgdCTCb6QcxfpEQak/HEBUXbZBliP5SpKgiYIJG0d4rPG/DmhhMLZuqptF0N20XXWcouqqzqTDgDSD+PfWjRZxNtwFcsrNqYnIC7kwGmBluKN4AtdZg0X+FYdgEDFGKgABuYApeUCGmIF656VO7w3EDMbd6ZzQGmAT45EDUQGuW/haHehL+IX8Ql0lAxtcpMANMpeBCjcQyox7zAmavw3E7APRGnKeWJZpgAiQxPgnQE+6B2FCHGYm3mJs51E5cpMkDxyoMZtYWyCY3c7xRNniNu6+RkOaSASAfdZ4IIMj+HnG0Zk6mhGuExIuIGAIEka/ykrPoYkeRG1eN+0PH8VZx2Le1euKpuEBZhAQoQHm5SYt6AwCSN4r2LCoEUKuigQBvp2rK3+F4TH2Wa2vOdQXEHNPNmHvSpJUrpB0qgKh7e4vCC2cRa8VGH8VYTNuCRACnppA6+Va/gXtzYxAJ5rcQT4gCgyJ0aYOn0rzC9xK6rHB3mzWs+TXVVYEjlbcAEfAjpBku1waz4tu1auXGJtZ3tqzBF0QMBm0YaxlIkjckiKt/XVM1Z29j4dxixfXNZupcXujBh/pNHq87Ga8g4/8AY7HgW2XKwELcQ5XtWyCuYMNd9gdz5itd7KC9bs20vXHuPcllDnMbdsAQHY6kiVBPdqf2WCYbm20DUPisBauKyOgIYgt0JKkFTKwZBAIO4ikmE46Zi5C63AGnQ+E5QzI5ZjNvTG1xVCQsiSAwjqCYBHQie3cdxWv2Qca5h+BomJfEK9ybihWTNySv3wv4iNyZnSruLYl7dvMls3CGSVXU5S6hiB5KSfhRC4gd6sD1rcvgAYvii27tuzvcuhmVRA5bYBY6+bKPU1RZ9pcOxtjOQbhdUDKwJa0SHXbQrBkGmrW1JDECRsY1E7welK+IcBtXHtXNVezd8VSvVipRgZ6Mp189ae1B1q7buKHUq6nUMIIPoRVN7h1tukHy+PT419gcGLQZV2LFoA0BYy0DsWJPxNEZqtoFbwLKdHkdjVN3CzMqQe6n9KYlqhnrJKjaylddAY2g6jrSy+rhr8MYygx9a05fvVGItKwKn7wiimUjvpoCTPKNq8r/AGoYi+mLtG28KLc67HXqK9cu2YUKd1GX17GsL7f8POUXspZVXK4HQd/Ss3O4zzZZjAccVkBcaxJK7TS3Ee1l4MQl+6FnQR/2rvs7YBt3lDTroOsGpHAJXK5dunVeqq1LfaO9eKJZwzBb11oV98irzO5HkNPVhTIVRxbHrh7Fy80RbUn1PQD1MV664Mtg/aDF/wBo/YbdxLwRJuXLqQQQJMeHAiSo2Opo9Pbvw7HjYqw1tReazyOH5kmSAcpKyCNO1LP2SYBil7GXJz33MHyBJJ+LE/KlPth4VzH4bBTFiyc90kE6ufEcvlHUdf5zTrxPT7XHbGRbjsbSvsbym3uAR74A60zs3VcSrBh3BBHzFeX/ALTOMpibeGwmFuJc8e6JNtgwABCgGDpzNP8Ahq79pUYaxhMPhQLd53C22t8jhVAX3lg6krPeKE9NNoHpUHwQIjcdiJrMcQTEWfB+zYlnIvW7V1LmW4OaCzSRnVgpzRm2O1Ovabjf2TDtiMmdUjOubKcpIWV0IJkjQx11osh2Kbh4nMBr5EiNImNpjSYmli8CyGVuXF2G50CqVABWNNjrO3maqX21w62LF+8t2yl/+GWXNM6j+EWIkaiRT9cdblR4ihmGZVY5WI75Ghvyo19HZdiRiVRPCKMwID5tAwAMxoSJYj4CjsC7tbU3VC3I1A1ynXYyfrTAKDuK+8FY0msXCrYHFHKhOYDTc6anQanzIFZ37dbwdoutgI2YG7HKFUg/vDvC6CY9N4nUcR4Ql+09q5zI4giSvUHdSCNR0rPe1XsT9stohvXbYQQMuVs3TnzDM3z/ADqksW4AxL4fFAWOTD37iGdmcTsCAApYwSRMgCI1MZfEcExXD0UFz4Nskm9aLZQu8Pb6EnQyCsdZijuEfs7xeCveLYxKPC5QGQppK9OYbCOlat+KYpAufCFtTnykEFI+6AdGJ6HT0nQ3JWp/x5Vifap7lwG+gu2s/iBIyg5JygEAnKR0k7661637KcaOKWxee3luXFcMu2VUZhyySQCYnroKwWD4MMXdZVt27GSSRkMKC2YMtswInlPTYRzVtvZdR4vJJS2DbEz9wZSTOpkyfPMDrWOmrb4ZW3cW0XE2TcYqgJhTDPCMJ0A11Jnr2qOLu2XuPauEoUkBw0e6iMTPTS95jQExy19hsNiLCKq5bgVFEExLKrAwTEAkINe7EzGtgvhy4vWYABJJEggBJ1IG+aP8J7UMrxhmy3RbvEkryAkwjQQDn1bcdzUvtt23Oe2zAFjmXXlznKIHXKR8qVW2w7kEzacZTo33815MoJHvB/E21O9NcJacZcl4Og0Obm2kHmmZn6dKEZYXGllB79DuO4+dXnEjrpQavE5oHn5D12pJxLjVsoxtsLnRrchTBkHV4jQz8PhT+yz5Uw2dnj2HhSLqMGMSpBA/vEbCjg9eHJw9rAPh2sugCuLg1GhjU5S2lH8O45jLSX7Vq61wi2Wtm4JZCsNCz73KGEHrlrvq7urL/huHW3sjRUCgrCewftjcxWEa5ejxLdzI5AAEEAqxjprqfI1p8NxhHAIO4mOo237HXasc58scaOuaV8rVA4gGq2cVcvpaVcSvIFIOp6RvSK8ouW3Q7OCDPmO1E46NTS8PlM1bMePLwm7YxDoDBUmD3FWuDOp1+Nb/ANr8FIF5dSNGj61lvFB6V4/zZWZdrLL6eiKaxX7R7eLv2hYs2HKZpdwVOYDYBQ2bfXbpWvtsDsfkauVq+npgvwWJsYTCW8zZLaIAM/ITA1ENBzGDpWU/ZVZN+/isc/vO5VZ6TzEfLKPhW6NxDIaImNRuTsNd96hb4RYhwiBM/vG3NsmO7WyDNPztMTwYDGcdvXgAbeGGVY/EOQevMXPwFc4ghx3HMgdkTCJ7ygEqw1kBgROdxuPu1quE+y1vCG4cK7p4nvBouCRseYZup+91pfwH2XxGCfEXbVy1fuXzJNwNbgyx3XNuW7VlHfshh8mHtLeOfER41zN74e6W1I+6YlPgRVH7UH/+l4n0X/8AYlX+y2BxCC7cxTI1648nJJVUUBUVZEwNT8TQf7UATwy+ACScgAGs/vU2FVTE+1GPBwfCLIE5BZd26KWUBF9SAx8oHevSsTbTE4tjdCmxgwZzAFTecAsSD/y7cfG4fw1577W8DuYfAcPtAZ8Qb6ZvN8mVV06KFVfRa2fFbZt2bOCVWvPeYvfCFQXQEPfbnIXnZgkEjRzG1SC/s74xdxHEOIm5mUfujbtn7iQ+Xl+6SpUnzmjMBxzE3OM38GtwGxZQO2ZFJBItnIrLl059Jk6daU+w+IJ41xIFWQsqHK0SIy75SR97oTVv7MCb2O4riTqGveGp8lZ/0C1JqvbH2pXh1tLty2bltnCHI0OGIJEKRDCFP3h00PR/h7pZQxRkJ3RipI8iUJX5GvOf2tOLl3hmH38XFAkeSlE/+Q16QzVULCw6xUfDHb/fwrzz2vxtuzxXCNjVDYN7DW0LqGt275aS7g6DlyrPQEnYE0xt8FujFi2l2/bwwuNcAR3C5BasAWlbYIbl12AGkKQIjQsTZPhVP/fWhU4Qqe4I0iAYGojbbb9KwnsJx7H38Navm8txWxRssLltdLZUZWU28pLBzBkmQekateG+3rtaxN67h4tYW81m69p8zchANzwmUcmsmGLDXQ1njDumj8GuIsWr1xYBjNzfj8xOrzr+Fe1dIxS9bbbzPwjaPPv0q7E+1mGttYDM5XE/wHRGuLckAwvhgsDDA6gb+tGWeM4a4SFvWiVOVlLAMrb5WVuZTpsRNFxPIsfES0PhyNVAYgHfWZExDDv2jyjg7tjxzbRSlxFkiIBDKp5en3ukazWhNlSJj5VU2HB6+nlWLhTyiphXnn7VOE2beDa/ZtLbvIytnRcpy5lRvd0++K9IWye9A8a4QmItPZuqSrqVMbjMIkHv1+FElhlfmzA8TuO0MxMg7ydTGup+lNcTxN7V608uAurBGgmO0yJ66iue2XshcwF9kUXHtFVKXSpA1EkEjSQf0NJPtbuup1X70bjXQ/GunldN9PUv2f3rCYllt3GjFJIVkWAyBbumU5Zy3doHTtWu8LlJawM41JAjNqA0ZTP3mj0PevAeB8ZOHxFm9H8J1bQ9Nm+a6V+g7wIcsl9QHhspjtAidgRHy8zXLOao2rtMisVV3RjywZYAz0+XyrqtcLHIysp2DSCAZjWNf+1XEXlmAtwFieZtQDsNe21D3xn9+ywYSQQ0AxqdQdJ1/OsJOyXnnGXXvPxqvE26qw2MtghBn1P3p0aNpNMmt5ln504XXQoS1ZW5bKsNhB8we9Za77Dyxy4iFnQFdvzrSoMrQdjofQ0W/DFnrW7jMvWWWtu2pKoT0jQ6nrtsKMw5JYjmURIMyD8CNK4bynf86mttemnoYr0ysWBl43azMpuLmUkEMpGwk6j+lMMNikYaBDrPKw3GkkGNdaouYBG3APqAf0mqX9n7UghFBEagssx0Ikg1A4S6AIObedQTv51Yt9TsR86WXcM5bNLAzJykfSRXZuAk+8AuisDqY0JMGPOgnSVbSJLzQORM0CQrZdY5tjO+2lXcQx3gorkXDJiFAbLpMmRt0361I0uWUcqWUMUOZCQDlMESvYwSJqizwa0t84gZxdK5SfEcgqdYyMxUCTOgpZg/aO07ABiCejIwOvcgmnK4nWDE9gw+hiqREeD9kHs4u7i7OJY3bqlX8ZFdT7sQLXhxGUUH7McFxnDMNet2rVvFXHc3FYXckkqoGZXUREToxmelbFb46gj1B+u1XWboOxB9NadB5lirN0Y/hXjW7ot4a0fGvNbYILpVmY5gMurKNdta3HBPaO3isVft2XD27CIGYbG45uEgHrCoNu57UScbdUEtakgE8p31YDTXWAp3+95Gp2+KWw0EMrExJET7o36ibgHxPnWSExNqxjxi8JeVWW06rA94ZrVu4rg9GBdgCO3rSX9m9+7aw+Lwt1i/2K69tH7oFzKPhrA6AgdKepgMLduG9aJW6wBa5aZkZwQMueNHEARmBjWIM1LCcGtW7Fy1hzk8Qsz3J8RmZ/edix5mPc+VSIf2KWh/ZVqQDNx2+IeAfXlrI4DGXEwPFlIRbD424l68SWa0LjKhYWQv7wajXOCJmDGvo3sfwF8Bhvs63FuqpY25UoeYlocgtOp3AGnQ1msJ7G4oYTiWHcWicW7XbbI5IDEhgjZkUjVQM30qTntVhUwo4GttjcS1ibaBgJLqQmoA3JiQB5Vf7ZWFxPC8biwsG9ZSQQQ3/DX7jKWB2bK0HrpFLeNWcWbHCxdw90Ph8TYLZUL5bdpLau7tbLLq4cjWcuWRTX2p47Ye1jcJacZRg8ReboM7OCAGbc5nbQfiAqT63hVxOHtNgmNu6thBdNhsv8WyxGZUIHiK6LqdYJ71FsXi0x+Ow9rE3Is2Ld+wj5bmYAL4iM1wFjmMiZkEj0on2NxFvD4DC4nQNft4XDkbZmW4bQPmwF0/BB2r7EHw/aK03S9gWX1KXGYj5KKk2WPuOLbNaylgCVDAkHSYMEHXaek7Has/7Pe264mxhHNo+LivEyWrbAwLM5yWuZB0AjzHSSHXEeK2bLWlu3FRrr5LYP32/CPP+o7141wRzh7mDI93B8UvYU+SYjKsn5PVE9ff2hwp8NWf+MSqAo0Mykq1s6QHBBBQ6iDpS9fZnhblkGHwpMwyqE0I/lX3T8BWE9s3bD4vGKsnw3scSsqNIKstm/8A5pLEeVab2+wQvYbEZILNZXEWjAJz4cgkid5Rra+lWjKE4v8AshwN1i1trtmfuIVKD0DqSPnWlwXs6qYe3YdvF8JQoZhBIXQTB7aVlsBjziL3h4W6wsYjCeL+7c/8Jf2WCp/dgz/DOkqTG8meyvHrt3wVxDst+1lS+vLlurcU+FeErPM0KcsQxIPQVmzfpPbnAkJzCQTuVYjaotw+6o5bjbj3gG0AAj4xv60HgOOu+KxmDJVbtohrLMpKtbZUbUAjMVZoMEaMtE+yXGWxWHz3AqXVd7dxFmEe2xUrqT6/EVm4LkpxFu+FEeGWB1zAgEfDY0fYbXXrRxM1WV8qzfx/LXIBjcNUbHEMqhSDI0phdWRQLWtavFO2LAb8XzH9KuVm7A+h/qKpw7yBqD3I70RW6Flq8R0Yemv0NELj/wCb4ER9aGs3BGhBjfyruHxKXFzIwZTsR5aGrsGFvGz2PpVqYvypa9pTuo+VfC0o2kehP9aN1aOFxKnf8xUuSNIHpy/SKUIp6OfjB+oq5M3dT8CP1rXKrRrbwymO41B0b5Zga7cwIYQYOs9R59D+nU0vS4w+78j/AFAq9MWRvmHqCfpNMyGhdvClIKzoIABkdYkGCdTUf3uUZsrNAkskCQDJ2MSfPSorxAfiU/X5UQuL8qeUGkLt8qkqMzzBRHI0mJAk9NYiq7nFynv27oEAklVIGYLp92YzRv0PlJQxSnf8xNW2yh90Aekj6Ubh0X2ONWIDgqASFkqyalc4BidYaddpPWaISxaUgBQCpGgcHUL4ez/ygD4DrVt1bZGp2P3oOoP84PUV8+HVuoOszG588pHf86gitmFRVa4oQEAjWdIlsu5G/rRN268grcVdNQywCZGonXaRv1+NBvggSD2cPozLLAEa799R1orC2mQg8x0iMwI0jXWNaYhWFuXIl8h0HuTG5nUz0g+s1RfxhGYNZZlE7Q2aADovx/0t5StvWMQMxzWyc0gNaOi6aFk6/wC57QbFX0c8iMs8sXShjMIkO2+WTtqRGlVQnGcKwAZbr4exmU5g4tLIKw2bMokEQDUMfwfDXMQmKZnW9aOVX8RgEzAcotvyCQwkZdZq+zi7hiUuAZVMgowzNmBXQTKkan+YecRe9byksEAMAhrcTA0zQT3gTUtCeMcMTEC2wK57T+JaYgOFYArqs8wgnqDsQQQCEFn2LQ2sWl64WfFXPFZ0XILbrqhtqWYgqdZLGetNUvWiscgBKkQxGoJykArA/hkDyUDYCiLF9VRcolQAAcyEaab5takT3/Z25ib7XMV4YBwr4Y+GWJfxSCzkFRkiNFltSddNecHw1+3bwuHu22L2CbbXBrbuWRbdQ2boDySphsw2I1rQfaBpo3yJ+gIq37QvUx66fWovKOGXbmFso6i4v2HEvbcMHU3cFcf34YS6oWBBjlgnSaa8Xwn2hHvYJ1OJszcswQfFs3j4hRoMH94HKdAUWDrNb9XB2M+lUmwgbNlWds0CY7TQmF4y1zENbxeEtsbwt28TagqCdGt37LhjJBVUWBqGAq7gPFrYxouWz/w/ErfiJ/LiLQy3EMbMVGuu6mtV/ZlhbniCzbD684VQ3OSzcwE6sST3JJpfc9lcGQoFrKFfxFCPcQLc/GAjABvOhHNm+GBjoxU+RBj+h9CK6xpbgeCWrbl0N0MXLtN12DsVCHOHJnRVjtlWIpgbgmJE9p/T4GpJq1QZKiamHq0Xj1nEMqsSrKbzkDpkA0BOmlW4PHR45LHKigACdSBq2veabWLhMysQdJ6+dXqgMggQd9N/WnnPo6D8CwpSyAWOZhmbbQtqfrULfElV/CRQpBhQ0jPOpKtsTvpTGzZVRAEDyqq1g0EbwDIE6A96OW7bRoXdYZTO0a0h4Tea29yxdYnMvi22J1g+8oJ/CfrTbG2mZYVgs9xP60LxThpu+GcwVkYHMOq7MPQinHXlVF4O+ERRcuSxEnMRP5Daj0vKTEiR50iXh58S8WUut2IIaIULGU67bn41TxPhrE3Qi8rWQJ3Oa2TAHUzVqX5TWWzV01mbviKEZQBcbmZCSq5QIyZhop1nzimODvXDaRguYkSQ7QRJmJAINFx1Eb771AWF/DHpp9Kpw1xiOZcp9ZmrlasFx+WIZtx1J6id/KmOCbQ0sunVf730DUxwZ0+NOPortzFeHazAZusDcy0mANSQJMDUxVVniVlxqySInqNRmGViOYQJkdj2qN2+i2lZxI5Y0nViFET1lq5iMLhwMzKoXQEiY1JAHL0JuEf4jXQCExNnYOoPYMBuJGgI6a0dbWdmPzn6zSVeD2COUGA07ndQEjXpAiq7PBLZUql4+7lnQkQpQGRB00P+EVQHj4gA5fEXMI0MTrIGgI3ggehqYdp+6fmP60u4jgTcZmDAE2ykRoTrlJ9MzaeflQ9vC4lXZg682p6k6KANRygc0DzXzqqOG7lAfkfqBXUgyIKx0mN5/CY6VXh2bKueM2UZo2nrFcLQw81P5Ef9RqQJeKYRgJupB2zxrIzCPEHUEHzBB2Iq5vAuoFD23UwQAVI8iMkbgjbofOl2N4ThSUFxLcu0ICDqwBaFhhByofgo7Cof+lMOBCpl1nldh5dc3QkfHyESNm4cukRoMojNsBG5Yzpp8q++zMIKswMR/EMbk+7EdY9I7Clg9nbaoVTMkgCUYA6Mjz7oEkpr3DEbRXeHcLuWrgbx7rLrKPqIM+7z6awdjsRpNBH4iy7KwB5yZDFUYASNIJ1G/wA6GFm6BrkJ0ghANIIIOU+n50xNcNRBFrkHSTBgA3BJ1gTrA2H5+VQW486qYnebkgdDB0kUcHius3WhFjY68HjJKT73iIDEjXK4kmPPpUr10MRmt5yI1yB4KsGGojYgEEDf0o9XqbAHcA+utIJb4tK3hG3l2iAyg5ASMpWYgafl5VFzaY5jc1P/AN1htptlppdtqNlHwH9Kr8JfP5t/Wql50mOuKIa2T50QnFAJlGHwr5MahjmGu1Fg1zaX2LsgHaehq6aFVqmGrQXiuxVSsKkGqS1NK+w7NHPE+W1A47CG5EPlifziomzfggFY/PfvQjRLxLZSukTOkelWXb4UAmdSBoCd/Slg8bJMDMW+QkaekVWMZeUcyEtA1A0BO+1HpjQ5tKgHHehbGIzKCQVnod6mH86KhJbmX4/oP1o+y0IT60pW5zf4fqR/SmAb90fQ/Q1rH1mvsRhw6IGYqFhtI3G0z2MH4CoJwpRh3so0BtJiYEAaRHQb1HHYYs1ogSqMSVnflKiZ3gmf/FJzg76oyBIRixhSOXNnXQyDoCvyroDhsBeDSt2BmnKZGmbNGn8pyegFVjAXldjbyDOXkeRFtV6dreo8zQuGvX/DZSGTYqxBOrMWIaDOUe7I6HSu4bi95co8FvPMSSJB3aNdfy3qA/DDEKrKwBVUIQCMzROWTMAwAIiPOqFbEqCiqcuQAOxYsGCqCQBrqSTrvB7iuXeNM9vMqFCXtrrEnOyhgAewJ1NU2uPsCisAG1Djz8RbYjXuT+RqQw8YudbLLEEiCSRlckDSJkCNfvCYplbv5hbYiJ3EzEg9R6ClOF9oFMZgwJy6ATGdUIBI01LgTR9rHpdQuhkKRrB6QevlUS72kw5vEIjqlxFNy2zDZ1KshBkR7rA/yk96Cve0xuGyUvW7QvLbhGZFZWzkXlJue8QpEBfwnbMpp1xjiYsKrMpZWdE0I5TcYIpM9JImgr+JsXS+fMroRZuIVDfxSuWVysCpkEMNN5IggQDXeN4gC+ym2xso7G2BMm3cblENm1tqIPQkz0FGWOLXzc8PIlwhEYsvIrK6v+8XMxOXOoUrqQDMnQGm7g7Fq9aVlJNxzkJCtzZGJQueaCoYwZ2iY0poMLb5ZReX3RA5f7vbbpQSv/1LyguhUf8AuEyvhghSC0BoUjxIuAm3ye8JkdwvHGQBWQnKWtl2uAzctwQGKoBNy2RcUwAZiAYk3FLYtwXULJCqQp945gACo5Sc7AbTmPeo2cDh3V8ihlcjNqSM1rKq6TCsuRRsCMo7Ul9huKC/nVA6kZ1DZZAKO1pvLMGWcp3BG+sA4XjZtcuIW4rx7ujo2SS72rpILACWKNzgKSF0psmGQMXWQSczAEgExlzFdpgR8B2FUfYEDSMwGfxImRm3kA+7rrCxJJmZNACHjaGGEhA+S5KgwzObS6h9OcAzBGVgdjNF2eNWiJk+8U2nmGaRoTqMjcu+m1DvwCx4dxFUqLls22CnZSWIyjYFc5APQQOgio8EtsSWLMWGVywQ5wCphxlhhK9RpmaImlCjj3N27bAX92UMGQWt3B74Mx7wdYj7m+tDXPaTDISt6/atXAYZDcEjtvG4g7daJPDlhNSWRSoZhmzId0cEyy6A6mdAZ3kTAcJW1bW3yMEEAm3rA2G+wEATrAEyaskwa4gDU2TI2pnhMZmOUrGk0FbDgk5ge1RW7f6ZT51yjR4ppVxu7qg8c2oOYgbsO1MLb6DrpQuMwyNLFAzRpNaQJ7tzMCl9dZ0J7+XSjUu4gKSSjGIUAiJPU96X2MLbJhrRB7jQVLC4eyGzQ65RO5PlsagYDiN8aGyJ9f0oheMMFYmy4KrMd+kDzpLaw9qZW84baTuaPvswgJiIIGs6ydyTQRQ9orYjMrrprodP60Th+M2mYDMRO0gielLMPYvqxHjKZ1ObU69pqeGe+GAZLbAAnMI3Gw+dBN7fFLJ2uL86sXFoZhl0MHXqKRXrb6f8KhMSSDs25/SqLiqWJbCtJ1MHfzqTTLZUP4gHMRG/QeVMi/7v4UnwV0FAQpXT3T08qaPchPl9RWsPRkYC5Ug1JOKJdZkNr7szrEmVgH5Gqb2IxQjQafh6nMp76CAa6MHl64QBlE6wZMadTVtptaQWuI3iRmtQCROpkSSPTzrgxOIRmJBZVbTTcZttB2I+RoTRG7KglYPYxp8qqlSSCsxrJGhnse+n0pbe4kxykIVBmcw7AED4yR6iqU4+sAZGBJ6x5T+R/KmozWxb/AvyH++lEJZUBlUBc28CJ0ikA43OYqPdUNzadQD+RFN8Dis6q20gGO3lQQntZaN3A3QoJfJmUASc6w6wB1zKKT37jziFUXVOIsq9q7DhluKpUozbjIcrAHoW3rUWW0I7E/1H5Gl+G40hHMQh6g7iBJB00Ig6eXmKkz3EMZcYNebxJBs37KwdlCi7ayfjHPOkw46Ci7GJvnxQb2VgbmUZWbOubxLTJBHKE5CF132IBp5c4rZ/5i/OojiVr/mL2384+tSBM74jCXUYZbqe62bMudYu22V4BIDZdwCI17ldh+NZFvXberX0t4hY2ZR4du4qJr+9VVEjWSy+lae1jEYkA6iRl6kr2mqrGMs3IMAFcrDMAILg7Ts2hB9KUXvxa7bZGuZTbYElrcPCBj+8YAyFKMhlZCnNOhkCN7RXVtI7IskMziDym0w8a3vOYLmZTrOU6ag05xbWEWSiZSTMKCJyliTA/CDrXM1vMphczSA0b6aiY7L8YoRfa4ze8REi0f3ptueYDUeLbZd9Htd9AwiTOlS8fueHauG0ALjBDrorkODbaJIYXUFuYiWBjpR/9l4df/aQDl2WPcMpt+E7dulTu2LLZiVBze8NYMwJK7E6DmidBUlKcTDubN1DbzjlDaFtA0KdiwEyAZGUmIgnMXOP28MfAv2cS9y3yl7ZfK4HutykDMVykwNya1PgWdDuQRqWYnlOYSSZaCSdZqTshMz/AKj/AFp2nnFxLYMZmHxqVuwpIC3Dr0q7C5bnvJFF2MIimQINco2KLBV3gAUpdgCCLxo7G3YX3c3lQi5IE2oJpEi9c0GLoJ8z0FXZrmT7hJPXtS0NZjVGB8pq2+LUiSwkfIUUjQ13Q+GhNdYEyzWQTOw39aFw3hzPiNC661bOki8dZioLzlZhntN6z271BrdszAuLlg+vlX1rxdD441qy610tIuJE6CR+dFUcQ22LMXcH7w6a7RXbl23mzC8V2kAdv/FTum6FHuEzqNI8qoY3lkm2rVE+DyBBo64eUeo+opThicqyI027UxvPov8AeFawGSONxzWysDMNc3yMfnVd7izZA2QrzQQdYGxPzIr69xIW3hhyxJPaWy1O9xK1+Na6/DBdb462VSyjU6x2BAMD40f/AG0P3ZA5HnfQ6ED9aqXFoTAE6FgehA3ircPxCyyAtAmIBjqR+tZhoi1xq1cYKpMkSNNPiaGtcat7Gc0wRG0mPlUrgw4Bbl1gHbrA26V862SQCqknWQPOJJpqQfjCayvRj8FbKZHrR3DcaLiZgpXy+R0+f1oK7dsjU5dTBPnBOp+dGYdQohdB0FCF27nM3nB/T9KU4hcPm1tkw2QsJ0PKsEz0DAfOjS3OPMEfKD+poTE8ORmnMVls0ae9A1/0Ax60oUcLZaQYOhnm6EyZ12JE+tRHDbKmQNZze8dwZnfv9aAfhVlCoNwLoAJjmAJOs76nWp4ngtv3meBHWIHMrf8A8x6Va6A614Xik65g2p1gNlnXoOUz8auXhVptQWB0n1BzTqO5ml1/hoYnmKyQWjqQuT5RGnkKlgeGow5boJEjSNJAXoeyx8KoqvfA2YNgGNVMQJ0E7xrI/WIoduCIdSzE/ihZB1MgxpqxPr6VbjOG5jJcEqqDzDISZ0PUMR6UGOEN1ukiZ6idCCDB86KYdIhKwxzHXWAOumgrPYy9iUdgtsOvmQI2gd9PjTnBOAqgENlABIPUCheM2XOVrbBT1nUH/en50wUqOMxGn7ka766dNd/XT/ZiuJxP/Lt/FjP5CpPbxPR7f+U0YDQGQ4bcck5tBTNTSG/mJHNTe0IUelYdVWJZ2aFcCKrcXQZBB8q5Ywqls2vzqN3BQfebU0bSxL1/8K/GrL1y5ocgJjWqblkkxnIgVFcOw++aNlaMQ0EGzV+KuDKoFqTHwFCqH2zmJq/7Q4zc2wMaUixC9cWQGtmB1E+tWYcWWIXK4J9aru45wdxsOlfLj2Oc6cu2lCXM1tZQ5gJ96Z2qu41rpdeai3FT+FahbxILDkWTpPataTS4f7onTSjMThluZSSeUyNaCTcCu8WxxtIGABkgfOtYDIeMMjNLAExGvaqb/DLX4f8Ae1DpxAgK2X3mjervts/d6Tv5T2rprpl9bwaiI2AIGvQ719Z4Vbkb6RGu0VTh8dmUGN/OibWI5gI/OjSfX+DW4MTPn8D+lR/sxWRVM6LGhiRM/WmF01SDVYgv9lJkKSYkH4xFG2lgAb1ya7WS5ftsWQq0ZTqI3Bqjilh2Ksg1Rgw1AkzBH+UmixUHvQNusVoaAthrjW0zgM4cSZHuyevoapvYLElChYsCsGWHaO3emhbUDyqVy7EeZqWizDLfVszktuMoIgSwggeQmvsNgLgYlWKsXbZtChLsAR/eaj7hrqGsrQO5YxQJbQkxOo2BMCI3g71HCWsRmXOxK6SOXXQgzp3j4U5DzQ6HU1qqFj4S6jN4UKpaRtqDBP55vmKYgM1uH96NYq1zXM2tCpH/AGeNs7/Oorh4+8/zorHsVzEdKGS/IBjenTD/2Q=="/>
          <p:cNvSpPr>
            <a:spLocks noChangeAspect="1" noChangeArrowheads="1"/>
          </p:cNvSpPr>
          <p:nvPr/>
        </p:nvSpPr>
        <p:spPr bwMode="auto">
          <a:xfrm>
            <a:off x="116711" y="-108347"/>
            <a:ext cx="22866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68589" tIns="34295" rIns="68589" bIns="34295" numCol="1" anchor="t" anchorCtr="0" compatLnSpc="1">
            <a:prstTxWarp prst="textNoShape">
              <a:avLst/>
            </a:prstTxWarp>
          </a:bodyPr>
          <a:lstStyle/>
          <a:p>
            <a:pPr defTabSz="457048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4" name="AutoShape 4" descr="data:image/jpeg;base64,/9j/4AAQSkZJRgABAQAAAQABAAD/2wCEAAkGBxMTEhUUExQWFhUXGSAbGBcYGBwbHRgcGRwYGB0bFxgYHSggGhwlHhcdITEhJSkrLi4uHR8zODMsNygtLiwBCgoKDg0OGhAQGiwkHCQsLCwsLCwsLCwsLCwsLCwsLCwsLCwsLCwsLCwsLCwsLCwsLCwsLCwsLCwsLCwsLCwsLP/AABEIAL0BCwMBIgACEQEDEQH/xAAcAAACAwEBAQEAAAAAAAAAAAAEBQIDBgEHAAj/xABFEAACAQIEBAMFBQUGBQMFAAABAhEAAwQSITEFIkFRE2FxBjKBkbEUQlKhwQcjM2LRFXKCkqLwJFPS4fEWQ8MlY7Kzwv/EABkBAQEBAQEBAAAAAAAAAAAAAAEAAgMEBf/EACERAQEAAgMAAgMBAQAAAAAAAAABAhESITFBUQMTInFh/9oADAMBAAIRAxEAPwDTC8R1qV3FMEYqJYKSB0JiQKoFXLXGWummb4V7dPp49oDOoa3k6iSDMk+X5+VbjB4oOiuJhgCJ7ETr515FicM1q9lK/wAO6wzSplLnuyu+gKie3pXofs482V12kTt1nYeRrt+WyZdeKT+WlVqIRqzOK9obFpily6Aw1MgwPUgQPjTiziQQDuCJBGoM9R5VzmeNNxs9hmkVN7Ibc6du/r5UJZug9aKU1rphaBFUYqxmK9p1+GtXB6tBo4yraFV3boUFjson166UQorpHxrSUYe3lQA79fNjqx+ZNRsprPdj/wBI/IH50XFdS0BR6tqbCQWPdvpp/WvrpeRlykTzAzMeRH9KvFqosY3rUskZU3bwzZesT+lJr2JcZ7gJygtp/dAVdPNiZPlRjsVe45BAGg/uquafSSaX4YCRmkLAAzKTMzdeIH+ruKfVDD7aBIYCAT5+7lE9/ebzq+4wbWARt03B/rSpCJA94aayRvmusSOkQN/KpKzLBkHaYPYPcPzketWiMZVjt02O40/SuhSIqr7YMoDKSQOY9JAU6f5o6VNEE8h76fGD/wDiazpB0shXLdSpY+ug/SgfssW2ZRznl+J1J+Z/KnbAEqDv1/xAzr6ihbtg5DGuVp9dxVssulsgFYIn6dvl+ZqeGkjWJB0Hz1j5/Km18f1g/Hr6gUHdsjt6Af77D861KNPsI7LoZAPSdv8AegpknEcoh4YUotrEE7TE+f8A5JPwoi6kiT1G3cdKzrfpGPhLdwShg9v6UJd4aalhiQ6wIH9KZ4u4scxidq53FokuYVssRQT2yNxTNrjxKmRUftgI1FZLLcfwavaYjRgJBFeWj2nxKcu8aTr3r3bE2bbp2msVf9iAWJzjU1qaV7Pv7USOSHPkdB6mgMLxPFNmDi2jZuQhS6ldTzSwIOlZ98BJnUED3lMH5illzG4u0+RLd0qNpRmMHr10+Fdcvw6vXbUuMn9dU79tsTdtKl9lRwc1lyqlYfoG5jpowmfqKN9mseww7KrRm5w41PNpGUjU8prz7jOMxJYm8WhhIRgVykxqob0qXDeL5UCs72znHMjc0GSQAdD8Z6bUZYWzXyzjlPnxsuI8HS5lyPmuOffj+KTquskR3Pr023fAMLds20suFK20Cq6k6hQBzKfdPoSPTasrwDg2GW4j4fFYgiM4GfMJeZLqUI11GUakyN9a2fDset0SpmND/UeR3rGWOo1lnyX8QxYtWrlw7IhaO8AkADqTERUMHxYZjadlFxQswTllssgTOxZR/jT8UVHH33DWgsgFz4jATlQKx7ESWyj4ntQC8VtstvxbRDZgCGUgKV/esRofdCZ8p2K+U1mMNDZ4mucoSMwMREakZoB2Jy6wNYo9cQPSsw+AtlzcS9luOzayploSRpBkJZiM2gzTNFYO1fRhzB1ZgWYmYARFlfUqSR3aehBdjTSI3arRWRscVuB38RSozxbBEFgbngrrpGoD6zK3B2NG8O9oM+XTRiApkGcyq400b3HVtAQBMnu8hpoyaktCfafKrluinlBpeCakTVc1MNWg4FHqDvVF/AK2oJVgDBHTMAJg6dKJIqLho5SJ/m2/KpF1zg55ircxJIJH4gF28gIqi/g7g1MkTsNxmZR93oFmiX4lcQgXMO8Fwge2RcXm2ZgIZV7krp6a1ZgOOWLzMtu4CyPkdTKlXH3SGA18qdkm1YglokAj4sXiP7qDeoIY5ip27xsC2/q8Vp7uHRtSo9euxG49TQx4XbknXXfXzB/QVbRbaxhB2kAxvroSPoCavGUzBhnXQHpqT9TUH4I0NDTO3SNCPqxNU3cG6mcrAdY1017egpSGItHUsp9fif8AtQZtjcH4D4aTRlnFFRBIiYg7xr/01fae2SfusQRrt6j/AC1nRLsZh5VfToJ9aGtEiR26nzpxetMqCZ3Mx+VBeB96Pj61b0UcDZMliI7ULjsSTiLSDWJLUfhwV0Gxkz8tvKlqlicQ4UggZRI1239KNpPC3mZS0iCxCiOn+xS7GcRtWrgW5yl9idie3rTVEyW0U/dWT9P1rLe2Vi21q2HGpYkdxWcp01DK6n57UnxGKcMQIpZwTF3bd1UdibR016VsbnBpMgCK54m9F13hqn7vyqeOwq3ipaVcbMBMddjp8YpmDVWMQxI3Fd9a8ZuVvpFxvhQvPNwORlOsi4o0j+GwBQneVnXtWLvcEQk2sP4jrPMXgKPUwNu2tes2ralQSIJrtzAA9j6iqfz5Fy3qW9MZg3IXJcy5lHvQIEDc7aQNG07adT/Y4Orsr5ViYVGJWJkQW1OhmnGJ4CjxmQyNipgj0I1FQs8KyHMDLa5c0+90LHUxWZbN7dMrhkIxrXkcumdl8MaA/eDdFOksDEkQANTRTPauWy7qpEagjUEiCpnWYbKQY3gigPGxVse6HAgdCTCb6QcxfpEQak/HEBUXbZBliP5SpKgiYIJG0d4rPG/DmhhMLZuqptF0N20XXWcouqqzqTDgDSD+PfWjRZxNtwFcsrNqYnIC7kwGmBluKN4AtdZg0X+FYdgEDFGKgABuYApeUCGmIF656VO7w3EDMbd6ZzQGmAT45EDUQGuW/haHehL+IX8Ql0lAxtcpMANMpeBCjcQyox7zAmavw3E7APRGnKeWJZpgAiQxPgnQE+6B2FCHGYm3mJs51E5cpMkDxyoMZtYWyCY3c7xRNniNu6+RkOaSASAfdZ4IIMj+HnG0Zk6mhGuExIuIGAIEka/ykrPoYkeRG1eN+0PH8VZx2Le1euKpuEBZhAQoQHm5SYt6AwCSN4r2LCoEUKuigQBvp2rK3+F4TH2Wa2vOdQXEHNPNmHvSpJUrpB0qgKh7e4vCC2cRa8VGH8VYTNuCRACnppA6+Va/gXtzYxAJ5rcQT4gCgyJ0aYOn0rzC9xK6rHB3mzWs+TXVVYEjlbcAEfAjpBku1waz4tu1auXGJtZ3tqzBF0QMBm0YaxlIkjckiKt/XVM1Z29j4dxixfXNZupcXujBh/pNHq87Ga8g4/8AY7HgW2XKwELcQ5XtWyCuYMNd9gdz5itd7KC9bs20vXHuPcllDnMbdsAQHY6kiVBPdqf2WCYbm20DUPisBauKyOgIYgt0JKkFTKwZBAIO4ikmE46Zi5C63AGnQ+E5QzI5ZjNvTG1xVCQsiSAwjqCYBHQie3cdxWv2Qca5h+BomJfEK9ybihWTNySv3wv4iNyZnSruLYl7dvMls3CGSVXU5S6hiB5KSfhRC4gd6sD1rcvgAYvii27tuzvcuhmVRA5bYBY6+bKPU1RZ9pcOxtjOQbhdUDKwJa0SHXbQrBkGmrW1JDECRsY1E7welK+IcBtXHtXNVezd8VSvVipRgZ6Mp189ae1B1q7buKHUq6nUMIIPoRVN7h1tukHy+PT419gcGLQZV2LFoA0BYy0DsWJPxNEZqtoFbwLKdHkdjVN3CzMqQe6n9KYlqhnrJKjaylddAY2g6jrSy+rhr8MYygx9a05fvVGItKwKn7wiimUjvpoCTPKNq8r/AGoYi+mLtG28KLc67HXqK9cu2YUKd1GX17GsL7f8POUXspZVXK4HQd/Ss3O4zzZZjAccVkBcaxJK7TS3Ee1l4MQl+6FnQR/2rvs7YBt3lDTroOsGpHAJXK5dunVeqq1LfaO9eKJZwzBb11oV98irzO5HkNPVhTIVRxbHrh7Fy80RbUn1PQD1MV664Mtg/aDF/wBo/YbdxLwRJuXLqQQQJMeHAiSo2Opo9Pbvw7HjYqw1tReazyOH5kmSAcpKyCNO1LP2SYBil7GXJz33MHyBJJ+LE/KlPth4VzH4bBTFiyc90kE6ufEcvlHUdf5zTrxPT7XHbGRbjsbSvsbym3uAR74A60zs3VcSrBh3BBHzFeX/ALTOMpibeGwmFuJc8e6JNtgwABCgGDpzNP8Ahq79pUYaxhMPhQLd53C22t8jhVAX3lg6krPeKE9NNoHpUHwQIjcdiJrMcQTEWfB+zYlnIvW7V1LmW4OaCzSRnVgpzRm2O1Ovabjf2TDtiMmdUjOubKcpIWV0IJkjQx11osh2Kbh4nMBr5EiNImNpjSYmli8CyGVuXF2G50CqVABWNNjrO3maqX21w62LF+8t2yl/+GWXNM6j+EWIkaiRT9cdblR4ihmGZVY5WI75Ghvyo19HZdiRiVRPCKMwID5tAwAMxoSJYj4CjsC7tbU3VC3I1A1ynXYyfrTAKDuK+8FY0msXCrYHFHKhOYDTc6anQanzIFZ37dbwdoutgI2YG7HKFUg/vDvC6CY9N4nUcR4Ql+09q5zI4giSvUHdSCNR0rPe1XsT9stohvXbYQQMuVs3TnzDM3z/ADqksW4AxL4fFAWOTD37iGdmcTsCAApYwSRMgCI1MZfEcExXD0UFz4Nskm9aLZQu8Pb6EnQyCsdZijuEfs7xeCveLYxKPC5QGQppK9OYbCOlat+KYpAufCFtTnykEFI+6AdGJ6HT0nQ3JWp/x5Vifap7lwG+gu2s/iBIyg5JygEAnKR0k7661637KcaOKWxee3luXFcMu2VUZhyySQCYnroKwWD4MMXdZVt27GSSRkMKC2YMtswInlPTYRzVtvZdR4vJJS2DbEz9wZSTOpkyfPMDrWOmrb4ZW3cW0XE2TcYqgJhTDPCMJ0A11Jnr2qOLu2XuPauEoUkBw0e6iMTPTS95jQExy19hsNiLCKq5bgVFEExLKrAwTEAkINe7EzGtgvhy4vWYABJJEggBJ1IG+aP8J7UMrxhmy3RbvEkryAkwjQQDn1bcdzUvtt23Oe2zAFjmXXlznKIHXKR8qVW2w7kEzacZTo33815MoJHvB/E21O9NcJacZcl4Og0Obm2kHmmZn6dKEZYXGllB79DuO4+dXnEjrpQavE5oHn5D12pJxLjVsoxtsLnRrchTBkHV4jQz8PhT+yz5Uw2dnj2HhSLqMGMSpBA/vEbCjg9eHJw9rAPh2sugCuLg1GhjU5S2lH8O45jLSX7Vq61wi2Wtm4JZCsNCz73KGEHrlrvq7urL/huHW3sjRUCgrCewftjcxWEa5ejxLdzI5AAEEAqxjprqfI1p8NxhHAIO4mOo237HXasc58scaOuaV8rVA4gGq2cVcvpaVcSvIFIOp6RvSK8ouW3Q7OCDPmO1E46NTS8PlM1bMePLwm7YxDoDBUmD3FWuDOp1+Nb/ANr8FIF5dSNGj61lvFB6V4/zZWZdrLL6eiKaxX7R7eLv2hYs2HKZpdwVOYDYBQ2bfXbpWvtsDsfkauVq+npgvwWJsYTCW8zZLaIAM/ITA1ENBzGDpWU/ZVZN+/isc/vO5VZ6TzEfLKPhW6NxDIaImNRuTsNd96hb4RYhwiBM/vG3NsmO7WyDNPztMTwYDGcdvXgAbeGGVY/EOQevMXPwFc4ghx3HMgdkTCJ7ygEqw1kBgROdxuPu1quE+y1vCG4cK7p4nvBouCRseYZup+91pfwH2XxGCfEXbVy1fuXzJNwNbgyx3XNuW7VlHfshh8mHtLeOfER41zN74e6W1I+6YlPgRVH7UH/+l4n0X/8AYlX+y2BxCC7cxTI1648nJJVUUBUVZEwNT8TQf7UATwy+ACScgAGs/vU2FVTE+1GPBwfCLIE5BZd26KWUBF9SAx8oHevSsTbTE4tjdCmxgwZzAFTecAsSD/y7cfG4fw1577W8DuYfAcPtAZ8Qb6ZvN8mVV06KFVfRa2fFbZt2bOCVWvPeYvfCFQXQEPfbnIXnZgkEjRzG1SC/s74xdxHEOIm5mUfujbtn7iQ+Xl+6SpUnzmjMBxzE3OM38GtwGxZQO2ZFJBItnIrLl059Jk6daU+w+IJ41xIFWQsqHK0SIy75SR97oTVv7MCb2O4riTqGveGp8lZ/0C1JqvbH2pXh1tLty2bltnCHI0OGIJEKRDCFP3h00PR/h7pZQxRkJ3RipI8iUJX5GvOf2tOLl3hmH38XFAkeSlE/+Q16QzVULCw6xUfDHb/fwrzz2vxtuzxXCNjVDYN7DW0LqGt275aS7g6DlyrPQEnYE0xt8FujFi2l2/bwwuNcAR3C5BasAWlbYIbl12AGkKQIjQsTZPhVP/fWhU4Qqe4I0iAYGojbbb9KwnsJx7H38Navm8txWxRssLltdLZUZWU28pLBzBkmQekateG+3rtaxN67h4tYW81m69p8zchANzwmUcmsmGLDXQ1njDumj8GuIsWr1xYBjNzfj8xOrzr+Fe1dIxS9bbbzPwjaPPv0q7E+1mGttYDM5XE/wHRGuLckAwvhgsDDA6gb+tGWeM4a4SFvWiVOVlLAMrb5WVuZTpsRNFxPIsfES0PhyNVAYgHfWZExDDv2jyjg7tjxzbRSlxFkiIBDKp5en3ukazWhNlSJj5VU2HB6+nlWLhTyiphXnn7VOE2beDa/ZtLbvIytnRcpy5lRvd0++K9IWye9A8a4QmItPZuqSrqVMbjMIkHv1+FElhlfmzA8TuO0MxMg7ydTGup+lNcTxN7V608uAurBGgmO0yJ66iue2XshcwF9kUXHtFVKXSpA1EkEjSQf0NJPtbuup1X70bjXQ/GunldN9PUv2f3rCYllt3GjFJIVkWAyBbumU5Zy3doHTtWu8LlJawM41JAjNqA0ZTP3mj0PevAeB8ZOHxFm9H8J1bQ9Nm+a6V+g7wIcsl9QHhspjtAidgRHy8zXLOao2rtMisVV3RjywZYAz0+XyrqtcLHIysp2DSCAZjWNf+1XEXlmAtwFieZtQDsNe21D3xn9+ywYSQQ0AxqdQdJ1/OsJOyXnnGXXvPxqvE26qw2MtghBn1P3p0aNpNMmt5ln504XXQoS1ZW5bKsNhB8we9Za77Dyxy4iFnQFdvzrSoMrQdjofQ0W/DFnrW7jMvWWWtu2pKoT0jQ6nrtsKMw5JYjmURIMyD8CNK4bynf86mttemnoYr0ysWBl43azMpuLmUkEMpGwk6j+lMMNikYaBDrPKw3GkkGNdaouYBG3APqAf0mqX9n7UghFBEagssx0Ikg1A4S6AIObedQTv51Yt9TsR86WXcM5bNLAzJykfSRXZuAk+8AuisDqY0JMGPOgnSVbSJLzQORM0CQrZdY5tjO+2lXcQx3gorkXDJiFAbLpMmRt0361I0uWUcqWUMUOZCQDlMESvYwSJqizwa0t84gZxdK5SfEcgqdYyMxUCTOgpZg/aO07ABiCejIwOvcgmnK4nWDE9gw+hiqREeD9kHs4u7i7OJY3bqlX8ZFdT7sQLXhxGUUH7McFxnDMNet2rVvFXHc3FYXckkqoGZXUREToxmelbFb46gj1B+u1XWboOxB9NadB5lirN0Y/hXjW7ot4a0fGvNbYILpVmY5gMurKNdta3HBPaO3isVft2XD27CIGYbG45uEgHrCoNu57UScbdUEtakgE8p31YDTXWAp3+95Gp2+KWw0EMrExJET7o36ibgHxPnWSExNqxjxi8JeVWW06rA94ZrVu4rg9GBdgCO3rSX9m9+7aw+Lwt1i/2K69tH7oFzKPhrA6AgdKepgMLduG9aJW6wBa5aZkZwQMueNHEARmBjWIM1LCcGtW7Fy1hzk8Qsz3J8RmZ/edix5mPc+VSIf2KWh/ZVqQDNx2+IeAfXlrI4DGXEwPFlIRbD424l68SWa0LjKhYWQv7wajXOCJmDGvo3sfwF8Bhvs63FuqpY25UoeYlocgtOp3AGnQ1msJ7G4oYTiWHcWicW7XbbI5IDEhgjZkUjVQM30qTntVhUwo4GttjcS1ibaBgJLqQmoA3JiQB5Vf7ZWFxPC8biwsG9ZSQQQ3/DX7jKWB2bK0HrpFLeNWcWbHCxdw90Ph8TYLZUL5bdpLau7tbLLq4cjWcuWRTX2p47Ye1jcJacZRg8ReboM7OCAGbc5nbQfiAqT63hVxOHtNgmNu6thBdNhsv8WyxGZUIHiK6LqdYJ71FsXi0x+Ow9rE3Is2Ld+wj5bmYAL4iM1wFjmMiZkEj0on2NxFvD4DC4nQNft4XDkbZmW4bQPmwF0/BB2r7EHw/aK03S9gWX1KXGYj5KKk2WPuOLbNaylgCVDAkHSYMEHXaek7Has/7Pe264mxhHNo+LivEyWrbAwLM5yWuZB0AjzHSSHXEeK2bLWlu3FRrr5LYP32/CPP+o7141wRzh7mDI93B8UvYU+SYjKsn5PVE9ff2hwp8NWf+MSqAo0Mykq1s6QHBBBQ6iDpS9fZnhblkGHwpMwyqE0I/lX3T8BWE9s3bD4vGKsnw3scSsqNIKstm/8A5pLEeVab2+wQvYbEZILNZXEWjAJz4cgkid5Rra+lWjKE4v8AshwN1i1trtmfuIVKD0DqSPnWlwXs6qYe3YdvF8JQoZhBIXQTB7aVlsBjziL3h4W6wsYjCeL+7c/8Jf2WCp/dgz/DOkqTG8meyvHrt3wVxDst+1lS+vLlurcU+FeErPM0KcsQxIPQVmzfpPbnAkJzCQTuVYjaotw+6o5bjbj3gG0AAj4xv60HgOOu+KxmDJVbtohrLMpKtbZUbUAjMVZoMEaMtE+yXGWxWHz3AqXVd7dxFmEe2xUrqT6/EVm4LkpxFu+FEeGWB1zAgEfDY0fYbXXrRxM1WV8qzfx/LXIBjcNUbHEMqhSDI0phdWRQLWtavFO2LAb8XzH9KuVm7A+h/qKpw7yBqD3I70RW6Flq8R0Yemv0NELj/wCb4ER9aGs3BGhBjfyruHxKXFzIwZTsR5aGrsGFvGz2PpVqYvypa9pTuo+VfC0o2kehP9aN1aOFxKnf8xUuSNIHpy/SKUIp6OfjB+oq5M3dT8CP1rXKrRrbwymO41B0b5Zga7cwIYQYOs9R59D+nU0vS4w+78j/AFAq9MWRvmHqCfpNMyGhdvClIKzoIABkdYkGCdTUf3uUZsrNAkskCQDJ2MSfPSorxAfiU/X5UQuL8qeUGkLt8qkqMzzBRHI0mJAk9NYiq7nFynv27oEAklVIGYLp92YzRv0PlJQxSnf8xNW2yh90Aekj6Ubh0X2ONWIDgqASFkqyalc4BidYaddpPWaISxaUgBQCpGgcHUL4ez/ygD4DrVt1bZGp2P3oOoP84PUV8+HVuoOszG588pHf86gitmFRVa4oQEAjWdIlsu5G/rRN268grcVdNQywCZGonXaRv1+NBvggSD2cPozLLAEa799R1orC2mQg8x0iMwI0jXWNaYhWFuXIl8h0HuTG5nUz0g+s1RfxhGYNZZlE7Q2aADovx/0t5StvWMQMxzWyc0gNaOi6aFk6/wC57QbFX0c8iMs8sXShjMIkO2+WTtqRGlVQnGcKwAZbr4exmU5g4tLIKw2bMokEQDUMfwfDXMQmKZnW9aOVX8RgEzAcotvyCQwkZdZq+zi7hiUuAZVMgowzNmBXQTKkan+YecRe9byksEAMAhrcTA0zQT3gTUtCeMcMTEC2wK57T+JaYgOFYArqs8wgnqDsQQQCEFn2LQ2sWl64WfFXPFZ0XILbrqhtqWYgqdZLGetNUvWiscgBKkQxGoJykArA/hkDyUDYCiLF9VRcolQAAcyEaab5takT3/Z25ib7XMV4YBwr4Y+GWJfxSCzkFRkiNFltSddNecHw1+3bwuHu22L2CbbXBrbuWRbdQ2boDySphsw2I1rQfaBpo3yJ+gIq37QvUx66fWovKOGXbmFso6i4v2HEvbcMHU3cFcf34YS6oWBBjlgnSaa8Xwn2hHvYJ1OJszcswQfFs3j4hRoMH94HKdAUWDrNb9XB2M+lUmwgbNlWds0CY7TQmF4y1zENbxeEtsbwt28TagqCdGt37LhjJBVUWBqGAq7gPFrYxouWz/w/ErfiJ/LiLQy3EMbMVGuu6mtV/ZlhbniCzbD684VQ3OSzcwE6sST3JJpfc9lcGQoFrKFfxFCPcQLc/GAjABvOhHNm+GBjoxU+RBj+h9CK6xpbgeCWrbl0N0MXLtN12DsVCHOHJnRVjtlWIpgbgmJE9p/T4GpJq1QZKiamHq0Xj1nEMqsSrKbzkDpkA0BOmlW4PHR45LHKigACdSBq2veabWLhMysQdJ6+dXqgMggQd9N/WnnPo6D8CwpSyAWOZhmbbQtqfrULfElV/CRQpBhQ0jPOpKtsTvpTGzZVRAEDyqq1g0EbwDIE6A96OW7bRoXdYZTO0a0h4Tea29yxdYnMvi22J1g+8oJ/CfrTbG2mZYVgs9xP60LxThpu+GcwVkYHMOq7MPQinHXlVF4O+ERRcuSxEnMRP5Daj0vKTEiR50iXh58S8WUut2IIaIULGU67bn41TxPhrE3Qi8rWQJ3Oa2TAHUzVqX5TWWzV01mbviKEZQBcbmZCSq5QIyZhop1nzimODvXDaRguYkSQ7QRJmJAINFx1Eb771AWF/DHpp9Kpw1xiOZcp9ZmrlasFx+WIZtx1J6id/KmOCbQ0sunVf730DUxwZ0+NOPortzFeHazAZusDcy0mANSQJMDUxVVniVlxqySInqNRmGViOYQJkdj2qN2+i2lZxI5Y0nViFET1lq5iMLhwMzKoXQEiY1JAHL0JuEf4jXQCExNnYOoPYMBuJGgI6a0dbWdmPzn6zSVeD2COUGA07ndQEjXpAiq7PBLZUql4+7lnQkQpQGRB00P+EVQHj4gA5fEXMI0MTrIGgI3ggehqYdp+6fmP60u4jgTcZmDAE2ykRoTrlJ9MzaeflQ9vC4lXZg682p6k6KANRygc0DzXzqqOG7lAfkfqBXUgyIKx0mN5/CY6VXh2bKueM2UZo2nrFcLQw81P5Ef9RqQJeKYRgJupB2zxrIzCPEHUEHzBB2Iq5vAuoFD23UwQAVI8iMkbgjbofOl2N4ThSUFxLcu0ICDqwBaFhhByofgo7Cof+lMOBCpl1nldh5dc3QkfHyESNm4cukRoMojNsBG5Yzpp8q++zMIKswMR/EMbk+7EdY9I7Clg9nbaoVTMkgCUYA6Mjz7oEkpr3DEbRXeHcLuWrgbx7rLrKPqIM+7z6awdjsRpNBH4iy7KwB5yZDFUYASNIJ1G/wA6GFm6BrkJ0ghANIIIOU+n50xNcNRBFrkHSTBgA3BJ1gTrA2H5+VQW486qYnebkgdDB0kUcHius3WhFjY68HjJKT73iIDEjXK4kmPPpUr10MRmt5yI1yB4KsGGojYgEEDf0o9XqbAHcA+utIJb4tK3hG3l2iAyg5ASMpWYgafl5VFzaY5jc1P/AN1htptlppdtqNlHwH9Kr8JfP5t/Wql50mOuKIa2T50QnFAJlGHwr5MahjmGu1Fg1zaX2LsgHaehq6aFVqmGrQXiuxVSsKkGqS1NK+w7NHPE+W1A47CG5EPlifziomzfggFY/PfvQjRLxLZSukTOkelWXb4UAmdSBoCd/Slg8bJMDMW+QkaekVWMZeUcyEtA1A0BO+1HpjQ5tKgHHehbGIzKCQVnod6mH86KhJbmX4/oP1o+y0IT60pW5zf4fqR/SmAb90fQ/Q1rH1mvsRhw6IGYqFhtI3G0z2MH4CoJwpRh3so0BtJiYEAaRHQb1HHYYs1ogSqMSVnflKiZ3gmf/FJzg76oyBIRixhSOXNnXQyDoCvyroDhsBeDSt2BmnKZGmbNGn8pyegFVjAXldjbyDOXkeRFtV6dreo8zQuGvX/DZSGTYqxBOrMWIaDOUe7I6HSu4bi95co8FvPMSSJB3aNdfy3qA/DDEKrKwBVUIQCMzROWTMAwAIiPOqFbEqCiqcuQAOxYsGCqCQBrqSTrvB7iuXeNM9vMqFCXtrrEnOyhgAewJ1NU2uPsCisAG1Djz8RbYjXuT+RqQw8YudbLLEEiCSRlckDSJkCNfvCYplbv5hbYiJ3EzEg9R6ClOF9oFMZgwJy6ATGdUIBI01LgTR9rHpdQuhkKRrB6QevlUS72kw5vEIjqlxFNy2zDZ1KshBkR7rA/yk96Cve0xuGyUvW7QvLbhGZFZWzkXlJue8QpEBfwnbMpp1xjiYsKrMpZWdE0I5TcYIpM9JImgr+JsXS+fMroRZuIVDfxSuWVysCpkEMNN5IggQDXeN4gC+ym2xso7G2BMm3cblENm1tqIPQkz0FGWOLXzc8PIlwhEYsvIrK6v+8XMxOXOoUrqQDMnQGm7g7Fq9aVlJNxzkJCtzZGJQueaCoYwZ2iY0poMLb5ZReX3RA5f7vbbpQSv/1LyguhUf8AuEyvhghSC0BoUjxIuAm3ye8JkdwvHGQBWQnKWtl2uAzctwQGKoBNy2RcUwAZiAYk3FLYtwXULJCqQp945gACo5Sc7AbTmPeo2cDh3V8ihlcjNqSM1rKq6TCsuRRsCMo7Ul9huKC/nVA6kZ1DZZAKO1pvLMGWcp3BG+sA4XjZtcuIW4rx7ujo2SS72rpILACWKNzgKSF0psmGQMXWQSczAEgExlzFdpgR8B2FUfYEDSMwGfxImRm3kA+7rrCxJJmZNACHjaGGEhA+S5KgwzObS6h9OcAzBGVgdjNF2eNWiJk+8U2nmGaRoTqMjcu+m1DvwCx4dxFUqLls22CnZSWIyjYFc5APQQOgio8EtsSWLMWGVywQ5wCphxlhhK9RpmaImlCjj3N27bAX92UMGQWt3B74Mx7wdYj7m+tDXPaTDISt6/atXAYZDcEjtvG4g7daJPDlhNSWRSoZhmzId0cEyy6A6mdAZ3kTAcJW1bW3yMEEAm3rA2G+wEATrAEyaskwa4gDU2TI2pnhMZmOUrGk0FbDgk5ge1RW7f6ZT51yjR4ppVxu7qg8c2oOYgbsO1MLb6DrpQuMwyNLFAzRpNaQJ7tzMCl9dZ0J7+XSjUu4gKSSjGIUAiJPU96X2MLbJhrRB7jQVLC4eyGzQ65RO5PlsagYDiN8aGyJ9f0oheMMFYmy4KrMd+kDzpLaw9qZW84baTuaPvswgJiIIGs6ydyTQRQ9orYjMrrprodP60Th+M2mYDMRO0gielLMPYvqxHjKZ1ObU69pqeGe+GAZLbAAnMI3Gw+dBN7fFLJ2uL86sXFoZhl0MHXqKRXrb6f8KhMSSDs25/SqLiqWJbCtJ1MHfzqTTLZUP4gHMRG/QeVMi/7v4UnwV0FAQpXT3T08qaPchPl9RWsPRkYC5Ug1JOKJdZkNr7szrEmVgH5Gqb2IxQjQafh6nMp76CAa6MHl64QBlE6wZMadTVtptaQWuI3iRmtQCROpkSSPTzrgxOIRmJBZVbTTcZttB2I+RoTRG7KglYPYxp8qqlSSCsxrJGhnse+n0pbe4kxykIVBmcw7AED4yR6iqU4+sAZGBJ6x5T+R/KmozWxb/AvyH++lEJZUBlUBc28CJ0ikA43OYqPdUNzadQD+RFN8Dis6q20gGO3lQQntZaN3A3QoJfJmUASc6w6wB1zKKT37jziFUXVOIsq9q7DhluKpUozbjIcrAHoW3rUWW0I7E/1H5Gl+G40hHMQh6g7iBJB00Ig6eXmKkz3EMZcYNebxJBs37KwdlCi7ayfjHPOkw46Ci7GJvnxQb2VgbmUZWbOubxLTJBHKE5CF132IBp5c4rZ/5i/OojiVr/mL2384+tSBM74jCXUYZbqe62bMudYu22V4BIDZdwCI17ldh+NZFvXberX0t4hY2ZR4du4qJr+9VVEjWSy+lae1jEYkA6iRl6kr2mqrGMs3IMAFcrDMAILg7Ts2hB9KUXvxa7bZGuZTbYElrcPCBj+8YAyFKMhlZCnNOhkCN7RXVtI7IskMziDym0w8a3vOYLmZTrOU6ag05xbWEWSiZSTMKCJyliTA/CDrXM1vMphczSA0b6aiY7L8YoRfa4ze8REi0f3ptueYDUeLbZd9Htd9AwiTOlS8fueHauG0ALjBDrorkODbaJIYXUFuYiWBjpR/9l4df/aQDl2WPcMpt+E7dulTu2LLZiVBze8NYMwJK7E6DmidBUlKcTDubN1DbzjlDaFtA0KdiwEyAZGUmIgnMXOP28MfAv2cS9y3yl7ZfK4HutykDMVykwNya1PgWdDuQRqWYnlOYSSZaCSdZqTshMz/AKj/AFp2nnFxLYMZmHxqVuwpIC3Dr0q7C5bnvJFF2MIimQINco2KLBV3gAUpdgCCLxo7G3YX3c3lQi5IE2oJpEi9c0GLoJ8z0FXZrmT7hJPXtS0NZjVGB8pq2+LUiSwkfIUUjQ13Q+GhNdYEyzWQTOw39aFw3hzPiNC661bOki8dZioLzlZhntN6z271BrdszAuLlg+vlX1rxdD441qy610tIuJE6CR+dFUcQ22LMXcH7w6a7RXbl23mzC8V2kAdv/FTum6FHuEzqNI8qoY3lkm2rVE+DyBBo64eUeo+opThicqyI027UxvPov8AeFawGSONxzWysDMNc3yMfnVd7izZA2QrzQQdYGxPzIr69xIW3hhyxJPaWy1O9xK1+Na6/DBdb462VSyjU6x2BAMD40f/AG0P3ZA5HnfQ6ED9aqXFoTAE6FgehA3ircPxCyyAtAmIBjqR+tZhoi1xq1cYKpMkSNNPiaGtcat7Gc0wRG0mPlUrgw4Bbl1gHbrA26V862SQCqknWQPOJJpqQfjCayvRj8FbKZHrR3DcaLiZgpXy+R0+f1oK7dsjU5dTBPnBOp+dGYdQohdB0FCF27nM3nB/T9KU4hcPm1tkw2QsJ0PKsEz0DAfOjS3OPMEfKD+poTE8ORmnMVls0ae9A1/0Ax60oUcLZaQYOhnm6EyZ12JE+tRHDbKmQNZze8dwZnfv9aAfhVlCoNwLoAJjmAJOs76nWp4ngtv3meBHWIHMrf8A8x6Va6A614Xik65g2p1gNlnXoOUz8auXhVptQWB0n1BzTqO5ml1/hoYnmKyQWjqQuT5RGnkKlgeGow5boJEjSNJAXoeyx8KoqvfA2YNgGNVMQJ0E7xrI/WIoduCIdSzE/ihZB1MgxpqxPr6VbjOG5jJcEqqDzDISZ0PUMR6UGOEN1ukiZ6idCCDB86KYdIhKwxzHXWAOumgrPYy9iUdgtsOvmQI2gd9PjTnBOAqgENlABIPUCheM2XOVrbBT1nUH/en50wUqOMxGn7ka766dNd/XT/ZiuJxP/Lt/FjP5CpPbxPR7f+U0YDQGQ4bcck5tBTNTSG/mJHNTe0IUelYdVWJZ2aFcCKrcXQZBB8q5Ywqls2vzqN3BQfebU0bSxL1/8K/GrL1y5ocgJjWqblkkxnIgVFcOw++aNlaMQ0EGzV+KuDKoFqTHwFCqH2zmJq/7Q4zc2wMaUixC9cWQGtmB1E+tWYcWWIXK4J9aru45wdxsOlfLj2Oc6cu2lCXM1tZQ5gJ96Z2qu41rpdeai3FT+FahbxILDkWTpPataTS4f7onTSjMThluZSSeUyNaCTcCu8WxxtIGABkgfOtYDIeMMjNLAExGvaqb/DLX4f8Ae1DpxAgK2X3mjervts/d6Tv5T2rprpl9bwaiI2AIGvQ719Z4Vbkb6RGu0VTh8dmUGN/OibWI5gI/OjSfX+DW4MTPn8D+lR/sxWRVM6LGhiRM/WmF01SDVYgv9lJkKSYkH4xFG2lgAb1ya7WS5ftsWQq0ZTqI3Bqjilh2Ksg1Rgw1AkzBH+UmixUHvQNusVoaAthrjW0zgM4cSZHuyevoapvYLElChYsCsGWHaO3emhbUDyqVy7EeZqWizDLfVszktuMoIgSwggeQmvsNgLgYlWKsXbZtChLsAR/eaj7hrqGsrQO5YxQJbQkxOo2BMCI3g71HCWsRmXOxK6SOXXQgzp3j4U5DzQ6HU1qqFj4S6jN4UKpaRtqDBP55vmKYgM1uH96NYq1zXM2tCpH/AGeNs7/Oorh4+8/zorHsVzEdKGS/IBjenTD/2Q=="/>
          <p:cNvSpPr>
            <a:spLocks noChangeAspect="1" noChangeArrowheads="1"/>
          </p:cNvSpPr>
          <p:nvPr/>
        </p:nvSpPr>
        <p:spPr bwMode="auto">
          <a:xfrm>
            <a:off x="231041" y="5953"/>
            <a:ext cx="22866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68589" tIns="34295" rIns="68589" bIns="34295" numCol="1" anchor="t" anchorCtr="0" compatLnSpc="1">
            <a:prstTxWarp prst="textNoShape">
              <a:avLst/>
            </a:prstTxWarp>
          </a:bodyPr>
          <a:lstStyle/>
          <a:p>
            <a:pPr defTabSz="457048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rgbClr val="141313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0" y="33870"/>
            <a:ext cx="2436334" cy="338104"/>
          </a:xfrm>
          <a:prstGeom prst="rect">
            <a:avLst/>
          </a:prstGeom>
        </p:spPr>
      </p:pic>
      <p:sp>
        <p:nvSpPr>
          <p:cNvPr id="86" name="Rectangle 7"/>
          <p:cNvSpPr>
            <a:spLocks noChangeArrowheads="1"/>
          </p:cNvSpPr>
          <p:nvPr/>
        </p:nvSpPr>
        <p:spPr bwMode="ltGray">
          <a:xfrm>
            <a:off x="8710537" y="4742921"/>
            <a:ext cx="170832" cy="1545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71" tIns="30785" rIns="61571" bIns="30785" anchor="b">
            <a:spAutoFit/>
          </a:bodyPr>
          <a:lstStyle/>
          <a:p>
            <a:pPr algn="r" defTabSz="61061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600">
                <a:solidFill>
                  <a:srgbClr val="FFFFFF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pPr algn="r" defTabSz="610617" fontAlgn="auto">
                <a:spcBef>
                  <a:spcPts val="0"/>
                </a:spcBef>
                <a:spcAft>
                  <a:spcPts val="0"/>
                </a:spcAft>
              </a:pPr>
              <a:t>3</a:t>
            </a:fld>
            <a:endParaRPr lang="en-US" sz="600" dirty="0">
              <a:solidFill>
                <a:srgbClr val="FFFFFF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2" name="Title 1"/>
          <p:cNvSpPr>
            <a:spLocks noGrp="1"/>
          </p:cNvSpPr>
          <p:nvPr>
            <p:ph type="title"/>
          </p:nvPr>
        </p:nvSpPr>
        <p:spPr>
          <a:xfrm>
            <a:off x="214627" y="252413"/>
            <a:ext cx="8568627" cy="731837"/>
          </a:xfrm>
        </p:spPr>
        <p:txBody>
          <a:bodyPr/>
          <a:lstStyle/>
          <a:p>
            <a:r>
              <a:rPr lang="en-US" sz="2800" dirty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Cyber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 </a:t>
            </a:r>
            <a:r>
              <a:rPr lang="en-US" sz="2800" dirty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Security 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is a Boardroom </a:t>
            </a:r>
            <a:r>
              <a:rPr lang="en-US" sz="2800" dirty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Discussion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552532" y="1311467"/>
            <a:ext cx="8491545" cy="800556"/>
            <a:chOff x="344649" y="1021378"/>
            <a:chExt cx="9181200" cy="800556"/>
          </a:xfrm>
        </p:grpSpPr>
        <p:sp>
          <p:nvSpPr>
            <p:cNvPr id="41" name="Rectangle 40"/>
            <p:cNvSpPr/>
            <p:nvPr/>
          </p:nvSpPr>
          <p:spPr>
            <a:xfrm>
              <a:off x="475712" y="1136893"/>
              <a:ext cx="9050137" cy="648000"/>
            </a:xfrm>
            <a:prstGeom prst="rect">
              <a:avLst/>
            </a:prstGeom>
            <a:solidFill>
              <a:srgbClr val="00A3D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640080" tIns="34280" rIns="68559" bIns="34280" rtlCol="0" anchor="ctr" anchorCtr="0">
              <a:noAutofit/>
            </a:bodyPr>
            <a:lstStyle/>
            <a:p>
              <a:pPr defTabSz="68475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2000" dirty="0" smtClean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Security Breaches are Costly</a:t>
              </a:r>
              <a:endParaRPr lang="en-US" sz="2000" dirty="0">
                <a:solidFill>
                  <a:srgbClr val="FFFFFF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cxnSp>
          <p:nvCxnSpPr>
            <p:cNvPr id="72" name="Straight Connector 71"/>
            <p:cNvCxnSpPr/>
            <p:nvPr/>
          </p:nvCxnSpPr>
          <p:spPr>
            <a:xfrm>
              <a:off x="475712" y="1129578"/>
              <a:ext cx="8118178" cy="0"/>
            </a:xfrm>
            <a:prstGeom prst="line">
              <a:avLst/>
            </a:prstGeom>
            <a:ln w="6350">
              <a:gradFill>
                <a:gsLst>
                  <a:gs pos="34000">
                    <a:schemeClr val="bg1"/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7300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/>
          </p:nvCxnSpPr>
          <p:spPr>
            <a:xfrm flipV="1">
              <a:off x="475712" y="1777578"/>
              <a:ext cx="8118178" cy="4732"/>
            </a:xfrm>
            <a:prstGeom prst="line">
              <a:avLst/>
            </a:prstGeom>
            <a:ln w="6350">
              <a:gradFill>
                <a:gsLst>
                  <a:gs pos="34000">
                    <a:schemeClr val="bg1"/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7300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72"/>
            <p:cNvGrpSpPr/>
            <p:nvPr/>
          </p:nvGrpSpPr>
          <p:grpSpPr>
            <a:xfrm>
              <a:off x="344649" y="1021378"/>
              <a:ext cx="800556" cy="800556"/>
              <a:chOff x="1734877" y="2579028"/>
              <a:chExt cx="1099065" cy="1099348"/>
            </a:xfrm>
            <a:noFill/>
          </p:grpSpPr>
          <p:sp>
            <p:nvSpPr>
              <p:cNvPr id="20" name="Oval 19"/>
              <p:cNvSpPr/>
              <p:nvPr/>
            </p:nvSpPr>
            <p:spPr>
              <a:xfrm>
                <a:off x="1734877" y="2579028"/>
                <a:ext cx="1099065" cy="1099348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3937"/>
                <a:endParaRPr lang="en-US" sz="1400" dirty="0">
                  <a:solidFill>
                    <a:prstClr val="white"/>
                  </a:solidFill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1" name="Oval 20"/>
              <p:cNvSpPr/>
              <p:nvPr/>
            </p:nvSpPr>
            <p:spPr>
              <a:xfrm>
                <a:off x="1789275" y="2633440"/>
                <a:ext cx="990270" cy="990525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3937"/>
                <a:endParaRPr lang="en-US" sz="1400" dirty="0">
                  <a:solidFill>
                    <a:prstClr val="white"/>
                  </a:solidFill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grpSp>
        <p:nvGrpSpPr>
          <p:cNvPr id="89" name="Group 88"/>
          <p:cNvGrpSpPr/>
          <p:nvPr/>
        </p:nvGrpSpPr>
        <p:grpSpPr>
          <a:xfrm>
            <a:off x="559391" y="2392663"/>
            <a:ext cx="8478139" cy="800556"/>
            <a:chOff x="344649" y="1021378"/>
            <a:chExt cx="9181200" cy="800556"/>
          </a:xfrm>
        </p:grpSpPr>
        <p:sp>
          <p:nvSpPr>
            <p:cNvPr id="90" name="Rectangle 89"/>
            <p:cNvSpPr/>
            <p:nvPr/>
          </p:nvSpPr>
          <p:spPr>
            <a:xfrm>
              <a:off x="475712" y="1136893"/>
              <a:ext cx="9050137" cy="648000"/>
            </a:xfrm>
            <a:prstGeom prst="rect">
              <a:avLst/>
            </a:prstGeom>
            <a:solidFill>
              <a:srgbClr val="00A3D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640080" tIns="34280" rIns="68559" bIns="34280" rtlCol="0" anchor="ctr" anchorCtr="0">
              <a:noAutofit/>
            </a:bodyPr>
            <a:lstStyle/>
            <a:p>
              <a:pPr defTabSz="68475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2000" dirty="0" smtClean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Security is the #1 Issue for Your Customers</a:t>
              </a:r>
              <a:endParaRPr lang="en-US" sz="2000" dirty="0">
                <a:solidFill>
                  <a:srgbClr val="FFFFFF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cxnSp>
          <p:nvCxnSpPr>
            <p:cNvPr id="91" name="Straight Connector 90"/>
            <p:cNvCxnSpPr/>
            <p:nvPr/>
          </p:nvCxnSpPr>
          <p:spPr>
            <a:xfrm>
              <a:off x="475712" y="1129578"/>
              <a:ext cx="8118178" cy="0"/>
            </a:xfrm>
            <a:prstGeom prst="line">
              <a:avLst/>
            </a:prstGeom>
            <a:ln w="6350">
              <a:gradFill>
                <a:gsLst>
                  <a:gs pos="34000">
                    <a:schemeClr val="bg1"/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7300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/>
            <p:cNvCxnSpPr/>
            <p:nvPr/>
          </p:nvCxnSpPr>
          <p:spPr>
            <a:xfrm flipV="1">
              <a:off x="475712" y="1777578"/>
              <a:ext cx="8118178" cy="4732"/>
            </a:xfrm>
            <a:prstGeom prst="line">
              <a:avLst/>
            </a:prstGeom>
            <a:ln w="6350">
              <a:gradFill>
                <a:gsLst>
                  <a:gs pos="34000">
                    <a:schemeClr val="bg1"/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7300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3" name="Group 72"/>
            <p:cNvGrpSpPr/>
            <p:nvPr/>
          </p:nvGrpSpPr>
          <p:grpSpPr>
            <a:xfrm>
              <a:off x="344649" y="1021378"/>
              <a:ext cx="800556" cy="800556"/>
              <a:chOff x="1734877" y="2579028"/>
              <a:chExt cx="1099065" cy="1099348"/>
            </a:xfrm>
            <a:noFill/>
          </p:grpSpPr>
          <p:sp>
            <p:nvSpPr>
              <p:cNvPr id="94" name="Oval 93"/>
              <p:cNvSpPr/>
              <p:nvPr/>
            </p:nvSpPr>
            <p:spPr>
              <a:xfrm>
                <a:off x="1734877" y="2579028"/>
                <a:ext cx="1099065" cy="1099348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3937"/>
                <a:endParaRPr lang="en-US" sz="1400" dirty="0">
                  <a:solidFill>
                    <a:prstClr val="white"/>
                  </a:solidFill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95" name="Oval 94"/>
              <p:cNvSpPr/>
              <p:nvPr/>
            </p:nvSpPr>
            <p:spPr>
              <a:xfrm>
                <a:off x="1789275" y="2633440"/>
                <a:ext cx="990270" cy="990525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3937"/>
                <a:endParaRPr lang="en-US" sz="1400" dirty="0">
                  <a:solidFill>
                    <a:prstClr val="white"/>
                  </a:solidFill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grpSp>
        <p:nvGrpSpPr>
          <p:cNvPr id="96" name="Group 95"/>
          <p:cNvGrpSpPr/>
          <p:nvPr/>
        </p:nvGrpSpPr>
        <p:grpSpPr>
          <a:xfrm>
            <a:off x="558500" y="3485126"/>
            <a:ext cx="8478139" cy="800556"/>
            <a:chOff x="344649" y="1021378"/>
            <a:chExt cx="9181200" cy="800556"/>
          </a:xfrm>
        </p:grpSpPr>
        <p:sp>
          <p:nvSpPr>
            <p:cNvPr id="97" name="Rectangle 96"/>
            <p:cNvSpPr/>
            <p:nvPr/>
          </p:nvSpPr>
          <p:spPr>
            <a:xfrm>
              <a:off x="475712" y="1136893"/>
              <a:ext cx="9050137" cy="648000"/>
            </a:xfrm>
            <a:prstGeom prst="rect">
              <a:avLst/>
            </a:prstGeom>
            <a:solidFill>
              <a:srgbClr val="00A3D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640080" tIns="34280" rIns="68559" bIns="34280" rtlCol="0" anchor="ctr" anchorCtr="0">
              <a:noAutofit/>
            </a:bodyPr>
            <a:lstStyle/>
            <a:p>
              <a:pPr defTabSz="684752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2000" dirty="0" smtClean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Protect Now the Value You Intend to Create Tomorrow</a:t>
              </a:r>
              <a:endParaRPr lang="en-US" sz="2000" dirty="0">
                <a:solidFill>
                  <a:srgbClr val="FFFFFF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cxnSp>
          <p:nvCxnSpPr>
            <p:cNvPr id="98" name="Straight Connector 97"/>
            <p:cNvCxnSpPr/>
            <p:nvPr/>
          </p:nvCxnSpPr>
          <p:spPr>
            <a:xfrm>
              <a:off x="475712" y="1129578"/>
              <a:ext cx="8118178" cy="0"/>
            </a:xfrm>
            <a:prstGeom prst="line">
              <a:avLst/>
            </a:prstGeom>
            <a:ln w="6350">
              <a:gradFill>
                <a:gsLst>
                  <a:gs pos="34000">
                    <a:schemeClr val="bg1"/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7300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/>
          </p:nvCxnSpPr>
          <p:spPr>
            <a:xfrm flipV="1">
              <a:off x="475712" y="1777578"/>
              <a:ext cx="8118178" cy="4732"/>
            </a:xfrm>
            <a:prstGeom prst="line">
              <a:avLst/>
            </a:prstGeom>
            <a:ln w="6350">
              <a:gradFill>
                <a:gsLst>
                  <a:gs pos="34000">
                    <a:schemeClr val="bg1"/>
                  </a:gs>
                  <a:gs pos="0">
                    <a:schemeClr val="tx2">
                      <a:lumMod val="60000"/>
                      <a:lumOff val="40000"/>
                    </a:schemeClr>
                  </a:gs>
                  <a:gs pos="73000">
                    <a:schemeClr val="tx2">
                      <a:lumMod val="60000"/>
                      <a:lumOff val="40000"/>
                    </a:schemeClr>
                  </a:gs>
                  <a:gs pos="100000">
                    <a:schemeClr val="accent1">
                      <a:tint val="23500"/>
                      <a:satMod val="160000"/>
                      <a:alpha val="0"/>
                    </a:schemeClr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0" name="Group 72"/>
            <p:cNvGrpSpPr/>
            <p:nvPr/>
          </p:nvGrpSpPr>
          <p:grpSpPr>
            <a:xfrm>
              <a:off x="344649" y="1021378"/>
              <a:ext cx="800556" cy="800556"/>
              <a:chOff x="1734877" y="2579028"/>
              <a:chExt cx="1099065" cy="1099348"/>
            </a:xfrm>
            <a:noFill/>
          </p:grpSpPr>
          <p:sp>
            <p:nvSpPr>
              <p:cNvPr id="101" name="Oval 100"/>
              <p:cNvSpPr/>
              <p:nvPr/>
            </p:nvSpPr>
            <p:spPr>
              <a:xfrm>
                <a:off x="1734877" y="2579028"/>
                <a:ext cx="1099065" cy="1099348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3937"/>
                <a:endParaRPr lang="en-US" sz="1400" dirty="0">
                  <a:solidFill>
                    <a:prstClr val="white"/>
                  </a:solidFill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02" name="Oval 101"/>
              <p:cNvSpPr/>
              <p:nvPr/>
            </p:nvSpPr>
            <p:spPr>
              <a:xfrm>
                <a:off x="1789275" y="2633440"/>
                <a:ext cx="990270" cy="990525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3937"/>
                <a:endParaRPr lang="en-US" sz="1400" dirty="0">
                  <a:solidFill>
                    <a:prstClr val="white"/>
                  </a:solidFill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8819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7765" y="341313"/>
            <a:ext cx="8958161" cy="731837"/>
          </a:xfrm>
        </p:spPr>
        <p:txBody>
          <a:bodyPr anchor="t"/>
          <a:lstStyle/>
          <a:p>
            <a:r>
              <a:rPr lang="en-US" sz="2800" dirty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Security Is a Boardroom Concern</a:t>
            </a:r>
            <a:r>
              <a:rPr lang="en-US" dirty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/>
            </a:r>
            <a:br>
              <a:rPr lang="en-US" dirty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</a:br>
            <a:r>
              <a:rPr lang="en-US" sz="2000" dirty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Cyber attacks and online piracy raise costs, hurt brand, reduce revenue</a:t>
            </a:r>
            <a:endParaRPr lang="en-US" dirty="0">
              <a:solidFill>
                <a:schemeClr val="tx2">
                  <a:lumMod val="75000"/>
                </a:schemeClr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pic>
        <p:nvPicPr>
          <p:cNvPr id="14" name="Picture Placeholder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496" t="313" r="445" b="22987"/>
          <a:stretch/>
        </p:blipFill>
        <p:spPr>
          <a:xfrm flipH="1">
            <a:off x="-4" y="1085850"/>
            <a:ext cx="4572001" cy="2613487"/>
          </a:xfrm>
          <a:prstGeom prst="rect">
            <a:avLst/>
          </a:prstGeom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5" r="11557" b="22238"/>
          <a:stretch/>
        </p:blipFill>
        <p:spPr bwMode="auto">
          <a:xfrm>
            <a:off x="4572000" y="1085850"/>
            <a:ext cx="4572000" cy="2613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2990850" y="1085850"/>
            <a:ext cx="3162300" cy="2613487"/>
          </a:xfrm>
          <a:prstGeom prst="rect">
            <a:avLst/>
          </a:prstGeom>
          <a:gradFill>
            <a:gsLst>
              <a:gs pos="0">
                <a:schemeClr val="tx1">
                  <a:lumMod val="50000"/>
                  <a:alpha val="0"/>
                </a:schemeClr>
              </a:gs>
              <a:gs pos="50000">
                <a:srgbClr val="000000">
                  <a:alpha val="90000"/>
                </a:srgbClr>
              </a:gs>
              <a:gs pos="100000">
                <a:schemeClr val="tx1">
                  <a:lumMod val="50000"/>
                  <a:alpha val="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-4" y="3724737"/>
            <a:ext cx="9144010" cy="752475"/>
            <a:chOff x="597581" y="2168206"/>
            <a:chExt cx="7348360" cy="1201250"/>
          </a:xfrm>
          <a:solidFill>
            <a:schemeClr val="accent4"/>
          </a:solidFill>
        </p:grpSpPr>
        <p:sp>
          <p:nvSpPr>
            <p:cNvPr id="6" name="Rectangle 5"/>
            <p:cNvSpPr/>
            <p:nvPr/>
          </p:nvSpPr>
          <p:spPr>
            <a:xfrm>
              <a:off x="597581" y="2168206"/>
              <a:ext cx="1818216" cy="120125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40" tIns="34295" rIns="91440" bIns="34295" rtlCol="0" anchor="t"/>
            <a:lstStyle/>
            <a:p>
              <a:pPr algn="ctr"/>
              <a:r>
                <a:rPr lang="en-US" sz="1300" dirty="0" smtClean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Disney, Netflix</a:t>
              </a:r>
            </a:p>
            <a:p>
              <a:pPr algn="ctr">
                <a:spcBef>
                  <a:spcPts val="600"/>
                </a:spcBef>
              </a:pPr>
              <a:r>
                <a:rPr lang="en-US" sz="1050" dirty="0" smtClean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Pre-release </a:t>
              </a:r>
              <a:r>
                <a:rPr lang="en-US" sz="1050" dirty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content stolen from</a:t>
              </a:r>
              <a:br>
                <a:rPr lang="en-US" sz="1050" dirty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</a:br>
              <a:r>
                <a:rPr lang="en-US" sz="1050" dirty="0" smtClean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post-production</a:t>
              </a:r>
              <a:endParaRPr lang="en-US" sz="1050" dirty="0">
                <a:solidFill>
                  <a:srgbClr val="FFFFFF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2439620" y="2168206"/>
              <a:ext cx="1818216" cy="120125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40" tIns="34295" rIns="91440" bIns="34295" rtlCol="0" anchor="t"/>
            <a:lstStyle/>
            <a:p>
              <a:pPr algn="ctr"/>
              <a:r>
                <a:rPr lang="en-US" sz="1300" dirty="0" err="1" smtClean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Dyn</a:t>
              </a:r>
              <a:endParaRPr lang="en-US" sz="1300" dirty="0">
                <a:solidFill>
                  <a:srgbClr val="FFFFFF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  <a:p>
              <a:pPr algn="ctr">
                <a:spcBef>
                  <a:spcPts val="600"/>
                </a:spcBef>
              </a:pPr>
              <a:r>
                <a:rPr lang="en-US" sz="1050" dirty="0" err="1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Mirai</a:t>
              </a:r>
              <a:r>
                <a:rPr lang="en-US" sz="1050" dirty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 botnet DDoS attack on </a:t>
              </a:r>
              <a:r>
                <a:rPr lang="en-US" sz="1050" dirty="0" err="1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Dyn</a:t>
              </a:r>
              <a:r>
                <a:rPr lang="en-US" sz="1050" dirty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 DNS servers brings down </a:t>
              </a:r>
              <a:r>
                <a:rPr lang="en-US" sz="1050" dirty="0" smtClean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sites</a:t>
              </a:r>
              <a:endParaRPr lang="en-US" sz="1050" dirty="0">
                <a:solidFill>
                  <a:srgbClr val="FFFFFF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4281658" y="2168206"/>
              <a:ext cx="1818216" cy="120125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40" tIns="34295" rIns="91440" bIns="34295" rtlCol="0" anchor="t"/>
            <a:lstStyle/>
            <a:p>
              <a:pPr algn="ctr"/>
              <a:r>
                <a:rPr lang="en-US" sz="1300" dirty="0" smtClean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Charter</a:t>
              </a:r>
              <a:endParaRPr lang="en-US" sz="1300" dirty="0">
                <a:solidFill>
                  <a:srgbClr val="FFFFFF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  <a:p>
              <a:pPr algn="ctr">
                <a:spcBef>
                  <a:spcPts val="600"/>
                </a:spcBef>
              </a:pPr>
              <a:r>
                <a:rPr lang="en-US" sz="1050" dirty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UI hacked, showed racist messages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6123696" y="2168206"/>
              <a:ext cx="1822245" cy="12012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tIns="34295" rIns="0" bIns="34295" rtlCol="0" anchor="t"/>
            <a:lstStyle/>
            <a:p>
              <a:pPr algn="ctr">
                <a:spcBef>
                  <a:spcPts val="600"/>
                </a:spcBef>
              </a:pPr>
              <a:r>
                <a:rPr lang="en-US" sz="1300" dirty="0" smtClean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Verizon</a:t>
              </a:r>
              <a:endParaRPr lang="en-US" sz="1300" dirty="0">
                <a:solidFill>
                  <a:srgbClr val="FFFFFF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  <a:p>
              <a:pPr algn="ctr">
                <a:spcBef>
                  <a:spcPts val="600"/>
                </a:spcBef>
              </a:pPr>
              <a:r>
                <a:rPr lang="en-US" sz="1050" dirty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C</a:t>
              </a:r>
              <a:r>
                <a:rPr lang="en-US" sz="1050" dirty="0" smtClean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ustomer </a:t>
              </a:r>
              <a:r>
                <a:rPr lang="en-US" sz="1050" dirty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records exposed on unsecured cloud storage</a:t>
              </a: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456428" y="4566338"/>
            <a:ext cx="441146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mtClean="0"/>
              <a:t>    </a:t>
            </a:r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5873828" y="4686578"/>
            <a:ext cx="2621230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mtClean="0"/>
              <a:t>                                   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88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0" y="1082674"/>
            <a:ext cx="9144000" cy="3516313"/>
          </a:xfrm>
          <a:prstGeom prst="rect">
            <a:avLst/>
          </a:prstGeom>
          <a:gradFill>
            <a:gsLst>
              <a:gs pos="0">
                <a:srgbClr val="000000">
                  <a:alpha val="20000"/>
                </a:srgbClr>
              </a:gs>
              <a:gs pos="100000">
                <a:srgbClr val="000000">
                  <a:alpha val="50000"/>
                </a:srgbClr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082674"/>
            <a:ext cx="9144000" cy="351599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" name="think-cell Slide" r:id="rId6" imgW="378" imgH="379" progId="TCLayout.ActiveDocument.1">
                  <p:embed/>
                </p:oleObj>
              </mc:Choice>
              <mc:Fallback>
                <p:oleObj name="think-cell Slide" r:id="rId6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/>
        </p:nvSpPr>
        <p:spPr>
          <a:xfrm>
            <a:off x="1049973" y="4656267"/>
            <a:ext cx="2441371" cy="42995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r>
              <a:rPr lang="en-US" sz="680" kern="0" baseline="30000" dirty="0">
                <a:solidFill>
                  <a:srgbClr val="FFFFFF">
                    <a:lumMod val="65000"/>
                  </a:srgb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1</a:t>
            </a:r>
            <a:r>
              <a:rPr lang="en-US" sz="680" kern="0" dirty="0">
                <a:solidFill>
                  <a:srgbClr val="FFFFFF">
                    <a:lumMod val="65000"/>
                  </a:srgb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Verizon – 2015 Data Breach Investigations Report</a:t>
            </a:r>
          </a:p>
          <a:p>
            <a:r>
              <a:rPr lang="en-US" sz="680" kern="0" baseline="30000" dirty="0">
                <a:solidFill>
                  <a:srgbClr val="FFFFFF">
                    <a:lumMod val="65000"/>
                  </a:srgb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2</a:t>
            </a:r>
            <a:r>
              <a:rPr lang="en-US" sz="680" kern="0" dirty="0">
                <a:solidFill>
                  <a:srgbClr val="FFFFFF">
                    <a:lumMod val="65000"/>
                  </a:srgb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 Ponemon Institute - 2015 Cost of Data Breach Study: Global Analysi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531528" y="4656267"/>
            <a:ext cx="2342300" cy="36664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/>
          <a:p>
            <a:r>
              <a:rPr lang="en-US" sz="680" kern="0" baseline="30000" dirty="0">
                <a:solidFill>
                  <a:srgbClr val="FFFFFF">
                    <a:lumMod val="65000"/>
                  </a:srgb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3</a:t>
            </a:r>
            <a:r>
              <a:rPr lang="en-US" sz="680" kern="0" dirty="0">
                <a:solidFill>
                  <a:srgbClr val="FFFFFF">
                    <a:lumMod val="65000"/>
                  </a:srgb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Verizon – </a:t>
            </a:r>
            <a:r>
              <a:rPr lang="en-US" sz="680" kern="0" dirty="0" smtClean="0">
                <a:solidFill>
                  <a:srgbClr val="FFFFFF">
                    <a:lumMod val="65000"/>
                  </a:srgb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2014 </a:t>
            </a:r>
            <a:r>
              <a:rPr lang="en-US" sz="680" kern="0" dirty="0">
                <a:solidFill>
                  <a:srgbClr val="FFFFFF">
                    <a:lumMod val="65000"/>
                  </a:srgb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Data Breach Investigations </a:t>
            </a:r>
            <a:r>
              <a:rPr lang="en-US" sz="680" kern="0" dirty="0" smtClean="0">
                <a:solidFill>
                  <a:srgbClr val="FFFFFF">
                    <a:lumMod val="65000"/>
                  </a:srgb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Report</a:t>
            </a:r>
          </a:p>
          <a:p>
            <a:r>
              <a:rPr lang="en-US" sz="680" kern="0" baseline="30000" dirty="0" smtClean="0">
                <a:solidFill>
                  <a:srgbClr val="FFFFFF">
                    <a:lumMod val="65000"/>
                  </a:srgb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4</a:t>
            </a:r>
            <a:r>
              <a:rPr lang="en-US" sz="680" kern="0" dirty="0" smtClean="0">
                <a:solidFill>
                  <a:srgbClr val="FFFFFF">
                    <a:lumMod val="65000"/>
                  </a:srgb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Verizon </a:t>
            </a:r>
            <a:r>
              <a:rPr lang="en-US" sz="680" kern="0" dirty="0">
                <a:solidFill>
                  <a:srgbClr val="FFFFFF">
                    <a:lumMod val="65000"/>
                  </a:srgb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– </a:t>
            </a:r>
            <a:r>
              <a:rPr lang="en-US" sz="680" kern="0" dirty="0" smtClean="0">
                <a:solidFill>
                  <a:srgbClr val="FFFFFF">
                    <a:lumMod val="65000"/>
                  </a:srgb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2014 </a:t>
            </a:r>
            <a:r>
              <a:rPr lang="en-US" sz="680" kern="0" dirty="0">
                <a:solidFill>
                  <a:srgbClr val="FFFFFF">
                    <a:lumMod val="65000"/>
                  </a:srgb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Data Breach Investigations </a:t>
            </a:r>
            <a:r>
              <a:rPr lang="en-US" sz="680" kern="0" dirty="0" smtClean="0">
                <a:solidFill>
                  <a:srgbClr val="FFFFFF">
                    <a:lumMod val="65000"/>
                  </a:srgb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Report</a:t>
            </a:r>
            <a:endParaRPr lang="en-US" sz="680" kern="0" dirty="0">
              <a:solidFill>
                <a:srgbClr val="FFFFFF">
                  <a:lumMod val="65000"/>
                </a:srgbClr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437766" y="3830975"/>
            <a:ext cx="8282372" cy="441380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rgbClr val="FFFFFF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Loss of customer trust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430213" y="1385107"/>
            <a:ext cx="2011960" cy="2172299"/>
            <a:chOff x="430213" y="1385107"/>
            <a:chExt cx="2011960" cy="2172299"/>
          </a:xfrm>
        </p:grpSpPr>
        <p:sp>
          <p:nvSpPr>
            <p:cNvPr id="46" name="Rectangle 45"/>
            <p:cNvSpPr/>
            <p:nvPr/>
          </p:nvSpPr>
          <p:spPr>
            <a:xfrm>
              <a:off x="430213" y="2278380"/>
              <a:ext cx="2011960" cy="1279026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" tIns="274320" rIns="36576" bIns="91440" rtlCol="0" anchor="t"/>
            <a:lstStyle/>
            <a:p>
              <a:pPr algn="ctr" defTabSz="514119">
                <a:defRPr/>
              </a:pPr>
              <a:r>
                <a:rPr lang="en-US" sz="1700" kern="0" dirty="0">
                  <a:solidFill>
                    <a:srgbClr val="214794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Loss for every 1k </a:t>
              </a:r>
            </a:p>
            <a:p>
              <a:pPr algn="ctr" defTabSz="514119">
                <a:defRPr/>
              </a:pPr>
              <a:r>
                <a:rPr lang="en-US" sz="1700" kern="0" dirty="0">
                  <a:solidFill>
                    <a:srgbClr val="214794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data files breached</a:t>
              </a:r>
              <a:r>
                <a:rPr lang="en-US" sz="1700" kern="0" baseline="30000" dirty="0">
                  <a:solidFill>
                    <a:srgbClr val="214794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1</a:t>
              </a:r>
              <a:endParaRPr lang="en-US" sz="1700" kern="0" dirty="0">
                <a:solidFill>
                  <a:srgbClr val="214794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4" name="Oval 3"/>
            <p:cNvSpPr/>
            <p:nvPr/>
          </p:nvSpPr>
          <p:spPr>
            <a:xfrm>
              <a:off x="893023" y="1385107"/>
              <a:ext cx="1097280" cy="1097280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514119">
                <a:defRPr/>
              </a:pPr>
              <a:r>
                <a:rPr lang="en-US" sz="2400" kern="0" dirty="0">
                  <a:solidFill>
                    <a:prstClr val="white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$87k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525548" y="1385107"/>
            <a:ext cx="2011960" cy="2172299"/>
            <a:chOff x="2635606" y="1385107"/>
            <a:chExt cx="2011960" cy="2172299"/>
          </a:xfrm>
        </p:grpSpPr>
        <p:sp>
          <p:nvSpPr>
            <p:cNvPr id="47" name="Rectangle 46"/>
            <p:cNvSpPr/>
            <p:nvPr/>
          </p:nvSpPr>
          <p:spPr>
            <a:xfrm>
              <a:off x="2635606" y="2278380"/>
              <a:ext cx="2011960" cy="1279026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" tIns="274320" rIns="36576" bIns="91440" rtlCol="0" anchor="t"/>
            <a:lstStyle/>
            <a:p>
              <a:pPr algn="ctr" defTabSz="514119">
                <a:defRPr/>
              </a:pPr>
              <a:r>
                <a:rPr lang="en-US" sz="1700" kern="0" dirty="0">
                  <a:solidFill>
                    <a:srgbClr val="214794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Average lost business cost per attack</a:t>
              </a:r>
              <a:r>
                <a:rPr lang="en-US" sz="1700" kern="0" baseline="30000" dirty="0">
                  <a:solidFill>
                    <a:srgbClr val="214794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2</a:t>
              </a:r>
              <a:endParaRPr lang="en-US" sz="1700" kern="0" dirty="0">
                <a:solidFill>
                  <a:srgbClr val="214794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6" name="Oval 25"/>
            <p:cNvSpPr/>
            <p:nvPr/>
          </p:nvSpPr>
          <p:spPr>
            <a:xfrm>
              <a:off x="3098416" y="1385107"/>
              <a:ext cx="1097280" cy="1097280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513926">
                <a:defRPr/>
              </a:pPr>
              <a:r>
                <a:rPr lang="en-US" sz="2400" dirty="0">
                  <a:solidFill>
                    <a:srgbClr val="FFFFFF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$1.45M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620883" y="1385107"/>
            <a:ext cx="2011960" cy="2172299"/>
            <a:chOff x="4830542" y="1385107"/>
            <a:chExt cx="2011960" cy="2172299"/>
          </a:xfrm>
        </p:grpSpPr>
        <p:sp>
          <p:nvSpPr>
            <p:cNvPr id="49" name="Rectangle 48"/>
            <p:cNvSpPr/>
            <p:nvPr/>
          </p:nvSpPr>
          <p:spPr>
            <a:xfrm>
              <a:off x="4830542" y="2278380"/>
              <a:ext cx="2011960" cy="1279026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" tIns="274320" rIns="36576" bIns="91440" rtlCol="0" anchor="t"/>
            <a:lstStyle/>
            <a:p>
              <a:pPr algn="ctr" defTabSz="514119">
                <a:defRPr/>
              </a:pPr>
              <a:r>
                <a:rPr lang="en-US" sz="1700" kern="0" dirty="0">
                  <a:solidFill>
                    <a:srgbClr val="214794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Of security breaches compromise data in </a:t>
              </a:r>
              <a:r>
                <a:rPr lang="en-US" sz="1700" kern="0" dirty="0" smtClean="0">
                  <a:solidFill>
                    <a:srgbClr val="214794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hours</a:t>
              </a:r>
              <a:r>
                <a:rPr lang="en-US" sz="1700" kern="0" baseline="30000" dirty="0" smtClean="0">
                  <a:solidFill>
                    <a:srgbClr val="214794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3</a:t>
              </a:r>
              <a:endParaRPr lang="en-US" sz="1700" kern="0" dirty="0">
                <a:solidFill>
                  <a:srgbClr val="214794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5293352" y="1385107"/>
              <a:ext cx="1097280" cy="1097280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513926">
                <a:defRPr/>
              </a:pPr>
              <a:r>
                <a:rPr lang="en-US" sz="2400" kern="0" dirty="0">
                  <a:solidFill>
                    <a:prstClr val="white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60%</a:t>
              </a:r>
            </a:p>
          </p:txBody>
        </p:sp>
      </p:grpSp>
      <p:sp>
        <p:nvSpPr>
          <p:cNvPr id="6" name="Right Brace 5"/>
          <p:cNvSpPr/>
          <p:nvPr/>
        </p:nvSpPr>
        <p:spPr>
          <a:xfrm rot="5400000">
            <a:off x="4450818" y="532167"/>
            <a:ext cx="248714" cy="6422745"/>
          </a:xfrm>
          <a:prstGeom prst="rightBrac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676767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6716218" y="1385107"/>
            <a:ext cx="2011960" cy="2172299"/>
            <a:chOff x="6895353" y="1385107"/>
            <a:chExt cx="2011960" cy="2172299"/>
          </a:xfrm>
        </p:grpSpPr>
        <p:sp>
          <p:nvSpPr>
            <p:cNvPr id="18" name="Rectangle 17"/>
            <p:cNvSpPr/>
            <p:nvPr/>
          </p:nvSpPr>
          <p:spPr>
            <a:xfrm>
              <a:off x="6895353" y="2278380"/>
              <a:ext cx="2011960" cy="1279026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" tIns="274320" rIns="36576" bIns="91440" rtlCol="0" anchor="t"/>
            <a:lstStyle/>
            <a:p>
              <a:pPr algn="ctr" defTabSz="514119">
                <a:defRPr/>
              </a:pPr>
              <a:r>
                <a:rPr lang="en-US" sz="1700" kern="0" dirty="0">
                  <a:solidFill>
                    <a:srgbClr val="214794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Of security breaches are not detected until months </a:t>
              </a:r>
              <a:r>
                <a:rPr lang="en-US" sz="1700" kern="0" dirty="0" smtClean="0">
                  <a:solidFill>
                    <a:srgbClr val="214794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later</a:t>
              </a:r>
              <a:r>
                <a:rPr lang="en-US" sz="1700" kern="0" baseline="30000" dirty="0" smtClean="0">
                  <a:solidFill>
                    <a:srgbClr val="214794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4</a:t>
              </a:r>
              <a:endParaRPr lang="en-US" sz="1700" kern="0" baseline="30000" dirty="0">
                <a:solidFill>
                  <a:srgbClr val="214794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7358163" y="1385107"/>
              <a:ext cx="1097280" cy="1097280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513926">
                <a:defRPr/>
              </a:pPr>
              <a:r>
                <a:rPr lang="en-US" sz="2400" kern="0" dirty="0">
                  <a:solidFill>
                    <a:prstClr val="white"/>
                  </a:solidFill>
                  <a:latin typeface="CiscoSans ExtraLight" charset="0"/>
                  <a:ea typeface="CiscoSans ExtraLight" charset="0"/>
                  <a:cs typeface="CiscoSans ExtraLight" charset="0"/>
                </a:rPr>
                <a:t>54%</a:t>
              </a:r>
            </a:p>
          </p:txBody>
        </p:sp>
      </p:grpSp>
      <p:sp>
        <p:nvSpPr>
          <p:cNvPr id="23" name="Title 3"/>
          <p:cNvSpPr txBox="1">
            <a:spLocks/>
          </p:cNvSpPr>
          <p:nvPr/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3200" kern="120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sz="2800" dirty="0" smtClean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Leaving </a:t>
            </a:r>
            <a:r>
              <a:rPr sz="2800" dirty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Y</a:t>
            </a:r>
            <a:r>
              <a:rPr sz="2800" dirty="0" smtClean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ou </a:t>
            </a:r>
            <a:r>
              <a:rPr sz="2800" dirty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V</a:t>
            </a:r>
            <a:r>
              <a:rPr sz="2800" dirty="0" smtClean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ulnerable </a:t>
            </a:r>
            <a:r>
              <a:rPr sz="2800" dirty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t</a:t>
            </a:r>
            <a:r>
              <a:rPr sz="2800" dirty="0" smtClean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o Security </a:t>
            </a:r>
            <a:r>
              <a:rPr sz="2800" dirty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B</a:t>
            </a:r>
            <a:r>
              <a:rPr sz="2800" dirty="0" smtClean="0">
                <a:solidFill>
                  <a:schemeClr val="tx2">
                    <a:lumMod val="7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reaches</a:t>
            </a:r>
            <a:endParaRPr sz="2800" spc="-80" dirty="0">
              <a:solidFill>
                <a:schemeClr val="tx2">
                  <a:lumMod val="75000"/>
                </a:schemeClr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56428" y="4622324"/>
            <a:ext cx="441146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 smtClean="0"/>
              <a:t>    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608828" y="4774724"/>
            <a:ext cx="441146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mtClean="0"/>
              <a:t>    </a:t>
            </a:r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5873828" y="4686578"/>
            <a:ext cx="2877711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 smtClean="0"/>
              <a:t>                                       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202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iscoSans ExtraLight" charset="0"/>
                <a:ea typeface="CiscoSans ExtraLight" charset="0"/>
                <a:cs typeface="CiscoSans ExtraLight" charset="0"/>
              </a:rPr>
              <a:t>The Modern </a:t>
            </a:r>
            <a:r>
              <a:rPr lang="en-US" dirty="0">
                <a:latin typeface="CiscoSans ExtraLight" charset="0"/>
                <a:ea typeface="CiscoSans ExtraLight" charset="0"/>
                <a:cs typeface="CiscoSans ExtraLight" charset="0"/>
              </a:rPr>
              <a:t>Data </a:t>
            </a:r>
            <a:r>
              <a:rPr lang="en-US" dirty="0" smtClean="0">
                <a:latin typeface="CiscoSans ExtraLight" charset="0"/>
                <a:ea typeface="CiscoSans ExtraLight" charset="0"/>
                <a:cs typeface="CiscoSans ExtraLight" charset="0"/>
              </a:rPr>
              <a:t>Center is incredibly complex</a:t>
            </a:r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1193137" y="1784151"/>
            <a:ext cx="2029402" cy="106490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2000" dirty="0">
                <a:solidFill>
                  <a:schemeClr val="accent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Big and Fast Data</a:t>
            </a:r>
          </a:p>
          <a:p>
            <a:pPr marL="0" lvl="1" algn="r" defTabSz="68421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</a:pPr>
            <a:r>
              <a:rPr lang="en-US" sz="1200" dirty="0">
                <a:solidFill>
                  <a:schemeClr val="tx1">
                    <a:lumMod val="90000"/>
                    <a:lumOff val="10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Virtualization</a:t>
            </a:r>
          </a:p>
          <a:p>
            <a:pPr marL="0" lvl="1" algn="r" defTabSz="68421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</a:pPr>
            <a:r>
              <a:rPr lang="en-US" sz="1200" dirty="0">
                <a:solidFill>
                  <a:schemeClr val="tx1">
                    <a:lumMod val="90000"/>
                    <a:lumOff val="10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Expanded attack surface</a:t>
            </a:r>
          </a:p>
          <a:p>
            <a:pPr marL="0" lvl="1" algn="r" defTabSz="68421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</a:pPr>
            <a:r>
              <a:rPr lang="en-US" sz="1200" dirty="0">
                <a:solidFill>
                  <a:schemeClr val="tx1">
                    <a:lumMod val="90000"/>
                    <a:lumOff val="10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Increase in east-west traffic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5996721" y="1784151"/>
            <a:ext cx="1703993" cy="106721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bg2"/>
                </a:solidFill>
                <a:ea typeface="ＭＳ Ｐゴシック" charset="0"/>
                <a:cs typeface="ＭＳ Ｐゴシック" charset="0"/>
              </a:defRPr>
            </a:lvl1pPr>
          </a:lstStyle>
          <a:p>
            <a:pPr algn="l"/>
            <a:r>
              <a:rPr lang="en-US" sz="2000" b="0" dirty="0">
                <a:solidFill>
                  <a:schemeClr val="accent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Hybrid Cloud</a:t>
            </a:r>
          </a:p>
          <a:p>
            <a:pPr marL="0" lvl="1" defTabSz="68421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</a:pPr>
            <a:r>
              <a:rPr lang="en-US" sz="1200" dirty="0">
                <a:solidFill>
                  <a:schemeClr val="tx1">
                    <a:lumMod val="90000"/>
                    <a:lumOff val="10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Multi cloud orchestration</a:t>
            </a:r>
          </a:p>
          <a:p>
            <a:pPr marL="0" lvl="1" defTabSz="68421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</a:pPr>
            <a:r>
              <a:rPr lang="en-US" sz="1200" dirty="0">
                <a:solidFill>
                  <a:schemeClr val="tx1">
                    <a:lumMod val="90000"/>
                    <a:lumOff val="10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Workload portability</a:t>
            </a:r>
          </a:p>
          <a:p>
            <a:pPr marL="0" lvl="1" defTabSz="68421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</a:pPr>
            <a:r>
              <a:rPr lang="en-US" sz="1200" dirty="0">
                <a:solidFill>
                  <a:schemeClr val="tx1">
                    <a:lumMod val="90000"/>
                    <a:lumOff val="10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Zero trust model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2890452" y="4033983"/>
            <a:ext cx="3363101" cy="5624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bg2"/>
                </a:solidFill>
                <a:ea typeface="ＭＳ Ｐゴシック" charset="0"/>
                <a:cs typeface="ＭＳ Ｐゴシック" charset="0"/>
              </a:defRPr>
            </a:lvl1pPr>
          </a:lstStyle>
          <a:p>
            <a:r>
              <a:rPr lang="en-US" sz="2000" b="0" dirty="0">
                <a:solidFill>
                  <a:schemeClr val="accent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Application Architecture</a:t>
            </a:r>
          </a:p>
          <a:p>
            <a:pPr marL="0" lvl="1" algn="ctr" defTabSz="68421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</a:pPr>
            <a:r>
              <a:rPr lang="en-US" sz="1200" dirty="0">
                <a:solidFill>
                  <a:schemeClr val="tx1">
                    <a:lumMod val="90000"/>
                    <a:lumOff val="10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Continuous development | Micro Services | APIs</a:t>
            </a:r>
          </a:p>
        </p:txBody>
      </p:sp>
      <p:grpSp>
        <p:nvGrpSpPr>
          <p:cNvPr id="95" name="Group 94"/>
          <p:cNvGrpSpPr/>
          <p:nvPr/>
        </p:nvGrpSpPr>
        <p:grpSpPr>
          <a:xfrm>
            <a:off x="3845459" y="1934607"/>
            <a:ext cx="1477872" cy="1477872"/>
            <a:chOff x="3274720" y="1826419"/>
            <a:chExt cx="2058988" cy="2058988"/>
          </a:xfrm>
        </p:grpSpPr>
        <p:sp>
          <p:nvSpPr>
            <p:cNvPr id="12" name="Oval 5"/>
            <p:cNvSpPr>
              <a:spLocks noChangeArrowheads="1"/>
            </p:cNvSpPr>
            <p:nvPr/>
          </p:nvSpPr>
          <p:spPr bwMode="auto">
            <a:xfrm>
              <a:off x="3274720" y="1826419"/>
              <a:ext cx="2058988" cy="2058988"/>
            </a:xfrm>
            <a:prstGeom prst="ellipse">
              <a:avLst/>
            </a:prstGeom>
            <a:solidFill>
              <a:schemeClr val="accent3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8" name="Freeform 21"/>
            <p:cNvSpPr>
              <a:spLocks/>
            </p:cNvSpPr>
            <p:nvPr/>
          </p:nvSpPr>
          <p:spPr bwMode="auto">
            <a:xfrm>
              <a:off x="3931088" y="3588578"/>
              <a:ext cx="1095340" cy="296829"/>
            </a:xfrm>
            <a:custGeom>
              <a:avLst/>
              <a:gdLst>
                <a:gd name="T0" fmla="*/ 226 w 664"/>
                <a:gd name="T1" fmla="*/ 180 h 180"/>
                <a:gd name="T2" fmla="*/ 664 w 664"/>
                <a:gd name="T3" fmla="*/ 0 h 180"/>
                <a:gd name="T4" fmla="*/ 41 w 664"/>
                <a:gd name="T5" fmla="*/ 0 h 180"/>
                <a:gd name="T6" fmla="*/ 0 w 664"/>
                <a:gd name="T7" fmla="*/ 41 h 180"/>
                <a:gd name="T8" fmla="*/ 0 w 664"/>
                <a:gd name="T9" fmla="*/ 138 h 180"/>
                <a:gd name="T10" fmla="*/ 226 w 664"/>
                <a:gd name="T11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4" h="180">
                  <a:moveTo>
                    <a:pt x="226" y="180"/>
                  </a:moveTo>
                  <a:cubicBezTo>
                    <a:pt x="397" y="180"/>
                    <a:pt x="552" y="111"/>
                    <a:pt x="664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8" y="0"/>
                    <a:pt x="0" y="18"/>
                    <a:pt x="0" y="41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70" y="165"/>
                    <a:pt x="146" y="180"/>
                    <a:pt x="226" y="180"/>
                  </a:cubicBezTo>
                  <a:close/>
                </a:path>
              </a:pathLst>
            </a:custGeom>
            <a:solidFill>
              <a:schemeClr val="accent1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2" name="Freeform 25"/>
            <p:cNvSpPr>
              <a:spLocks/>
            </p:cNvSpPr>
            <p:nvPr/>
          </p:nvSpPr>
          <p:spPr bwMode="auto">
            <a:xfrm>
              <a:off x="3931088" y="3116858"/>
              <a:ext cx="1369175" cy="415978"/>
            </a:xfrm>
            <a:custGeom>
              <a:avLst/>
              <a:gdLst>
                <a:gd name="T0" fmla="*/ 830 w 830"/>
                <a:gd name="T1" fmla="*/ 0 h 252"/>
                <a:gd name="T2" fmla="*/ 41 w 830"/>
                <a:gd name="T3" fmla="*/ 0 h 252"/>
                <a:gd name="T4" fmla="*/ 0 w 830"/>
                <a:gd name="T5" fmla="*/ 41 h 252"/>
                <a:gd name="T6" fmla="*/ 0 w 830"/>
                <a:gd name="T7" fmla="*/ 211 h 252"/>
                <a:gd name="T8" fmla="*/ 41 w 830"/>
                <a:gd name="T9" fmla="*/ 252 h 252"/>
                <a:gd name="T10" fmla="*/ 696 w 830"/>
                <a:gd name="T11" fmla="*/ 252 h 252"/>
                <a:gd name="T12" fmla="*/ 830 w 830"/>
                <a:gd name="T13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0" h="252">
                  <a:moveTo>
                    <a:pt x="830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18" y="0"/>
                    <a:pt x="0" y="18"/>
                    <a:pt x="0" y="41"/>
                  </a:cubicBezTo>
                  <a:cubicBezTo>
                    <a:pt x="0" y="211"/>
                    <a:pt x="0" y="211"/>
                    <a:pt x="0" y="211"/>
                  </a:cubicBezTo>
                  <a:cubicBezTo>
                    <a:pt x="0" y="234"/>
                    <a:pt x="18" y="252"/>
                    <a:pt x="41" y="252"/>
                  </a:cubicBezTo>
                  <a:cubicBezTo>
                    <a:pt x="696" y="252"/>
                    <a:pt x="696" y="252"/>
                    <a:pt x="696" y="252"/>
                  </a:cubicBezTo>
                  <a:cubicBezTo>
                    <a:pt x="759" y="180"/>
                    <a:pt x="805" y="95"/>
                    <a:pt x="830" y="0"/>
                  </a:cubicBezTo>
                  <a:close/>
                </a:path>
              </a:pathLst>
            </a:custGeom>
            <a:solidFill>
              <a:schemeClr val="accent1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3" name="Freeform 26"/>
            <p:cNvSpPr>
              <a:spLocks/>
            </p:cNvSpPr>
            <p:nvPr/>
          </p:nvSpPr>
          <p:spPr bwMode="auto">
            <a:xfrm>
              <a:off x="3931088" y="2645137"/>
              <a:ext cx="1402620" cy="415282"/>
            </a:xfrm>
            <a:custGeom>
              <a:avLst/>
              <a:gdLst>
                <a:gd name="T0" fmla="*/ 850 w 850"/>
                <a:gd name="T1" fmla="*/ 128 h 252"/>
                <a:gd name="T2" fmla="*/ 837 w 850"/>
                <a:gd name="T3" fmla="*/ 0 h 252"/>
                <a:gd name="T4" fmla="*/ 41 w 850"/>
                <a:gd name="T5" fmla="*/ 0 h 252"/>
                <a:gd name="T6" fmla="*/ 0 w 850"/>
                <a:gd name="T7" fmla="*/ 41 h 252"/>
                <a:gd name="T8" fmla="*/ 0 w 850"/>
                <a:gd name="T9" fmla="*/ 211 h 252"/>
                <a:gd name="T10" fmla="*/ 41 w 850"/>
                <a:gd name="T11" fmla="*/ 252 h 252"/>
                <a:gd name="T12" fmla="*/ 838 w 850"/>
                <a:gd name="T13" fmla="*/ 252 h 252"/>
                <a:gd name="T14" fmla="*/ 850 w 850"/>
                <a:gd name="T15" fmla="*/ 12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0" h="252">
                  <a:moveTo>
                    <a:pt x="850" y="128"/>
                  </a:moveTo>
                  <a:cubicBezTo>
                    <a:pt x="850" y="84"/>
                    <a:pt x="845" y="41"/>
                    <a:pt x="837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8" y="0"/>
                    <a:pt x="0" y="18"/>
                    <a:pt x="0" y="41"/>
                  </a:cubicBezTo>
                  <a:cubicBezTo>
                    <a:pt x="0" y="211"/>
                    <a:pt x="0" y="211"/>
                    <a:pt x="0" y="211"/>
                  </a:cubicBezTo>
                  <a:cubicBezTo>
                    <a:pt x="0" y="234"/>
                    <a:pt x="18" y="252"/>
                    <a:pt x="41" y="252"/>
                  </a:cubicBezTo>
                  <a:cubicBezTo>
                    <a:pt x="838" y="252"/>
                    <a:pt x="838" y="252"/>
                    <a:pt x="838" y="252"/>
                  </a:cubicBezTo>
                  <a:cubicBezTo>
                    <a:pt x="846" y="212"/>
                    <a:pt x="850" y="170"/>
                    <a:pt x="850" y="128"/>
                  </a:cubicBezTo>
                  <a:close/>
                </a:path>
              </a:pathLst>
            </a:custGeom>
            <a:solidFill>
              <a:schemeClr val="accent1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auto">
            <a:xfrm>
              <a:off x="3931088" y="2173416"/>
              <a:ext cx="1367781" cy="415282"/>
            </a:xfrm>
            <a:custGeom>
              <a:avLst/>
              <a:gdLst>
                <a:gd name="T0" fmla="*/ 693 w 829"/>
                <a:gd name="T1" fmla="*/ 0 h 252"/>
                <a:gd name="T2" fmla="*/ 41 w 829"/>
                <a:gd name="T3" fmla="*/ 0 h 252"/>
                <a:gd name="T4" fmla="*/ 0 w 829"/>
                <a:gd name="T5" fmla="*/ 41 h 252"/>
                <a:gd name="T6" fmla="*/ 0 w 829"/>
                <a:gd name="T7" fmla="*/ 211 h 252"/>
                <a:gd name="T8" fmla="*/ 41 w 829"/>
                <a:gd name="T9" fmla="*/ 252 h 252"/>
                <a:gd name="T10" fmla="*/ 829 w 829"/>
                <a:gd name="T11" fmla="*/ 252 h 252"/>
                <a:gd name="T12" fmla="*/ 693 w 829"/>
                <a:gd name="T13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9" h="252">
                  <a:moveTo>
                    <a:pt x="693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18" y="0"/>
                    <a:pt x="0" y="18"/>
                    <a:pt x="0" y="41"/>
                  </a:cubicBezTo>
                  <a:cubicBezTo>
                    <a:pt x="0" y="211"/>
                    <a:pt x="0" y="211"/>
                    <a:pt x="0" y="211"/>
                  </a:cubicBezTo>
                  <a:cubicBezTo>
                    <a:pt x="0" y="234"/>
                    <a:pt x="18" y="252"/>
                    <a:pt x="41" y="252"/>
                  </a:cubicBezTo>
                  <a:cubicBezTo>
                    <a:pt x="829" y="252"/>
                    <a:pt x="829" y="252"/>
                    <a:pt x="829" y="252"/>
                  </a:cubicBezTo>
                  <a:cubicBezTo>
                    <a:pt x="803" y="157"/>
                    <a:pt x="756" y="71"/>
                    <a:pt x="693" y="0"/>
                  </a:cubicBezTo>
                  <a:close/>
                </a:path>
              </a:pathLst>
            </a:custGeom>
            <a:solidFill>
              <a:schemeClr val="accent1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5" name="Freeform 28"/>
            <p:cNvSpPr>
              <a:spLocks/>
            </p:cNvSpPr>
            <p:nvPr/>
          </p:nvSpPr>
          <p:spPr bwMode="auto">
            <a:xfrm>
              <a:off x="3931088" y="1826419"/>
              <a:ext cx="1089069" cy="290558"/>
            </a:xfrm>
            <a:custGeom>
              <a:avLst/>
              <a:gdLst>
                <a:gd name="T0" fmla="*/ 226 w 660"/>
                <a:gd name="T1" fmla="*/ 0 h 176"/>
                <a:gd name="T2" fmla="*/ 0 w 660"/>
                <a:gd name="T3" fmla="*/ 42 h 176"/>
                <a:gd name="T4" fmla="*/ 0 w 660"/>
                <a:gd name="T5" fmla="*/ 135 h 176"/>
                <a:gd name="T6" fmla="*/ 41 w 660"/>
                <a:gd name="T7" fmla="*/ 176 h 176"/>
                <a:gd name="T8" fmla="*/ 660 w 660"/>
                <a:gd name="T9" fmla="*/ 176 h 176"/>
                <a:gd name="T10" fmla="*/ 226 w 660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0" h="176">
                  <a:moveTo>
                    <a:pt x="226" y="0"/>
                  </a:moveTo>
                  <a:cubicBezTo>
                    <a:pt x="146" y="0"/>
                    <a:pt x="70" y="15"/>
                    <a:pt x="0" y="42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58"/>
                    <a:pt x="18" y="176"/>
                    <a:pt x="41" y="176"/>
                  </a:cubicBezTo>
                  <a:cubicBezTo>
                    <a:pt x="660" y="176"/>
                    <a:pt x="660" y="176"/>
                    <a:pt x="660" y="176"/>
                  </a:cubicBezTo>
                  <a:cubicBezTo>
                    <a:pt x="548" y="67"/>
                    <a:pt x="395" y="0"/>
                    <a:pt x="226" y="0"/>
                  </a:cubicBezTo>
                  <a:close/>
                </a:path>
              </a:pathLst>
            </a:custGeom>
            <a:solidFill>
              <a:schemeClr val="accent1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70" name="Freeform 6"/>
            <p:cNvSpPr>
              <a:spLocks/>
            </p:cNvSpPr>
            <p:nvPr/>
          </p:nvSpPr>
          <p:spPr bwMode="auto">
            <a:xfrm>
              <a:off x="4033515" y="2259120"/>
              <a:ext cx="42504" cy="250841"/>
            </a:xfrm>
            <a:custGeom>
              <a:avLst/>
              <a:gdLst>
                <a:gd name="T0" fmla="*/ 13 w 26"/>
                <a:gd name="T1" fmla="*/ 152 h 152"/>
                <a:gd name="T2" fmla="*/ 13 w 26"/>
                <a:gd name="T3" fmla="*/ 152 h 152"/>
                <a:gd name="T4" fmla="*/ 0 w 26"/>
                <a:gd name="T5" fmla="*/ 139 h 152"/>
                <a:gd name="T6" fmla="*/ 0 w 26"/>
                <a:gd name="T7" fmla="*/ 13 h 152"/>
                <a:gd name="T8" fmla="*/ 13 w 26"/>
                <a:gd name="T9" fmla="*/ 0 h 152"/>
                <a:gd name="T10" fmla="*/ 13 w 26"/>
                <a:gd name="T11" fmla="*/ 0 h 152"/>
                <a:gd name="T12" fmla="*/ 26 w 26"/>
                <a:gd name="T13" fmla="*/ 13 h 152"/>
                <a:gd name="T14" fmla="*/ 26 w 26"/>
                <a:gd name="T15" fmla="*/ 139 h 152"/>
                <a:gd name="T16" fmla="*/ 13 w 2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2">
                  <a:moveTo>
                    <a:pt x="13" y="152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6" y="152"/>
                    <a:pt x="0" y="146"/>
                    <a:pt x="0" y="13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46"/>
                    <a:pt x="20" y="152"/>
                    <a:pt x="13" y="152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71" name="Freeform 7"/>
            <p:cNvSpPr>
              <a:spLocks/>
            </p:cNvSpPr>
            <p:nvPr/>
          </p:nvSpPr>
          <p:spPr bwMode="auto">
            <a:xfrm>
              <a:off x="4155451" y="2259120"/>
              <a:ext cx="43200" cy="250841"/>
            </a:xfrm>
            <a:custGeom>
              <a:avLst/>
              <a:gdLst>
                <a:gd name="T0" fmla="*/ 13 w 26"/>
                <a:gd name="T1" fmla="*/ 152 h 152"/>
                <a:gd name="T2" fmla="*/ 13 w 26"/>
                <a:gd name="T3" fmla="*/ 152 h 152"/>
                <a:gd name="T4" fmla="*/ 0 w 26"/>
                <a:gd name="T5" fmla="*/ 139 h 152"/>
                <a:gd name="T6" fmla="*/ 0 w 26"/>
                <a:gd name="T7" fmla="*/ 13 h 152"/>
                <a:gd name="T8" fmla="*/ 13 w 26"/>
                <a:gd name="T9" fmla="*/ 0 h 152"/>
                <a:gd name="T10" fmla="*/ 13 w 26"/>
                <a:gd name="T11" fmla="*/ 0 h 152"/>
                <a:gd name="T12" fmla="*/ 26 w 26"/>
                <a:gd name="T13" fmla="*/ 13 h 152"/>
                <a:gd name="T14" fmla="*/ 26 w 26"/>
                <a:gd name="T15" fmla="*/ 139 h 152"/>
                <a:gd name="T16" fmla="*/ 13 w 2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2">
                  <a:moveTo>
                    <a:pt x="13" y="152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6" y="152"/>
                    <a:pt x="0" y="146"/>
                    <a:pt x="0" y="13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46"/>
                    <a:pt x="20" y="152"/>
                    <a:pt x="13" y="152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72" name="Freeform 8"/>
            <p:cNvSpPr>
              <a:spLocks/>
            </p:cNvSpPr>
            <p:nvPr/>
          </p:nvSpPr>
          <p:spPr bwMode="auto">
            <a:xfrm>
              <a:off x="4277388" y="2259120"/>
              <a:ext cx="43200" cy="250841"/>
            </a:xfrm>
            <a:custGeom>
              <a:avLst/>
              <a:gdLst>
                <a:gd name="T0" fmla="*/ 13 w 26"/>
                <a:gd name="T1" fmla="*/ 152 h 152"/>
                <a:gd name="T2" fmla="*/ 13 w 26"/>
                <a:gd name="T3" fmla="*/ 152 h 152"/>
                <a:gd name="T4" fmla="*/ 0 w 26"/>
                <a:gd name="T5" fmla="*/ 139 h 152"/>
                <a:gd name="T6" fmla="*/ 0 w 26"/>
                <a:gd name="T7" fmla="*/ 13 h 152"/>
                <a:gd name="T8" fmla="*/ 13 w 26"/>
                <a:gd name="T9" fmla="*/ 0 h 152"/>
                <a:gd name="T10" fmla="*/ 13 w 26"/>
                <a:gd name="T11" fmla="*/ 0 h 152"/>
                <a:gd name="T12" fmla="*/ 26 w 26"/>
                <a:gd name="T13" fmla="*/ 13 h 152"/>
                <a:gd name="T14" fmla="*/ 26 w 26"/>
                <a:gd name="T15" fmla="*/ 139 h 152"/>
                <a:gd name="T16" fmla="*/ 13 w 2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2">
                  <a:moveTo>
                    <a:pt x="13" y="152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6" y="152"/>
                    <a:pt x="0" y="146"/>
                    <a:pt x="0" y="13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46"/>
                    <a:pt x="20" y="152"/>
                    <a:pt x="13" y="152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73" name="Freeform 9"/>
            <p:cNvSpPr>
              <a:spLocks/>
            </p:cNvSpPr>
            <p:nvPr/>
          </p:nvSpPr>
          <p:spPr bwMode="auto">
            <a:xfrm>
              <a:off x="4400021" y="2259120"/>
              <a:ext cx="42504" cy="250841"/>
            </a:xfrm>
            <a:custGeom>
              <a:avLst/>
              <a:gdLst>
                <a:gd name="T0" fmla="*/ 13 w 26"/>
                <a:gd name="T1" fmla="*/ 152 h 152"/>
                <a:gd name="T2" fmla="*/ 13 w 26"/>
                <a:gd name="T3" fmla="*/ 152 h 152"/>
                <a:gd name="T4" fmla="*/ 0 w 26"/>
                <a:gd name="T5" fmla="*/ 139 h 152"/>
                <a:gd name="T6" fmla="*/ 0 w 26"/>
                <a:gd name="T7" fmla="*/ 13 h 152"/>
                <a:gd name="T8" fmla="*/ 13 w 26"/>
                <a:gd name="T9" fmla="*/ 0 h 152"/>
                <a:gd name="T10" fmla="*/ 13 w 26"/>
                <a:gd name="T11" fmla="*/ 0 h 152"/>
                <a:gd name="T12" fmla="*/ 26 w 26"/>
                <a:gd name="T13" fmla="*/ 13 h 152"/>
                <a:gd name="T14" fmla="*/ 26 w 26"/>
                <a:gd name="T15" fmla="*/ 139 h 152"/>
                <a:gd name="T16" fmla="*/ 13 w 2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2">
                  <a:moveTo>
                    <a:pt x="13" y="152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6" y="152"/>
                    <a:pt x="0" y="146"/>
                    <a:pt x="0" y="13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46"/>
                    <a:pt x="20" y="152"/>
                    <a:pt x="13" y="152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74" name="Freeform 10"/>
            <p:cNvSpPr>
              <a:spLocks/>
            </p:cNvSpPr>
            <p:nvPr/>
          </p:nvSpPr>
          <p:spPr bwMode="auto">
            <a:xfrm>
              <a:off x="4521958" y="2259120"/>
              <a:ext cx="42504" cy="250841"/>
            </a:xfrm>
            <a:custGeom>
              <a:avLst/>
              <a:gdLst>
                <a:gd name="T0" fmla="*/ 13 w 26"/>
                <a:gd name="T1" fmla="*/ 152 h 152"/>
                <a:gd name="T2" fmla="*/ 13 w 26"/>
                <a:gd name="T3" fmla="*/ 152 h 152"/>
                <a:gd name="T4" fmla="*/ 0 w 26"/>
                <a:gd name="T5" fmla="*/ 139 h 152"/>
                <a:gd name="T6" fmla="*/ 0 w 26"/>
                <a:gd name="T7" fmla="*/ 13 h 152"/>
                <a:gd name="T8" fmla="*/ 13 w 26"/>
                <a:gd name="T9" fmla="*/ 0 h 152"/>
                <a:gd name="T10" fmla="*/ 13 w 26"/>
                <a:gd name="T11" fmla="*/ 0 h 152"/>
                <a:gd name="T12" fmla="*/ 26 w 26"/>
                <a:gd name="T13" fmla="*/ 13 h 152"/>
                <a:gd name="T14" fmla="*/ 26 w 26"/>
                <a:gd name="T15" fmla="*/ 139 h 152"/>
                <a:gd name="T16" fmla="*/ 13 w 2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2">
                  <a:moveTo>
                    <a:pt x="13" y="152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6" y="152"/>
                    <a:pt x="0" y="146"/>
                    <a:pt x="0" y="13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46"/>
                    <a:pt x="20" y="152"/>
                    <a:pt x="13" y="152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75" name="Freeform 11"/>
            <p:cNvSpPr>
              <a:spLocks/>
            </p:cNvSpPr>
            <p:nvPr/>
          </p:nvSpPr>
          <p:spPr bwMode="auto">
            <a:xfrm>
              <a:off x="4033515" y="2730841"/>
              <a:ext cx="42504" cy="250841"/>
            </a:xfrm>
            <a:custGeom>
              <a:avLst/>
              <a:gdLst>
                <a:gd name="T0" fmla="*/ 13 w 26"/>
                <a:gd name="T1" fmla="*/ 152 h 152"/>
                <a:gd name="T2" fmla="*/ 13 w 26"/>
                <a:gd name="T3" fmla="*/ 152 h 152"/>
                <a:gd name="T4" fmla="*/ 0 w 26"/>
                <a:gd name="T5" fmla="*/ 139 h 152"/>
                <a:gd name="T6" fmla="*/ 0 w 26"/>
                <a:gd name="T7" fmla="*/ 13 h 152"/>
                <a:gd name="T8" fmla="*/ 13 w 26"/>
                <a:gd name="T9" fmla="*/ 0 h 152"/>
                <a:gd name="T10" fmla="*/ 13 w 26"/>
                <a:gd name="T11" fmla="*/ 0 h 152"/>
                <a:gd name="T12" fmla="*/ 26 w 26"/>
                <a:gd name="T13" fmla="*/ 13 h 152"/>
                <a:gd name="T14" fmla="*/ 26 w 26"/>
                <a:gd name="T15" fmla="*/ 139 h 152"/>
                <a:gd name="T16" fmla="*/ 13 w 2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2">
                  <a:moveTo>
                    <a:pt x="13" y="152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6" y="152"/>
                    <a:pt x="0" y="146"/>
                    <a:pt x="0" y="13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46"/>
                    <a:pt x="20" y="152"/>
                    <a:pt x="13" y="152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76" name="Freeform 12"/>
            <p:cNvSpPr>
              <a:spLocks/>
            </p:cNvSpPr>
            <p:nvPr/>
          </p:nvSpPr>
          <p:spPr bwMode="auto">
            <a:xfrm>
              <a:off x="4155451" y="2730841"/>
              <a:ext cx="43200" cy="250841"/>
            </a:xfrm>
            <a:custGeom>
              <a:avLst/>
              <a:gdLst>
                <a:gd name="T0" fmla="*/ 13 w 26"/>
                <a:gd name="T1" fmla="*/ 152 h 152"/>
                <a:gd name="T2" fmla="*/ 13 w 26"/>
                <a:gd name="T3" fmla="*/ 152 h 152"/>
                <a:gd name="T4" fmla="*/ 0 w 26"/>
                <a:gd name="T5" fmla="*/ 139 h 152"/>
                <a:gd name="T6" fmla="*/ 0 w 26"/>
                <a:gd name="T7" fmla="*/ 13 h 152"/>
                <a:gd name="T8" fmla="*/ 13 w 26"/>
                <a:gd name="T9" fmla="*/ 0 h 152"/>
                <a:gd name="T10" fmla="*/ 13 w 26"/>
                <a:gd name="T11" fmla="*/ 0 h 152"/>
                <a:gd name="T12" fmla="*/ 26 w 26"/>
                <a:gd name="T13" fmla="*/ 13 h 152"/>
                <a:gd name="T14" fmla="*/ 26 w 26"/>
                <a:gd name="T15" fmla="*/ 139 h 152"/>
                <a:gd name="T16" fmla="*/ 13 w 2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2">
                  <a:moveTo>
                    <a:pt x="13" y="152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6" y="152"/>
                    <a:pt x="0" y="146"/>
                    <a:pt x="0" y="13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46"/>
                    <a:pt x="20" y="152"/>
                    <a:pt x="13" y="152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77" name="Freeform 13"/>
            <p:cNvSpPr>
              <a:spLocks/>
            </p:cNvSpPr>
            <p:nvPr/>
          </p:nvSpPr>
          <p:spPr bwMode="auto">
            <a:xfrm>
              <a:off x="4277388" y="2730841"/>
              <a:ext cx="43200" cy="250841"/>
            </a:xfrm>
            <a:custGeom>
              <a:avLst/>
              <a:gdLst>
                <a:gd name="T0" fmla="*/ 13 w 26"/>
                <a:gd name="T1" fmla="*/ 152 h 152"/>
                <a:gd name="T2" fmla="*/ 13 w 26"/>
                <a:gd name="T3" fmla="*/ 152 h 152"/>
                <a:gd name="T4" fmla="*/ 0 w 26"/>
                <a:gd name="T5" fmla="*/ 139 h 152"/>
                <a:gd name="T6" fmla="*/ 0 w 26"/>
                <a:gd name="T7" fmla="*/ 13 h 152"/>
                <a:gd name="T8" fmla="*/ 13 w 26"/>
                <a:gd name="T9" fmla="*/ 0 h 152"/>
                <a:gd name="T10" fmla="*/ 13 w 26"/>
                <a:gd name="T11" fmla="*/ 0 h 152"/>
                <a:gd name="T12" fmla="*/ 26 w 26"/>
                <a:gd name="T13" fmla="*/ 13 h 152"/>
                <a:gd name="T14" fmla="*/ 26 w 26"/>
                <a:gd name="T15" fmla="*/ 139 h 152"/>
                <a:gd name="T16" fmla="*/ 13 w 2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2">
                  <a:moveTo>
                    <a:pt x="13" y="152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6" y="152"/>
                    <a:pt x="0" y="146"/>
                    <a:pt x="0" y="13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46"/>
                    <a:pt x="20" y="152"/>
                    <a:pt x="13" y="152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78" name="Freeform 14"/>
            <p:cNvSpPr>
              <a:spLocks/>
            </p:cNvSpPr>
            <p:nvPr/>
          </p:nvSpPr>
          <p:spPr bwMode="auto">
            <a:xfrm>
              <a:off x="4400021" y="2730841"/>
              <a:ext cx="42504" cy="250841"/>
            </a:xfrm>
            <a:custGeom>
              <a:avLst/>
              <a:gdLst>
                <a:gd name="T0" fmla="*/ 13 w 26"/>
                <a:gd name="T1" fmla="*/ 152 h 152"/>
                <a:gd name="T2" fmla="*/ 13 w 26"/>
                <a:gd name="T3" fmla="*/ 152 h 152"/>
                <a:gd name="T4" fmla="*/ 0 w 26"/>
                <a:gd name="T5" fmla="*/ 139 h 152"/>
                <a:gd name="T6" fmla="*/ 0 w 26"/>
                <a:gd name="T7" fmla="*/ 13 h 152"/>
                <a:gd name="T8" fmla="*/ 13 w 26"/>
                <a:gd name="T9" fmla="*/ 0 h 152"/>
                <a:gd name="T10" fmla="*/ 13 w 26"/>
                <a:gd name="T11" fmla="*/ 0 h 152"/>
                <a:gd name="T12" fmla="*/ 26 w 26"/>
                <a:gd name="T13" fmla="*/ 13 h 152"/>
                <a:gd name="T14" fmla="*/ 26 w 26"/>
                <a:gd name="T15" fmla="*/ 139 h 152"/>
                <a:gd name="T16" fmla="*/ 13 w 2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2">
                  <a:moveTo>
                    <a:pt x="13" y="152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6" y="152"/>
                    <a:pt x="0" y="146"/>
                    <a:pt x="0" y="13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46"/>
                    <a:pt x="20" y="152"/>
                    <a:pt x="13" y="152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79" name="Freeform 15"/>
            <p:cNvSpPr>
              <a:spLocks/>
            </p:cNvSpPr>
            <p:nvPr/>
          </p:nvSpPr>
          <p:spPr bwMode="auto">
            <a:xfrm>
              <a:off x="4521958" y="2730841"/>
              <a:ext cx="42504" cy="250841"/>
            </a:xfrm>
            <a:custGeom>
              <a:avLst/>
              <a:gdLst>
                <a:gd name="T0" fmla="*/ 13 w 26"/>
                <a:gd name="T1" fmla="*/ 152 h 152"/>
                <a:gd name="T2" fmla="*/ 13 w 26"/>
                <a:gd name="T3" fmla="*/ 152 h 152"/>
                <a:gd name="T4" fmla="*/ 0 w 26"/>
                <a:gd name="T5" fmla="*/ 139 h 152"/>
                <a:gd name="T6" fmla="*/ 0 w 26"/>
                <a:gd name="T7" fmla="*/ 13 h 152"/>
                <a:gd name="T8" fmla="*/ 13 w 26"/>
                <a:gd name="T9" fmla="*/ 0 h 152"/>
                <a:gd name="T10" fmla="*/ 13 w 26"/>
                <a:gd name="T11" fmla="*/ 0 h 152"/>
                <a:gd name="T12" fmla="*/ 26 w 26"/>
                <a:gd name="T13" fmla="*/ 13 h 152"/>
                <a:gd name="T14" fmla="*/ 26 w 26"/>
                <a:gd name="T15" fmla="*/ 139 h 152"/>
                <a:gd name="T16" fmla="*/ 13 w 2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2">
                  <a:moveTo>
                    <a:pt x="13" y="152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6" y="152"/>
                    <a:pt x="0" y="146"/>
                    <a:pt x="0" y="13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46"/>
                    <a:pt x="20" y="152"/>
                    <a:pt x="13" y="152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80" name="Freeform 16"/>
            <p:cNvSpPr>
              <a:spLocks/>
            </p:cNvSpPr>
            <p:nvPr/>
          </p:nvSpPr>
          <p:spPr bwMode="auto">
            <a:xfrm>
              <a:off x="4033515" y="3202562"/>
              <a:ext cx="42504" cy="250841"/>
            </a:xfrm>
            <a:custGeom>
              <a:avLst/>
              <a:gdLst>
                <a:gd name="T0" fmla="*/ 13 w 26"/>
                <a:gd name="T1" fmla="*/ 152 h 152"/>
                <a:gd name="T2" fmla="*/ 13 w 26"/>
                <a:gd name="T3" fmla="*/ 152 h 152"/>
                <a:gd name="T4" fmla="*/ 0 w 26"/>
                <a:gd name="T5" fmla="*/ 139 h 152"/>
                <a:gd name="T6" fmla="*/ 0 w 26"/>
                <a:gd name="T7" fmla="*/ 13 h 152"/>
                <a:gd name="T8" fmla="*/ 13 w 26"/>
                <a:gd name="T9" fmla="*/ 0 h 152"/>
                <a:gd name="T10" fmla="*/ 13 w 26"/>
                <a:gd name="T11" fmla="*/ 0 h 152"/>
                <a:gd name="T12" fmla="*/ 26 w 26"/>
                <a:gd name="T13" fmla="*/ 13 h 152"/>
                <a:gd name="T14" fmla="*/ 26 w 26"/>
                <a:gd name="T15" fmla="*/ 139 h 152"/>
                <a:gd name="T16" fmla="*/ 13 w 2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2">
                  <a:moveTo>
                    <a:pt x="13" y="152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6" y="152"/>
                    <a:pt x="0" y="146"/>
                    <a:pt x="0" y="13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46"/>
                    <a:pt x="20" y="152"/>
                    <a:pt x="13" y="152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81" name="Freeform 17"/>
            <p:cNvSpPr>
              <a:spLocks/>
            </p:cNvSpPr>
            <p:nvPr/>
          </p:nvSpPr>
          <p:spPr bwMode="auto">
            <a:xfrm>
              <a:off x="4155451" y="3202562"/>
              <a:ext cx="43200" cy="250841"/>
            </a:xfrm>
            <a:custGeom>
              <a:avLst/>
              <a:gdLst>
                <a:gd name="T0" fmla="*/ 13 w 26"/>
                <a:gd name="T1" fmla="*/ 152 h 152"/>
                <a:gd name="T2" fmla="*/ 13 w 26"/>
                <a:gd name="T3" fmla="*/ 152 h 152"/>
                <a:gd name="T4" fmla="*/ 0 w 26"/>
                <a:gd name="T5" fmla="*/ 139 h 152"/>
                <a:gd name="T6" fmla="*/ 0 w 26"/>
                <a:gd name="T7" fmla="*/ 13 h 152"/>
                <a:gd name="T8" fmla="*/ 13 w 26"/>
                <a:gd name="T9" fmla="*/ 0 h 152"/>
                <a:gd name="T10" fmla="*/ 13 w 26"/>
                <a:gd name="T11" fmla="*/ 0 h 152"/>
                <a:gd name="T12" fmla="*/ 26 w 26"/>
                <a:gd name="T13" fmla="*/ 13 h 152"/>
                <a:gd name="T14" fmla="*/ 26 w 26"/>
                <a:gd name="T15" fmla="*/ 139 h 152"/>
                <a:gd name="T16" fmla="*/ 13 w 2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2">
                  <a:moveTo>
                    <a:pt x="13" y="152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6" y="152"/>
                    <a:pt x="0" y="146"/>
                    <a:pt x="0" y="13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46"/>
                    <a:pt x="20" y="152"/>
                    <a:pt x="13" y="152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82" name="Freeform 18"/>
            <p:cNvSpPr>
              <a:spLocks/>
            </p:cNvSpPr>
            <p:nvPr/>
          </p:nvSpPr>
          <p:spPr bwMode="auto">
            <a:xfrm>
              <a:off x="4277388" y="3202562"/>
              <a:ext cx="43200" cy="250841"/>
            </a:xfrm>
            <a:custGeom>
              <a:avLst/>
              <a:gdLst>
                <a:gd name="T0" fmla="*/ 13 w 26"/>
                <a:gd name="T1" fmla="*/ 152 h 152"/>
                <a:gd name="T2" fmla="*/ 13 w 26"/>
                <a:gd name="T3" fmla="*/ 152 h 152"/>
                <a:gd name="T4" fmla="*/ 0 w 26"/>
                <a:gd name="T5" fmla="*/ 139 h 152"/>
                <a:gd name="T6" fmla="*/ 0 w 26"/>
                <a:gd name="T7" fmla="*/ 13 h 152"/>
                <a:gd name="T8" fmla="*/ 13 w 26"/>
                <a:gd name="T9" fmla="*/ 0 h 152"/>
                <a:gd name="T10" fmla="*/ 13 w 26"/>
                <a:gd name="T11" fmla="*/ 0 h 152"/>
                <a:gd name="T12" fmla="*/ 26 w 26"/>
                <a:gd name="T13" fmla="*/ 13 h 152"/>
                <a:gd name="T14" fmla="*/ 26 w 26"/>
                <a:gd name="T15" fmla="*/ 139 h 152"/>
                <a:gd name="T16" fmla="*/ 13 w 2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2">
                  <a:moveTo>
                    <a:pt x="13" y="152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6" y="152"/>
                    <a:pt x="0" y="146"/>
                    <a:pt x="0" y="13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46"/>
                    <a:pt x="20" y="152"/>
                    <a:pt x="13" y="152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83" name="Freeform 19"/>
            <p:cNvSpPr>
              <a:spLocks/>
            </p:cNvSpPr>
            <p:nvPr/>
          </p:nvSpPr>
          <p:spPr bwMode="auto">
            <a:xfrm>
              <a:off x="4400021" y="3202562"/>
              <a:ext cx="42504" cy="250841"/>
            </a:xfrm>
            <a:custGeom>
              <a:avLst/>
              <a:gdLst>
                <a:gd name="T0" fmla="*/ 13 w 26"/>
                <a:gd name="T1" fmla="*/ 152 h 152"/>
                <a:gd name="T2" fmla="*/ 13 w 26"/>
                <a:gd name="T3" fmla="*/ 152 h 152"/>
                <a:gd name="T4" fmla="*/ 0 w 26"/>
                <a:gd name="T5" fmla="*/ 139 h 152"/>
                <a:gd name="T6" fmla="*/ 0 w 26"/>
                <a:gd name="T7" fmla="*/ 13 h 152"/>
                <a:gd name="T8" fmla="*/ 13 w 26"/>
                <a:gd name="T9" fmla="*/ 0 h 152"/>
                <a:gd name="T10" fmla="*/ 13 w 26"/>
                <a:gd name="T11" fmla="*/ 0 h 152"/>
                <a:gd name="T12" fmla="*/ 26 w 26"/>
                <a:gd name="T13" fmla="*/ 13 h 152"/>
                <a:gd name="T14" fmla="*/ 26 w 26"/>
                <a:gd name="T15" fmla="*/ 139 h 152"/>
                <a:gd name="T16" fmla="*/ 13 w 2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2">
                  <a:moveTo>
                    <a:pt x="13" y="152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6" y="152"/>
                    <a:pt x="0" y="146"/>
                    <a:pt x="0" y="13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46"/>
                    <a:pt x="20" y="152"/>
                    <a:pt x="13" y="152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84" name="Freeform 20"/>
            <p:cNvSpPr>
              <a:spLocks/>
            </p:cNvSpPr>
            <p:nvPr/>
          </p:nvSpPr>
          <p:spPr bwMode="auto">
            <a:xfrm>
              <a:off x="4521958" y="3202562"/>
              <a:ext cx="42504" cy="250841"/>
            </a:xfrm>
            <a:custGeom>
              <a:avLst/>
              <a:gdLst>
                <a:gd name="T0" fmla="*/ 13 w 26"/>
                <a:gd name="T1" fmla="*/ 152 h 152"/>
                <a:gd name="T2" fmla="*/ 13 w 26"/>
                <a:gd name="T3" fmla="*/ 152 h 152"/>
                <a:gd name="T4" fmla="*/ 0 w 26"/>
                <a:gd name="T5" fmla="*/ 139 h 152"/>
                <a:gd name="T6" fmla="*/ 0 w 26"/>
                <a:gd name="T7" fmla="*/ 13 h 152"/>
                <a:gd name="T8" fmla="*/ 13 w 26"/>
                <a:gd name="T9" fmla="*/ 0 h 152"/>
                <a:gd name="T10" fmla="*/ 13 w 26"/>
                <a:gd name="T11" fmla="*/ 0 h 152"/>
                <a:gd name="T12" fmla="*/ 26 w 26"/>
                <a:gd name="T13" fmla="*/ 13 h 152"/>
                <a:gd name="T14" fmla="*/ 26 w 26"/>
                <a:gd name="T15" fmla="*/ 139 h 152"/>
                <a:gd name="T16" fmla="*/ 13 w 26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52">
                  <a:moveTo>
                    <a:pt x="13" y="152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6" y="152"/>
                    <a:pt x="0" y="146"/>
                    <a:pt x="0" y="13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6" y="6"/>
                    <a:pt x="26" y="13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46"/>
                    <a:pt x="20" y="152"/>
                    <a:pt x="13" y="152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85" name="Freeform 22"/>
            <p:cNvSpPr>
              <a:spLocks/>
            </p:cNvSpPr>
            <p:nvPr/>
          </p:nvSpPr>
          <p:spPr bwMode="auto">
            <a:xfrm>
              <a:off x="4033515" y="3674282"/>
              <a:ext cx="42504" cy="186737"/>
            </a:xfrm>
            <a:custGeom>
              <a:avLst/>
              <a:gdLst>
                <a:gd name="T0" fmla="*/ 13 w 26"/>
                <a:gd name="T1" fmla="*/ 0 h 113"/>
                <a:gd name="T2" fmla="*/ 0 w 26"/>
                <a:gd name="T3" fmla="*/ 13 h 113"/>
                <a:gd name="T4" fmla="*/ 0 w 26"/>
                <a:gd name="T5" fmla="*/ 106 h 113"/>
                <a:gd name="T6" fmla="*/ 26 w 26"/>
                <a:gd name="T7" fmla="*/ 113 h 113"/>
                <a:gd name="T8" fmla="*/ 26 w 26"/>
                <a:gd name="T9" fmla="*/ 13 h 113"/>
                <a:gd name="T10" fmla="*/ 13 w 26"/>
                <a:gd name="T11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13">
                  <a:moveTo>
                    <a:pt x="13" y="0"/>
                  </a:moveTo>
                  <a:cubicBezTo>
                    <a:pt x="6" y="0"/>
                    <a:pt x="0" y="6"/>
                    <a:pt x="0" y="13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9" y="109"/>
                    <a:pt x="17" y="111"/>
                    <a:pt x="26" y="11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86" name="Freeform 23"/>
            <p:cNvSpPr>
              <a:spLocks/>
            </p:cNvSpPr>
            <p:nvPr/>
          </p:nvSpPr>
          <p:spPr bwMode="auto">
            <a:xfrm>
              <a:off x="4155451" y="3674282"/>
              <a:ext cx="43200" cy="206247"/>
            </a:xfrm>
            <a:custGeom>
              <a:avLst/>
              <a:gdLst>
                <a:gd name="T0" fmla="*/ 13 w 26"/>
                <a:gd name="T1" fmla="*/ 0 h 125"/>
                <a:gd name="T2" fmla="*/ 0 w 26"/>
                <a:gd name="T3" fmla="*/ 13 h 125"/>
                <a:gd name="T4" fmla="*/ 0 w 26"/>
                <a:gd name="T5" fmla="*/ 122 h 125"/>
                <a:gd name="T6" fmla="*/ 26 w 26"/>
                <a:gd name="T7" fmla="*/ 125 h 125"/>
                <a:gd name="T8" fmla="*/ 26 w 26"/>
                <a:gd name="T9" fmla="*/ 13 h 125"/>
                <a:gd name="T10" fmla="*/ 13 w 26"/>
                <a:gd name="T11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25">
                  <a:moveTo>
                    <a:pt x="13" y="0"/>
                  </a:moveTo>
                  <a:cubicBezTo>
                    <a:pt x="6" y="0"/>
                    <a:pt x="0" y="6"/>
                    <a:pt x="0" y="13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9" y="123"/>
                    <a:pt x="17" y="124"/>
                    <a:pt x="26" y="125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87" name="Freeform 24"/>
            <p:cNvSpPr>
              <a:spLocks/>
            </p:cNvSpPr>
            <p:nvPr/>
          </p:nvSpPr>
          <p:spPr bwMode="auto">
            <a:xfrm>
              <a:off x="4277388" y="3674282"/>
              <a:ext cx="43200" cy="211125"/>
            </a:xfrm>
            <a:custGeom>
              <a:avLst/>
              <a:gdLst>
                <a:gd name="T0" fmla="*/ 13 w 26"/>
                <a:gd name="T1" fmla="*/ 0 h 128"/>
                <a:gd name="T2" fmla="*/ 0 w 26"/>
                <a:gd name="T3" fmla="*/ 13 h 128"/>
                <a:gd name="T4" fmla="*/ 0 w 26"/>
                <a:gd name="T5" fmla="*/ 128 h 128"/>
                <a:gd name="T6" fmla="*/ 16 w 26"/>
                <a:gd name="T7" fmla="*/ 128 h 128"/>
                <a:gd name="T8" fmla="*/ 26 w 26"/>
                <a:gd name="T9" fmla="*/ 128 h 128"/>
                <a:gd name="T10" fmla="*/ 26 w 26"/>
                <a:gd name="T11" fmla="*/ 13 h 128"/>
                <a:gd name="T12" fmla="*/ 13 w 26"/>
                <a:gd name="T1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28">
                  <a:moveTo>
                    <a:pt x="13" y="0"/>
                  </a:moveTo>
                  <a:cubicBezTo>
                    <a:pt x="6" y="0"/>
                    <a:pt x="0" y="6"/>
                    <a:pt x="0" y="13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5" y="128"/>
                    <a:pt x="11" y="128"/>
                    <a:pt x="16" y="128"/>
                  </a:cubicBezTo>
                  <a:cubicBezTo>
                    <a:pt x="19" y="128"/>
                    <a:pt x="23" y="128"/>
                    <a:pt x="26" y="128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88" name="Freeform 29"/>
            <p:cNvSpPr>
              <a:spLocks/>
            </p:cNvSpPr>
            <p:nvPr/>
          </p:nvSpPr>
          <p:spPr bwMode="auto">
            <a:xfrm>
              <a:off x="4400021" y="3674282"/>
              <a:ext cx="42504" cy="206247"/>
            </a:xfrm>
            <a:custGeom>
              <a:avLst/>
              <a:gdLst>
                <a:gd name="T0" fmla="*/ 13 w 26"/>
                <a:gd name="T1" fmla="*/ 0 h 125"/>
                <a:gd name="T2" fmla="*/ 0 w 26"/>
                <a:gd name="T3" fmla="*/ 13 h 125"/>
                <a:gd name="T4" fmla="*/ 0 w 26"/>
                <a:gd name="T5" fmla="*/ 125 h 125"/>
                <a:gd name="T6" fmla="*/ 26 w 26"/>
                <a:gd name="T7" fmla="*/ 122 h 125"/>
                <a:gd name="T8" fmla="*/ 26 w 26"/>
                <a:gd name="T9" fmla="*/ 13 h 125"/>
                <a:gd name="T10" fmla="*/ 13 w 26"/>
                <a:gd name="T11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25">
                  <a:moveTo>
                    <a:pt x="13" y="0"/>
                  </a:moveTo>
                  <a:cubicBezTo>
                    <a:pt x="6" y="0"/>
                    <a:pt x="0" y="6"/>
                    <a:pt x="0" y="13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9" y="124"/>
                    <a:pt x="17" y="124"/>
                    <a:pt x="26" y="12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89" name="Freeform 30"/>
            <p:cNvSpPr>
              <a:spLocks/>
            </p:cNvSpPr>
            <p:nvPr/>
          </p:nvSpPr>
          <p:spPr bwMode="auto">
            <a:xfrm>
              <a:off x="4521958" y="3674282"/>
              <a:ext cx="42504" cy="188131"/>
            </a:xfrm>
            <a:custGeom>
              <a:avLst/>
              <a:gdLst>
                <a:gd name="T0" fmla="*/ 13 w 26"/>
                <a:gd name="T1" fmla="*/ 0 h 114"/>
                <a:gd name="T2" fmla="*/ 0 w 26"/>
                <a:gd name="T3" fmla="*/ 13 h 114"/>
                <a:gd name="T4" fmla="*/ 0 w 26"/>
                <a:gd name="T5" fmla="*/ 114 h 114"/>
                <a:gd name="T6" fmla="*/ 26 w 26"/>
                <a:gd name="T7" fmla="*/ 108 h 114"/>
                <a:gd name="T8" fmla="*/ 26 w 26"/>
                <a:gd name="T9" fmla="*/ 13 h 114"/>
                <a:gd name="T10" fmla="*/ 13 w 26"/>
                <a:gd name="T1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14">
                  <a:moveTo>
                    <a:pt x="13" y="0"/>
                  </a:moveTo>
                  <a:cubicBezTo>
                    <a:pt x="6" y="0"/>
                    <a:pt x="0" y="6"/>
                    <a:pt x="0" y="13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9" y="112"/>
                    <a:pt x="17" y="110"/>
                    <a:pt x="26" y="108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90" name="Freeform 31"/>
            <p:cNvSpPr>
              <a:spLocks/>
            </p:cNvSpPr>
            <p:nvPr/>
          </p:nvSpPr>
          <p:spPr bwMode="auto">
            <a:xfrm>
              <a:off x="4521958" y="1850110"/>
              <a:ext cx="42504" cy="188131"/>
            </a:xfrm>
            <a:custGeom>
              <a:avLst/>
              <a:gdLst>
                <a:gd name="T0" fmla="*/ 0 w 26"/>
                <a:gd name="T1" fmla="*/ 0 h 114"/>
                <a:gd name="T2" fmla="*/ 0 w 26"/>
                <a:gd name="T3" fmla="*/ 101 h 114"/>
                <a:gd name="T4" fmla="*/ 13 w 26"/>
                <a:gd name="T5" fmla="*/ 114 h 114"/>
                <a:gd name="T6" fmla="*/ 26 w 26"/>
                <a:gd name="T7" fmla="*/ 101 h 114"/>
                <a:gd name="T8" fmla="*/ 26 w 26"/>
                <a:gd name="T9" fmla="*/ 6 h 114"/>
                <a:gd name="T10" fmla="*/ 0 w 26"/>
                <a:gd name="T1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14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108"/>
                    <a:pt x="6" y="114"/>
                    <a:pt x="13" y="114"/>
                  </a:cubicBezTo>
                  <a:cubicBezTo>
                    <a:pt x="20" y="114"/>
                    <a:pt x="26" y="108"/>
                    <a:pt x="26" y="101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7" y="4"/>
                    <a:pt x="9" y="2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91" name="Freeform 32"/>
            <p:cNvSpPr>
              <a:spLocks/>
            </p:cNvSpPr>
            <p:nvPr/>
          </p:nvSpPr>
          <p:spPr bwMode="auto">
            <a:xfrm>
              <a:off x="4277388" y="1826419"/>
              <a:ext cx="43200" cy="211821"/>
            </a:xfrm>
            <a:custGeom>
              <a:avLst/>
              <a:gdLst>
                <a:gd name="T0" fmla="*/ 16 w 26"/>
                <a:gd name="T1" fmla="*/ 0 h 128"/>
                <a:gd name="T2" fmla="*/ 0 w 26"/>
                <a:gd name="T3" fmla="*/ 0 h 128"/>
                <a:gd name="T4" fmla="*/ 0 w 26"/>
                <a:gd name="T5" fmla="*/ 115 h 128"/>
                <a:gd name="T6" fmla="*/ 13 w 26"/>
                <a:gd name="T7" fmla="*/ 128 h 128"/>
                <a:gd name="T8" fmla="*/ 26 w 26"/>
                <a:gd name="T9" fmla="*/ 115 h 128"/>
                <a:gd name="T10" fmla="*/ 26 w 26"/>
                <a:gd name="T11" fmla="*/ 0 h 128"/>
                <a:gd name="T12" fmla="*/ 16 w 26"/>
                <a:gd name="T1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128">
                  <a:moveTo>
                    <a:pt x="16" y="0"/>
                  </a:moveTo>
                  <a:cubicBezTo>
                    <a:pt x="11" y="0"/>
                    <a:pt x="5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22"/>
                    <a:pt x="6" y="128"/>
                    <a:pt x="13" y="128"/>
                  </a:cubicBezTo>
                  <a:cubicBezTo>
                    <a:pt x="20" y="128"/>
                    <a:pt x="26" y="122"/>
                    <a:pt x="26" y="115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19" y="0"/>
                    <a:pt x="16" y="0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92" name="Freeform 33"/>
            <p:cNvSpPr>
              <a:spLocks/>
            </p:cNvSpPr>
            <p:nvPr/>
          </p:nvSpPr>
          <p:spPr bwMode="auto">
            <a:xfrm>
              <a:off x="4400021" y="1831993"/>
              <a:ext cx="42504" cy="206247"/>
            </a:xfrm>
            <a:custGeom>
              <a:avLst/>
              <a:gdLst>
                <a:gd name="T0" fmla="*/ 0 w 26"/>
                <a:gd name="T1" fmla="*/ 0 h 125"/>
                <a:gd name="T2" fmla="*/ 0 w 26"/>
                <a:gd name="T3" fmla="*/ 112 h 125"/>
                <a:gd name="T4" fmla="*/ 13 w 26"/>
                <a:gd name="T5" fmla="*/ 125 h 125"/>
                <a:gd name="T6" fmla="*/ 26 w 26"/>
                <a:gd name="T7" fmla="*/ 112 h 125"/>
                <a:gd name="T8" fmla="*/ 26 w 26"/>
                <a:gd name="T9" fmla="*/ 3 h 125"/>
                <a:gd name="T10" fmla="*/ 0 w 26"/>
                <a:gd name="T11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25">
                  <a:moveTo>
                    <a:pt x="0" y="0"/>
                  </a:moveTo>
                  <a:cubicBezTo>
                    <a:pt x="0" y="112"/>
                    <a:pt x="0" y="112"/>
                    <a:pt x="0" y="112"/>
                  </a:cubicBezTo>
                  <a:cubicBezTo>
                    <a:pt x="0" y="119"/>
                    <a:pt x="6" y="125"/>
                    <a:pt x="13" y="125"/>
                  </a:cubicBezTo>
                  <a:cubicBezTo>
                    <a:pt x="20" y="125"/>
                    <a:pt x="26" y="119"/>
                    <a:pt x="26" y="112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17" y="1"/>
                    <a:pt x="9" y="1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93" name="Freeform 34"/>
            <p:cNvSpPr>
              <a:spLocks/>
            </p:cNvSpPr>
            <p:nvPr/>
          </p:nvSpPr>
          <p:spPr bwMode="auto">
            <a:xfrm>
              <a:off x="4033515" y="1851503"/>
              <a:ext cx="42504" cy="186737"/>
            </a:xfrm>
            <a:custGeom>
              <a:avLst/>
              <a:gdLst>
                <a:gd name="T0" fmla="*/ 0 w 26"/>
                <a:gd name="T1" fmla="*/ 7 h 113"/>
                <a:gd name="T2" fmla="*/ 0 w 26"/>
                <a:gd name="T3" fmla="*/ 100 h 113"/>
                <a:gd name="T4" fmla="*/ 13 w 26"/>
                <a:gd name="T5" fmla="*/ 113 h 113"/>
                <a:gd name="T6" fmla="*/ 26 w 26"/>
                <a:gd name="T7" fmla="*/ 100 h 113"/>
                <a:gd name="T8" fmla="*/ 26 w 26"/>
                <a:gd name="T9" fmla="*/ 0 h 113"/>
                <a:gd name="T10" fmla="*/ 0 w 26"/>
                <a:gd name="T11" fmla="*/ 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13">
                  <a:moveTo>
                    <a:pt x="0" y="7"/>
                  </a:moveTo>
                  <a:cubicBezTo>
                    <a:pt x="0" y="100"/>
                    <a:pt x="0" y="100"/>
                    <a:pt x="0" y="100"/>
                  </a:cubicBezTo>
                  <a:cubicBezTo>
                    <a:pt x="0" y="107"/>
                    <a:pt x="6" y="113"/>
                    <a:pt x="13" y="113"/>
                  </a:cubicBezTo>
                  <a:cubicBezTo>
                    <a:pt x="20" y="113"/>
                    <a:pt x="26" y="107"/>
                    <a:pt x="26" y="10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7" y="2"/>
                    <a:pt x="9" y="4"/>
                    <a:pt x="0" y="7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94" name="Freeform 35"/>
            <p:cNvSpPr>
              <a:spLocks/>
            </p:cNvSpPr>
            <p:nvPr/>
          </p:nvSpPr>
          <p:spPr bwMode="auto">
            <a:xfrm>
              <a:off x="4155451" y="1831993"/>
              <a:ext cx="43200" cy="206247"/>
            </a:xfrm>
            <a:custGeom>
              <a:avLst/>
              <a:gdLst>
                <a:gd name="T0" fmla="*/ 0 w 26"/>
                <a:gd name="T1" fmla="*/ 3 h 125"/>
                <a:gd name="T2" fmla="*/ 0 w 26"/>
                <a:gd name="T3" fmla="*/ 112 h 125"/>
                <a:gd name="T4" fmla="*/ 13 w 26"/>
                <a:gd name="T5" fmla="*/ 125 h 125"/>
                <a:gd name="T6" fmla="*/ 26 w 26"/>
                <a:gd name="T7" fmla="*/ 112 h 125"/>
                <a:gd name="T8" fmla="*/ 26 w 26"/>
                <a:gd name="T9" fmla="*/ 0 h 125"/>
                <a:gd name="T10" fmla="*/ 0 w 26"/>
                <a:gd name="T11" fmla="*/ 3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25">
                  <a:moveTo>
                    <a:pt x="0" y="3"/>
                  </a:moveTo>
                  <a:cubicBezTo>
                    <a:pt x="0" y="112"/>
                    <a:pt x="0" y="112"/>
                    <a:pt x="0" y="112"/>
                  </a:cubicBezTo>
                  <a:cubicBezTo>
                    <a:pt x="0" y="119"/>
                    <a:pt x="6" y="125"/>
                    <a:pt x="13" y="125"/>
                  </a:cubicBezTo>
                  <a:cubicBezTo>
                    <a:pt x="20" y="125"/>
                    <a:pt x="26" y="119"/>
                    <a:pt x="26" y="11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7" y="1"/>
                    <a:pt x="9" y="2"/>
                    <a:pt x="0" y="3"/>
                  </a:cubicBezTo>
                  <a:close/>
                </a:path>
              </a:pathLst>
            </a:custGeom>
            <a:solidFill>
              <a:schemeClr val="tx2"/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3532814" y="1621964"/>
            <a:ext cx="2103162" cy="2103160"/>
            <a:chOff x="3047333" y="1079500"/>
            <a:chExt cx="3048000" cy="3048000"/>
          </a:xfrm>
        </p:grpSpPr>
        <p:sp>
          <p:nvSpPr>
            <p:cNvPr id="105" name="Arc 104"/>
            <p:cNvSpPr/>
            <p:nvPr/>
          </p:nvSpPr>
          <p:spPr>
            <a:xfrm flipH="1">
              <a:off x="3047333" y="1079500"/>
              <a:ext cx="3048000" cy="3048000"/>
            </a:xfrm>
            <a:prstGeom prst="arc">
              <a:avLst>
                <a:gd name="adj1" fmla="val 16458489"/>
                <a:gd name="adj2" fmla="val 1484332"/>
              </a:avLst>
            </a:prstGeom>
            <a:ln w="41275" cap="rnd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07" name="Arc 106"/>
            <p:cNvSpPr/>
            <p:nvPr/>
          </p:nvSpPr>
          <p:spPr>
            <a:xfrm>
              <a:off x="3047333" y="1079500"/>
              <a:ext cx="3048000" cy="3048000"/>
            </a:xfrm>
            <a:prstGeom prst="arc">
              <a:avLst>
                <a:gd name="adj1" fmla="val 16458489"/>
                <a:gd name="adj2" fmla="val 1484332"/>
              </a:avLst>
            </a:prstGeom>
            <a:ln w="41275" cap="rnd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08" name="Arc 107"/>
            <p:cNvSpPr/>
            <p:nvPr/>
          </p:nvSpPr>
          <p:spPr>
            <a:xfrm rot="7211744">
              <a:off x="3047333" y="1079500"/>
              <a:ext cx="3048000" cy="3048000"/>
            </a:xfrm>
            <a:prstGeom prst="arc">
              <a:avLst>
                <a:gd name="adj1" fmla="val 16458489"/>
                <a:gd name="adj2" fmla="val 1484332"/>
              </a:avLst>
            </a:prstGeom>
            <a:ln w="41275" cap="rnd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sp>
        <p:nvSpPr>
          <p:cNvPr id="176" name="Oval 89"/>
          <p:cNvSpPr>
            <a:spLocks noChangeArrowheads="1"/>
          </p:cNvSpPr>
          <p:nvPr/>
        </p:nvSpPr>
        <p:spPr bwMode="auto">
          <a:xfrm>
            <a:off x="5272990" y="1930823"/>
            <a:ext cx="411480" cy="411480"/>
          </a:xfrm>
          <a:prstGeom prst="ellipse">
            <a:avLst/>
          </a:prstGeom>
          <a:ln w="66675">
            <a:solidFill>
              <a:schemeClr val="bg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170" name="Group 169"/>
          <p:cNvGrpSpPr/>
          <p:nvPr/>
        </p:nvGrpSpPr>
        <p:grpSpPr>
          <a:xfrm>
            <a:off x="3459531" y="1930823"/>
            <a:ext cx="411480" cy="411480"/>
            <a:chOff x="2086324" y="2757673"/>
            <a:chExt cx="411480" cy="411480"/>
          </a:xfrm>
        </p:grpSpPr>
        <p:sp>
          <p:nvSpPr>
            <p:cNvPr id="169" name="Oval 89"/>
            <p:cNvSpPr>
              <a:spLocks noChangeArrowheads="1"/>
            </p:cNvSpPr>
            <p:nvPr/>
          </p:nvSpPr>
          <p:spPr bwMode="auto">
            <a:xfrm>
              <a:off x="2086324" y="2757673"/>
              <a:ext cx="411480" cy="411480"/>
            </a:xfrm>
            <a:prstGeom prst="ellipse">
              <a:avLst/>
            </a:prstGeom>
            <a:ln w="66675">
              <a:solidFill>
                <a:schemeClr val="bg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168" name="Group 167"/>
            <p:cNvGrpSpPr>
              <a:grpSpLocks noChangeAspect="1"/>
            </p:cNvGrpSpPr>
            <p:nvPr/>
          </p:nvGrpSpPr>
          <p:grpSpPr>
            <a:xfrm>
              <a:off x="2086324" y="2757673"/>
              <a:ext cx="411480" cy="411480"/>
              <a:chOff x="3201988" y="5343525"/>
              <a:chExt cx="4932362" cy="4932363"/>
            </a:xfrm>
          </p:grpSpPr>
          <p:sp>
            <p:nvSpPr>
              <p:cNvPr id="167" name="Oval 89"/>
              <p:cNvSpPr>
                <a:spLocks noChangeArrowheads="1"/>
              </p:cNvSpPr>
              <p:nvPr/>
            </p:nvSpPr>
            <p:spPr bwMode="auto">
              <a:xfrm>
                <a:off x="3201988" y="5343525"/>
                <a:ext cx="4932362" cy="4932363"/>
              </a:xfrm>
              <a:prstGeom prst="ellipse">
                <a:avLst/>
              </a:prstGeom>
              <a:solidFill>
                <a:schemeClr val="accent1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16" name="Freeform 39"/>
              <p:cNvSpPr>
                <a:spLocks/>
              </p:cNvSpPr>
              <p:nvPr/>
            </p:nvSpPr>
            <p:spPr bwMode="auto">
              <a:xfrm>
                <a:off x="4303712" y="5678487"/>
                <a:ext cx="131762" cy="327025"/>
              </a:xfrm>
              <a:custGeom>
                <a:avLst/>
                <a:gdLst>
                  <a:gd name="T0" fmla="*/ 0 w 35"/>
                  <a:gd name="T1" fmla="*/ 21 h 87"/>
                  <a:gd name="T2" fmla="*/ 0 w 35"/>
                  <a:gd name="T3" fmla="*/ 87 h 87"/>
                  <a:gd name="T4" fmla="*/ 35 w 35"/>
                  <a:gd name="T5" fmla="*/ 87 h 87"/>
                  <a:gd name="T6" fmla="*/ 35 w 35"/>
                  <a:gd name="T7" fmla="*/ 0 h 87"/>
                  <a:gd name="T8" fmla="*/ 0 w 35"/>
                  <a:gd name="T9" fmla="*/ 2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87">
                    <a:moveTo>
                      <a:pt x="0" y="21"/>
                    </a:moveTo>
                    <a:cubicBezTo>
                      <a:pt x="0" y="87"/>
                      <a:pt x="0" y="87"/>
                      <a:pt x="0" y="87"/>
                    </a:cubicBezTo>
                    <a:cubicBezTo>
                      <a:pt x="35" y="87"/>
                      <a:pt x="35" y="87"/>
                      <a:pt x="35" y="87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23" y="6"/>
                      <a:pt x="11" y="13"/>
                      <a:pt x="0" y="21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17" name="Freeform 40"/>
              <p:cNvSpPr>
                <a:spLocks noEditPoints="1"/>
              </p:cNvSpPr>
              <p:nvPr/>
            </p:nvSpPr>
            <p:spPr bwMode="auto">
              <a:xfrm>
                <a:off x="4699000" y="5521324"/>
                <a:ext cx="371475" cy="492125"/>
              </a:xfrm>
              <a:custGeom>
                <a:avLst/>
                <a:gdLst>
                  <a:gd name="T0" fmla="*/ 49 w 99"/>
                  <a:gd name="T1" fmla="*/ 131 h 131"/>
                  <a:gd name="T2" fmla="*/ 12 w 99"/>
                  <a:gd name="T3" fmla="*/ 113 h 131"/>
                  <a:gd name="T4" fmla="*/ 0 w 99"/>
                  <a:gd name="T5" fmla="*/ 66 h 131"/>
                  <a:gd name="T6" fmla="*/ 15 w 99"/>
                  <a:gd name="T7" fmla="*/ 14 h 131"/>
                  <a:gd name="T8" fmla="*/ 49 w 99"/>
                  <a:gd name="T9" fmla="*/ 0 h 131"/>
                  <a:gd name="T10" fmla="*/ 87 w 99"/>
                  <a:gd name="T11" fmla="*/ 18 h 131"/>
                  <a:gd name="T12" fmla="*/ 99 w 99"/>
                  <a:gd name="T13" fmla="*/ 66 h 131"/>
                  <a:gd name="T14" fmla="*/ 84 w 99"/>
                  <a:gd name="T15" fmla="*/ 118 h 131"/>
                  <a:gd name="T16" fmla="*/ 49 w 99"/>
                  <a:gd name="T17" fmla="*/ 131 h 131"/>
                  <a:gd name="T18" fmla="*/ 49 w 99"/>
                  <a:gd name="T19" fmla="*/ 108 h 131"/>
                  <a:gd name="T20" fmla="*/ 60 w 99"/>
                  <a:gd name="T21" fmla="*/ 98 h 131"/>
                  <a:gd name="T22" fmla="*/ 64 w 99"/>
                  <a:gd name="T23" fmla="*/ 66 h 131"/>
                  <a:gd name="T24" fmla="*/ 60 w 99"/>
                  <a:gd name="T25" fmla="*/ 31 h 131"/>
                  <a:gd name="T26" fmla="*/ 49 w 99"/>
                  <a:gd name="T27" fmla="*/ 23 h 131"/>
                  <a:gd name="T28" fmla="*/ 39 w 99"/>
                  <a:gd name="T29" fmla="*/ 34 h 131"/>
                  <a:gd name="T30" fmla="*/ 35 w 99"/>
                  <a:gd name="T31" fmla="*/ 66 h 131"/>
                  <a:gd name="T32" fmla="*/ 39 w 99"/>
                  <a:gd name="T33" fmla="*/ 101 h 131"/>
                  <a:gd name="T34" fmla="*/ 49 w 99"/>
                  <a:gd name="T35" fmla="*/ 108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" h="131">
                    <a:moveTo>
                      <a:pt x="49" y="131"/>
                    </a:moveTo>
                    <a:cubicBezTo>
                      <a:pt x="33" y="131"/>
                      <a:pt x="20" y="125"/>
                      <a:pt x="12" y="113"/>
                    </a:cubicBezTo>
                    <a:cubicBezTo>
                      <a:pt x="4" y="102"/>
                      <a:pt x="0" y="86"/>
                      <a:pt x="0" y="66"/>
                    </a:cubicBezTo>
                    <a:cubicBezTo>
                      <a:pt x="0" y="43"/>
                      <a:pt x="5" y="25"/>
                      <a:pt x="15" y="14"/>
                    </a:cubicBezTo>
                    <a:cubicBezTo>
                      <a:pt x="23" y="5"/>
                      <a:pt x="35" y="0"/>
                      <a:pt x="49" y="0"/>
                    </a:cubicBezTo>
                    <a:cubicBezTo>
                      <a:pt x="66" y="0"/>
                      <a:pt x="79" y="6"/>
                      <a:pt x="87" y="18"/>
                    </a:cubicBezTo>
                    <a:cubicBezTo>
                      <a:pt x="95" y="29"/>
                      <a:pt x="99" y="45"/>
                      <a:pt x="99" y="66"/>
                    </a:cubicBezTo>
                    <a:cubicBezTo>
                      <a:pt x="99" y="89"/>
                      <a:pt x="94" y="106"/>
                      <a:pt x="84" y="118"/>
                    </a:cubicBezTo>
                    <a:cubicBezTo>
                      <a:pt x="75" y="127"/>
                      <a:pt x="64" y="131"/>
                      <a:pt x="49" y="131"/>
                    </a:cubicBezTo>
                    <a:close/>
                    <a:moveTo>
                      <a:pt x="49" y="108"/>
                    </a:moveTo>
                    <a:cubicBezTo>
                      <a:pt x="54" y="108"/>
                      <a:pt x="58" y="105"/>
                      <a:pt x="60" y="98"/>
                    </a:cubicBezTo>
                    <a:cubicBezTo>
                      <a:pt x="63" y="92"/>
                      <a:pt x="64" y="81"/>
                      <a:pt x="64" y="66"/>
                    </a:cubicBezTo>
                    <a:cubicBezTo>
                      <a:pt x="64" y="49"/>
                      <a:pt x="62" y="38"/>
                      <a:pt x="60" y="31"/>
                    </a:cubicBezTo>
                    <a:cubicBezTo>
                      <a:pt x="57" y="26"/>
                      <a:pt x="54" y="23"/>
                      <a:pt x="49" y="23"/>
                    </a:cubicBezTo>
                    <a:cubicBezTo>
                      <a:pt x="44" y="23"/>
                      <a:pt x="41" y="27"/>
                      <a:pt x="39" y="34"/>
                    </a:cubicBezTo>
                    <a:cubicBezTo>
                      <a:pt x="36" y="40"/>
                      <a:pt x="35" y="51"/>
                      <a:pt x="35" y="66"/>
                    </a:cubicBezTo>
                    <a:cubicBezTo>
                      <a:pt x="35" y="83"/>
                      <a:pt x="37" y="94"/>
                      <a:pt x="39" y="101"/>
                    </a:cubicBezTo>
                    <a:cubicBezTo>
                      <a:pt x="42" y="106"/>
                      <a:pt x="45" y="108"/>
                      <a:pt x="49" y="10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18" name="Freeform 41"/>
              <p:cNvSpPr>
                <a:spLocks/>
              </p:cNvSpPr>
              <p:nvPr/>
            </p:nvSpPr>
            <p:spPr bwMode="auto">
              <a:xfrm>
                <a:off x="5276850" y="5532437"/>
                <a:ext cx="236537" cy="473075"/>
              </a:xfrm>
              <a:custGeom>
                <a:avLst/>
                <a:gdLst>
                  <a:gd name="T0" fmla="*/ 67 w 149"/>
                  <a:gd name="T1" fmla="*/ 298 h 298"/>
                  <a:gd name="T2" fmla="*/ 67 w 149"/>
                  <a:gd name="T3" fmla="*/ 76 h 298"/>
                  <a:gd name="T4" fmla="*/ 0 w 149"/>
                  <a:gd name="T5" fmla="*/ 109 h 298"/>
                  <a:gd name="T6" fmla="*/ 0 w 149"/>
                  <a:gd name="T7" fmla="*/ 38 h 298"/>
                  <a:gd name="T8" fmla="*/ 74 w 149"/>
                  <a:gd name="T9" fmla="*/ 0 h 298"/>
                  <a:gd name="T10" fmla="*/ 149 w 149"/>
                  <a:gd name="T11" fmla="*/ 0 h 298"/>
                  <a:gd name="T12" fmla="*/ 149 w 149"/>
                  <a:gd name="T13" fmla="*/ 298 h 298"/>
                  <a:gd name="T14" fmla="*/ 67 w 149"/>
                  <a:gd name="T15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" h="298">
                    <a:moveTo>
                      <a:pt x="67" y="298"/>
                    </a:moveTo>
                    <a:lnTo>
                      <a:pt x="67" y="76"/>
                    </a:lnTo>
                    <a:lnTo>
                      <a:pt x="0" y="109"/>
                    </a:lnTo>
                    <a:lnTo>
                      <a:pt x="0" y="38"/>
                    </a:lnTo>
                    <a:lnTo>
                      <a:pt x="74" y="0"/>
                    </a:lnTo>
                    <a:lnTo>
                      <a:pt x="149" y="0"/>
                    </a:lnTo>
                    <a:lnTo>
                      <a:pt x="149" y="298"/>
                    </a:lnTo>
                    <a:lnTo>
                      <a:pt x="67" y="298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19" name="Freeform 42"/>
              <p:cNvSpPr>
                <a:spLocks noEditPoints="1"/>
              </p:cNvSpPr>
              <p:nvPr/>
            </p:nvSpPr>
            <p:spPr bwMode="auto">
              <a:xfrm>
                <a:off x="5776912" y="5521324"/>
                <a:ext cx="373062" cy="492125"/>
              </a:xfrm>
              <a:custGeom>
                <a:avLst/>
                <a:gdLst>
                  <a:gd name="T0" fmla="*/ 49 w 99"/>
                  <a:gd name="T1" fmla="*/ 131 h 131"/>
                  <a:gd name="T2" fmla="*/ 12 w 99"/>
                  <a:gd name="T3" fmla="*/ 113 h 131"/>
                  <a:gd name="T4" fmla="*/ 0 w 99"/>
                  <a:gd name="T5" fmla="*/ 66 h 131"/>
                  <a:gd name="T6" fmla="*/ 15 w 99"/>
                  <a:gd name="T7" fmla="*/ 14 h 131"/>
                  <a:gd name="T8" fmla="*/ 49 w 99"/>
                  <a:gd name="T9" fmla="*/ 0 h 131"/>
                  <a:gd name="T10" fmla="*/ 88 w 99"/>
                  <a:gd name="T11" fmla="*/ 18 h 131"/>
                  <a:gd name="T12" fmla="*/ 99 w 99"/>
                  <a:gd name="T13" fmla="*/ 66 h 131"/>
                  <a:gd name="T14" fmla="*/ 84 w 99"/>
                  <a:gd name="T15" fmla="*/ 118 h 131"/>
                  <a:gd name="T16" fmla="*/ 49 w 99"/>
                  <a:gd name="T17" fmla="*/ 131 h 131"/>
                  <a:gd name="T18" fmla="*/ 49 w 99"/>
                  <a:gd name="T19" fmla="*/ 108 h 131"/>
                  <a:gd name="T20" fmla="*/ 61 w 99"/>
                  <a:gd name="T21" fmla="*/ 98 h 131"/>
                  <a:gd name="T22" fmla="*/ 64 w 99"/>
                  <a:gd name="T23" fmla="*/ 66 h 131"/>
                  <a:gd name="T24" fmla="*/ 60 w 99"/>
                  <a:gd name="T25" fmla="*/ 31 h 131"/>
                  <a:gd name="T26" fmla="*/ 49 w 99"/>
                  <a:gd name="T27" fmla="*/ 23 h 131"/>
                  <a:gd name="T28" fmla="*/ 39 w 99"/>
                  <a:gd name="T29" fmla="*/ 34 h 131"/>
                  <a:gd name="T30" fmla="*/ 35 w 99"/>
                  <a:gd name="T31" fmla="*/ 66 h 131"/>
                  <a:gd name="T32" fmla="*/ 40 w 99"/>
                  <a:gd name="T33" fmla="*/ 101 h 131"/>
                  <a:gd name="T34" fmla="*/ 49 w 99"/>
                  <a:gd name="T35" fmla="*/ 108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" h="131">
                    <a:moveTo>
                      <a:pt x="49" y="131"/>
                    </a:moveTo>
                    <a:cubicBezTo>
                      <a:pt x="33" y="131"/>
                      <a:pt x="20" y="125"/>
                      <a:pt x="12" y="113"/>
                    </a:cubicBezTo>
                    <a:cubicBezTo>
                      <a:pt x="4" y="102"/>
                      <a:pt x="0" y="86"/>
                      <a:pt x="0" y="66"/>
                    </a:cubicBezTo>
                    <a:cubicBezTo>
                      <a:pt x="0" y="43"/>
                      <a:pt x="5" y="25"/>
                      <a:pt x="15" y="14"/>
                    </a:cubicBezTo>
                    <a:cubicBezTo>
                      <a:pt x="23" y="5"/>
                      <a:pt x="35" y="0"/>
                      <a:pt x="49" y="0"/>
                    </a:cubicBezTo>
                    <a:cubicBezTo>
                      <a:pt x="66" y="0"/>
                      <a:pt x="79" y="6"/>
                      <a:pt x="88" y="18"/>
                    </a:cubicBezTo>
                    <a:cubicBezTo>
                      <a:pt x="95" y="29"/>
                      <a:pt x="99" y="45"/>
                      <a:pt x="99" y="66"/>
                    </a:cubicBezTo>
                    <a:cubicBezTo>
                      <a:pt x="99" y="89"/>
                      <a:pt x="94" y="106"/>
                      <a:pt x="84" y="118"/>
                    </a:cubicBezTo>
                    <a:cubicBezTo>
                      <a:pt x="76" y="127"/>
                      <a:pt x="64" y="131"/>
                      <a:pt x="49" y="131"/>
                    </a:cubicBezTo>
                    <a:close/>
                    <a:moveTo>
                      <a:pt x="49" y="108"/>
                    </a:moveTo>
                    <a:cubicBezTo>
                      <a:pt x="55" y="108"/>
                      <a:pt x="58" y="105"/>
                      <a:pt x="61" y="98"/>
                    </a:cubicBezTo>
                    <a:cubicBezTo>
                      <a:pt x="63" y="92"/>
                      <a:pt x="64" y="81"/>
                      <a:pt x="64" y="66"/>
                    </a:cubicBezTo>
                    <a:cubicBezTo>
                      <a:pt x="64" y="49"/>
                      <a:pt x="63" y="38"/>
                      <a:pt x="60" y="31"/>
                    </a:cubicBezTo>
                    <a:cubicBezTo>
                      <a:pt x="57" y="26"/>
                      <a:pt x="54" y="23"/>
                      <a:pt x="49" y="23"/>
                    </a:cubicBezTo>
                    <a:cubicBezTo>
                      <a:pt x="45" y="23"/>
                      <a:pt x="41" y="27"/>
                      <a:pt x="39" y="34"/>
                    </a:cubicBezTo>
                    <a:cubicBezTo>
                      <a:pt x="37" y="40"/>
                      <a:pt x="35" y="51"/>
                      <a:pt x="35" y="66"/>
                    </a:cubicBezTo>
                    <a:cubicBezTo>
                      <a:pt x="35" y="83"/>
                      <a:pt x="37" y="94"/>
                      <a:pt x="40" y="101"/>
                    </a:cubicBezTo>
                    <a:cubicBezTo>
                      <a:pt x="42" y="106"/>
                      <a:pt x="45" y="108"/>
                      <a:pt x="49" y="10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0" name="Freeform 43"/>
              <p:cNvSpPr>
                <a:spLocks noEditPoints="1"/>
              </p:cNvSpPr>
              <p:nvPr/>
            </p:nvSpPr>
            <p:spPr bwMode="auto">
              <a:xfrm>
                <a:off x="6318250" y="5521324"/>
                <a:ext cx="371475" cy="492125"/>
              </a:xfrm>
              <a:custGeom>
                <a:avLst/>
                <a:gdLst>
                  <a:gd name="T0" fmla="*/ 49 w 99"/>
                  <a:gd name="T1" fmla="*/ 131 h 131"/>
                  <a:gd name="T2" fmla="*/ 11 w 99"/>
                  <a:gd name="T3" fmla="*/ 113 h 131"/>
                  <a:gd name="T4" fmla="*/ 0 w 99"/>
                  <a:gd name="T5" fmla="*/ 66 h 131"/>
                  <a:gd name="T6" fmla="*/ 15 w 99"/>
                  <a:gd name="T7" fmla="*/ 14 h 131"/>
                  <a:gd name="T8" fmla="*/ 49 w 99"/>
                  <a:gd name="T9" fmla="*/ 0 h 131"/>
                  <a:gd name="T10" fmla="*/ 87 w 99"/>
                  <a:gd name="T11" fmla="*/ 18 h 131"/>
                  <a:gd name="T12" fmla="*/ 99 w 99"/>
                  <a:gd name="T13" fmla="*/ 66 h 131"/>
                  <a:gd name="T14" fmla="*/ 84 w 99"/>
                  <a:gd name="T15" fmla="*/ 118 h 131"/>
                  <a:gd name="T16" fmla="*/ 49 w 99"/>
                  <a:gd name="T17" fmla="*/ 131 h 131"/>
                  <a:gd name="T18" fmla="*/ 49 w 99"/>
                  <a:gd name="T19" fmla="*/ 108 h 131"/>
                  <a:gd name="T20" fmla="*/ 60 w 99"/>
                  <a:gd name="T21" fmla="*/ 98 h 131"/>
                  <a:gd name="T22" fmla="*/ 64 w 99"/>
                  <a:gd name="T23" fmla="*/ 66 h 131"/>
                  <a:gd name="T24" fmla="*/ 59 w 99"/>
                  <a:gd name="T25" fmla="*/ 31 h 131"/>
                  <a:gd name="T26" fmla="*/ 49 w 99"/>
                  <a:gd name="T27" fmla="*/ 23 h 131"/>
                  <a:gd name="T28" fmla="*/ 38 w 99"/>
                  <a:gd name="T29" fmla="*/ 34 h 131"/>
                  <a:gd name="T30" fmla="*/ 35 w 99"/>
                  <a:gd name="T31" fmla="*/ 66 h 131"/>
                  <a:gd name="T32" fmla="*/ 39 w 99"/>
                  <a:gd name="T33" fmla="*/ 101 h 131"/>
                  <a:gd name="T34" fmla="*/ 49 w 99"/>
                  <a:gd name="T35" fmla="*/ 108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" h="131">
                    <a:moveTo>
                      <a:pt x="49" y="131"/>
                    </a:moveTo>
                    <a:cubicBezTo>
                      <a:pt x="32" y="131"/>
                      <a:pt x="20" y="125"/>
                      <a:pt x="11" y="113"/>
                    </a:cubicBezTo>
                    <a:cubicBezTo>
                      <a:pt x="3" y="102"/>
                      <a:pt x="0" y="86"/>
                      <a:pt x="0" y="66"/>
                    </a:cubicBezTo>
                    <a:cubicBezTo>
                      <a:pt x="0" y="43"/>
                      <a:pt x="5" y="25"/>
                      <a:pt x="15" y="14"/>
                    </a:cubicBezTo>
                    <a:cubicBezTo>
                      <a:pt x="23" y="5"/>
                      <a:pt x="34" y="0"/>
                      <a:pt x="49" y="0"/>
                    </a:cubicBezTo>
                    <a:cubicBezTo>
                      <a:pt x="66" y="0"/>
                      <a:pt x="79" y="6"/>
                      <a:pt x="87" y="18"/>
                    </a:cubicBezTo>
                    <a:cubicBezTo>
                      <a:pt x="95" y="29"/>
                      <a:pt x="99" y="45"/>
                      <a:pt x="99" y="66"/>
                    </a:cubicBezTo>
                    <a:cubicBezTo>
                      <a:pt x="99" y="89"/>
                      <a:pt x="94" y="106"/>
                      <a:pt x="84" y="118"/>
                    </a:cubicBezTo>
                    <a:cubicBezTo>
                      <a:pt x="75" y="127"/>
                      <a:pt x="64" y="131"/>
                      <a:pt x="49" y="131"/>
                    </a:cubicBezTo>
                    <a:close/>
                    <a:moveTo>
                      <a:pt x="49" y="108"/>
                    </a:moveTo>
                    <a:cubicBezTo>
                      <a:pt x="54" y="108"/>
                      <a:pt x="58" y="105"/>
                      <a:pt x="60" y="98"/>
                    </a:cubicBezTo>
                    <a:cubicBezTo>
                      <a:pt x="62" y="92"/>
                      <a:pt x="64" y="81"/>
                      <a:pt x="64" y="66"/>
                    </a:cubicBezTo>
                    <a:cubicBezTo>
                      <a:pt x="64" y="49"/>
                      <a:pt x="62" y="38"/>
                      <a:pt x="59" y="31"/>
                    </a:cubicBezTo>
                    <a:cubicBezTo>
                      <a:pt x="57" y="26"/>
                      <a:pt x="54" y="23"/>
                      <a:pt x="49" y="23"/>
                    </a:cubicBezTo>
                    <a:cubicBezTo>
                      <a:pt x="44" y="23"/>
                      <a:pt x="41" y="27"/>
                      <a:pt x="38" y="34"/>
                    </a:cubicBezTo>
                    <a:cubicBezTo>
                      <a:pt x="36" y="40"/>
                      <a:pt x="35" y="51"/>
                      <a:pt x="35" y="66"/>
                    </a:cubicBezTo>
                    <a:cubicBezTo>
                      <a:pt x="35" y="83"/>
                      <a:pt x="36" y="94"/>
                      <a:pt x="39" y="101"/>
                    </a:cubicBezTo>
                    <a:cubicBezTo>
                      <a:pt x="41" y="106"/>
                      <a:pt x="45" y="108"/>
                      <a:pt x="49" y="10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1" name="Freeform 44"/>
              <p:cNvSpPr>
                <a:spLocks/>
              </p:cNvSpPr>
              <p:nvPr/>
            </p:nvSpPr>
            <p:spPr bwMode="auto">
              <a:xfrm>
                <a:off x="3657600" y="6340474"/>
                <a:ext cx="236537" cy="473075"/>
              </a:xfrm>
              <a:custGeom>
                <a:avLst/>
                <a:gdLst>
                  <a:gd name="T0" fmla="*/ 66 w 149"/>
                  <a:gd name="T1" fmla="*/ 298 h 298"/>
                  <a:gd name="T2" fmla="*/ 66 w 149"/>
                  <a:gd name="T3" fmla="*/ 78 h 298"/>
                  <a:gd name="T4" fmla="*/ 0 w 149"/>
                  <a:gd name="T5" fmla="*/ 109 h 298"/>
                  <a:gd name="T6" fmla="*/ 0 w 149"/>
                  <a:gd name="T7" fmla="*/ 38 h 298"/>
                  <a:gd name="T8" fmla="*/ 73 w 149"/>
                  <a:gd name="T9" fmla="*/ 0 h 298"/>
                  <a:gd name="T10" fmla="*/ 149 w 149"/>
                  <a:gd name="T11" fmla="*/ 0 h 298"/>
                  <a:gd name="T12" fmla="*/ 149 w 149"/>
                  <a:gd name="T13" fmla="*/ 298 h 298"/>
                  <a:gd name="T14" fmla="*/ 66 w 149"/>
                  <a:gd name="T15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" h="298">
                    <a:moveTo>
                      <a:pt x="66" y="298"/>
                    </a:moveTo>
                    <a:lnTo>
                      <a:pt x="66" y="78"/>
                    </a:lnTo>
                    <a:lnTo>
                      <a:pt x="0" y="109"/>
                    </a:lnTo>
                    <a:lnTo>
                      <a:pt x="0" y="38"/>
                    </a:lnTo>
                    <a:lnTo>
                      <a:pt x="73" y="0"/>
                    </a:lnTo>
                    <a:lnTo>
                      <a:pt x="149" y="0"/>
                    </a:lnTo>
                    <a:lnTo>
                      <a:pt x="149" y="298"/>
                    </a:lnTo>
                    <a:lnTo>
                      <a:pt x="66" y="29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2" name="Freeform 45"/>
              <p:cNvSpPr>
                <a:spLocks/>
              </p:cNvSpPr>
              <p:nvPr/>
            </p:nvSpPr>
            <p:spPr bwMode="auto">
              <a:xfrm>
                <a:off x="4198937" y="6340474"/>
                <a:ext cx="236537" cy="473075"/>
              </a:xfrm>
              <a:custGeom>
                <a:avLst/>
                <a:gdLst>
                  <a:gd name="T0" fmla="*/ 66 w 149"/>
                  <a:gd name="T1" fmla="*/ 298 h 298"/>
                  <a:gd name="T2" fmla="*/ 66 w 149"/>
                  <a:gd name="T3" fmla="*/ 78 h 298"/>
                  <a:gd name="T4" fmla="*/ 0 w 149"/>
                  <a:gd name="T5" fmla="*/ 109 h 298"/>
                  <a:gd name="T6" fmla="*/ 0 w 149"/>
                  <a:gd name="T7" fmla="*/ 38 h 298"/>
                  <a:gd name="T8" fmla="*/ 73 w 149"/>
                  <a:gd name="T9" fmla="*/ 0 h 298"/>
                  <a:gd name="T10" fmla="*/ 149 w 149"/>
                  <a:gd name="T11" fmla="*/ 0 h 298"/>
                  <a:gd name="T12" fmla="*/ 149 w 149"/>
                  <a:gd name="T13" fmla="*/ 298 h 298"/>
                  <a:gd name="T14" fmla="*/ 66 w 149"/>
                  <a:gd name="T15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" h="298">
                    <a:moveTo>
                      <a:pt x="66" y="298"/>
                    </a:moveTo>
                    <a:lnTo>
                      <a:pt x="66" y="78"/>
                    </a:lnTo>
                    <a:lnTo>
                      <a:pt x="0" y="109"/>
                    </a:lnTo>
                    <a:lnTo>
                      <a:pt x="0" y="38"/>
                    </a:lnTo>
                    <a:lnTo>
                      <a:pt x="73" y="0"/>
                    </a:lnTo>
                    <a:lnTo>
                      <a:pt x="149" y="0"/>
                    </a:lnTo>
                    <a:lnTo>
                      <a:pt x="149" y="298"/>
                    </a:lnTo>
                    <a:lnTo>
                      <a:pt x="66" y="298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3" name="Freeform 46"/>
              <p:cNvSpPr>
                <a:spLocks noEditPoints="1"/>
              </p:cNvSpPr>
              <p:nvPr/>
            </p:nvSpPr>
            <p:spPr bwMode="auto">
              <a:xfrm>
                <a:off x="4699000" y="6332537"/>
                <a:ext cx="371475" cy="492125"/>
              </a:xfrm>
              <a:custGeom>
                <a:avLst/>
                <a:gdLst>
                  <a:gd name="T0" fmla="*/ 49 w 99"/>
                  <a:gd name="T1" fmla="*/ 131 h 131"/>
                  <a:gd name="T2" fmla="*/ 12 w 99"/>
                  <a:gd name="T3" fmla="*/ 113 h 131"/>
                  <a:gd name="T4" fmla="*/ 0 w 99"/>
                  <a:gd name="T5" fmla="*/ 65 h 131"/>
                  <a:gd name="T6" fmla="*/ 15 w 99"/>
                  <a:gd name="T7" fmla="*/ 13 h 131"/>
                  <a:gd name="T8" fmla="*/ 49 w 99"/>
                  <a:gd name="T9" fmla="*/ 0 h 131"/>
                  <a:gd name="T10" fmla="*/ 87 w 99"/>
                  <a:gd name="T11" fmla="*/ 18 h 131"/>
                  <a:gd name="T12" fmla="*/ 99 w 99"/>
                  <a:gd name="T13" fmla="*/ 65 h 131"/>
                  <a:gd name="T14" fmla="*/ 84 w 99"/>
                  <a:gd name="T15" fmla="*/ 117 h 131"/>
                  <a:gd name="T16" fmla="*/ 49 w 99"/>
                  <a:gd name="T17" fmla="*/ 131 h 131"/>
                  <a:gd name="T18" fmla="*/ 49 w 99"/>
                  <a:gd name="T19" fmla="*/ 107 h 131"/>
                  <a:gd name="T20" fmla="*/ 60 w 99"/>
                  <a:gd name="T21" fmla="*/ 98 h 131"/>
                  <a:gd name="T22" fmla="*/ 64 w 99"/>
                  <a:gd name="T23" fmla="*/ 65 h 131"/>
                  <a:gd name="T24" fmla="*/ 60 w 99"/>
                  <a:gd name="T25" fmla="*/ 31 h 131"/>
                  <a:gd name="T26" fmla="*/ 49 w 99"/>
                  <a:gd name="T27" fmla="*/ 23 h 131"/>
                  <a:gd name="T28" fmla="*/ 39 w 99"/>
                  <a:gd name="T29" fmla="*/ 33 h 131"/>
                  <a:gd name="T30" fmla="*/ 35 w 99"/>
                  <a:gd name="T31" fmla="*/ 65 h 131"/>
                  <a:gd name="T32" fmla="*/ 39 w 99"/>
                  <a:gd name="T33" fmla="*/ 100 h 131"/>
                  <a:gd name="T34" fmla="*/ 49 w 99"/>
                  <a:gd name="T35" fmla="*/ 10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" h="131">
                    <a:moveTo>
                      <a:pt x="49" y="131"/>
                    </a:moveTo>
                    <a:cubicBezTo>
                      <a:pt x="33" y="131"/>
                      <a:pt x="20" y="125"/>
                      <a:pt x="12" y="113"/>
                    </a:cubicBezTo>
                    <a:cubicBezTo>
                      <a:pt x="4" y="102"/>
                      <a:pt x="0" y="86"/>
                      <a:pt x="0" y="65"/>
                    </a:cubicBezTo>
                    <a:cubicBezTo>
                      <a:pt x="0" y="42"/>
                      <a:pt x="5" y="25"/>
                      <a:pt x="15" y="13"/>
                    </a:cubicBezTo>
                    <a:cubicBezTo>
                      <a:pt x="23" y="4"/>
                      <a:pt x="35" y="0"/>
                      <a:pt x="49" y="0"/>
                    </a:cubicBezTo>
                    <a:cubicBezTo>
                      <a:pt x="66" y="0"/>
                      <a:pt x="79" y="6"/>
                      <a:pt x="87" y="18"/>
                    </a:cubicBezTo>
                    <a:cubicBezTo>
                      <a:pt x="95" y="29"/>
                      <a:pt x="99" y="45"/>
                      <a:pt x="99" y="65"/>
                    </a:cubicBezTo>
                    <a:cubicBezTo>
                      <a:pt x="99" y="89"/>
                      <a:pt x="94" y="106"/>
                      <a:pt x="84" y="117"/>
                    </a:cubicBezTo>
                    <a:cubicBezTo>
                      <a:pt x="75" y="126"/>
                      <a:pt x="64" y="131"/>
                      <a:pt x="49" y="131"/>
                    </a:cubicBezTo>
                    <a:close/>
                    <a:moveTo>
                      <a:pt x="49" y="107"/>
                    </a:moveTo>
                    <a:cubicBezTo>
                      <a:pt x="54" y="107"/>
                      <a:pt x="58" y="104"/>
                      <a:pt x="60" y="98"/>
                    </a:cubicBezTo>
                    <a:cubicBezTo>
                      <a:pt x="63" y="91"/>
                      <a:pt x="64" y="80"/>
                      <a:pt x="64" y="65"/>
                    </a:cubicBezTo>
                    <a:cubicBezTo>
                      <a:pt x="64" y="49"/>
                      <a:pt x="62" y="37"/>
                      <a:pt x="60" y="31"/>
                    </a:cubicBezTo>
                    <a:cubicBezTo>
                      <a:pt x="57" y="25"/>
                      <a:pt x="54" y="23"/>
                      <a:pt x="49" y="23"/>
                    </a:cubicBezTo>
                    <a:cubicBezTo>
                      <a:pt x="44" y="23"/>
                      <a:pt x="41" y="26"/>
                      <a:pt x="39" y="33"/>
                    </a:cubicBezTo>
                    <a:cubicBezTo>
                      <a:pt x="36" y="40"/>
                      <a:pt x="35" y="51"/>
                      <a:pt x="35" y="65"/>
                    </a:cubicBezTo>
                    <a:cubicBezTo>
                      <a:pt x="35" y="82"/>
                      <a:pt x="37" y="94"/>
                      <a:pt x="39" y="100"/>
                    </a:cubicBezTo>
                    <a:cubicBezTo>
                      <a:pt x="42" y="105"/>
                      <a:pt x="45" y="107"/>
                      <a:pt x="49" y="107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4" name="Freeform 47"/>
              <p:cNvSpPr>
                <a:spLocks noEditPoints="1"/>
              </p:cNvSpPr>
              <p:nvPr/>
            </p:nvSpPr>
            <p:spPr bwMode="auto">
              <a:xfrm>
                <a:off x="5235575" y="6332537"/>
                <a:ext cx="376237" cy="492125"/>
              </a:xfrm>
              <a:custGeom>
                <a:avLst/>
                <a:gdLst>
                  <a:gd name="T0" fmla="*/ 50 w 100"/>
                  <a:gd name="T1" fmla="*/ 131 h 131"/>
                  <a:gd name="T2" fmla="*/ 12 w 100"/>
                  <a:gd name="T3" fmla="*/ 113 h 131"/>
                  <a:gd name="T4" fmla="*/ 0 w 100"/>
                  <a:gd name="T5" fmla="*/ 65 h 131"/>
                  <a:gd name="T6" fmla="*/ 15 w 100"/>
                  <a:gd name="T7" fmla="*/ 13 h 131"/>
                  <a:gd name="T8" fmla="*/ 50 w 100"/>
                  <a:gd name="T9" fmla="*/ 0 h 131"/>
                  <a:gd name="T10" fmla="*/ 88 w 100"/>
                  <a:gd name="T11" fmla="*/ 18 h 131"/>
                  <a:gd name="T12" fmla="*/ 100 w 100"/>
                  <a:gd name="T13" fmla="*/ 65 h 131"/>
                  <a:gd name="T14" fmla="*/ 85 w 100"/>
                  <a:gd name="T15" fmla="*/ 117 h 131"/>
                  <a:gd name="T16" fmla="*/ 50 w 100"/>
                  <a:gd name="T17" fmla="*/ 131 h 131"/>
                  <a:gd name="T18" fmla="*/ 50 w 100"/>
                  <a:gd name="T19" fmla="*/ 107 h 131"/>
                  <a:gd name="T20" fmla="*/ 61 w 100"/>
                  <a:gd name="T21" fmla="*/ 98 h 131"/>
                  <a:gd name="T22" fmla="*/ 64 w 100"/>
                  <a:gd name="T23" fmla="*/ 65 h 131"/>
                  <a:gd name="T24" fmla="*/ 60 w 100"/>
                  <a:gd name="T25" fmla="*/ 31 h 131"/>
                  <a:gd name="T26" fmla="*/ 50 w 100"/>
                  <a:gd name="T27" fmla="*/ 23 h 131"/>
                  <a:gd name="T28" fmla="*/ 39 w 100"/>
                  <a:gd name="T29" fmla="*/ 33 h 131"/>
                  <a:gd name="T30" fmla="*/ 36 w 100"/>
                  <a:gd name="T31" fmla="*/ 65 h 131"/>
                  <a:gd name="T32" fmla="*/ 40 w 100"/>
                  <a:gd name="T33" fmla="*/ 100 h 131"/>
                  <a:gd name="T34" fmla="*/ 50 w 100"/>
                  <a:gd name="T35" fmla="*/ 10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0" h="131">
                    <a:moveTo>
                      <a:pt x="50" y="131"/>
                    </a:moveTo>
                    <a:cubicBezTo>
                      <a:pt x="33" y="131"/>
                      <a:pt x="21" y="125"/>
                      <a:pt x="12" y="113"/>
                    </a:cubicBezTo>
                    <a:cubicBezTo>
                      <a:pt x="4" y="102"/>
                      <a:pt x="0" y="86"/>
                      <a:pt x="0" y="65"/>
                    </a:cubicBezTo>
                    <a:cubicBezTo>
                      <a:pt x="0" y="42"/>
                      <a:pt x="5" y="25"/>
                      <a:pt x="15" y="13"/>
                    </a:cubicBezTo>
                    <a:cubicBezTo>
                      <a:pt x="24" y="4"/>
                      <a:pt x="35" y="0"/>
                      <a:pt x="50" y="0"/>
                    </a:cubicBezTo>
                    <a:cubicBezTo>
                      <a:pt x="67" y="0"/>
                      <a:pt x="80" y="6"/>
                      <a:pt x="88" y="18"/>
                    </a:cubicBezTo>
                    <a:cubicBezTo>
                      <a:pt x="96" y="29"/>
                      <a:pt x="100" y="45"/>
                      <a:pt x="100" y="65"/>
                    </a:cubicBezTo>
                    <a:cubicBezTo>
                      <a:pt x="100" y="89"/>
                      <a:pt x="95" y="106"/>
                      <a:pt x="85" y="117"/>
                    </a:cubicBezTo>
                    <a:cubicBezTo>
                      <a:pt x="76" y="126"/>
                      <a:pt x="64" y="131"/>
                      <a:pt x="50" y="131"/>
                    </a:cubicBezTo>
                    <a:close/>
                    <a:moveTo>
                      <a:pt x="50" y="107"/>
                    </a:moveTo>
                    <a:cubicBezTo>
                      <a:pt x="55" y="107"/>
                      <a:pt x="59" y="104"/>
                      <a:pt x="61" y="98"/>
                    </a:cubicBezTo>
                    <a:cubicBezTo>
                      <a:pt x="63" y="91"/>
                      <a:pt x="64" y="80"/>
                      <a:pt x="64" y="65"/>
                    </a:cubicBezTo>
                    <a:cubicBezTo>
                      <a:pt x="64" y="49"/>
                      <a:pt x="63" y="37"/>
                      <a:pt x="60" y="31"/>
                    </a:cubicBezTo>
                    <a:cubicBezTo>
                      <a:pt x="58" y="25"/>
                      <a:pt x="54" y="23"/>
                      <a:pt x="50" y="23"/>
                    </a:cubicBezTo>
                    <a:cubicBezTo>
                      <a:pt x="45" y="23"/>
                      <a:pt x="41" y="26"/>
                      <a:pt x="39" y="33"/>
                    </a:cubicBezTo>
                    <a:cubicBezTo>
                      <a:pt x="37" y="40"/>
                      <a:pt x="36" y="51"/>
                      <a:pt x="36" y="65"/>
                    </a:cubicBezTo>
                    <a:cubicBezTo>
                      <a:pt x="36" y="82"/>
                      <a:pt x="37" y="94"/>
                      <a:pt x="40" y="100"/>
                    </a:cubicBezTo>
                    <a:cubicBezTo>
                      <a:pt x="42" y="105"/>
                      <a:pt x="45" y="107"/>
                      <a:pt x="50" y="107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5" name="Freeform 48"/>
              <p:cNvSpPr>
                <a:spLocks/>
              </p:cNvSpPr>
              <p:nvPr/>
            </p:nvSpPr>
            <p:spPr bwMode="auto">
              <a:xfrm>
                <a:off x="5818187" y="6340474"/>
                <a:ext cx="233362" cy="473075"/>
              </a:xfrm>
              <a:custGeom>
                <a:avLst/>
                <a:gdLst>
                  <a:gd name="T0" fmla="*/ 66 w 147"/>
                  <a:gd name="T1" fmla="*/ 298 h 298"/>
                  <a:gd name="T2" fmla="*/ 66 w 147"/>
                  <a:gd name="T3" fmla="*/ 78 h 298"/>
                  <a:gd name="T4" fmla="*/ 0 w 147"/>
                  <a:gd name="T5" fmla="*/ 109 h 298"/>
                  <a:gd name="T6" fmla="*/ 0 w 147"/>
                  <a:gd name="T7" fmla="*/ 38 h 298"/>
                  <a:gd name="T8" fmla="*/ 74 w 147"/>
                  <a:gd name="T9" fmla="*/ 0 h 298"/>
                  <a:gd name="T10" fmla="*/ 147 w 147"/>
                  <a:gd name="T11" fmla="*/ 0 h 298"/>
                  <a:gd name="T12" fmla="*/ 147 w 147"/>
                  <a:gd name="T13" fmla="*/ 298 h 298"/>
                  <a:gd name="T14" fmla="*/ 66 w 147"/>
                  <a:gd name="T15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298">
                    <a:moveTo>
                      <a:pt x="66" y="298"/>
                    </a:moveTo>
                    <a:lnTo>
                      <a:pt x="66" y="78"/>
                    </a:lnTo>
                    <a:lnTo>
                      <a:pt x="0" y="109"/>
                    </a:lnTo>
                    <a:lnTo>
                      <a:pt x="0" y="38"/>
                    </a:lnTo>
                    <a:lnTo>
                      <a:pt x="74" y="0"/>
                    </a:lnTo>
                    <a:lnTo>
                      <a:pt x="147" y="0"/>
                    </a:lnTo>
                    <a:lnTo>
                      <a:pt x="147" y="298"/>
                    </a:lnTo>
                    <a:lnTo>
                      <a:pt x="66" y="29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6" name="Freeform 49"/>
              <p:cNvSpPr>
                <a:spLocks noEditPoints="1"/>
              </p:cNvSpPr>
              <p:nvPr/>
            </p:nvSpPr>
            <p:spPr bwMode="auto">
              <a:xfrm>
                <a:off x="6318250" y="6332537"/>
                <a:ext cx="371475" cy="492125"/>
              </a:xfrm>
              <a:custGeom>
                <a:avLst/>
                <a:gdLst>
                  <a:gd name="T0" fmla="*/ 49 w 99"/>
                  <a:gd name="T1" fmla="*/ 131 h 131"/>
                  <a:gd name="T2" fmla="*/ 11 w 99"/>
                  <a:gd name="T3" fmla="*/ 113 h 131"/>
                  <a:gd name="T4" fmla="*/ 0 w 99"/>
                  <a:gd name="T5" fmla="*/ 65 h 131"/>
                  <a:gd name="T6" fmla="*/ 15 w 99"/>
                  <a:gd name="T7" fmla="*/ 13 h 131"/>
                  <a:gd name="T8" fmla="*/ 49 w 99"/>
                  <a:gd name="T9" fmla="*/ 0 h 131"/>
                  <a:gd name="T10" fmla="*/ 87 w 99"/>
                  <a:gd name="T11" fmla="*/ 18 h 131"/>
                  <a:gd name="T12" fmla="*/ 99 w 99"/>
                  <a:gd name="T13" fmla="*/ 65 h 131"/>
                  <a:gd name="T14" fmla="*/ 84 w 99"/>
                  <a:gd name="T15" fmla="*/ 117 h 131"/>
                  <a:gd name="T16" fmla="*/ 49 w 99"/>
                  <a:gd name="T17" fmla="*/ 131 h 131"/>
                  <a:gd name="T18" fmla="*/ 49 w 99"/>
                  <a:gd name="T19" fmla="*/ 107 h 131"/>
                  <a:gd name="T20" fmla="*/ 60 w 99"/>
                  <a:gd name="T21" fmla="*/ 98 h 131"/>
                  <a:gd name="T22" fmla="*/ 64 w 99"/>
                  <a:gd name="T23" fmla="*/ 65 h 131"/>
                  <a:gd name="T24" fmla="*/ 59 w 99"/>
                  <a:gd name="T25" fmla="*/ 31 h 131"/>
                  <a:gd name="T26" fmla="*/ 49 w 99"/>
                  <a:gd name="T27" fmla="*/ 23 h 131"/>
                  <a:gd name="T28" fmla="*/ 38 w 99"/>
                  <a:gd name="T29" fmla="*/ 33 h 131"/>
                  <a:gd name="T30" fmla="*/ 35 w 99"/>
                  <a:gd name="T31" fmla="*/ 65 h 131"/>
                  <a:gd name="T32" fmla="*/ 39 w 99"/>
                  <a:gd name="T33" fmla="*/ 100 h 131"/>
                  <a:gd name="T34" fmla="*/ 49 w 99"/>
                  <a:gd name="T35" fmla="*/ 10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" h="131">
                    <a:moveTo>
                      <a:pt x="49" y="131"/>
                    </a:moveTo>
                    <a:cubicBezTo>
                      <a:pt x="32" y="131"/>
                      <a:pt x="20" y="125"/>
                      <a:pt x="11" y="113"/>
                    </a:cubicBezTo>
                    <a:cubicBezTo>
                      <a:pt x="3" y="102"/>
                      <a:pt x="0" y="86"/>
                      <a:pt x="0" y="65"/>
                    </a:cubicBezTo>
                    <a:cubicBezTo>
                      <a:pt x="0" y="42"/>
                      <a:pt x="5" y="25"/>
                      <a:pt x="15" y="13"/>
                    </a:cubicBezTo>
                    <a:cubicBezTo>
                      <a:pt x="23" y="4"/>
                      <a:pt x="34" y="0"/>
                      <a:pt x="49" y="0"/>
                    </a:cubicBezTo>
                    <a:cubicBezTo>
                      <a:pt x="66" y="0"/>
                      <a:pt x="79" y="6"/>
                      <a:pt x="87" y="18"/>
                    </a:cubicBezTo>
                    <a:cubicBezTo>
                      <a:pt x="95" y="29"/>
                      <a:pt x="99" y="45"/>
                      <a:pt x="99" y="65"/>
                    </a:cubicBezTo>
                    <a:cubicBezTo>
                      <a:pt x="99" y="89"/>
                      <a:pt x="94" y="106"/>
                      <a:pt x="84" y="117"/>
                    </a:cubicBezTo>
                    <a:cubicBezTo>
                      <a:pt x="75" y="126"/>
                      <a:pt x="64" y="131"/>
                      <a:pt x="49" y="131"/>
                    </a:cubicBezTo>
                    <a:close/>
                    <a:moveTo>
                      <a:pt x="49" y="107"/>
                    </a:moveTo>
                    <a:cubicBezTo>
                      <a:pt x="54" y="107"/>
                      <a:pt x="58" y="104"/>
                      <a:pt x="60" y="98"/>
                    </a:cubicBezTo>
                    <a:cubicBezTo>
                      <a:pt x="62" y="91"/>
                      <a:pt x="64" y="80"/>
                      <a:pt x="64" y="65"/>
                    </a:cubicBezTo>
                    <a:cubicBezTo>
                      <a:pt x="64" y="49"/>
                      <a:pt x="62" y="37"/>
                      <a:pt x="59" y="31"/>
                    </a:cubicBezTo>
                    <a:cubicBezTo>
                      <a:pt x="57" y="25"/>
                      <a:pt x="54" y="23"/>
                      <a:pt x="49" y="23"/>
                    </a:cubicBezTo>
                    <a:cubicBezTo>
                      <a:pt x="44" y="23"/>
                      <a:pt x="41" y="26"/>
                      <a:pt x="38" y="33"/>
                    </a:cubicBezTo>
                    <a:cubicBezTo>
                      <a:pt x="36" y="40"/>
                      <a:pt x="35" y="51"/>
                      <a:pt x="35" y="65"/>
                    </a:cubicBezTo>
                    <a:cubicBezTo>
                      <a:pt x="35" y="82"/>
                      <a:pt x="36" y="94"/>
                      <a:pt x="39" y="100"/>
                    </a:cubicBezTo>
                    <a:cubicBezTo>
                      <a:pt x="41" y="105"/>
                      <a:pt x="45" y="107"/>
                      <a:pt x="49" y="10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7" name="Freeform 50"/>
              <p:cNvSpPr>
                <a:spLocks/>
              </p:cNvSpPr>
              <p:nvPr/>
            </p:nvSpPr>
            <p:spPr bwMode="auto">
              <a:xfrm>
                <a:off x="6897687" y="6340474"/>
                <a:ext cx="236537" cy="473075"/>
              </a:xfrm>
              <a:custGeom>
                <a:avLst/>
                <a:gdLst>
                  <a:gd name="T0" fmla="*/ 66 w 149"/>
                  <a:gd name="T1" fmla="*/ 298 h 298"/>
                  <a:gd name="T2" fmla="*/ 66 w 149"/>
                  <a:gd name="T3" fmla="*/ 78 h 298"/>
                  <a:gd name="T4" fmla="*/ 0 w 149"/>
                  <a:gd name="T5" fmla="*/ 109 h 298"/>
                  <a:gd name="T6" fmla="*/ 0 w 149"/>
                  <a:gd name="T7" fmla="*/ 38 h 298"/>
                  <a:gd name="T8" fmla="*/ 73 w 149"/>
                  <a:gd name="T9" fmla="*/ 0 h 298"/>
                  <a:gd name="T10" fmla="*/ 149 w 149"/>
                  <a:gd name="T11" fmla="*/ 0 h 298"/>
                  <a:gd name="T12" fmla="*/ 149 w 149"/>
                  <a:gd name="T13" fmla="*/ 298 h 298"/>
                  <a:gd name="T14" fmla="*/ 66 w 149"/>
                  <a:gd name="T15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" h="298">
                    <a:moveTo>
                      <a:pt x="66" y="298"/>
                    </a:moveTo>
                    <a:lnTo>
                      <a:pt x="66" y="78"/>
                    </a:lnTo>
                    <a:lnTo>
                      <a:pt x="0" y="109"/>
                    </a:lnTo>
                    <a:lnTo>
                      <a:pt x="0" y="38"/>
                    </a:lnTo>
                    <a:lnTo>
                      <a:pt x="73" y="0"/>
                    </a:lnTo>
                    <a:lnTo>
                      <a:pt x="149" y="0"/>
                    </a:lnTo>
                    <a:lnTo>
                      <a:pt x="149" y="298"/>
                    </a:lnTo>
                    <a:lnTo>
                      <a:pt x="66" y="29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8" name="Freeform 51"/>
              <p:cNvSpPr>
                <a:spLocks/>
              </p:cNvSpPr>
              <p:nvPr/>
            </p:nvSpPr>
            <p:spPr bwMode="auto">
              <a:xfrm>
                <a:off x="3657600" y="7151687"/>
                <a:ext cx="236537" cy="473075"/>
              </a:xfrm>
              <a:custGeom>
                <a:avLst/>
                <a:gdLst>
                  <a:gd name="T0" fmla="*/ 66 w 149"/>
                  <a:gd name="T1" fmla="*/ 298 h 298"/>
                  <a:gd name="T2" fmla="*/ 66 w 149"/>
                  <a:gd name="T3" fmla="*/ 76 h 298"/>
                  <a:gd name="T4" fmla="*/ 0 w 149"/>
                  <a:gd name="T5" fmla="*/ 109 h 298"/>
                  <a:gd name="T6" fmla="*/ 0 w 149"/>
                  <a:gd name="T7" fmla="*/ 36 h 298"/>
                  <a:gd name="T8" fmla="*/ 73 w 149"/>
                  <a:gd name="T9" fmla="*/ 0 h 298"/>
                  <a:gd name="T10" fmla="*/ 149 w 149"/>
                  <a:gd name="T11" fmla="*/ 0 h 298"/>
                  <a:gd name="T12" fmla="*/ 149 w 149"/>
                  <a:gd name="T13" fmla="*/ 298 h 298"/>
                  <a:gd name="T14" fmla="*/ 66 w 149"/>
                  <a:gd name="T15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" h="298">
                    <a:moveTo>
                      <a:pt x="66" y="298"/>
                    </a:moveTo>
                    <a:lnTo>
                      <a:pt x="66" y="76"/>
                    </a:lnTo>
                    <a:lnTo>
                      <a:pt x="0" y="109"/>
                    </a:lnTo>
                    <a:lnTo>
                      <a:pt x="0" y="36"/>
                    </a:lnTo>
                    <a:lnTo>
                      <a:pt x="73" y="0"/>
                    </a:lnTo>
                    <a:lnTo>
                      <a:pt x="149" y="0"/>
                    </a:lnTo>
                    <a:lnTo>
                      <a:pt x="149" y="298"/>
                    </a:lnTo>
                    <a:lnTo>
                      <a:pt x="66" y="298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29" name="Freeform 52"/>
              <p:cNvSpPr>
                <a:spLocks/>
              </p:cNvSpPr>
              <p:nvPr/>
            </p:nvSpPr>
            <p:spPr bwMode="auto">
              <a:xfrm>
                <a:off x="4198937" y="7151687"/>
                <a:ext cx="236537" cy="473075"/>
              </a:xfrm>
              <a:custGeom>
                <a:avLst/>
                <a:gdLst>
                  <a:gd name="T0" fmla="*/ 66 w 149"/>
                  <a:gd name="T1" fmla="*/ 298 h 298"/>
                  <a:gd name="T2" fmla="*/ 66 w 149"/>
                  <a:gd name="T3" fmla="*/ 76 h 298"/>
                  <a:gd name="T4" fmla="*/ 0 w 149"/>
                  <a:gd name="T5" fmla="*/ 109 h 298"/>
                  <a:gd name="T6" fmla="*/ 0 w 149"/>
                  <a:gd name="T7" fmla="*/ 36 h 298"/>
                  <a:gd name="T8" fmla="*/ 73 w 149"/>
                  <a:gd name="T9" fmla="*/ 0 h 298"/>
                  <a:gd name="T10" fmla="*/ 149 w 149"/>
                  <a:gd name="T11" fmla="*/ 0 h 298"/>
                  <a:gd name="T12" fmla="*/ 149 w 149"/>
                  <a:gd name="T13" fmla="*/ 298 h 298"/>
                  <a:gd name="T14" fmla="*/ 66 w 149"/>
                  <a:gd name="T15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" h="298">
                    <a:moveTo>
                      <a:pt x="66" y="298"/>
                    </a:moveTo>
                    <a:lnTo>
                      <a:pt x="66" y="76"/>
                    </a:lnTo>
                    <a:lnTo>
                      <a:pt x="0" y="109"/>
                    </a:lnTo>
                    <a:lnTo>
                      <a:pt x="0" y="36"/>
                    </a:lnTo>
                    <a:lnTo>
                      <a:pt x="73" y="0"/>
                    </a:lnTo>
                    <a:lnTo>
                      <a:pt x="149" y="0"/>
                    </a:lnTo>
                    <a:lnTo>
                      <a:pt x="149" y="298"/>
                    </a:lnTo>
                    <a:lnTo>
                      <a:pt x="66" y="29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0" name="Freeform 53"/>
              <p:cNvSpPr>
                <a:spLocks noEditPoints="1"/>
              </p:cNvSpPr>
              <p:nvPr/>
            </p:nvSpPr>
            <p:spPr bwMode="auto">
              <a:xfrm>
                <a:off x="4699000" y="7140574"/>
                <a:ext cx="371475" cy="492125"/>
              </a:xfrm>
              <a:custGeom>
                <a:avLst/>
                <a:gdLst>
                  <a:gd name="T0" fmla="*/ 49 w 99"/>
                  <a:gd name="T1" fmla="*/ 131 h 131"/>
                  <a:gd name="T2" fmla="*/ 12 w 99"/>
                  <a:gd name="T3" fmla="*/ 113 h 131"/>
                  <a:gd name="T4" fmla="*/ 0 w 99"/>
                  <a:gd name="T5" fmla="*/ 66 h 131"/>
                  <a:gd name="T6" fmla="*/ 15 w 99"/>
                  <a:gd name="T7" fmla="*/ 14 h 131"/>
                  <a:gd name="T8" fmla="*/ 49 w 99"/>
                  <a:gd name="T9" fmla="*/ 0 h 131"/>
                  <a:gd name="T10" fmla="*/ 87 w 99"/>
                  <a:gd name="T11" fmla="*/ 18 h 131"/>
                  <a:gd name="T12" fmla="*/ 99 w 99"/>
                  <a:gd name="T13" fmla="*/ 66 h 131"/>
                  <a:gd name="T14" fmla="*/ 84 w 99"/>
                  <a:gd name="T15" fmla="*/ 117 h 131"/>
                  <a:gd name="T16" fmla="*/ 49 w 99"/>
                  <a:gd name="T17" fmla="*/ 131 h 131"/>
                  <a:gd name="T18" fmla="*/ 49 w 99"/>
                  <a:gd name="T19" fmla="*/ 108 h 131"/>
                  <a:gd name="T20" fmla="*/ 60 w 99"/>
                  <a:gd name="T21" fmla="*/ 98 h 131"/>
                  <a:gd name="T22" fmla="*/ 64 w 99"/>
                  <a:gd name="T23" fmla="*/ 66 h 131"/>
                  <a:gd name="T24" fmla="*/ 60 w 99"/>
                  <a:gd name="T25" fmla="*/ 31 h 131"/>
                  <a:gd name="T26" fmla="*/ 49 w 99"/>
                  <a:gd name="T27" fmla="*/ 23 h 131"/>
                  <a:gd name="T28" fmla="*/ 39 w 99"/>
                  <a:gd name="T29" fmla="*/ 33 h 131"/>
                  <a:gd name="T30" fmla="*/ 35 w 99"/>
                  <a:gd name="T31" fmla="*/ 66 h 131"/>
                  <a:gd name="T32" fmla="*/ 39 w 99"/>
                  <a:gd name="T33" fmla="*/ 100 h 131"/>
                  <a:gd name="T34" fmla="*/ 49 w 99"/>
                  <a:gd name="T35" fmla="*/ 108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" h="131">
                    <a:moveTo>
                      <a:pt x="49" y="131"/>
                    </a:moveTo>
                    <a:cubicBezTo>
                      <a:pt x="33" y="131"/>
                      <a:pt x="20" y="125"/>
                      <a:pt x="12" y="113"/>
                    </a:cubicBezTo>
                    <a:cubicBezTo>
                      <a:pt x="4" y="102"/>
                      <a:pt x="0" y="86"/>
                      <a:pt x="0" y="66"/>
                    </a:cubicBezTo>
                    <a:cubicBezTo>
                      <a:pt x="0" y="42"/>
                      <a:pt x="5" y="25"/>
                      <a:pt x="15" y="14"/>
                    </a:cubicBezTo>
                    <a:cubicBezTo>
                      <a:pt x="23" y="5"/>
                      <a:pt x="35" y="0"/>
                      <a:pt x="49" y="0"/>
                    </a:cubicBezTo>
                    <a:cubicBezTo>
                      <a:pt x="66" y="0"/>
                      <a:pt x="79" y="6"/>
                      <a:pt x="87" y="18"/>
                    </a:cubicBezTo>
                    <a:cubicBezTo>
                      <a:pt x="95" y="29"/>
                      <a:pt x="99" y="45"/>
                      <a:pt x="99" y="66"/>
                    </a:cubicBezTo>
                    <a:cubicBezTo>
                      <a:pt x="99" y="89"/>
                      <a:pt x="94" y="106"/>
                      <a:pt x="84" y="117"/>
                    </a:cubicBezTo>
                    <a:cubicBezTo>
                      <a:pt x="75" y="127"/>
                      <a:pt x="64" y="131"/>
                      <a:pt x="49" y="131"/>
                    </a:cubicBezTo>
                    <a:close/>
                    <a:moveTo>
                      <a:pt x="49" y="108"/>
                    </a:moveTo>
                    <a:cubicBezTo>
                      <a:pt x="54" y="108"/>
                      <a:pt x="58" y="105"/>
                      <a:pt x="60" y="98"/>
                    </a:cubicBezTo>
                    <a:cubicBezTo>
                      <a:pt x="63" y="91"/>
                      <a:pt x="64" y="81"/>
                      <a:pt x="64" y="66"/>
                    </a:cubicBezTo>
                    <a:cubicBezTo>
                      <a:pt x="64" y="49"/>
                      <a:pt x="62" y="38"/>
                      <a:pt x="60" y="31"/>
                    </a:cubicBezTo>
                    <a:cubicBezTo>
                      <a:pt x="57" y="26"/>
                      <a:pt x="54" y="23"/>
                      <a:pt x="49" y="23"/>
                    </a:cubicBezTo>
                    <a:cubicBezTo>
                      <a:pt x="44" y="23"/>
                      <a:pt x="41" y="27"/>
                      <a:pt x="39" y="33"/>
                    </a:cubicBezTo>
                    <a:cubicBezTo>
                      <a:pt x="36" y="40"/>
                      <a:pt x="35" y="51"/>
                      <a:pt x="35" y="66"/>
                    </a:cubicBezTo>
                    <a:cubicBezTo>
                      <a:pt x="35" y="83"/>
                      <a:pt x="37" y="94"/>
                      <a:pt x="39" y="100"/>
                    </a:cubicBezTo>
                    <a:cubicBezTo>
                      <a:pt x="42" y="105"/>
                      <a:pt x="45" y="108"/>
                      <a:pt x="49" y="10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1" name="Freeform 54"/>
              <p:cNvSpPr>
                <a:spLocks/>
              </p:cNvSpPr>
              <p:nvPr/>
            </p:nvSpPr>
            <p:spPr bwMode="auto">
              <a:xfrm>
                <a:off x="5276850" y="7151687"/>
                <a:ext cx="236537" cy="473075"/>
              </a:xfrm>
              <a:custGeom>
                <a:avLst/>
                <a:gdLst>
                  <a:gd name="T0" fmla="*/ 67 w 149"/>
                  <a:gd name="T1" fmla="*/ 298 h 298"/>
                  <a:gd name="T2" fmla="*/ 67 w 149"/>
                  <a:gd name="T3" fmla="*/ 76 h 298"/>
                  <a:gd name="T4" fmla="*/ 0 w 149"/>
                  <a:gd name="T5" fmla="*/ 109 h 298"/>
                  <a:gd name="T6" fmla="*/ 0 w 149"/>
                  <a:gd name="T7" fmla="*/ 36 h 298"/>
                  <a:gd name="T8" fmla="*/ 74 w 149"/>
                  <a:gd name="T9" fmla="*/ 0 h 298"/>
                  <a:gd name="T10" fmla="*/ 149 w 149"/>
                  <a:gd name="T11" fmla="*/ 0 h 298"/>
                  <a:gd name="T12" fmla="*/ 149 w 149"/>
                  <a:gd name="T13" fmla="*/ 298 h 298"/>
                  <a:gd name="T14" fmla="*/ 67 w 149"/>
                  <a:gd name="T15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" h="298">
                    <a:moveTo>
                      <a:pt x="67" y="298"/>
                    </a:moveTo>
                    <a:lnTo>
                      <a:pt x="67" y="76"/>
                    </a:lnTo>
                    <a:lnTo>
                      <a:pt x="0" y="109"/>
                    </a:lnTo>
                    <a:lnTo>
                      <a:pt x="0" y="36"/>
                    </a:lnTo>
                    <a:lnTo>
                      <a:pt x="74" y="0"/>
                    </a:lnTo>
                    <a:lnTo>
                      <a:pt x="149" y="0"/>
                    </a:lnTo>
                    <a:lnTo>
                      <a:pt x="149" y="298"/>
                    </a:lnTo>
                    <a:lnTo>
                      <a:pt x="67" y="29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2" name="Freeform 55"/>
              <p:cNvSpPr>
                <a:spLocks noEditPoints="1"/>
              </p:cNvSpPr>
              <p:nvPr/>
            </p:nvSpPr>
            <p:spPr bwMode="auto">
              <a:xfrm>
                <a:off x="5776912" y="7140574"/>
                <a:ext cx="373062" cy="492125"/>
              </a:xfrm>
              <a:custGeom>
                <a:avLst/>
                <a:gdLst>
                  <a:gd name="T0" fmla="*/ 49 w 99"/>
                  <a:gd name="T1" fmla="*/ 131 h 131"/>
                  <a:gd name="T2" fmla="*/ 12 w 99"/>
                  <a:gd name="T3" fmla="*/ 113 h 131"/>
                  <a:gd name="T4" fmla="*/ 0 w 99"/>
                  <a:gd name="T5" fmla="*/ 66 h 131"/>
                  <a:gd name="T6" fmla="*/ 15 w 99"/>
                  <a:gd name="T7" fmla="*/ 14 h 131"/>
                  <a:gd name="T8" fmla="*/ 49 w 99"/>
                  <a:gd name="T9" fmla="*/ 0 h 131"/>
                  <a:gd name="T10" fmla="*/ 88 w 99"/>
                  <a:gd name="T11" fmla="*/ 18 h 131"/>
                  <a:gd name="T12" fmla="*/ 99 w 99"/>
                  <a:gd name="T13" fmla="*/ 66 h 131"/>
                  <a:gd name="T14" fmla="*/ 84 w 99"/>
                  <a:gd name="T15" fmla="*/ 117 h 131"/>
                  <a:gd name="T16" fmla="*/ 49 w 99"/>
                  <a:gd name="T17" fmla="*/ 131 h 131"/>
                  <a:gd name="T18" fmla="*/ 49 w 99"/>
                  <a:gd name="T19" fmla="*/ 108 h 131"/>
                  <a:gd name="T20" fmla="*/ 61 w 99"/>
                  <a:gd name="T21" fmla="*/ 98 h 131"/>
                  <a:gd name="T22" fmla="*/ 64 w 99"/>
                  <a:gd name="T23" fmla="*/ 66 h 131"/>
                  <a:gd name="T24" fmla="*/ 60 w 99"/>
                  <a:gd name="T25" fmla="*/ 31 h 131"/>
                  <a:gd name="T26" fmla="*/ 49 w 99"/>
                  <a:gd name="T27" fmla="*/ 23 h 131"/>
                  <a:gd name="T28" fmla="*/ 39 w 99"/>
                  <a:gd name="T29" fmla="*/ 33 h 131"/>
                  <a:gd name="T30" fmla="*/ 35 w 99"/>
                  <a:gd name="T31" fmla="*/ 66 h 131"/>
                  <a:gd name="T32" fmla="*/ 40 w 99"/>
                  <a:gd name="T33" fmla="*/ 100 h 131"/>
                  <a:gd name="T34" fmla="*/ 49 w 99"/>
                  <a:gd name="T35" fmla="*/ 108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" h="131">
                    <a:moveTo>
                      <a:pt x="49" y="131"/>
                    </a:moveTo>
                    <a:cubicBezTo>
                      <a:pt x="33" y="131"/>
                      <a:pt x="20" y="125"/>
                      <a:pt x="12" y="113"/>
                    </a:cubicBezTo>
                    <a:cubicBezTo>
                      <a:pt x="4" y="102"/>
                      <a:pt x="0" y="86"/>
                      <a:pt x="0" y="66"/>
                    </a:cubicBezTo>
                    <a:cubicBezTo>
                      <a:pt x="0" y="42"/>
                      <a:pt x="5" y="25"/>
                      <a:pt x="15" y="14"/>
                    </a:cubicBezTo>
                    <a:cubicBezTo>
                      <a:pt x="23" y="5"/>
                      <a:pt x="35" y="0"/>
                      <a:pt x="49" y="0"/>
                    </a:cubicBezTo>
                    <a:cubicBezTo>
                      <a:pt x="66" y="0"/>
                      <a:pt x="79" y="6"/>
                      <a:pt x="88" y="18"/>
                    </a:cubicBezTo>
                    <a:cubicBezTo>
                      <a:pt x="95" y="29"/>
                      <a:pt x="99" y="45"/>
                      <a:pt x="99" y="66"/>
                    </a:cubicBezTo>
                    <a:cubicBezTo>
                      <a:pt x="99" y="89"/>
                      <a:pt x="94" y="106"/>
                      <a:pt x="84" y="117"/>
                    </a:cubicBezTo>
                    <a:cubicBezTo>
                      <a:pt x="76" y="127"/>
                      <a:pt x="64" y="131"/>
                      <a:pt x="49" y="131"/>
                    </a:cubicBezTo>
                    <a:close/>
                    <a:moveTo>
                      <a:pt x="49" y="108"/>
                    </a:moveTo>
                    <a:cubicBezTo>
                      <a:pt x="55" y="108"/>
                      <a:pt x="58" y="105"/>
                      <a:pt x="61" y="98"/>
                    </a:cubicBezTo>
                    <a:cubicBezTo>
                      <a:pt x="63" y="91"/>
                      <a:pt x="64" y="81"/>
                      <a:pt x="64" y="66"/>
                    </a:cubicBezTo>
                    <a:cubicBezTo>
                      <a:pt x="64" y="49"/>
                      <a:pt x="63" y="38"/>
                      <a:pt x="60" y="31"/>
                    </a:cubicBezTo>
                    <a:cubicBezTo>
                      <a:pt x="57" y="26"/>
                      <a:pt x="54" y="23"/>
                      <a:pt x="49" y="23"/>
                    </a:cubicBezTo>
                    <a:cubicBezTo>
                      <a:pt x="45" y="23"/>
                      <a:pt x="41" y="27"/>
                      <a:pt x="39" y="33"/>
                    </a:cubicBezTo>
                    <a:cubicBezTo>
                      <a:pt x="37" y="40"/>
                      <a:pt x="35" y="51"/>
                      <a:pt x="35" y="66"/>
                    </a:cubicBezTo>
                    <a:cubicBezTo>
                      <a:pt x="35" y="83"/>
                      <a:pt x="37" y="94"/>
                      <a:pt x="40" y="100"/>
                    </a:cubicBezTo>
                    <a:cubicBezTo>
                      <a:pt x="42" y="105"/>
                      <a:pt x="45" y="108"/>
                      <a:pt x="49" y="108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3" name="Freeform 56"/>
              <p:cNvSpPr>
                <a:spLocks/>
              </p:cNvSpPr>
              <p:nvPr/>
            </p:nvSpPr>
            <p:spPr bwMode="auto">
              <a:xfrm>
                <a:off x="6356350" y="7151687"/>
                <a:ext cx="236537" cy="473075"/>
              </a:xfrm>
              <a:custGeom>
                <a:avLst/>
                <a:gdLst>
                  <a:gd name="T0" fmla="*/ 66 w 149"/>
                  <a:gd name="T1" fmla="*/ 298 h 298"/>
                  <a:gd name="T2" fmla="*/ 66 w 149"/>
                  <a:gd name="T3" fmla="*/ 76 h 298"/>
                  <a:gd name="T4" fmla="*/ 0 w 149"/>
                  <a:gd name="T5" fmla="*/ 109 h 298"/>
                  <a:gd name="T6" fmla="*/ 0 w 149"/>
                  <a:gd name="T7" fmla="*/ 36 h 298"/>
                  <a:gd name="T8" fmla="*/ 73 w 149"/>
                  <a:gd name="T9" fmla="*/ 0 h 298"/>
                  <a:gd name="T10" fmla="*/ 149 w 149"/>
                  <a:gd name="T11" fmla="*/ 0 h 298"/>
                  <a:gd name="T12" fmla="*/ 149 w 149"/>
                  <a:gd name="T13" fmla="*/ 298 h 298"/>
                  <a:gd name="T14" fmla="*/ 66 w 149"/>
                  <a:gd name="T15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" h="298">
                    <a:moveTo>
                      <a:pt x="66" y="298"/>
                    </a:moveTo>
                    <a:lnTo>
                      <a:pt x="66" y="76"/>
                    </a:lnTo>
                    <a:lnTo>
                      <a:pt x="0" y="109"/>
                    </a:lnTo>
                    <a:lnTo>
                      <a:pt x="0" y="36"/>
                    </a:lnTo>
                    <a:lnTo>
                      <a:pt x="73" y="0"/>
                    </a:lnTo>
                    <a:lnTo>
                      <a:pt x="149" y="0"/>
                    </a:lnTo>
                    <a:lnTo>
                      <a:pt x="149" y="298"/>
                    </a:lnTo>
                    <a:lnTo>
                      <a:pt x="66" y="29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4" name="Freeform 57"/>
              <p:cNvSpPr>
                <a:spLocks noEditPoints="1"/>
              </p:cNvSpPr>
              <p:nvPr/>
            </p:nvSpPr>
            <p:spPr bwMode="auto">
              <a:xfrm>
                <a:off x="6856412" y="7140574"/>
                <a:ext cx="374650" cy="492125"/>
              </a:xfrm>
              <a:custGeom>
                <a:avLst/>
                <a:gdLst>
                  <a:gd name="T0" fmla="*/ 50 w 100"/>
                  <a:gd name="T1" fmla="*/ 131 h 131"/>
                  <a:gd name="T2" fmla="*/ 12 w 100"/>
                  <a:gd name="T3" fmla="*/ 113 h 131"/>
                  <a:gd name="T4" fmla="*/ 0 w 100"/>
                  <a:gd name="T5" fmla="*/ 66 h 131"/>
                  <a:gd name="T6" fmla="*/ 15 w 100"/>
                  <a:gd name="T7" fmla="*/ 14 h 131"/>
                  <a:gd name="T8" fmla="*/ 50 w 100"/>
                  <a:gd name="T9" fmla="*/ 0 h 131"/>
                  <a:gd name="T10" fmla="*/ 88 w 100"/>
                  <a:gd name="T11" fmla="*/ 18 h 131"/>
                  <a:gd name="T12" fmla="*/ 100 w 100"/>
                  <a:gd name="T13" fmla="*/ 66 h 131"/>
                  <a:gd name="T14" fmla="*/ 84 w 100"/>
                  <a:gd name="T15" fmla="*/ 117 h 131"/>
                  <a:gd name="T16" fmla="*/ 50 w 100"/>
                  <a:gd name="T17" fmla="*/ 131 h 131"/>
                  <a:gd name="T18" fmla="*/ 50 w 100"/>
                  <a:gd name="T19" fmla="*/ 108 h 131"/>
                  <a:gd name="T20" fmla="*/ 61 w 100"/>
                  <a:gd name="T21" fmla="*/ 98 h 131"/>
                  <a:gd name="T22" fmla="*/ 64 w 100"/>
                  <a:gd name="T23" fmla="*/ 66 h 131"/>
                  <a:gd name="T24" fmla="*/ 60 w 100"/>
                  <a:gd name="T25" fmla="*/ 31 h 131"/>
                  <a:gd name="T26" fmla="*/ 50 w 100"/>
                  <a:gd name="T27" fmla="*/ 23 h 131"/>
                  <a:gd name="T28" fmla="*/ 39 w 100"/>
                  <a:gd name="T29" fmla="*/ 33 h 131"/>
                  <a:gd name="T30" fmla="*/ 36 w 100"/>
                  <a:gd name="T31" fmla="*/ 66 h 131"/>
                  <a:gd name="T32" fmla="*/ 40 w 100"/>
                  <a:gd name="T33" fmla="*/ 100 h 131"/>
                  <a:gd name="T34" fmla="*/ 50 w 100"/>
                  <a:gd name="T35" fmla="*/ 108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0" h="131">
                    <a:moveTo>
                      <a:pt x="50" y="131"/>
                    </a:moveTo>
                    <a:cubicBezTo>
                      <a:pt x="33" y="131"/>
                      <a:pt x="20" y="125"/>
                      <a:pt x="12" y="113"/>
                    </a:cubicBezTo>
                    <a:cubicBezTo>
                      <a:pt x="4" y="102"/>
                      <a:pt x="0" y="86"/>
                      <a:pt x="0" y="66"/>
                    </a:cubicBezTo>
                    <a:cubicBezTo>
                      <a:pt x="0" y="42"/>
                      <a:pt x="5" y="25"/>
                      <a:pt x="15" y="14"/>
                    </a:cubicBezTo>
                    <a:cubicBezTo>
                      <a:pt x="23" y="5"/>
                      <a:pt x="35" y="0"/>
                      <a:pt x="50" y="0"/>
                    </a:cubicBezTo>
                    <a:cubicBezTo>
                      <a:pt x="67" y="0"/>
                      <a:pt x="79" y="6"/>
                      <a:pt x="88" y="18"/>
                    </a:cubicBezTo>
                    <a:cubicBezTo>
                      <a:pt x="96" y="29"/>
                      <a:pt x="100" y="45"/>
                      <a:pt x="100" y="66"/>
                    </a:cubicBezTo>
                    <a:cubicBezTo>
                      <a:pt x="100" y="89"/>
                      <a:pt x="94" y="106"/>
                      <a:pt x="84" y="117"/>
                    </a:cubicBezTo>
                    <a:cubicBezTo>
                      <a:pt x="76" y="127"/>
                      <a:pt x="64" y="131"/>
                      <a:pt x="50" y="131"/>
                    </a:cubicBezTo>
                    <a:close/>
                    <a:moveTo>
                      <a:pt x="50" y="108"/>
                    </a:moveTo>
                    <a:cubicBezTo>
                      <a:pt x="55" y="108"/>
                      <a:pt x="59" y="105"/>
                      <a:pt x="61" y="98"/>
                    </a:cubicBezTo>
                    <a:cubicBezTo>
                      <a:pt x="63" y="91"/>
                      <a:pt x="64" y="81"/>
                      <a:pt x="64" y="66"/>
                    </a:cubicBezTo>
                    <a:cubicBezTo>
                      <a:pt x="64" y="49"/>
                      <a:pt x="63" y="38"/>
                      <a:pt x="60" y="31"/>
                    </a:cubicBezTo>
                    <a:cubicBezTo>
                      <a:pt x="58" y="26"/>
                      <a:pt x="54" y="23"/>
                      <a:pt x="50" y="23"/>
                    </a:cubicBezTo>
                    <a:cubicBezTo>
                      <a:pt x="45" y="23"/>
                      <a:pt x="41" y="27"/>
                      <a:pt x="39" y="33"/>
                    </a:cubicBezTo>
                    <a:cubicBezTo>
                      <a:pt x="37" y="40"/>
                      <a:pt x="36" y="51"/>
                      <a:pt x="36" y="66"/>
                    </a:cubicBezTo>
                    <a:cubicBezTo>
                      <a:pt x="36" y="83"/>
                      <a:pt x="37" y="94"/>
                      <a:pt x="40" y="100"/>
                    </a:cubicBezTo>
                    <a:cubicBezTo>
                      <a:pt x="42" y="105"/>
                      <a:pt x="45" y="108"/>
                      <a:pt x="50" y="10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5" name="Freeform 58"/>
              <p:cNvSpPr>
                <a:spLocks noEditPoints="1"/>
              </p:cNvSpPr>
              <p:nvPr/>
            </p:nvSpPr>
            <p:spPr bwMode="auto">
              <a:xfrm>
                <a:off x="7397750" y="7140574"/>
                <a:ext cx="371475" cy="492125"/>
              </a:xfrm>
              <a:custGeom>
                <a:avLst/>
                <a:gdLst>
                  <a:gd name="T0" fmla="*/ 49 w 99"/>
                  <a:gd name="T1" fmla="*/ 131 h 131"/>
                  <a:gd name="T2" fmla="*/ 12 w 99"/>
                  <a:gd name="T3" fmla="*/ 113 h 131"/>
                  <a:gd name="T4" fmla="*/ 0 w 99"/>
                  <a:gd name="T5" fmla="*/ 66 h 131"/>
                  <a:gd name="T6" fmla="*/ 15 w 99"/>
                  <a:gd name="T7" fmla="*/ 14 h 131"/>
                  <a:gd name="T8" fmla="*/ 49 w 99"/>
                  <a:gd name="T9" fmla="*/ 0 h 131"/>
                  <a:gd name="T10" fmla="*/ 87 w 99"/>
                  <a:gd name="T11" fmla="*/ 18 h 131"/>
                  <a:gd name="T12" fmla="*/ 99 w 99"/>
                  <a:gd name="T13" fmla="*/ 66 h 131"/>
                  <a:gd name="T14" fmla="*/ 84 w 99"/>
                  <a:gd name="T15" fmla="*/ 117 h 131"/>
                  <a:gd name="T16" fmla="*/ 49 w 99"/>
                  <a:gd name="T17" fmla="*/ 131 h 131"/>
                  <a:gd name="T18" fmla="*/ 49 w 99"/>
                  <a:gd name="T19" fmla="*/ 108 h 131"/>
                  <a:gd name="T20" fmla="*/ 60 w 99"/>
                  <a:gd name="T21" fmla="*/ 98 h 131"/>
                  <a:gd name="T22" fmla="*/ 64 w 99"/>
                  <a:gd name="T23" fmla="*/ 66 h 131"/>
                  <a:gd name="T24" fmla="*/ 59 w 99"/>
                  <a:gd name="T25" fmla="*/ 31 h 131"/>
                  <a:gd name="T26" fmla="*/ 49 w 99"/>
                  <a:gd name="T27" fmla="*/ 23 h 131"/>
                  <a:gd name="T28" fmla="*/ 39 w 99"/>
                  <a:gd name="T29" fmla="*/ 33 h 131"/>
                  <a:gd name="T30" fmla="*/ 35 w 99"/>
                  <a:gd name="T31" fmla="*/ 66 h 131"/>
                  <a:gd name="T32" fmla="*/ 39 w 99"/>
                  <a:gd name="T33" fmla="*/ 100 h 131"/>
                  <a:gd name="T34" fmla="*/ 49 w 99"/>
                  <a:gd name="T35" fmla="*/ 108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" h="131">
                    <a:moveTo>
                      <a:pt x="49" y="131"/>
                    </a:moveTo>
                    <a:cubicBezTo>
                      <a:pt x="33" y="131"/>
                      <a:pt x="20" y="125"/>
                      <a:pt x="12" y="113"/>
                    </a:cubicBezTo>
                    <a:cubicBezTo>
                      <a:pt x="4" y="102"/>
                      <a:pt x="0" y="86"/>
                      <a:pt x="0" y="66"/>
                    </a:cubicBezTo>
                    <a:cubicBezTo>
                      <a:pt x="0" y="42"/>
                      <a:pt x="5" y="25"/>
                      <a:pt x="15" y="14"/>
                    </a:cubicBezTo>
                    <a:cubicBezTo>
                      <a:pt x="23" y="5"/>
                      <a:pt x="35" y="0"/>
                      <a:pt x="49" y="0"/>
                    </a:cubicBezTo>
                    <a:cubicBezTo>
                      <a:pt x="66" y="0"/>
                      <a:pt x="79" y="6"/>
                      <a:pt x="87" y="18"/>
                    </a:cubicBezTo>
                    <a:cubicBezTo>
                      <a:pt x="95" y="29"/>
                      <a:pt x="99" y="45"/>
                      <a:pt x="99" y="66"/>
                    </a:cubicBezTo>
                    <a:cubicBezTo>
                      <a:pt x="99" y="89"/>
                      <a:pt x="94" y="106"/>
                      <a:pt x="84" y="117"/>
                    </a:cubicBezTo>
                    <a:cubicBezTo>
                      <a:pt x="75" y="127"/>
                      <a:pt x="64" y="131"/>
                      <a:pt x="49" y="131"/>
                    </a:cubicBezTo>
                    <a:close/>
                    <a:moveTo>
                      <a:pt x="49" y="108"/>
                    </a:moveTo>
                    <a:cubicBezTo>
                      <a:pt x="54" y="108"/>
                      <a:pt x="58" y="105"/>
                      <a:pt x="60" y="98"/>
                    </a:cubicBezTo>
                    <a:cubicBezTo>
                      <a:pt x="63" y="91"/>
                      <a:pt x="64" y="81"/>
                      <a:pt x="64" y="66"/>
                    </a:cubicBezTo>
                    <a:cubicBezTo>
                      <a:pt x="64" y="49"/>
                      <a:pt x="62" y="38"/>
                      <a:pt x="59" y="31"/>
                    </a:cubicBezTo>
                    <a:cubicBezTo>
                      <a:pt x="57" y="26"/>
                      <a:pt x="54" y="23"/>
                      <a:pt x="49" y="23"/>
                    </a:cubicBezTo>
                    <a:cubicBezTo>
                      <a:pt x="44" y="23"/>
                      <a:pt x="41" y="27"/>
                      <a:pt x="39" y="33"/>
                    </a:cubicBezTo>
                    <a:cubicBezTo>
                      <a:pt x="36" y="40"/>
                      <a:pt x="35" y="51"/>
                      <a:pt x="35" y="66"/>
                    </a:cubicBezTo>
                    <a:cubicBezTo>
                      <a:pt x="35" y="83"/>
                      <a:pt x="37" y="94"/>
                      <a:pt x="39" y="100"/>
                    </a:cubicBezTo>
                    <a:cubicBezTo>
                      <a:pt x="42" y="105"/>
                      <a:pt x="45" y="108"/>
                      <a:pt x="49" y="10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6" name="Freeform 59"/>
              <p:cNvSpPr>
                <a:spLocks/>
              </p:cNvSpPr>
              <p:nvPr/>
            </p:nvSpPr>
            <p:spPr bwMode="auto">
              <a:xfrm>
                <a:off x="3657600" y="7959724"/>
                <a:ext cx="236537" cy="473075"/>
              </a:xfrm>
              <a:custGeom>
                <a:avLst/>
                <a:gdLst>
                  <a:gd name="T0" fmla="*/ 66 w 149"/>
                  <a:gd name="T1" fmla="*/ 298 h 298"/>
                  <a:gd name="T2" fmla="*/ 66 w 149"/>
                  <a:gd name="T3" fmla="*/ 76 h 298"/>
                  <a:gd name="T4" fmla="*/ 0 w 149"/>
                  <a:gd name="T5" fmla="*/ 109 h 298"/>
                  <a:gd name="T6" fmla="*/ 0 w 149"/>
                  <a:gd name="T7" fmla="*/ 38 h 298"/>
                  <a:gd name="T8" fmla="*/ 73 w 149"/>
                  <a:gd name="T9" fmla="*/ 0 h 298"/>
                  <a:gd name="T10" fmla="*/ 149 w 149"/>
                  <a:gd name="T11" fmla="*/ 0 h 298"/>
                  <a:gd name="T12" fmla="*/ 149 w 149"/>
                  <a:gd name="T13" fmla="*/ 298 h 298"/>
                  <a:gd name="T14" fmla="*/ 66 w 149"/>
                  <a:gd name="T15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" h="298">
                    <a:moveTo>
                      <a:pt x="66" y="298"/>
                    </a:moveTo>
                    <a:lnTo>
                      <a:pt x="66" y="76"/>
                    </a:lnTo>
                    <a:lnTo>
                      <a:pt x="0" y="109"/>
                    </a:lnTo>
                    <a:lnTo>
                      <a:pt x="0" y="38"/>
                    </a:lnTo>
                    <a:lnTo>
                      <a:pt x="73" y="0"/>
                    </a:lnTo>
                    <a:lnTo>
                      <a:pt x="149" y="0"/>
                    </a:lnTo>
                    <a:lnTo>
                      <a:pt x="149" y="298"/>
                    </a:lnTo>
                    <a:lnTo>
                      <a:pt x="66" y="29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7" name="Freeform 60"/>
              <p:cNvSpPr>
                <a:spLocks noEditPoints="1"/>
              </p:cNvSpPr>
              <p:nvPr/>
            </p:nvSpPr>
            <p:spPr bwMode="auto">
              <a:xfrm>
                <a:off x="4157662" y="7951787"/>
                <a:ext cx="376237" cy="493713"/>
              </a:xfrm>
              <a:custGeom>
                <a:avLst/>
                <a:gdLst>
                  <a:gd name="T0" fmla="*/ 50 w 100"/>
                  <a:gd name="T1" fmla="*/ 131 h 131"/>
                  <a:gd name="T2" fmla="*/ 12 w 100"/>
                  <a:gd name="T3" fmla="*/ 112 h 131"/>
                  <a:gd name="T4" fmla="*/ 0 w 100"/>
                  <a:gd name="T5" fmla="*/ 65 h 131"/>
                  <a:gd name="T6" fmla="*/ 15 w 100"/>
                  <a:gd name="T7" fmla="*/ 13 h 131"/>
                  <a:gd name="T8" fmla="*/ 50 w 100"/>
                  <a:gd name="T9" fmla="*/ 0 h 131"/>
                  <a:gd name="T10" fmla="*/ 88 w 100"/>
                  <a:gd name="T11" fmla="*/ 18 h 131"/>
                  <a:gd name="T12" fmla="*/ 100 w 100"/>
                  <a:gd name="T13" fmla="*/ 65 h 131"/>
                  <a:gd name="T14" fmla="*/ 84 w 100"/>
                  <a:gd name="T15" fmla="*/ 117 h 131"/>
                  <a:gd name="T16" fmla="*/ 50 w 100"/>
                  <a:gd name="T17" fmla="*/ 131 h 131"/>
                  <a:gd name="T18" fmla="*/ 50 w 100"/>
                  <a:gd name="T19" fmla="*/ 107 h 131"/>
                  <a:gd name="T20" fmla="*/ 61 w 100"/>
                  <a:gd name="T21" fmla="*/ 97 h 131"/>
                  <a:gd name="T22" fmla="*/ 64 w 100"/>
                  <a:gd name="T23" fmla="*/ 65 h 131"/>
                  <a:gd name="T24" fmla="*/ 60 w 100"/>
                  <a:gd name="T25" fmla="*/ 30 h 131"/>
                  <a:gd name="T26" fmla="*/ 50 w 100"/>
                  <a:gd name="T27" fmla="*/ 23 h 131"/>
                  <a:gd name="T28" fmla="*/ 39 w 100"/>
                  <a:gd name="T29" fmla="*/ 33 h 131"/>
                  <a:gd name="T30" fmla="*/ 36 w 100"/>
                  <a:gd name="T31" fmla="*/ 65 h 131"/>
                  <a:gd name="T32" fmla="*/ 40 w 100"/>
                  <a:gd name="T33" fmla="*/ 100 h 131"/>
                  <a:gd name="T34" fmla="*/ 50 w 100"/>
                  <a:gd name="T35" fmla="*/ 10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0" h="131">
                    <a:moveTo>
                      <a:pt x="50" y="131"/>
                    </a:moveTo>
                    <a:cubicBezTo>
                      <a:pt x="33" y="131"/>
                      <a:pt x="20" y="125"/>
                      <a:pt x="12" y="112"/>
                    </a:cubicBezTo>
                    <a:cubicBezTo>
                      <a:pt x="4" y="101"/>
                      <a:pt x="0" y="86"/>
                      <a:pt x="0" y="65"/>
                    </a:cubicBezTo>
                    <a:cubicBezTo>
                      <a:pt x="0" y="42"/>
                      <a:pt x="5" y="24"/>
                      <a:pt x="15" y="13"/>
                    </a:cubicBezTo>
                    <a:cubicBezTo>
                      <a:pt x="23" y="4"/>
                      <a:pt x="35" y="0"/>
                      <a:pt x="50" y="0"/>
                    </a:cubicBezTo>
                    <a:cubicBezTo>
                      <a:pt x="67" y="0"/>
                      <a:pt x="79" y="6"/>
                      <a:pt x="88" y="18"/>
                    </a:cubicBezTo>
                    <a:cubicBezTo>
                      <a:pt x="96" y="29"/>
                      <a:pt x="100" y="45"/>
                      <a:pt x="100" y="65"/>
                    </a:cubicBezTo>
                    <a:cubicBezTo>
                      <a:pt x="100" y="89"/>
                      <a:pt x="94" y="106"/>
                      <a:pt x="84" y="117"/>
                    </a:cubicBezTo>
                    <a:cubicBezTo>
                      <a:pt x="76" y="126"/>
                      <a:pt x="64" y="131"/>
                      <a:pt x="50" y="131"/>
                    </a:cubicBezTo>
                    <a:close/>
                    <a:moveTo>
                      <a:pt x="50" y="107"/>
                    </a:moveTo>
                    <a:cubicBezTo>
                      <a:pt x="55" y="107"/>
                      <a:pt x="59" y="104"/>
                      <a:pt x="61" y="97"/>
                    </a:cubicBezTo>
                    <a:cubicBezTo>
                      <a:pt x="63" y="91"/>
                      <a:pt x="64" y="80"/>
                      <a:pt x="64" y="65"/>
                    </a:cubicBezTo>
                    <a:cubicBezTo>
                      <a:pt x="64" y="49"/>
                      <a:pt x="63" y="37"/>
                      <a:pt x="60" y="30"/>
                    </a:cubicBezTo>
                    <a:cubicBezTo>
                      <a:pt x="58" y="25"/>
                      <a:pt x="54" y="23"/>
                      <a:pt x="50" y="23"/>
                    </a:cubicBezTo>
                    <a:cubicBezTo>
                      <a:pt x="45" y="23"/>
                      <a:pt x="41" y="26"/>
                      <a:pt x="39" y="33"/>
                    </a:cubicBezTo>
                    <a:cubicBezTo>
                      <a:pt x="37" y="39"/>
                      <a:pt x="36" y="50"/>
                      <a:pt x="36" y="65"/>
                    </a:cubicBezTo>
                    <a:cubicBezTo>
                      <a:pt x="36" y="82"/>
                      <a:pt x="37" y="93"/>
                      <a:pt x="40" y="100"/>
                    </a:cubicBezTo>
                    <a:cubicBezTo>
                      <a:pt x="42" y="105"/>
                      <a:pt x="45" y="107"/>
                      <a:pt x="50" y="107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8" name="Freeform 61"/>
              <p:cNvSpPr>
                <a:spLocks/>
              </p:cNvSpPr>
              <p:nvPr/>
            </p:nvSpPr>
            <p:spPr bwMode="auto">
              <a:xfrm>
                <a:off x="4740275" y="7959724"/>
                <a:ext cx="233362" cy="473075"/>
              </a:xfrm>
              <a:custGeom>
                <a:avLst/>
                <a:gdLst>
                  <a:gd name="T0" fmla="*/ 64 w 147"/>
                  <a:gd name="T1" fmla="*/ 298 h 298"/>
                  <a:gd name="T2" fmla="*/ 64 w 147"/>
                  <a:gd name="T3" fmla="*/ 76 h 298"/>
                  <a:gd name="T4" fmla="*/ 0 w 147"/>
                  <a:gd name="T5" fmla="*/ 109 h 298"/>
                  <a:gd name="T6" fmla="*/ 0 w 147"/>
                  <a:gd name="T7" fmla="*/ 38 h 298"/>
                  <a:gd name="T8" fmla="*/ 71 w 147"/>
                  <a:gd name="T9" fmla="*/ 0 h 298"/>
                  <a:gd name="T10" fmla="*/ 147 w 147"/>
                  <a:gd name="T11" fmla="*/ 0 h 298"/>
                  <a:gd name="T12" fmla="*/ 147 w 147"/>
                  <a:gd name="T13" fmla="*/ 298 h 298"/>
                  <a:gd name="T14" fmla="*/ 64 w 147"/>
                  <a:gd name="T15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298">
                    <a:moveTo>
                      <a:pt x="64" y="298"/>
                    </a:moveTo>
                    <a:lnTo>
                      <a:pt x="64" y="76"/>
                    </a:lnTo>
                    <a:lnTo>
                      <a:pt x="0" y="109"/>
                    </a:lnTo>
                    <a:lnTo>
                      <a:pt x="0" y="38"/>
                    </a:lnTo>
                    <a:lnTo>
                      <a:pt x="71" y="0"/>
                    </a:lnTo>
                    <a:lnTo>
                      <a:pt x="147" y="0"/>
                    </a:lnTo>
                    <a:lnTo>
                      <a:pt x="147" y="298"/>
                    </a:lnTo>
                    <a:lnTo>
                      <a:pt x="64" y="298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39" name="Freeform 62"/>
              <p:cNvSpPr>
                <a:spLocks noEditPoints="1"/>
              </p:cNvSpPr>
              <p:nvPr/>
            </p:nvSpPr>
            <p:spPr bwMode="auto">
              <a:xfrm>
                <a:off x="5235575" y="7951787"/>
                <a:ext cx="376237" cy="493713"/>
              </a:xfrm>
              <a:custGeom>
                <a:avLst/>
                <a:gdLst>
                  <a:gd name="T0" fmla="*/ 50 w 100"/>
                  <a:gd name="T1" fmla="*/ 131 h 131"/>
                  <a:gd name="T2" fmla="*/ 12 w 100"/>
                  <a:gd name="T3" fmla="*/ 112 h 131"/>
                  <a:gd name="T4" fmla="*/ 0 w 100"/>
                  <a:gd name="T5" fmla="*/ 65 h 131"/>
                  <a:gd name="T6" fmla="*/ 15 w 100"/>
                  <a:gd name="T7" fmla="*/ 13 h 131"/>
                  <a:gd name="T8" fmla="*/ 50 w 100"/>
                  <a:gd name="T9" fmla="*/ 0 h 131"/>
                  <a:gd name="T10" fmla="*/ 88 w 100"/>
                  <a:gd name="T11" fmla="*/ 18 h 131"/>
                  <a:gd name="T12" fmla="*/ 100 w 100"/>
                  <a:gd name="T13" fmla="*/ 65 h 131"/>
                  <a:gd name="T14" fmla="*/ 85 w 100"/>
                  <a:gd name="T15" fmla="*/ 117 h 131"/>
                  <a:gd name="T16" fmla="*/ 50 w 100"/>
                  <a:gd name="T17" fmla="*/ 131 h 131"/>
                  <a:gd name="T18" fmla="*/ 50 w 100"/>
                  <a:gd name="T19" fmla="*/ 107 h 131"/>
                  <a:gd name="T20" fmla="*/ 61 w 100"/>
                  <a:gd name="T21" fmla="*/ 97 h 131"/>
                  <a:gd name="T22" fmla="*/ 64 w 100"/>
                  <a:gd name="T23" fmla="*/ 65 h 131"/>
                  <a:gd name="T24" fmla="*/ 60 w 100"/>
                  <a:gd name="T25" fmla="*/ 30 h 131"/>
                  <a:gd name="T26" fmla="*/ 50 w 100"/>
                  <a:gd name="T27" fmla="*/ 23 h 131"/>
                  <a:gd name="T28" fmla="*/ 39 w 100"/>
                  <a:gd name="T29" fmla="*/ 33 h 131"/>
                  <a:gd name="T30" fmla="*/ 36 w 100"/>
                  <a:gd name="T31" fmla="*/ 65 h 131"/>
                  <a:gd name="T32" fmla="*/ 40 w 100"/>
                  <a:gd name="T33" fmla="*/ 100 h 131"/>
                  <a:gd name="T34" fmla="*/ 50 w 100"/>
                  <a:gd name="T35" fmla="*/ 10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0" h="131">
                    <a:moveTo>
                      <a:pt x="50" y="131"/>
                    </a:moveTo>
                    <a:cubicBezTo>
                      <a:pt x="33" y="131"/>
                      <a:pt x="21" y="125"/>
                      <a:pt x="12" y="112"/>
                    </a:cubicBezTo>
                    <a:cubicBezTo>
                      <a:pt x="4" y="101"/>
                      <a:pt x="0" y="86"/>
                      <a:pt x="0" y="65"/>
                    </a:cubicBezTo>
                    <a:cubicBezTo>
                      <a:pt x="0" y="42"/>
                      <a:pt x="5" y="24"/>
                      <a:pt x="15" y="13"/>
                    </a:cubicBezTo>
                    <a:cubicBezTo>
                      <a:pt x="24" y="4"/>
                      <a:pt x="35" y="0"/>
                      <a:pt x="50" y="0"/>
                    </a:cubicBezTo>
                    <a:cubicBezTo>
                      <a:pt x="67" y="0"/>
                      <a:pt x="80" y="6"/>
                      <a:pt x="88" y="18"/>
                    </a:cubicBezTo>
                    <a:cubicBezTo>
                      <a:pt x="96" y="29"/>
                      <a:pt x="100" y="45"/>
                      <a:pt x="100" y="65"/>
                    </a:cubicBezTo>
                    <a:cubicBezTo>
                      <a:pt x="100" y="89"/>
                      <a:pt x="95" y="106"/>
                      <a:pt x="85" y="117"/>
                    </a:cubicBezTo>
                    <a:cubicBezTo>
                      <a:pt x="76" y="126"/>
                      <a:pt x="64" y="131"/>
                      <a:pt x="50" y="131"/>
                    </a:cubicBezTo>
                    <a:close/>
                    <a:moveTo>
                      <a:pt x="50" y="107"/>
                    </a:moveTo>
                    <a:cubicBezTo>
                      <a:pt x="55" y="107"/>
                      <a:pt x="59" y="104"/>
                      <a:pt x="61" y="97"/>
                    </a:cubicBezTo>
                    <a:cubicBezTo>
                      <a:pt x="63" y="91"/>
                      <a:pt x="64" y="80"/>
                      <a:pt x="64" y="65"/>
                    </a:cubicBezTo>
                    <a:cubicBezTo>
                      <a:pt x="64" y="49"/>
                      <a:pt x="63" y="37"/>
                      <a:pt x="60" y="30"/>
                    </a:cubicBezTo>
                    <a:cubicBezTo>
                      <a:pt x="58" y="25"/>
                      <a:pt x="54" y="23"/>
                      <a:pt x="50" y="23"/>
                    </a:cubicBezTo>
                    <a:cubicBezTo>
                      <a:pt x="45" y="23"/>
                      <a:pt x="41" y="26"/>
                      <a:pt x="39" y="33"/>
                    </a:cubicBezTo>
                    <a:cubicBezTo>
                      <a:pt x="37" y="39"/>
                      <a:pt x="36" y="50"/>
                      <a:pt x="36" y="65"/>
                    </a:cubicBezTo>
                    <a:cubicBezTo>
                      <a:pt x="36" y="82"/>
                      <a:pt x="37" y="93"/>
                      <a:pt x="40" y="100"/>
                    </a:cubicBezTo>
                    <a:cubicBezTo>
                      <a:pt x="42" y="105"/>
                      <a:pt x="45" y="107"/>
                      <a:pt x="50" y="107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0" name="Freeform 63"/>
              <p:cNvSpPr>
                <a:spLocks/>
              </p:cNvSpPr>
              <p:nvPr/>
            </p:nvSpPr>
            <p:spPr bwMode="auto">
              <a:xfrm>
                <a:off x="5818187" y="7959724"/>
                <a:ext cx="233362" cy="473075"/>
              </a:xfrm>
              <a:custGeom>
                <a:avLst/>
                <a:gdLst>
                  <a:gd name="T0" fmla="*/ 66 w 147"/>
                  <a:gd name="T1" fmla="*/ 298 h 298"/>
                  <a:gd name="T2" fmla="*/ 66 w 147"/>
                  <a:gd name="T3" fmla="*/ 76 h 298"/>
                  <a:gd name="T4" fmla="*/ 0 w 147"/>
                  <a:gd name="T5" fmla="*/ 109 h 298"/>
                  <a:gd name="T6" fmla="*/ 0 w 147"/>
                  <a:gd name="T7" fmla="*/ 38 h 298"/>
                  <a:gd name="T8" fmla="*/ 74 w 147"/>
                  <a:gd name="T9" fmla="*/ 0 h 298"/>
                  <a:gd name="T10" fmla="*/ 147 w 147"/>
                  <a:gd name="T11" fmla="*/ 0 h 298"/>
                  <a:gd name="T12" fmla="*/ 147 w 147"/>
                  <a:gd name="T13" fmla="*/ 298 h 298"/>
                  <a:gd name="T14" fmla="*/ 66 w 147"/>
                  <a:gd name="T15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298">
                    <a:moveTo>
                      <a:pt x="66" y="298"/>
                    </a:moveTo>
                    <a:lnTo>
                      <a:pt x="66" y="76"/>
                    </a:lnTo>
                    <a:lnTo>
                      <a:pt x="0" y="109"/>
                    </a:lnTo>
                    <a:lnTo>
                      <a:pt x="0" y="38"/>
                    </a:lnTo>
                    <a:lnTo>
                      <a:pt x="74" y="0"/>
                    </a:lnTo>
                    <a:lnTo>
                      <a:pt x="147" y="0"/>
                    </a:lnTo>
                    <a:lnTo>
                      <a:pt x="147" y="298"/>
                    </a:lnTo>
                    <a:lnTo>
                      <a:pt x="66" y="29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1" name="Freeform 64"/>
              <p:cNvSpPr>
                <a:spLocks noEditPoints="1"/>
              </p:cNvSpPr>
              <p:nvPr/>
            </p:nvSpPr>
            <p:spPr bwMode="auto">
              <a:xfrm>
                <a:off x="6318250" y="7951787"/>
                <a:ext cx="371475" cy="493713"/>
              </a:xfrm>
              <a:custGeom>
                <a:avLst/>
                <a:gdLst>
                  <a:gd name="T0" fmla="*/ 49 w 99"/>
                  <a:gd name="T1" fmla="*/ 131 h 131"/>
                  <a:gd name="T2" fmla="*/ 11 w 99"/>
                  <a:gd name="T3" fmla="*/ 112 h 131"/>
                  <a:gd name="T4" fmla="*/ 0 w 99"/>
                  <a:gd name="T5" fmla="*/ 65 h 131"/>
                  <a:gd name="T6" fmla="*/ 15 w 99"/>
                  <a:gd name="T7" fmla="*/ 13 h 131"/>
                  <a:gd name="T8" fmla="*/ 49 w 99"/>
                  <a:gd name="T9" fmla="*/ 0 h 131"/>
                  <a:gd name="T10" fmla="*/ 87 w 99"/>
                  <a:gd name="T11" fmla="*/ 18 h 131"/>
                  <a:gd name="T12" fmla="*/ 99 w 99"/>
                  <a:gd name="T13" fmla="*/ 65 h 131"/>
                  <a:gd name="T14" fmla="*/ 84 w 99"/>
                  <a:gd name="T15" fmla="*/ 117 h 131"/>
                  <a:gd name="T16" fmla="*/ 49 w 99"/>
                  <a:gd name="T17" fmla="*/ 131 h 131"/>
                  <a:gd name="T18" fmla="*/ 49 w 99"/>
                  <a:gd name="T19" fmla="*/ 107 h 131"/>
                  <a:gd name="T20" fmla="*/ 60 w 99"/>
                  <a:gd name="T21" fmla="*/ 97 h 131"/>
                  <a:gd name="T22" fmla="*/ 64 w 99"/>
                  <a:gd name="T23" fmla="*/ 65 h 131"/>
                  <a:gd name="T24" fmla="*/ 59 w 99"/>
                  <a:gd name="T25" fmla="*/ 30 h 131"/>
                  <a:gd name="T26" fmla="*/ 49 w 99"/>
                  <a:gd name="T27" fmla="*/ 23 h 131"/>
                  <a:gd name="T28" fmla="*/ 38 w 99"/>
                  <a:gd name="T29" fmla="*/ 33 h 131"/>
                  <a:gd name="T30" fmla="*/ 35 w 99"/>
                  <a:gd name="T31" fmla="*/ 65 h 131"/>
                  <a:gd name="T32" fmla="*/ 39 w 99"/>
                  <a:gd name="T33" fmla="*/ 100 h 131"/>
                  <a:gd name="T34" fmla="*/ 49 w 99"/>
                  <a:gd name="T35" fmla="*/ 10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" h="131">
                    <a:moveTo>
                      <a:pt x="49" y="131"/>
                    </a:moveTo>
                    <a:cubicBezTo>
                      <a:pt x="32" y="131"/>
                      <a:pt x="20" y="125"/>
                      <a:pt x="11" y="112"/>
                    </a:cubicBezTo>
                    <a:cubicBezTo>
                      <a:pt x="3" y="101"/>
                      <a:pt x="0" y="86"/>
                      <a:pt x="0" y="65"/>
                    </a:cubicBezTo>
                    <a:cubicBezTo>
                      <a:pt x="0" y="42"/>
                      <a:pt x="5" y="24"/>
                      <a:pt x="15" y="13"/>
                    </a:cubicBezTo>
                    <a:cubicBezTo>
                      <a:pt x="23" y="4"/>
                      <a:pt x="34" y="0"/>
                      <a:pt x="49" y="0"/>
                    </a:cubicBezTo>
                    <a:cubicBezTo>
                      <a:pt x="66" y="0"/>
                      <a:pt x="79" y="6"/>
                      <a:pt x="87" y="18"/>
                    </a:cubicBezTo>
                    <a:cubicBezTo>
                      <a:pt x="95" y="29"/>
                      <a:pt x="99" y="45"/>
                      <a:pt x="99" y="65"/>
                    </a:cubicBezTo>
                    <a:cubicBezTo>
                      <a:pt x="99" y="89"/>
                      <a:pt x="94" y="106"/>
                      <a:pt x="84" y="117"/>
                    </a:cubicBezTo>
                    <a:cubicBezTo>
                      <a:pt x="75" y="126"/>
                      <a:pt x="64" y="131"/>
                      <a:pt x="49" y="131"/>
                    </a:cubicBezTo>
                    <a:close/>
                    <a:moveTo>
                      <a:pt x="49" y="107"/>
                    </a:moveTo>
                    <a:cubicBezTo>
                      <a:pt x="54" y="107"/>
                      <a:pt x="58" y="104"/>
                      <a:pt x="60" y="97"/>
                    </a:cubicBezTo>
                    <a:cubicBezTo>
                      <a:pt x="62" y="91"/>
                      <a:pt x="64" y="80"/>
                      <a:pt x="64" y="65"/>
                    </a:cubicBezTo>
                    <a:cubicBezTo>
                      <a:pt x="64" y="49"/>
                      <a:pt x="62" y="37"/>
                      <a:pt x="59" y="30"/>
                    </a:cubicBezTo>
                    <a:cubicBezTo>
                      <a:pt x="57" y="25"/>
                      <a:pt x="54" y="23"/>
                      <a:pt x="49" y="23"/>
                    </a:cubicBezTo>
                    <a:cubicBezTo>
                      <a:pt x="44" y="23"/>
                      <a:pt x="41" y="26"/>
                      <a:pt x="38" y="33"/>
                    </a:cubicBezTo>
                    <a:cubicBezTo>
                      <a:pt x="36" y="39"/>
                      <a:pt x="35" y="50"/>
                      <a:pt x="35" y="65"/>
                    </a:cubicBezTo>
                    <a:cubicBezTo>
                      <a:pt x="35" y="82"/>
                      <a:pt x="36" y="93"/>
                      <a:pt x="39" y="100"/>
                    </a:cubicBezTo>
                    <a:cubicBezTo>
                      <a:pt x="41" y="105"/>
                      <a:pt x="45" y="107"/>
                      <a:pt x="49" y="107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2" name="Freeform 65"/>
              <p:cNvSpPr>
                <a:spLocks/>
              </p:cNvSpPr>
              <p:nvPr/>
            </p:nvSpPr>
            <p:spPr bwMode="auto">
              <a:xfrm>
                <a:off x="6897687" y="7959724"/>
                <a:ext cx="236537" cy="473075"/>
              </a:xfrm>
              <a:custGeom>
                <a:avLst/>
                <a:gdLst>
                  <a:gd name="T0" fmla="*/ 66 w 149"/>
                  <a:gd name="T1" fmla="*/ 298 h 298"/>
                  <a:gd name="T2" fmla="*/ 66 w 149"/>
                  <a:gd name="T3" fmla="*/ 76 h 298"/>
                  <a:gd name="T4" fmla="*/ 0 w 149"/>
                  <a:gd name="T5" fmla="*/ 109 h 298"/>
                  <a:gd name="T6" fmla="*/ 0 w 149"/>
                  <a:gd name="T7" fmla="*/ 38 h 298"/>
                  <a:gd name="T8" fmla="*/ 73 w 149"/>
                  <a:gd name="T9" fmla="*/ 0 h 298"/>
                  <a:gd name="T10" fmla="*/ 149 w 149"/>
                  <a:gd name="T11" fmla="*/ 0 h 298"/>
                  <a:gd name="T12" fmla="*/ 149 w 149"/>
                  <a:gd name="T13" fmla="*/ 298 h 298"/>
                  <a:gd name="T14" fmla="*/ 66 w 149"/>
                  <a:gd name="T15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" h="298">
                    <a:moveTo>
                      <a:pt x="66" y="298"/>
                    </a:moveTo>
                    <a:lnTo>
                      <a:pt x="66" y="76"/>
                    </a:lnTo>
                    <a:lnTo>
                      <a:pt x="0" y="109"/>
                    </a:lnTo>
                    <a:lnTo>
                      <a:pt x="0" y="38"/>
                    </a:lnTo>
                    <a:lnTo>
                      <a:pt x="73" y="0"/>
                    </a:lnTo>
                    <a:lnTo>
                      <a:pt x="149" y="0"/>
                    </a:lnTo>
                    <a:lnTo>
                      <a:pt x="149" y="298"/>
                    </a:lnTo>
                    <a:lnTo>
                      <a:pt x="66" y="298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3" name="Freeform 66"/>
              <p:cNvSpPr>
                <a:spLocks noEditPoints="1"/>
              </p:cNvSpPr>
              <p:nvPr/>
            </p:nvSpPr>
            <p:spPr bwMode="auto">
              <a:xfrm>
                <a:off x="7397750" y="7951787"/>
                <a:ext cx="371475" cy="493713"/>
              </a:xfrm>
              <a:custGeom>
                <a:avLst/>
                <a:gdLst>
                  <a:gd name="T0" fmla="*/ 49 w 99"/>
                  <a:gd name="T1" fmla="*/ 131 h 131"/>
                  <a:gd name="T2" fmla="*/ 12 w 99"/>
                  <a:gd name="T3" fmla="*/ 112 h 131"/>
                  <a:gd name="T4" fmla="*/ 0 w 99"/>
                  <a:gd name="T5" fmla="*/ 65 h 131"/>
                  <a:gd name="T6" fmla="*/ 15 w 99"/>
                  <a:gd name="T7" fmla="*/ 13 h 131"/>
                  <a:gd name="T8" fmla="*/ 49 w 99"/>
                  <a:gd name="T9" fmla="*/ 0 h 131"/>
                  <a:gd name="T10" fmla="*/ 87 w 99"/>
                  <a:gd name="T11" fmla="*/ 18 h 131"/>
                  <a:gd name="T12" fmla="*/ 99 w 99"/>
                  <a:gd name="T13" fmla="*/ 65 h 131"/>
                  <a:gd name="T14" fmla="*/ 84 w 99"/>
                  <a:gd name="T15" fmla="*/ 117 h 131"/>
                  <a:gd name="T16" fmla="*/ 49 w 99"/>
                  <a:gd name="T17" fmla="*/ 131 h 131"/>
                  <a:gd name="T18" fmla="*/ 49 w 99"/>
                  <a:gd name="T19" fmla="*/ 107 h 131"/>
                  <a:gd name="T20" fmla="*/ 60 w 99"/>
                  <a:gd name="T21" fmla="*/ 97 h 131"/>
                  <a:gd name="T22" fmla="*/ 64 w 99"/>
                  <a:gd name="T23" fmla="*/ 65 h 131"/>
                  <a:gd name="T24" fmla="*/ 59 w 99"/>
                  <a:gd name="T25" fmla="*/ 30 h 131"/>
                  <a:gd name="T26" fmla="*/ 49 w 99"/>
                  <a:gd name="T27" fmla="*/ 23 h 131"/>
                  <a:gd name="T28" fmla="*/ 39 w 99"/>
                  <a:gd name="T29" fmla="*/ 33 h 131"/>
                  <a:gd name="T30" fmla="*/ 35 w 99"/>
                  <a:gd name="T31" fmla="*/ 65 h 131"/>
                  <a:gd name="T32" fmla="*/ 39 w 99"/>
                  <a:gd name="T33" fmla="*/ 100 h 131"/>
                  <a:gd name="T34" fmla="*/ 49 w 99"/>
                  <a:gd name="T35" fmla="*/ 10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" h="131">
                    <a:moveTo>
                      <a:pt x="49" y="131"/>
                    </a:moveTo>
                    <a:cubicBezTo>
                      <a:pt x="33" y="131"/>
                      <a:pt x="20" y="125"/>
                      <a:pt x="12" y="112"/>
                    </a:cubicBezTo>
                    <a:cubicBezTo>
                      <a:pt x="4" y="101"/>
                      <a:pt x="0" y="86"/>
                      <a:pt x="0" y="65"/>
                    </a:cubicBezTo>
                    <a:cubicBezTo>
                      <a:pt x="0" y="42"/>
                      <a:pt x="5" y="24"/>
                      <a:pt x="15" y="13"/>
                    </a:cubicBezTo>
                    <a:cubicBezTo>
                      <a:pt x="23" y="4"/>
                      <a:pt x="35" y="0"/>
                      <a:pt x="49" y="0"/>
                    </a:cubicBezTo>
                    <a:cubicBezTo>
                      <a:pt x="66" y="0"/>
                      <a:pt x="79" y="6"/>
                      <a:pt x="87" y="18"/>
                    </a:cubicBezTo>
                    <a:cubicBezTo>
                      <a:pt x="95" y="29"/>
                      <a:pt x="99" y="45"/>
                      <a:pt x="99" y="65"/>
                    </a:cubicBezTo>
                    <a:cubicBezTo>
                      <a:pt x="99" y="89"/>
                      <a:pt x="94" y="106"/>
                      <a:pt x="84" y="117"/>
                    </a:cubicBezTo>
                    <a:cubicBezTo>
                      <a:pt x="75" y="126"/>
                      <a:pt x="64" y="131"/>
                      <a:pt x="49" y="131"/>
                    </a:cubicBezTo>
                    <a:close/>
                    <a:moveTo>
                      <a:pt x="49" y="107"/>
                    </a:moveTo>
                    <a:cubicBezTo>
                      <a:pt x="54" y="107"/>
                      <a:pt x="58" y="104"/>
                      <a:pt x="60" y="97"/>
                    </a:cubicBezTo>
                    <a:cubicBezTo>
                      <a:pt x="63" y="91"/>
                      <a:pt x="64" y="80"/>
                      <a:pt x="64" y="65"/>
                    </a:cubicBezTo>
                    <a:cubicBezTo>
                      <a:pt x="64" y="49"/>
                      <a:pt x="62" y="37"/>
                      <a:pt x="59" y="30"/>
                    </a:cubicBezTo>
                    <a:cubicBezTo>
                      <a:pt x="57" y="25"/>
                      <a:pt x="54" y="23"/>
                      <a:pt x="49" y="23"/>
                    </a:cubicBezTo>
                    <a:cubicBezTo>
                      <a:pt x="44" y="23"/>
                      <a:pt x="41" y="26"/>
                      <a:pt x="39" y="33"/>
                    </a:cubicBezTo>
                    <a:cubicBezTo>
                      <a:pt x="36" y="39"/>
                      <a:pt x="35" y="50"/>
                      <a:pt x="35" y="65"/>
                    </a:cubicBezTo>
                    <a:cubicBezTo>
                      <a:pt x="35" y="82"/>
                      <a:pt x="37" y="93"/>
                      <a:pt x="39" y="100"/>
                    </a:cubicBezTo>
                    <a:cubicBezTo>
                      <a:pt x="42" y="105"/>
                      <a:pt x="45" y="107"/>
                      <a:pt x="49" y="107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4" name="Freeform 67"/>
              <p:cNvSpPr>
                <a:spLocks noEditPoints="1"/>
              </p:cNvSpPr>
              <p:nvPr/>
            </p:nvSpPr>
            <p:spPr bwMode="auto">
              <a:xfrm>
                <a:off x="3619500" y="8759824"/>
                <a:ext cx="373062" cy="493713"/>
              </a:xfrm>
              <a:custGeom>
                <a:avLst/>
                <a:gdLst>
                  <a:gd name="T0" fmla="*/ 49 w 99"/>
                  <a:gd name="T1" fmla="*/ 131 h 131"/>
                  <a:gd name="T2" fmla="*/ 11 w 99"/>
                  <a:gd name="T3" fmla="*/ 113 h 131"/>
                  <a:gd name="T4" fmla="*/ 0 w 99"/>
                  <a:gd name="T5" fmla="*/ 66 h 131"/>
                  <a:gd name="T6" fmla="*/ 15 w 99"/>
                  <a:gd name="T7" fmla="*/ 14 h 131"/>
                  <a:gd name="T8" fmla="*/ 49 w 99"/>
                  <a:gd name="T9" fmla="*/ 0 h 131"/>
                  <a:gd name="T10" fmla="*/ 87 w 99"/>
                  <a:gd name="T11" fmla="*/ 18 h 131"/>
                  <a:gd name="T12" fmla="*/ 99 w 99"/>
                  <a:gd name="T13" fmla="*/ 66 h 131"/>
                  <a:gd name="T14" fmla="*/ 84 w 99"/>
                  <a:gd name="T15" fmla="*/ 117 h 131"/>
                  <a:gd name="T16" fmla="*/ 49 w 99"/>
                  <a:gd name="T17" fmla="*/ 131 h 131"/>
                  <a:gd name="T18" fmla="*/ 49 w 99"/>
                  <a:gd name="T19" fmla="*/ 108 h 131"/>
                  <a:gd name="T20" fmla="*/ 60 w 99"/>
                  <a:gd name="T21" fmla="*/ 98 h 131"/>
                  <a:gd name="T22" fmla="*/ 64 w 99"/>
                  <a:gd name="T23" fmla="*/ 66 h 131"/>
                  <a:gd name="T24" fmla="*/ 59 w 99"/>
                  <a:gd name="T25" fmla="*/ 31 h 131"/>
                  <a:gd name="T26" fmla="*/ 49 w 99"/>
                  <a:gd name="T27" fmla="*/ 23 h 131"/>
                  <a:gd name="T28" fmla="*/ 38 w 99"/>
                  <a:gd name="T29" fmla="*/ 33 h 131"/>
                  <a:gd name="T30" fmla="*/ 35 w 99"/>
                  <a:gd name="T31" fmla="*/ 66 h 131"/>
                  <a:gd name="T32" fmla="*/ 39 w 99"/>
                  <a:gd name="T33" fmla="*/ 100 h 131"/>
                  <a:gd name="T34" fmla="*/ 49 w 99"/>
                  <a:gd name="T35" fmla="*/ 108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" h="131">
                    <a:moveTo>
                      <a:pt x="49" y="131"/>
                    </a:moveTo>
                    <a:cubicBezTo>
                      <a:pt x="32" y="131"/>
                      <a:pt x="20" y="125"/>
                      <a:pt x="11" y="113"/>
                    </a:cubicBezTo>
                    <a:cubicBezTo>
                      <a:pt x="3" y="102"/>
                      <a:pt x="0" y="86"/>
                      <a:pt x="0" y="66"/>
                    </a:cubicBezTo>
                    <a:cubicBezTo>
                      <a:pt x="0" y="42"/>
                      <a:pt x="5" y="25"/>
                      <a:pt x="15" y="14"/>
                    </a:cubicBezTo>
                    <a:cubicBezTo>
                      <a:pt x="23" y="5"/>
                      <a:pt x="34" y="0"/>
                      <a:pt x="49" y="0"/>
                    </a:cubicBezTo>
                    <a:cubicBezTo>
                      <a:pt x="66" y="0"/>
                      <a:pt x="79" y="6"/>
                      <a:pt x="87" y="18"/>
                    </a:cubicBezTo>
                    <a:cubicBezTo>
                      <a:pt x="95" y="29"/>
                      <a:pt x="99" y="45"/>
                      <a:pt x="99" y="66"/>
                    </a:cubicBezTo>
                    <a:cubicBezTo>
                      <a:pt x="99" y="89"/>
                      <a:pt x="94" y="106"/>
                      <a:pt x="84" y="117"/>
                    </a:cubicBezTo>
                    <a:cubicBezTo>
                      <a:pt x="75" y="126"/>
                      <a:pt x="64" y="131"/>
                      <a:pt x="49" y="131"/>
                    </a:cubicBezTo>
                    <a:close/>
                    <a:moveTo>
                      <a:pt x="49" y="108"/>
                    </a:moveTo>
                    <a:cubicBezTo>
                      <a:pt x="54" y="108"/>
                      <a:pt x="58" y="104"/>
                      <a:pt x="60" y="98"/>
                    </a:cubicBezTo>
                    <a:cubicBezTo>
                      <a:pt x="62" y="91"/>
                      <a:pt x="64" y="81"/>
                      <a:pt x="64" y="66"/>
                    </a:cubicBezTo>
                    <a:cubicBezTo>
                      <a:pt x="64" y="49"/>
                      <a:pt x="62" y="37"/>
                      <a:pt x="59" y="31"/>
                    </a:cubicBezTo>
                    <a:cubicBezTo>
                      <a:pt x="57" y="26"/>
                      <a:pt x="54" y="23"/>
                      <a:pt x="49" y="23"/>
                    </a:cubicBezTo>
                    <a:cubicBezTo>
                      <a:pt x="44" y="23"/>
                      <a:pt x="41" y="26"/>
                      <a:pt x="38" y="33"/>
                    </a:cubicBezTo>
                    <a:cubicBezTo>
                      <a:pt x="36" y="40"/>
                      <a:pt x="35" y="51"/>
                      <a:pt x="35" y="66"/>
                    </a:cubicBezTo>
                    <a:cubicBezTo>
                      <a:pt x="35" y="82"/>
                      <a:pt x="36" y="94"/>
                      <a:pt x="39" y="100"/>
                    </a:cubicBezTo>
                    <a:cubicBezTo>
                      <a:pt x="41" y="105"/>
                      <a:pt x="45" y="108"/>
                      <a:pt x="49" y="10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5" name="Freeform 68"/>
              <p:cNvSpPr>
                <a:spLocks/>
              </p:cNvSpPr>
              <p:nvPr/>
            </p:nvSpPr>
            <p:spPr bwMode="auto">
              <a:xfrm>
                <a:off x="4198937" y="8772524"/>
                <a:ext cx="236537" cy="469900"/>
              </a:xfrm>
              <a:custGeom>
                <a:avLst/>
                <a:gdLst>
                  <a:gd name="T0" fmla="*/ 66 w 149"/>
                  <a:gd name="T1" fmla="*/ 296 h 296"/>
                  <a:gd name="T2" fmla="*/ 66 w 149"/>
                  <a:gd name="T3" fmla="*/ 75 h 296"/>
                  <a:gd name="T4" fmla="*/ 0 w 149"/>
                  <a:gd name="T5" fmla="*/ 108 h 296"/>
                  <a:gd name="T6" fmla="*/ 0 w 149"/>
                  <a:gd name="T7" fmla="*/ 35 h 296"/>
                  <a:gd name="T8" fmla="*/ 73 w 149"/>
                  <a:gd name="T9" fmla="*/ 0 h 296"/>
                  <a:gd name="T10" fmla="*/ 149 w 149"/>
                  <a:gd name="T11" fmla="*/ 0 h 296"/>
                  <a:gd name="T12" fmla="*/ 149 w 149"/>
                  <a:gd name="T13" fmla="*/ 296 h 296"/>
                  <a:gd name="T14" fmla="*/ 66 w 149"/>
                  <a:gd name="T15" fmla="*/ 296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" h="296">
                    <a:moveTo>
                      <a:pt x="66" y="296"/>
                    </a:moveTo>
                    <a:lnTo>
                      <a:pt x="66" y="75"/>
                    </a:lnTo>
                    <a:lnTo>
                      <a:pt x="0" y="108"/>
                    </a:lnTo>
                    <a:lnTo>
                      <a:pt x="0" y="35"/>
                    </a:lnTo>
                    <a:lnTo>
                      <a:pt x="73" y="0"/>
                    </a:lnTo>
                    <a:lnTo>
                      <a:pt x="149" y="0"/>
                    </a:lnTo>
                    <a:lnTo>
                      <a:pt x="149" y="296"/>
                    </a:lnTo>
                    <a:lnTo>
                      <a:pt x="66" y="296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6" name="Freeform 69"/>
              <p:cNvSpPr>
                <a:spLocks noEditPoints="1"/>
              </p:cNvSpPr>
              <p:nvPr/>
            </p:nvSpPr>
            <p:spPr bwMode="auto">
              <a:xfrm>
                <a:off x="4699000" y="8759824"/>
                <a:ext cx="371475" cy="493713"/>
              </a:xfrm>
              <a:custGeom>
                <a:avLst/>
                <a:gdLst>
                  <a:gd name="T0" fmla="*/ 49 w 99"/>
                  <a:gd name="T1" fmla="*/ 131 h 131"/>
                  <a:gd name="T2" fmla="*/ 12 w 99"/>
                  <a:gd name="T3" fmla="*/ 113 h 131"/>
                  <a:gd name="T4" fmla="*/ 0 w 99"/>
                  <a:gd name="T5" fmla="*/ 66 h 131"/>
                  <a:gd name="T6" fmla="*/ 15 w 99"/>
                  <a:gd name="T7" fmla="*/ 14 h 131"/>
                  <a:gd name="T8" fmla="*/ 49 w 99"/>
                  <a:gd name="T9" fmla="*/ 0 h 131"/>
                  <a:gd name="T10" fmla="*/ 87 w 99"/>
                  <a:gd name="T11" fmla="*/ 18 h 131"/>
                  <a:gd name="T12" fmla="*/ 99 w 99"/>
                  <a:gd name="T13" fmla="*/ 66 h 131"/>
                  <a:gd name="T14" fmla="*/ 84 w 99"/>
                  <a:gd name="T15" fmla="*/ 117 h 131"/>
                  <a:gd name="T16" fmla="*/ 49 w 99"/>
                  <a:gd name="T17" fmla="*/ 131 h 131"/>
                  <a:gd name="T18" fmla="*/ 49 w 99"/>
                  <a:gd name="T19" fmla="*/ 108 h 131"/>
                  <a:gd name="T20" fmla="*/ 60 w 99"/>
                  <a:gd name="T21" fmla="*/ 98 h 131"/>
                  <a:gd name="T22" fmla="*/ 64 w 99"/>
                  <a:gd name="T23" fmla="*/ 66 h 131"/>
                  <a:gd name="T24" fmla="*/ 60 w 99"/>
                  <a:gd name="T25" fmla="*/ 31 h 131"/>
                  <a:gd name="T26" fmla="*/ 49 w 99"/>
                  <a:gd name="T27" fmla="*/ 23 h 131"/>
                  <a:gd name="T28" fmla="*/ 39 w 99"/>
                  <a:gd name="T29" fmla="*/ 33 h 131"/>
                  <a:gd name="T30" fmla="*/ 35 w 99"/>
                  <a:gd name="T31" fmla="*/ 66 h 131"/>
                  <a:gd name="T32" fmla="*/ 39 w 99"/>
                  <a:gd name="T33" fmla="*/ 100 h 131"/>
                  <a:gd name="T34" fmla="*/ 49 w 99"/>
                  <a:gd name="T35" fmla="*/ 108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" h="131">
                    <a:moveTo>
                      <a:pt x="49" y="131"/>
                    </a:moveTo>
                    <a:cubicBezTo>
                      <a:pt x="33" y="131"/>
                      <a:pt x="20" y="125"/>
                      <a:pt x="12" y="113"/>
                    </a:cubicBezTo>
                    <a:cubicBezTo>
                      <a:pt x="4" y="102"/>
                      <a:pt x="0" y="86"/>
                      <a:pt x="0" y="66"/>
                    </a:cubicBezTo>
                    <a:cubicBezTo>
                      <a:pt x="0" y="42"/>
                      <a:pt x="5" y="25"/>
                      <a:pt x="15" y="14"/>
                    </a:cubicBezTo>
                    <a:cubicBezTo>
                      <a:pt x="23" y="5"/>
                      <a:pt x="35" y="0"/>
                      <a:pt x="49" y="0"/>
                    </a:cubicBezTo>
                    <a:cubicBezTo>
                      <a:pt x="66" y="0"/>
                      <a:pt x="79" y="6"/>
                      <a:pt x="87" y="18"/>
                    </a:cubicBezTo>
                    <a:cubicBezTo>
                      <a:pt x="95" y="29"/>
                      <a:pt x="99" y="45"/>
                      <a:pt x="99" y="66"/>
                    </a:cubicBezTo>
                    <a:cubicBezTo>
                      <a:pt x="99" y="89"/>
                      <a:pt x="94" y="106"/>
                      <a:pt x="84" y="117"/>
                    </a:cubicBezTo>
                    <a:cubicBezTo>
                      <a:pt x="75" y="126"/>
                      <a:pt x="64" y="131"/>
                      <a:pt x="49" y="131"/>
                    </a:cubicBezTo>
                    <a:close/>
                    <a:moveTo>
                      <a:pt x="49" y="108"/>
                    </a:moveTo>
                    <a:cubicBezTo>
                      <a:pt x="54" y="108"/>
                      <a:pt x="58" y="104"/>
                      <a:pt x="60" y="98"/>
                    </a:cubicBezTo>
                    <a:cubicBezTo>
                      <a:pt x="63" y="91"/>
                      <a:pt x="64" y="81"/>
                      <a:pt x="64" y="66"/>
                    </a:cubicBezTo>
                    <a:cubicBezTo>
                      <a:pt x="64" y="49"/>
                      <a:pt x="62" y="37"/>
                      <a:pt x="60" y="31"/>
                    </a:cubicBezTo>
                    <a:cubicBezTo>
                      <a:pt x="57" y="26"/>
                      <a:pt x="54" y="23"/>
                      <a:pt x="49" y="23"/>
                    </a:cubicBezTo>
                    <a:cubicBezTo>
                      <a:pt x="44" y="23"/>
                      <a:pt x="41" y="26"/>
                      <a:pt x="39" y="33"/>
                    </a:cubicBezTo>
                    <a:cubicBezTo>
                      <a:pt x="36" y="40"/>
                      <a:pt x="35" y="51"/>
                      <a:pt x="35" y="66"/>
                    </a:cubicBezTo>
                    <a:cubicBezTo>
                      <a:pt x="35" y="82"/>
                      <a:pt x="37" y="94"/>
                      <a:pt x="39" y="100"/>
                    </a:cubicBezTo>
                    <a:cubicBezTo>
                      <a:pt x="42" y="105"/>
                      <a:pt x="45" y="108"/>
                      <a:pt x="49" y="10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7" name="Freeform 70"/>
              <p:cNvSpPr>
                <a:spLocks/>
              </p:cNvSpPr>
              <p:nvPr/>
            </p:nvSpPr>
            <p:spPr bwMode="auto">
              <a:xfrm>
                <a:off x="5276850" y="8772524"/>
                <a:ext cx="236537" cy="469900"/>
              </a:xfrm>
              <a:custGeom>
                <a:avLst/>
                <a:gdLst>
                  <a:gd name="T0" fmla="*/ 67 w 149"/>
                  <a:gd name="T1" fmla="*/ 296 h 296"/>
                  <a:gd name="T2" fmla="*/ 67 w 149"/>
                  <a:gd name="T3" fmla="*/ 75 h 296"/>
                  <a:gd name="T4" fmla="*/ 0 w 149"/>
                  <a:gd name="T5" fmla="*/ 108 h 296"/>
                  <a:gd name="T6" fmla="*/ 0 w 149"/>
                  <a:gd name="T7" fmla="*/ 35 h 296"/>
                  <a:gd name="T8" fmla="*/ 74 w 149"/>
                  <a:gd name="T9" fmla="*/ 0 h 296"/>
                  <a:gd name="T10" fmla="*/ 149 w 149"/>
                  <a:gd name="T11" fmla="*/ 0 h 296"/>
                  <a:gd name="T12" fmla="*/ 149 w 149"/>
                  <a:gd name="T13" fmla="*/ 296 h 296"/>
                  <a:gd name="T14" fmla="*/ 67 w 149"/>
                  <a:gd name="T15" fmla="*/ 296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" h="296">
                    <a:moveTo>
                      <a:pt x="67" y="296"/>
                    </a:moveTo>
                    <a:lnTo>
                      <a:pt x="67" y="75"/>
                    </a:lnTo>
                    <a:lnTo>
                      <a:pt x="0" y="108"/>
                    </a:lnTo>
                    <a:lnTo>
                      <a:pt x="0" y="35"/>
                    </a:lnTo>
                    <a:lnTo>
                      <a:pt x="74" y="0"/>
                    </a:lnTo>
                    <a:lnTo>
                      <a:pt x="149" y="0"/>
                    </a:lnTo>
                    <a:lnTo>
                      <a:pt x="149" y="296"/>
                    </a:lnTo>
                    <a:lnTo>
                      <a:pt x="67" y="29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8" name="Freeform 71"/>
              <p:cNvSpPr>
                <a:spLocks noEditPoints="1"/>
              </p:cNvSpPr>
              <p:nvPr/>
            </p:nvSpPr>
            <p:spPr bwMode="auto">
              <a:xfrm>
                <a:off x="5776912" y="8759824"/>
                <a:ext cx="373062" cy="493713"/>
              </a:xfrm>
              <a:custGeom>
                <a:avLst/>
                <a:gdLst>
                  <a:gd name="T0" fmla="*/ 49 w 99"/>
                  <a:gd name="T1" fmla="*/ 131 h 131"/>
                  <a:gd name="T2" fmla="*/ 12 w 99"/>
                  <a:gd name="T3" fmla="*/ 113 h 131"/>
                  <a:gd name="T4" fmla="*/ 0 w 99"/>
                  <a:gd name="T5" fmla="*/ 66 h 131"/>
                  <a:gd name="T6" fmla="*/ 15 w 99"/>
                  <a:gd name="T7" fmla="*/ 14 h 131"/>
                  <a:gd name="T8" fmla="*/ 49 w 99"/>
                  <a:gd name="T9" fmla="*/ 0 h 131"/>
                  <a:gd name="T10" fmla="*/ 88 w 99"/>
                  <a:gd name="T11" fmla="*/ 18 h 131"/>
                  <a:gd name="T12" fmla="*/ 99 w 99"/>
                  <a:gd name="T13" fmla="*/ 66 h 131"/>
                  <a:gd name="T14" fmla="*/ 84 w 99"/>
                  <a:gd name="T15" fmla="*/ 117 h 131"/>
                  <a:gd name="T16" fmla="*/ 49 w 99"/>
                  <a:gd name="T17" fmla="*/ 131 h 131"/>
                  <a:gd name="T18" fmla="*/ 49 w 99"/>
                  <a:gd name="T19" fmla="*/ 108 h 131"/>
                  <a:gd name="T20" fmla="*/ 61 w 99"/>
                  <a:gd name="T21" fmla="*/ 98 h 131"/>
                  <a:gd name="T22" fmla="*/ 64 w 99"/>
                  <a:gd name="T23" fmla="*/ 66 h 131"/>
                  <a:gd name="T24" fmla="*/ 60 w 99"/>
                  <a:gd name="T25" fmla="*/ 31 h 131"/>
                  <a:gd name="T26" fmla="*/ 49 w 99"/>
                  <a:gd name="T27" fmla="*/ 23 h 131"/>
                  <a:gd name="T28" fmla="*/ 39 w 99"/>
                  <a:gd name="T29" fmla="*/ 33 h 131"/>
                  <a:gd name="T30" fmla="*/ 35 w 99"/>
                  <a:gd name="T31" fmla="*/ 66 h 131"/>
                  <a:gd name="T32" fmla="*/ 40 w 99"/>
                  <a:gd name="T33" fmla="*/ 100 h 131"/>
                  <a:gd name="T34" fmla="*/ 49 w 99"/>
                  <a:gd name="T35" fmla="*/ 108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" h="131">
                    <a:moveTo>
                      <a:pt x="49" y="131"/>
                    </a:moveTo>
                    <a:cubicBezTo>
                      <a:pt x="33" y="131"/>
                      <a:pt x="20" y="125"/>
                      <a:pt x="12" y="113"/>
                    </a:cubicBezTo>
                    <a:cubicBezTo>
                      <a:pt x="4" y="102"/>
                      <a:pt x="0" y="86"/>
                      <a:pt x="0" y="66"/>
                    </a:cubicBezTo>
                    <a:cubicBezTo>
                      <a:pt x="0" y="42"/>
                      <a:pt x="5" y="25"/>
                      <a:pt x="15" y="14"/>
                    </a:cubicBezTo>
                    <a:cubicBezTo>
                      <a:pt x="23" y="5"/>
                      <a:pt x="35" y="0"/>
                      <a:pt x="49" y="0"/>
                    </a:cubicBezTo>
                    <a:cubicBezTo>
                      <a:pt x="66" y="0"/>
                      <a:pt x="79" y="6"/>
                      <a:pt x="88" y="18"/>
                    </a:cubicBezTo>
                    <a:cubicBezTo>
                      <a:pt x="95" y="29"/>
                      <a:pt x="99" y="45"/>
                      <a:pt x="99" y="66"/>
                    </a:cubicBezTo>
                    <a:cubicBezTo>
                      <a:pt x="99" y="89"/>
                      <a:pt x="94" y="106"/>
                      <a:pt x="84" y="117"/>
                    </a:cubicBezTo>
                    <a:cubicBezTo>
                      <a:pt x="76" y="126"/>
                      <a:pt x="64" y="131"/>
                      <a:pt x="49" y="131"/>
                    </a:cubicBezTo>
                    <a:close/>
                    <a:moveTo>
                      <a:pt x="49" y="108"/>
                    </a:moveTo>
                    <a:cubicBezTo>
                      <a:pt x="55" y="108"/>
                      <a:pt x="58" y="104"/>
                      <a:pt x="61" y="98"/>
                    </a:cubicBezTo>
                    <a:cubicBezTo>
                      <a:pt x="63" y="91"/>
                      <a:pt x="64" y="81"/>
                      <a:pt x="64" y="66"/>
                    </a:cubicBezTo>
                    <a:cubicBezTo>
                      <a:pt x="64" y="49"/>
                      <a:pt x="63" y="37"/>
                      <a:pt x="60" y="31"/>
                    </a:cubicBezTo>
                    <a:cubicBezTo>
                      <a:pt x="57" y="26"/>
                      <a:pt x="54" y="23"/>
                      <a:pt x="49" y="23"/>
                    </a:cubicBezTo>
                    <a:cubicBezTo>
                      <a:pt x="45" y="23"/>
                      <a:pt x="41" y="26"/>
                      <a:pt x="39" y="33"/>
                    </a:cubicBezTo>
                    <a:cubicBezTo>
                      <a:pt x="37" y="40"/>
                      <a:pt x="35" y="51"/>
                      <a:pt x="35" y="66"/>
                    </a:cubicBezTo>
                    <a:cubicBezTo>
                      <a:pt x="35" y="82"/>
                      <a:pt x="37" y="94"/>
                      <a:pt x="40" y="100"/>
                    </a:cubicBezTo>
                    <a:cubicBezTo>
                      <a:pt x="42" y="105"/>
                      <a:pt x="45" y="108"/>
                      <a:pt x="49" y="108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9" name="Freeform 72"/>
              <p:cNvSpPr>
                <a:spLocks noEditPoints="1"/>
              </p:cNvSpPr>
              <p:nvPr/>
            </p:nvSpPr>
            <p:spPr bwMode="auto">
              <a:xfrm>
                <a:off x="6318250" y="8759824"/>
                <a:ext cx="371475" cy="493713"/>
              </a:xfrm>
              <a:custGeom>
                <a:avLst/>
                <a:gdLst>
                  <a:gd name="T0" fmla="*/ 49 w 99"/>
                  <a:gd name="T1" fmla="*/ 131 h 131"/>
                  <a:gd name="T2" fmla="*/ 11 w 99"/>
                  <a:gd name="T3" fmla="*/ 113 h 131"/>
                  <a:gd name="T4" fmla="*/ 0 w 99"/>
                  <a:gd name="T5" fmla="*/ 66 h 131"/>
                  <a:gd name="T6" fmla="*/ 15 w 99"/>
                  <a:gd name="T7" fmla="*/ 14 h 131"/>
                  <a:gd name="T8" fmla="*/ 49 w 99"/>
                  <a:gd name="T9" fmla="*/ 0 h 131"/>
                  <a:gd name="T10" fmla="*/ 87 w 99"/>
                  <a:gd name="T11" fmla="*/ 18 h 131"/>
                  <a:gd name="T12" fmla="*/ 99 w 99"/>
                  <a:gd name="T13" fmla="*/ 66 h 131"/>
                  <a:gd name="T14" fmla="*/ 84 w 99"/>
                  <a:gd name="T15" fmla="*/ 117 h 131"/>
                  <a:gd name="T16" fmla="*/ 49 w 99"/>
                  <a:gd name="T17" fmla="*/ 131 h 131"/>
                  <a:gd name="T18" fmla="*/ 49 w 99"/>
                  <a:gd name="T19" fmla="*/ 108 h 131"/>
                  <a:gd name="T20" fmla="*/ 60 w 99"/>
                  <a:gd name="T21" fmla="*/ 98 h 131"/>
                  <a:gd name="T22" fmla="*/ 64 w 99"/>
                  <a:gd name="T23" fmla="*/ 66 h 131"/>
                  <a:gd name="T24" fmla="*/ 59 w 99"/>
                  <a:gd name="T25" fmla="*/ 31 h 131"/>
                  <a:gd name="T26" fmla="*/ 49 w 99"/>
                  <a:gd name="T27" fmla="*/ 23 h 131"/>
                  <a:gd name="T28" fmla="*/ 38 w 99"/>
                  <a:gd name="T29" fmla="*/ 33 h 131"/>
                  <a:gd name="T30" fmla="*/ 35 w 99"/>
                  <a:gd name="T31" fmla="*/ 66 h 131"/>
                  <a:gd name="T32" fmla="*/ 39 w 99"/>
                  <a:gd name="T33" fmla="*/ 100 h 131"/>
                  <a:gd name="T34" fmla="*/ 49 w 99"/>
                  <a:gd name="T35" fmla="*/ 108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" h="131">
                    <a:moveTo>
                      <a:pt x="49" y="131"/>
                    </a:moveTo>
                    <a:cubicBezTo>
                      <a:pt x="32" y="131"/>
                      <a:pt x="20" y="125"/>
                      <a:pt x="11" y="113"/>
                    </a:cubicBezTo>
                    <a:cubicBezTo>
                      <a:pt x="3" y="102"/>
                      <a:pt x="0" y="86"/>
                      <a:pt x="0" y="66"/>
                    </a:cubicBezTo>
                    <a:cubicBezTo>
                      <a:pt x="0" y="42"/>
                      <a:pt x="5" y="25"/>
                      <a:pt x="15" y="14"/>
                    </a:cubicBezTo>
                    <a:cubicBezTo>
                      <a:pt x="23" y="5"/>
                      <a:pt x="34" y="0"/>
                      <a:pt x="49" y="0"/>
                    </a:cubicBezTo>
                    <a:cubicBezTo>
                      <a:pt x="66" y="0"/>
                      <a:pt x="79" y="6"/>
                      <a:pt x="87" y="18"/>
                    </a:cubicBezTo>
                    <a:cubicBezTo>
                      <a:pt x="95" y="29"/>
                      <a:pt x="99" y="45"/>
                      <a:pt x="99" y="66"/>
                    </a:cubicBezTo>
                    <a:cubicBezTo>
                      <a:pt x="99" y="89"/>
                      <a:pt x="94" y="106"/>
                      <a:pt x="84" y="117"/>
                    </a:cubicBezTo>
                    <a:cubicBezTo>
                      <a:pt x="75" y="126"/>
                      <a:pt x="64" y="131"/>
                      <a:pt x="49" y="131"/>
                    </a:cubicBezTo>
                    <a:close/>
                    <a:moveTo>
                      <a:pt x="49" y="108"/>
                    </a:moveTo>
                    <a:cubicBezTo>
                      <a:pt x="54" y="108"/>
                      <a:pt x="58" y="104"/>
                      <a:pt x="60" y="98"/>
                    </a:cubicBezTo>
                    <a:cubicBezTo>
                      <a:pt x="62" y="91"/>
                      <a:pt x="64" y="81"/>
                      <a:pt x="64" y="66"/>
                    </a:cubicBezTo>
                    <a:cubicBezTo>
                      <a:pt x="64" y="49"/>
                      <a:pt x="62" y="37"/>
                      <a:pt x="59" y="31"/>
                    </a:cubicBezTo>
                    <a:cubicBezTo>
                      <a:pt x="57" y="26"/>
                      <a:pt x="54" y="23"/>
                      <a:pt x="49" y="23"/>
                    </a:cubicBezTo>
                    <a:cubicBezTo>
                      <a:pt x="44" y="23"/>
                      <a:pt x="41" y="26"/>
                      <a:pt x="38" y="33"/>
                    </a:cubicBezTo>
                    <a:cubicBezTo>
                      <a:pt x="36" y="40"/>
                      <a:pt x="35" y="51"/>
                      <a:pt x="35" y="66"/>
                    </a:cubicBezTo>
                    <a:cubicBezTo>
                      <a:pt x="35" y="82"/>
                      <a:pt x="36" y="94"/>
                      <a:pt x="39" y="100"/>
                    </a:cubicBezTo>
                    <a:cubicBezTo>
                      <a:pt x="41" y="105"/>
                      <a:pt x="45" y="108"/>
                      <a:pt x="49" y="10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50" name="Freeform 73"/>
              <p:cNvSpPr>
                <a:spLocks/>
              </p:cNvSpPr>
              <p:nvPr/>
            </p:nvSpPr>
            <p:spPr bwMode="auto">
              <a:xfrm>
                <a:off x="6897687" y="8772524"/>
                <a:ext cx="236537" cy="469900"/>
              </a:xfrm>
              <a:custGeom>
                <a:avLst/>
                <a:gdLst>
                  <a:gd name="T0" fmla="*/ 66 w 149"/>
                  <a:gd name="T1" fmla="*/ 296 h 296"/>
                  <a:gd name="T2" fmla="*/ 66 w 149"/>
                  <a:gd name="T3" fmla="*/ 75 h 296"/>
                  <a:gd name="T4" fmla="*/ 0 w 149"/>
                  <a:gd name="T5" fmla="*/ 108 h 296"/>
                  <a:gd name="T6" fmla="*/ 0 w 149"/>
                  <a:gd name="T7" fmla="*/ 35 h 296"/>
                  <a:gd name="T8" fmla="*/ 73 w 149"/>
                  <a:gd name="T9" fmla="*/ 0 h 296"/>
                  <a:gd name="T10" fmla="*/ 149 w 149"/>
                  <a:gd name="T11" fmla="*/ 0 h 296"/>
                  <a:gd name="T12" fmla="*/ 149 w 149"/>
                  <a:gd name="T13" fmla="*/ 296 h 296"/>
                  <a:gd name="T14" fmla="*/ 66 w 149"/>
                  <a:gd name="T15" fmla="*/ 296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" h="296">
                    <a:moveTo>
                      <a:pt x="66" y="296"/>
                    </a:moveTo>
                    <a:lnTo>
                      <a:pt x="66" y="75"/>
                    </a:lnTo>
                    <a:lnTo>
                      <a:pt x="0" y="108"/>
                    </a:lnTo>
                    <a:lnTo>
                      <a:pt x="0" y="35"/>
                    </a:lnTo>
                    <a:lnTo>
                      <a:pt x="73" y="0"/>
                    </a:lnTo>
                    <a:lnTo>
                      <a:pt x="149" y="0"/>
                    </a:lnTo>
                    <a:lnTo>
                      <a:pt x="149" y="296"/>
                    </a:lnTo>
                    <a:lnTo>
                      <a:pt x="66" y="29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51" name="Freeform 74"/>
              <p:cNvSpPr>
                <a:spLocks/>
              </p:cNvSpPr>
              <p:nvPr/>
            </p:nvSpPr>
            <p:spPr bwMode="auto">
              <a:xfrm>
                <a:off x="4740275" y="9580562"/>
                <a:ext cx="233362" cy="473075"/>
              </a:xfrm>
              <a:custGeom>
                <a:avLst/>
                <a:gdLst>
                  <a:gd name="T0" fmla="*/ 64 w 147"/>
                  <a:gd name="T1" fmla="*/ 298 h 298"/>
                  <a:gd name="T2" fmla="*/ 64 w 147"/>
                  <a:gd name="T3" fmla="*/ 75 h 298"/>
                  <a:gd name="T4" fmla="*/ 0 w 147"/>
                  <a:gd name="T5" fmla="*/ 108 h 298"/>
                  <a:gd name="T6" fmla="*/ 0 w 147"/>
                  <a:gd name="T7" fmla="*/ 37 h 298"/>
                  <a:gd name="T8" fmla="*/ 71 w 147"/>
                  <a:gd name="T9" fmla="*/ 0 h 298"/>
                  <a:gd name="T10" fmla="*/ 147 w 147"/>
                  <a:gd name="T11" fmla="*/ 0 h 298"/>
                  <a:gd name="T12" fmla="*/ 147 w 147"/>
                  <a:gd name="T13" fmla="*/ 298 h 298"/>
                  <a:gd name="T14" fmla="*/ 64 w 147"/>
                  <a:gd name="T15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" h="298">
                    <a:moveTo>
                      <a:pt x="64" y="298"/>
                    </a:moveTo>
                    <a:lnTo>
                      <a:pt x="64" y="75"/>
                    </a:lnTo>
                    <a:lnTo>
                      <a:pt x="0" y="108"/>
                    </a:lnTo>
                    <a:lnTo>
                      <a:pt x="0" y="37"/>
                    </a:lnTo>
                    <a:lnTo>
                      <a:pt x="71" y="0"/>
                    </a:lnTo>
                    <a:lnTo>
                      <a:pt x="147" y="0"/>
                    </a:lnTo>
                    <a:lnTo>
                      <a:pt x="147" y="298"/>
                    </a:lnTo>
                    <a:lnTo>
                      <a:pt x="64" y="29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52" name="Freeform 75"/>
              <p:cNvSpPr>
                <a:spLocks/>
              </p:cNvSpPr>
              <p:nvPr/>
            </p:nvSpPr>
            <p:spPr bwMode="auto">
              <a:xfrm>
                <a:off x="5276850" y="9580562"/>
                <a:ext cx="236537" cy="473075"/>
              </a:xfrm>
              <a:custGeom>
                <a:avLst/>
                <a:gdLst>
                  <a:gd name="T0" fmla="*/ 67 w 149"/>
                  <a:gd name="T1" fmla="*/ 298 h 298"/>
                  <a:gd name="T2" fmla="*/ 67 w 149"/>
                  <a:gd name="T3" fmla="*/ 75 h 298"/>
                  <a:gd name="T4" fmla="*/ 0 w 149"/>
                  <a:gd name="T5" fmla="*/ 108 h 298"/>
                  <a:gd name="T6" fmla="*/ 0 w 149"/>
                  <a:gd name="T7" fmla="*/ 37 h 298"/>
                  <a:gd name="T8" fmla="*/ 74 w 149"/>
                  <a:gd name="T9" fmla="*/ 0 h 298"/>
                  <a:gd name="T10" fmla="*/ 149 w 149"/>
                  <a:gd name="T11" fmla="*/ 0 h 298"/>
                  <a:gd name="T12" fmla="*/ 149 w 149"/>
                  <a:gd name="T13" fmla="*/ 298 h 298"/>
                  <a:gd name="T14" fmla="*/ 67 w 149"/>
                  <a:gd name="T15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" h="298">
                    <a:moveTo>
                      <a:pt x="67" y="298"/>
                    </a:moveTo>
                    <a:lnTo>
                      <a:pt x="67" y="75"/>
                    </a:lnTo>
                    <a:lnTo>
                      <a:pt x="0" y="108"/>
                    </a:lnTo>
                    <a:lnTo>
                      <a:pt x="0" y="37"/>
                    </a:lnTo>
                    <a:lnTo>
                      <a:pt x="74" y="0"/>
                    </a:lnTo>
                    <a:lnTo>
                      <a:pt x="149" y="0"/>
                    </a:lnTo>
                    <a:lnTo>
                      <a:pt x="149" y="298"/>
                    </a:lnTo>
                    <a:lnTo>
                      <a:pt x="67" y="298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53" name="Freeform 76"/>
              <p:cNvSpPr>
                <a:spLocks noEditPoints="1"/>
              </p:cNvSpPr>
              <p:nvPr/>
            </p:nvSpPr>
            <p:spPr bwMode="auto">
              <a:xfrm>
                <a:off x="5776912" y="9567862"/>
                <a:ext cx="373062" cy="493713"/>
              </a:xfrm>
              <a:custGeom>
                <a:avLst/>
                <a:gdLst>
                  <a:gd name="T0" fmla="*/ 49 w 99"/>
                  <a:gd name="T1" fmla="*/ 131 h 131"/>
                  <a:gd name="T2" fmla="*/ 12 w 99"/>
                  <a:gd name="T3" fmla="*/ 113 h 131"/>
                  <a:gd name="T4" fmla="*/ 0 w 99"/>
                  <a:gd name="T5" fmla="*/ 66 h 131"/>
                  <a:gd name="T6" fmla="*/ 15 w 99"/>
                  <a:gd name="T7" fmla="*/ 14 h 131"/>
                  <a:gd name="T8" fmla="*/ 49 w 99"/>
                  <a:gd name="T9" fmla="*/ 0 h 131"/>
                  <a:gd name="T10" fmla="*/ 88 w 99"/>
                  <a:gd name="T11" fmla="*/ 18 h 131"/>
                  <a:gd name="T12" fmla="*/ 99 w 99"/>
                  <a:gd name="T13" fmla="*/ 66 h 131"/>
                  <a:gd name="T14" fmla="*/ 84 w 99"/>
                  <a:gd name="T15" fmla="*/ 118 h 131"/>
                  <a:gd name="T16" fmla="*/ 49 w 99"/>
                  <a:gd name="T17" fmla="*/ 131 h 131"/>
                  <a:gd name="T18" fmla="*/ 49 w 99"/>
                  <a:gd name="T19" fmla="*/ 108 h 131"/>
                  <a:gd name="T20" fmla="*/ 61 w 99"/>
                  <a:gd name="T21" fmla="*/ 98 h 131"/>
                  <a:gd name="T22" fmla="*/ 64 w 99"/>
                  <a:gd name="T23" fmla="*/ 66 h 131"/>
                  <a:gd name="T24" fmla="*/ 60 w 99"/>
                  <a:gd name="T25" fmla="*/ 31 h 131"/>
                  <a:gd name="T26" fmla="*/ 49 w 99"/>
                  <a:gd name="T27" fmla="*/ 23 h 131"/>
                  <a:gd name="T28" fmla="*/ 39 w 99"/>
                  <a:gd name="T29" fmla="*/ 33 h 131"/>
                  <a:gd name="T30" fmla="*/ 35 w 99"/>
                  <a:gd name="T31" fmla="*/ 66 h 131"/>
                  <a:gd name="T32" fmla="*/ 40 w 99"/>
                  <a:gd name="T33" fmla="*/ 101 h 131"/>
                  <a:gd name="T34" fmla="*/ 49 w 99"/>
                  <a:gd name="T35" fmla="*/ 108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9" h="131">
                    <a:moveTo>
                      <a:pt x="49" y="131"/>
                    </a:moveTo>
                    <a:cubicBezTo>
                      <a:pt x="33" y="131"/>
                      <a:pt x="20" y="125"/>
                      <a:pt x="12" y="113"/>
                    </a:cubicBezTo>
                    <a:cubicBezTo>
                      <a:pt x="4" y="102"/>
                      <a:pt x="0" y="86"/>
                      <a:pt x="0" y="66"/>
                    </a:cubicBezTo>
                    <a:cubicBezTo>
                      <a:pt x="0" y="43"/>
                      <a:pt x="5" y="25"/>
                      <a:pt x="15" y="14"/>
                    </a:cubicBezTo>
                    <a:cubicBezTo>
                      <a:pt x="23" y="5"/>
                      <a:pt x="35" y="0"/>
                      <a:pt x="49" y="0"/>
                    </a:cubicBezTo>
                    <a:cubicBezTo>
                      <a:pt x="66" y="0"/>
                      <a:pt x="79" y="6"/>
                      <a:pt x="88" y="18"/>
                    </a:cubicBezTo>
                    <a:cubicBezTo>
                      <a:pt x="95" y="29"/>
                      <a:pt x="99" y="45"/>
                      <a:pt x="99" y="66"/>
                    </a:cubicBezTo>
                    <a:cubicBezTo>
                      <a:pt x="99" y="89"/>
                      <a:pt x="94" y="106"/>
                      <a:pt x="84" y="118"/>
                    </a:cubicBezTo>
                    <a:cubicBezTo>
                      <a:pt x="76" y="127"/>
                      <a:pt x="64" y="131"/>
                      <a:pt x="49" y="131"/>
                    </a:cubicBezTo>
                    <a:close/>
                    <a:moveTo>
                      <a:pt x="49" y="108"/>
                    </a:moveTo>
                    <a:cubicBezTo>
                      <a:pt x="55" y="108"/>
                      <a:pt x="58" y="105"/>
                      <a:pt x="61" y="98"/>
                    </a:cubicBezTo>
                    <a:cubicBezTo>
                      <a:pt x="63" y="92"/>
                      <a:pt x="64" y="81"/>
                      <a:pt x="64" y="66"/>
                    </a:cubicBezTo>
                    <a:cubicBezTo>
                      <a:pt x="64" y="49"/>
                      <a:pt x="63" y="38"/>
                      <a:pt x="60" y="31"/>
                    </a:cubicBezTo>
                    <a:cubicBezTo>
                      <a:pt x="57" y="26"/>
                      <a:pt x="54" y="23"/>
                      <a:pt x="49" y="23"/>
                    </a:cubicBezTo>
                    <a:cubicBezTo>
                      <a:pt x="45" y="23"/>
                      <a:pt x="41" y="27"/>
                      <a:pt x="39" y="33"/>
                    </a:cubicBezTo>
                    <a:cubicBezTo>
                      <a:pt x="37" y="40"/>
                      <a:pt x="35" y="51"/>
                      <a:pt x="35" y="66"/>
                    </a:cubicBezTo>
                    <a:cubicBezTo>
                      <a:pt x="35" y="83"/>
                      <a:pt x="37" y="94"/>
                      <a:pt x="40" y="101"/>
                    </a:cubicBezTo>
                    <a:cubicBezTo>
                      <a:pt x="42" y="106"/>
                      <a:pt x="45" y="108"/>
                      <a:pt x="49" y="10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54" name="Freeform 77"/>
              <p:cNvSpPr>
                <a:spLocks/>
              </p:cNvSpPr>
              <p:nvPr/>
            </p:nvSpPr>
            <p:spPr bwMode="auto">
              <a:xfrm>
                <a:off x="6356350" y="9580562"/>
                <a:ext cx="236537" cy="473075"/>
              </a:xfrm>
              <a:custGeom>
                <a:avLst/>
                <a:gdLst>
                  <a:gd name="T0" fmla="*/ 66 w 149"/>
                  <a:gd name="T1" fmla="*/ 298 h 298"/>
                  <a:gd name="T2" fmla="*/ 66 w 149"/>
                  <a:gd name="T3" fmla="*/ 75 h 298"/>
                  <a:gd name="T4" fmla="*/ 0 w 149"/>
                  <a:gd name="T5" fmla="*/ 108 h 298"/>
                  <a:gd name="T6" fmla="*/ 0 w 149"/>
                  <a:gd name="T7" fmla="*/ 37 h 298"/>
                  <a:gd name="T8" fmla="*/ 73 w 149"/>
                  <a:gd name="T9" fmla="*/ 0 h 298"/>
                  <a:gd name="T10" fmla="*/ 149 w 149"/>
                  <a:gd name="T11" fmla="*/ 0 h 298"/>
                  <a:gd name="T12" fmla="*/ 149 w 149"/>
                  <a:gd name="T13" fmla="*/ 298 h 298"/>
                  <a:gd name="T14" fmla="*/ 66 w 149"/>
                  <a:gd name="T15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9" h="298">
                    <a:moveTo>
                      <a:pt x="66" y="298"/>
                    </a:moveTo>
                    <a:lnTo>
                      <a:pt x="66" y="75"/>
                    </a:lnTo>
                    <a:lnTo>
                      <a:pt x="0" y="108"/>
                    </a:lnTo>
                    <a:lnTo>
                      <a:pt x="0" y="37"/>
                    </a:lnTo>
                    <a:lnTo>
                      <a:pt x="73" y="0"/>
                    </a:lnTo>
                    <a:lnTo>
                      <a:pt x="149" y="0"/>
                    </a:lnTo>
                    <a:lnTo>
                      <a:pt x="149" y="298"/>
                    </a:lnTo>
                    <a:lnTo>
                      <a:pt x="66" y="298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55" name="Freeform 78"/>
              <p:cNvSpPr>
                <a:spLocks/>
              </p:cNvSpPr>
              <p:nvPr/>
            </p:nvSpPr>
            <p:spPr bwMode="auto">
              <a:xfrm>
                <a:off x="6897687" y="5675312"/>
                <a:ext cx="30162" cy="30163"/>
              </a:xfrm>
              <a:custGeom>
                <a:avLst/>
                <a:gdLst>
                  <a:gd name="T0" fmla="*/ 0 w 8"/>
                  <a:gd name="T1" fmla="*/ 0 h 8"/>
                  <a:gd name="T2" fmla="*/ 0 w 8"/>
                  <a:gd name="T3" fmla="*/ 8 h 8"/>
                  <a:gd name="T4" fmla="*/ 8 w 8"/>
                  <a:gd name="T5" fmla="*/ 4 h 8"/>
                  <a:gd name="T6" fmla="*/ 0 w 8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8">
                    <a:moveTo>
                      <a:pt x="0" y="0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5" y="3"/>
                      <a:pt x="3" y="1"/>
                      <a:pt x="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56" name="Freeform 79"/>
              <p:cNvSpPr>
                <a:spLocks/>
              </p:cNvSpPr>
              <p:nvPr/>
            </p:nvSpPr>
            <p:spPr bwMode="auto">
              <a:xfrm>
                <a:off x="7002462" y="5738812"/>
                <a:ext cx="131762" cy="266700"/>
              </a:xfrm>
              <a:custGeom>
                <a:avLst/>
                <a:gdLst>
                  <a:gd name="T0" fmla="*/ 0 w 35"/>
                  <a:gd name="T1" fmla="*/ 0 h 71"/>
                  <a:gd name="T2" fmla="*/ 0 w 35"/>
                  <a:gd name="T3" fmla="*/ 71 h 71"/>
                  <a:gd name="T4" fmla="*/ 35 w 35"/>
                  <a:gd name="T5" fmla="*/ 71 h 71"/>
                  <a:gd name="T6" fmla="*/ 35 w 35"/>
                  <a:gd name="T7" fmla="*/ 24 h 71"/>
                  <a:gd name="T8" fmla="*/ 0 w 35"/>
                  <a:gd name="T9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71">
                    <a:moveTo>
                      <a:pt x="0" y="0"/>
                    </a:moveTo>
                    <a:cubicBezTo>
                      <a:pt x="0" y="71"/>
                      <a:pt x="0" y="71"/>
                      <a:pt x="0" y="71"/>
                    </a:cubicBezTo>
                    <a:cubicBezTo>
                      <a:pt x="35" y="71"/>
                      <a:pt x="35" y="71"/>
                      <a:pt x="35" y="71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23" y="15"/>
                      <a:pt x="12" y="7"/>
                      <a:pt x="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57" name="Freeform 80"/>
              <p:cNvSpPr>
                <a:spLocks/>
              </p:cNvSpPr>
              <p:nvPr/>
            </p:nvSpPr>
            <p:spPr bwMode="auto">
              <a:xfrm>
                <a:off x="7975600" y="7173912"/>
                <a:ext cx="98425" cy="150813"/>
              </a:xfrm>
              <a:custGeom>
                <a:avLst/>
                <a:gdLst>
                  <a:gd name="T0" fmla="*/ 20 w 26"/>
                  <a:gd name="T1" fmla="*/ 0 h 40"/>
                  <a:gd name="T2" fmla="*/ 0 w 26"/>
                  <a:gd name="T3" fmla="*/ 9 h 40"/>
                  <a:gd name="T4" fmla="*/ 0 w 26"/>
                  <a:gd name="T5" fmla="*/ 40 h 40"/>
                  <a:gd name="T6" fmla="*/ 26 w 26"/>
                  <a:gd name="T7" fmla="*/ 27 h 40"/>
                  <a:gd name="T8" fmla="*/ 20 w 26"/>
                  <a:gd name="T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40">
                    <a:moveTo>
                      <a:pt x="20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4" y="18"/>
                      <a:pt x="22" y="9"/>
                      <a:pt x="20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58" name="Freeform 81"/>
              <p:cNvSpPr>
                <a:spLocks/>
              </p:cNvSpPr>
              <p:nvPr/>
            </p:nvSpPr>
            <p:spPr bwMode="auto">
              <a:xfrm>
                <a:off x="8080375" y="7305674"/>
                <a:ext cx="46037" cy="319088"/>
              </a:xfrm>
              <a:custGeom>
                <a:avLst/>
                <a:gdLst>
                  <a:gd name="T0" fmla="*/ 0 w 12"/>
                  <a:gd name="T1" fmla="*/ 0 h 85"/>
                  <a:gd name="T2" fmla="*/ 0 w 12"/>
                  <a:gd name="T3" fmla="*/ 85 h 85"/>
                  <a:gd name="T4" fmla="*/ 12 w 12"/>
                  <a:gd name="T5" fmla="*/ 85 h 85"/>
                  <a:gd name="T6" fmla="*/ 0 w 12"/>
                  <a:gd name="T7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85">
                    <a:moveTo>
                      <a:pt x="0" y="0"/>
                    </a:moveTo>
                    <a:cubicBezTo>
                      <a:pt x="0" y="85"/>
                      <a:pt x="0" y="85"/>
                      <a:pt x="0" y="85"/>
                    </a:cubicBezTo>
                    <a:cubicBezTo>
                      <a:pt x="12" y="85"/>
                      <a:pt x="12" y="85"/>
                      <a:pt x="12" y="85"/>
                    </a:cubicBezTo>
                    <a:cubicBezTo>
                      <a:pt x="10" y="56"/>
                      <a:pt x="6" y="27"/>
                      <a:pt x="0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59" name="Freeform 82"/>
              <p:cNvSpPr>
                <a:spLocks/>
              </p:cNvSpPr>
              <p:nvPr/>
            </p:nvSpPr>
            <p:spPr bwMode="auto">
              <a:xfrm>
                <a:off x="7439025" y="6340474"/>
                <a:ext cx="231775" cy="473075"/>
              </a:xfrm>
              <a:custGeom>
                <a:avLst/>
                <a:gdLst>
                  <a:gd name="T0" fmla="*/ 27 w 62"/>
                  <a:gd name="T1" fmla="*/ 126 h 126"/>
                  <a:gd name="T2" fmla="*/ 62 w 62"/>
                  <a:gd name="T3" fmla="*/ 126 h 126"/>
                  <a:gd name="T4" fmla="*/ 62 w 62"/>
                  <a:gd name="T5" fmla="*/ 9 h 126"/>
                  <a:gd name="T6" fmla="*/ 56 w 62"/>
                  <a:gd name="T7" fmla="*/ 0 h 126"/>
                  <a:gd name="T8" fmla="*/ 30 w 62"/>
                  <a:gd name="T9" fmla="*/ 0 h 126"/>
                  <a:gd name="T10" fmla="*/ 0 w 62"/>
                  <a:gd name="T11" fmla="*/ 16 h 126"/>
                  <a:gd name="T12" fmla="*/ 0 w 62"/>
                  <a:gd name="T13" fmla="*/ 46 h 126"/>
                  <a:gd name="T14" fmla="*/ 27 w 62"/>
                  <a:gd name="T15" fmla="*/ 33 h 126"/>
                  <a:gd name="T16" fmla="*/ 27 w 62"/>
                  <a:gd name="T17" fmla="*/ 126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2" h="126">
                    <a:moveTo>
                      <a:pt x="27" y="126"/>
                    </a:moveTo>
                    <a:cubicBezTo>
                      <a:pt x="62" y="126"/>
                      <a:pt x="62" y="126"/>
                      <a:pt x="62" y="126"/>
                    </a:cubicBezTo>
                    <a:cubicBezTo>
                      <a:pt x="62" y="9"/>
                      <a:pt x="62" y="9"/>
                      <a:pt x="62" y="9"/>
                    </a:cubicBezTo>
                    <a:cubicBezTo>
                      <a:pt x="60" y="6"/>
                      <a:pt x="58" y="3"/>
                      <a:pt x="56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27" y="33"/>
                      <a:pt x="27" y="33"/>
                      <a:pt x="27" y="33"/>
                    </a:cubicBezTo>
                    <a:lnTo>
                      <a:pt x="27" y="126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60" name="Freeform 83"/>
              <p:cNvSpPr>
                <a:spLocks/>
              </p:cNvSpPr>
              <p:nvPr/>
            </p:nvSpPr>
            <p:spPr bwMode="auto">
              <a:xfrm>
                <a:off x="7975600" y="7959724"/>
                <a:ext cx="153987" cy="357188"/>
              </a:xfrm>
              <a:custGeom>
                <a:avLst/>
                <a:gdLst>
                  <a:gd name="T0" fmla="*/ 41 w 41"/>
                  <a:gd name="T1" fmla="*/ 0 h 95"/>
                  <a:gd name="T2" fmla="*/ 31 w 41"/>
                  <a:gd name="T3" fmla="*/ 0 h 95"/>
                  <a:gd name="T4" fmla="*/ 0 w 41"/>
                  <a:gd name="T5" fmla="*/ 16 h 95"/>
                  <a:gd name="T6" fmla="*/ 0 w 41"/>
                  <a:gd name="T7" fmla="*/ 46 h 95"/>
                  <a:gd name="T8" fmla="*/ 28 w 41"/>
                  <a:gd name="T9" fmla="*/ 32 h 95"/>
                  <a:gd name="T10" fmla="*/ 28 w 41"/>
                  <a:gd name="T11" fmla="*/ 95 h 95"/>
                  <a:gd name="T12" fmla="*/ 41 w 41"/>
                  <a:gd name="T13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95">
                    <a:moveTo>
                      <a:pt x="41" y="0"/>
                    </a:moveTo>
                    <a:cubicBezTo>
                      <a:pt x="31" y="0"/>
                      <a:pt x="31" y="0"/>
                      <a:pt x="31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28" y="95"/>
                      <a:pt x="28" y="95"/>
                      <a:pt x="28" y="95"/>
                    </a:cubicBezTo>
                    <a:cubicBezTo>
                      <a:pt x="35" y="64"/>
                      <a:pt x="39" y="33"/>
                      <a:pt x="41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61" name="Freeform 84"/>
              <p:cNvSpPr>
                <a:spLocks noEditPoints="1"/>
              </p:cNvSpPr>
              <p:nvPr/>
            </p:nvSpPr>
            <p:spPr bwMode="auto">
              <a:xfrm>
                <a:off x="7397750" y="8759824"/>
                <a:ext cx="371475" cy="493713"/>
              </a:xfrm>
              <a:custGeom>
                <a:avLst/>
                <a:gdLst>
                  <a:gd name="T0" fmla="*/ 99 w 99"/>
                  <a:gd name="T1" fmla="*/ 66 h 131"/>
                  <a:gd name="T2" fmla="*/ 87 w 99"/>
                  <a:gd name="T3" fmla="*/ 18 h 131"/>
                  <a:gd name="T4" fmla="*/ 49 w 99"/>
                  <a:gd name="T5" fmla="*/ 0 h 131"/>
                  <a:gd name="T6" fmla="*/ 15 w 99"/>
                  <a:gd name="T7" fmla="*/ 14 h 131"/>
                  <a:gd name="T8" fmla="*/ 0 w 99"/>
                  <a:gd name="T9" fmla="*/ 66 h 131"/>
                  <a:gd name="T10" fmla="*/ 12 w 99"/>
                  <a:gd name="T11" fmla="*/ 113 h 131"/>
                  <a:gd name="T12" fmla="*/ 49 w 99"/>
                  <a:gd name="T13" fmla="*/ 131 h 131"/>
                  <a:gd name="T14" fmla="*/ 78 w 99"/>
                  <a:gd name="T15" fmla="*/ 122 h 131"/>
                  <a:gd name="T16" fmla="*/ 95 w 99"/>
                  <a:gd name="T17" fmla="*/ 97 h 131"/>
                  <a:gd name="T18" fmla="*/ 99 w 99"/>
                  <a:gd name="T19" fmla="*/ 66 h 131"/>
                  <a:gd name="T20" fmla="*/ 60 w 99"/>
                  <a:gd name="T21" fmla="*/ 98 h 131"/>
                  <a:gd name="T22" fmla="*/ 49 w 99"/>
                  <a:gd name="T23" fmla="*/ 108 h 131"/>
                  <a:gd name="T24" fmla="*/ 39 w 99"/>
                  <a:gd name="T25" fmla="*/ 100 h 131"/>
                  <a:gd name="T26" fmla="*/ 35 w 99"/>
                  <a:gd name="T27" fmla="*/ 66 h 131"/>
                  <a:gd name="T28" fmla="*/ 39 w 99"/>
                  <a:gd name="T29" fmla="*/ 33 h 131"/>
                  <a:gd name="T30" fmla="*/ 49 w 99"/>
                  <a:gd name="T31" fmla="*/ 23 h 131"/>
                  <a:gd name="T32" fmla="*/ 59 w 99"/>
                  <a:gd name="T33" fmla="*/ 31 h 131"/>
                  <a:gd name="T34" fmla="*/ 64 w 99"/>
                  <a:gd name="T35" fmla="*/ 66 h 131"/>
                  <a:gd name="T36" fmla="*/ 60 w 99"/>
                  <a:gd name="T37" fmla="*/ 98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9" h="131">
                    <a:moveTo>
                      <a:pt x="99" y="66"/>
                    </a:moveTo>
                    <a:cubicBezTo>
                      <a:pt x="99" y="45"/>
                      <a:pt x="95" y="29"/>
                      <a:pt x="87" y="18"/>
                    </a:cubicBezTo>
                    <a:cubicBezTo>
                      <a:pt x="79" y="6"/>
                      <a:pt x="66" y="0"/>
                      <a:pt x="49" y="0"/>
                    </a:cubicBezTo>
                    <a:cubicBezTo>
                      <a:pt x="35" y="0"/>
                      <a:pt x="23" y="5"/>
                      <a:pt x="15" y="14"/>
                    </a:cubicBezTo>
                    <a:cubicBezTo>
                      <a:pt x="5" y="25"/>
                      <a:pt x="0" y="42"/>
                      <a:pt x="0" y="66"/>
                    </a:cubicBezTo>
                    <a:cubicBezTo>
                      <a:pt x="0" y="86"/>
                      <a:pt x="4" y="102"/>
                      <a:pt x="12" y="113"/>
                    </a:cubicBezTo>
                    <a:cubicBezTo>
                      <a:pt x="20" y="125"/>
                      <a:pt x="33" y="131"/>
                      <a:pt x="49" y="131"/>
                    </a:cubicBezTo>
                    <a:cubicBezTo>
                      <a:pt x="61" y="131"/>
                      <a:pt x="71" y="128"/>
                      <a:pt x="78" y="122"/>
                    </a:cubicBezTo>
                    <a:cubicBezTo>
                      <a:pt x="84" y="114"/>
                      <a:pt x="90" y="106"/>
                      <a:pt x="95" y="97"/>
                    </a:cubicBezTo>
                    <a:cubicBezTo>
                      <a:pt x="98" y="88"/>
                      <a:pt x="99" y="78"/>
                      <a:pt x="99" y="66"/>
                    </a:cubicBezTo>
                    <a:close/>
                    <a:moveTo>
                      <a:pt x="60" y="98"/>
                    </a:moveTo>
                    <a:cubicBezTo>
                      <a:pt x="58" y="104"/>
                      <a:pt x="54" y="108"/>
                      <a:pt x="49" y="108"/>
                    </a:cubicBezTo>
                    <a:cubicBezTo>
                      <a:pt x="45" y="108"/>
                      <a:pt x="42" y="105"/>
                      <a:pt x="39" y="100"/>
                    </a:cubicBezTo>
                    <a:cubicBezTo>
                      <a:pt x="37" y="94"/>
                      <a:pt x="35" y="82"/>
                      <a:pt x="35" y="66"/>
                    </a:cubicBezTo>
                    <a:cubicBezTo>
                      <a:pt x="35" y="51"/>
                      <a:pt x="36" y="40"/>
                      <a:pt x="39" y="33"/>
                    </a:cubicBezTo>
                    <a:cubicBezTo>
                      <a:pt x="41" y="26"/>
                      <a:pt x="44" y="23"/>
                      <a:pt x="49" y="23"/>
                    </a:cubicBezTo>
                    <a:cubicBezTo>
                      <a:pt x="54" y="23"/>
                      <a:pt x="57" y="26"/>
                      <a:pt x="59" y="31"/>
                    </a:cubicBezTo>
                    <a:cubicBezTo>
                      <a:pt x="62" y="37"/>
                      <a:pt x="64" y="49"/>
                      <a:pt x="64" y="66"/>
                    </a:cubicBezTo>
                    <a:cubicBezTo>
                      <a:pt x="64" y="81"/>
                      <a:pt x="63" y="91"/>
                      <a:pt x="60" y="98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62" name="Freeform 85"/>
              <p:cNvSpPr>
                <a:spLocks/>
              </p:cNvSpPr>
              <p:nvPr/>
            </p:nvSpPr>
            <p:spPr bwMode="auto">
              <a:xfrm>
                <a:off x="6856412" y="9567862"/>
                <a:ext cx="363537" cy="387350"/>
              </a:xfrm>
              <a:custGeom>
                <a:avLst/>
                <a:gdLst>
                  <a:gd name="T0" fmla="*/ 97 w 97"/>
                  <a:gd name="T1" fmla="*/ 42 h 103"/>
                  <a:gd name="T2" fmla="*/ 88 w 97"/>
                  <a:gd name="T3" fmla="*/ 18 h 103"/>
                  <a:gd name="T4" fmla="*/ 50 w 97"/>
                  <a:gd name="T5" fmla="*/ 0 h 103"/>
                  <a:gd name="T6" fmla="*/ 15 w 97"/>
                  <a:gd name="T7" fmla="*/ 14 h 103"/>
                  <a:gd name="T8" fmla="*/ 0 w 97"/>
                  <a:gd name="T9" fmla="*/ 66 h 103"/>
                  <a:gd name="T10" fmla="*/ 7 w 97"/>
                  <a:gd name="T11" fmla="*/ 103 h 103"/>
                  <a:gd name="T12" fmla="*/ 37 w 97"/>
                  <a:gd name="T13" fmla="*/ 85 h 103"/>
                  <a:gd name="T14" fmla="*/ 36 w 97"/>
                  <a:gd name="T15" fmla="*/ 66 h 103"/>
                  <a:gd name="T16" fmla="*/ 39 w 97"/>
                  <a:gd name="T17" fmla="*/ 33 h 103"/>
                  <a:gd name="T18" fmla="*/ 50 w 97"/>
                  <a:gd name="T19" fmla="*/ 23 h 103"/>
                  <a:gd name="T20" fmla="*/ 60 w 97"/>
                  <a:gd name="T21" fmla="*/ 31 h 103"/>
                  <a:gd name="T22" fmla="*/ 64 w 97"/>
                  <a:gd name="T23" fmla="*/ 66 h 103"/>
                  <a:gd name="T24" fmla="*/ 64 w 97"/>
                  <a:gd name="T25" fmla="*/ 67 h 103"/>
                  <a:gd name="T26" fmla="*/ 97 w 97"/>
                  <a:gd name="T27" fmla="*/ 4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7" h="103">
                    <a:moveTo>
                      <a:pt x="97" y="42"/>
                    </a:moveTo>
                    <a:cubicBezTo>
                      <a:pt x="95" y="32"/>
                      <a:pt x="92" y="25"/>
                      <a:pt x="88" y="18"/>
                    </a:cubicBezTo>
                    <a:cubicBezTo>
                      <a:pt x="79" y="6"/>
                      <a:pt x="67" y="0"/>
                      <a:pt x="50" y="0"/>
                    </a:cubicBezTo>
                    <a:cubicBezTo>
                      <a:pt x="35" y="0"/>
                      <a:pt x="23" y="5"/>
                      <a:pt x="15" y="14"/>
                    </a:cubicBezTo>
                    <a:cubicBezTo>
                      <a:pt x="5" y="25"/>
                      <a:pt x="0" y="43"/>
                      <a:pt x="0" y="66"/>
                    </a:cubicBezTo>
                    <a:cubicBezTo>
                      <a:pt x="0" y="81"/>
                      <a:pt x="2" y="93"/>
                      <a:pt x="7" y="103"/>
                    </a:cubicBezTo>
                    <a:cubicBezTo>
                      <a:pt x="17" y="98"/>
                      <a:pt x="27" y="92"/>
                      <a:pt x="37" y="85"/>
                    </a:cubicBezTo>
                    <a:cubicBezTo>
                      <a:pt x="36" y="80"/>
                      <a:pt x="36" y="74"/>
                      <a:pt x="36" y="66"/>
                    </a:cubicBezTo>
                    <a:cubicBezTo>
                      <a:pt x="36" y="51"/>
                      <a:pt x="37" y="40"/>
                      <a:pt x="39" y="33"/>
                    </a:cubicBezTo>
                    <a:cubicBezTo>
                      <a:pt x="41" y="27"/>
                      <a:pt x="45" y="23"/>
                      <a:pt x="50" y="23"/>
                    </a:cubicBezTo>
                    <a:cubicBezTo>
                      <a:pt x="54" y="23"/>
                      <a:pt x="58" y="26"/>
                      <a:pt x="60" y="31"/>
                    </a:cubicBezTo>
                    <a:cubicBezTo>
                      <a:pt x="63" y="38"/>
                      <a:pt x="64" y="49"/>
                      <a:pt x="64" y="66"/>
                    </a:cubicBezTo>
                    <a:cubicBezTo>
                      <a:pt x="64" y="66"/>
                      <a:pt x="64" y="67"/>
                      <a:pt x="64" y="67"/>
                    </a:cubicBezTo>
                    <a:cubicBezTo>
                      <a:pt x="75" y="59"/>
                      <a:pt x="86" y="50"/>
                      <a:pt x="97" y="4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63" name="Freeform 86"/>
              <p:cNvSpPr>
                <a:spLocks/>
              </p:cNvSpPr>
              <p:nvPr/>
            </p:nvSpPr>
            <p:spPr bwMode="auto">
              <a:xfrm>
                <a:off x="4160837" y="9567862"/>
                <a:ext cx="373062" cy="414338"/>
              </a:xfrm>
              <a:custGeom>
                <a:avLst/>
                <a:gdLst>
                  <a:gd name="T0" fmla="*/ 49 w 99"/>
                  <a:gd name="T1" fmla="*/ 0 h 110"/>
                  <a:gd name="T2" fmla="*/ 14 w 99"/>
                  <a:gd name="T3" fmla="*/ 14 h 110"/>
                  <a:gd name="T4" fmla="*/ 0 w 99"/>
                  <a:gd name="T5" fmla="*/ 51 h 110"/>
                  <a:gd name="T6" fmla="*/ 35 w 99"/>
                  <a:gd name="T7" fmla="*/ 77 h 110"/>
                  <a:gd name="T8" fmla="*/ 35 w 99"/>
                  <a:gd name="T9" fmla="*/ 66 h 110"/>
                  <a:gd name="T10" fmla="*/ 38 w 99"/>
                  <a:gd name="T11" fmla="*/ 33 h 110"/>
                  <a:gd name="T12" fmla="*/ 49 w 99"/>
                  <a:gd name="T13" fmla="*/ 23 h 110"/>
                  <a:gd name="T14" fmla="*/ 59 w 99"/>
                  <a:gd name="T15" fmla="*/ 31 h 110"/>
                  <a:gd name="T16" fmla="*/ 63 w 99"/>
                  <a:gd name="T17" fmla="*/ 66 h 110"/>
                  <a:gd name="T18" fmla="*/ 61 w 99"/>
                  <a:gd name="T19" fmla="*/ 93 h 110"/>
                  <a:gd name="T20" fmla="*/ 89 w 99"/>
                  <a:gd name="T21" fmla="*/ 110 h 110"/>
                  <a:gd name="T22" fmla="*/ 99 w 99"/>
                  <a:gd name="T23" fmla="*/ 66 h 110"/>
                  <a:gd name="T24" fmla="*/ 87 w 99"/>
                  <a:gd name="T25" fmla="*/ 18 h 110"/>
                  <a:gd name="T26" fmla="*/ 49 w 99"/>
                  <a:gd name="T2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9" h="110">
                    <a:moveTo>
                      <a:pt x="49" y="0"/>
                    </a:moveTo>
                    <a:cubicBezTo>
                      <a:pt x="34" y="0"/>
                      <a:pt x="22" y="5"/>
                      <a:pt x="14" y="14"/>
                    </a:cubicBezTo>
                    <a:cubicBezTo>
                      <a:pt x="6" y="23"/>
                      <a:pt x="2" y="35"/>
                      <a:pt x="0" y="51"/>
                    </a:cubicBezTo>
                    <a:cubicBezTo>
                      <a:pt x="11" y="60"/>
                      <a:pt x="23" y="69"/>
                      <a:pt x="35" y="77"/>
                    </a:cubicBezTo>
                    <a:cubicBezTo>
                      <a:pt x="35" y="73"/>
                      <a:pt x="35" y="70"/>
                      <a:pt x="35" y="66"/>
                    </a:cubicBezTo>
                    <a:cubicBezTo>
                      <a:pt x="35" y="51"/>
                      <a:pt x="36" y="40"/>
                      <a:pt x="38" y="33"/>
                    </a:cubicBezTo>
                    <a:cubicBezTo>
                      <a:pt x="40" y="27"/>
                      <a:pt x="44" y="23"/>
                      <a:pt x="49" y="23"/>
                    </a:cubicBezTo>
                    <a:cubicBezTo>
                      <a:pt x="53" y="23"/>
                      <a:pt x="57" y="26"/>
                      <a:pt x="59" y="31"/>
                    </a:cubicBezTo>
                    <a:cubicBezTo>
                      <a:pt x="62" y="38"/>
                      <a:pt x="63" y="49"/>
                      <a:pt x="63" y="66"/>
                    </a:cubicBezTo>
                    <a:cubicBezTo>
                      <a:pt x="63" y="78"/>
                      <a:pt x="62" y="87"/>
                      <a:pt x="61" y="93"/>
                    </a:cubicBezTo>
                    <a:cubicBezTo>
                      <a:pt x="70" y="99"/>
                      <a:pt x="80" y="104"/>
                      <a:pt x="89" y="110"/>
                    </a:cubicBezTo>
                    <a:cubicBezTo>
                      <a:pt x="95" y="99"/>
                      <a:pt x="99" y="84"/>
                      <a:pt x="99" y="66"/>
                    </a:cubicBezTo>
                    <a:cubicBezTo>
                      <a:pt x="99" y="45"/>
                      <a:pt x="95" y="29"/>
                      <a:pt x="87" y="18"/>
                    </a:cubicBezTo>
                    <a:cubicBezTo>
                      <a:pt x="78" y="6"/>
                      <a:pt x="66" y="0"/>
                      <a:pt x="49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64" name="Freeform 87"/>
              <p:cNvSpPr>
                <a:spLocks/>
              </p:cNvSpPr>
              <p:nvPr/>
            </p:nvSpPr>
            <p:spPr bwMode="auto">
              <a:xfrm>
                <a:off x="3206750" y="7951787"/>
                <a:ext cx="244475" cy="488950"/>
              </a:xfrm>
              <a:custGeom>
                <a:avLst/>
                <a:gdLst>
                  <a:gd name="T0" fmla="*/ 15 w 65"/>
                  <a:gd name="T1" fmla="*/ 0 h 130"/>
                  <a:gd name="T2" fmla="*/ 0 w 65"/>
                  <a:gd name="T3" fmla="*/ 2 h 130"/>
                  <a:gd name="T4" fmla="*/ 3 w 65"/>
                  <a:gd name="T5" fmla="*/ 38 h 130"/>
                  <a:gd name="T6" fmla="*/ 5 w 65"/>
                  <a:gd name="T7" fmla="*/ 33 h 130"/>
                  <a:gd name="T8" fmla="*/ 15 w 65"/>
                  <a:gd name="T9" fmla="*/ 23 h 130"/>
                  <a:gd name="T10" fmla="*/ 26 w 65"/>
                  <a:gd name="T11" fmla="*/ 30 h 130"/>
                  <a:gd name="T12" fmla="*/ 30 w 65"/>
                  <a:gd name="T13" fmla="*/ 65 h 130"/>
                  <a:gd name="T14" fmla="*/ 27 w 65"/>
                  <a:gd name="T15" fmla="*/ 97 h 130"/>
                  <a:gd name="T16" fmla="*/ 15 w 65"/>
                  <a:gd name="T17" fmla="*/ 107 h 130"/>
                  <a:gd name="T18" fmla="*/ 15 w 65"/>
                  <a:gd name="T19" fmla="*/ 107 h 130"/>
                  <a:gd name="T20" fmla="*/ 21 w 65"/>
                  <a:gd name="T21" fmla="*/ 130 h 130"/>
                  <a:gd name="T22" fmla="*/ 50 w 65"/>
                  <a:gd name="T23" fmla="*/ 117 h 130"/>
                  <a:gd name="T24" fmla="*/ 65 w 65"/>
                  <a:gd name="T25" fmla="*/ 65 h 130"/>
                  <a:gd name="T26" fmla="*/ 54 w 65"/>
                  <a:gd name="T27" fmla="*/ 18 h 130"/>
                  <a:gd name="T28" fmla="*/ 15 w 65"/>
                  <a:gd name="T2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5" h="130">
                    <a:moveTo>
                      <a:pt x="15" y="0"/>
                    </a:moveTo>
                    <a:cubicBezTo>
                      <a:pt x="10" y="0"/>
                      <a:pt x="5" y="0"/>
                      <a:pt x="0" y="2"/>
                    </a:cubicBezTo>
                    <a:cubicBezTo>
                      <a:pt x="1" y="14"/>
                      <a:pt x="2" y="26"/>
                      <a:pt x="3" y="38"/>
                    </a:cubicBezTo>
                    <a:cubicBezTo>
                      <a:pt x="4" y="36"/>
                      <a:pt x="4" y="34"/>
                      <a:pt x="5" y="33"/>
                    </a:cubicBezTo>
                    <a:cubicBezTo>
                      <a:pt x="7" y="26"/>
                      <a:pt x="11" y="23"/>
                      <a:pt x="15" y="23"/>
                    </a:cubicBezTo>
                    <a:cubicBezTo>
                      <a:pt x="20" y="23"/>
                      <a:pt x="23" y="25"/>
                      <a:pt x="26" y="30"/>
                    </a:cubicBezTo>
                    <a:cubicBezTo>
                      <a:pt x="29" y="37"/>
                      <a:pt x="30" y="49"/>
                      <a:pt x="30" y="65"/>
                    </a:cubicBezTo>
                    <a:cubicBezTo>
                      <a:pt x="30" y="80"/>
                      <a:pt x="29" y="91"/>
                      <a:pt x="27" y="97"/>
                    </a:cubicBezTo>
                    <a:cubicBezTo>
                      <a:pt x="24" y="104"/>
                      <a:pt x="21" y="107"/>
                      <a:pt x="15" y="107"/>
                    </a:cubicBezTo>
                    <a:cubicBezTo>
                      <a:pt x="15" y="107"/>
                      <a:pt x="15" y="107"/>
                      <a:pt x="15" y="107"/>
                    </a:cubicBezTo>
                    <a:cubicBezTo>
                      <a:pt x="17" y="115"/>
                      <a:pt x="19" y="123"/>
                      <a:pt x="21" y="130"/>
                    </a:cubicBezTo>
                    <a:cubicBezTo>
                      <a:pt x="33" y="129"/>
                      <a:pt x="43" y="125"/>
                      <a:pt x="50" y="117"/>
                    </a:cubicBezTo>
                    <a:cubicBezTo>
                      <a:pt x="60" y="106"/>
                      <a:pt x="65" y="89"/>
                      <a:pt x="65" y="65"/>
                    </a:cubicBezTo>
                    <a:cubicBezTo>
                      <a:pt x="65" y="45"/>
                      <a:pt x="61" y="29"/>
                      <a:pt x="54" y="18"/>
                    </a:cubicBezTo>
                    <a:cubicBezTo>
                      <a:pt x="45" y="6"/>
                      <a:pt x="32" y="0"/>
                      <a:pt x="1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65" name="Freeform 88"/>
              <p:cNvSpPr>
                <a:spLocks/>
              </p:cNvSpPr>
              <p:nvPr/>
            </p:nvSpPr>
            <p:spPr bwMode="auto">
              <a:xfrm>
                <a:off x="3225800" y="7151687"/>
                <a:ext cx="127000" cy="473075"/>
              </a:xfrm>
              <a:custGeom>
                <a:avLst/>
                <a:gdLst>
                  <a:gd name="T0" fmla="*/ 0 w 34"/>
                  <a:gd name="T1" fmla="*/ 126 h 126"/>
                  <a:gd name="T2" fmla="*/ 34 w 34"/>
                  <a:gd name="T3" fmla="*/ 126 h 126"/>
                  <a:gd name="T4" fmla="*/ 34 w 34"/>
                  <a:gd name="T5" fmla="*/ 0 h 126"/>
                  <a:gd name="T6" fmla="*/ 18 w 34"/>
                  <a:gd name="T7" fmla="*/ 0 h 126"/>
                  <a:gd name="T8" fmla="*/ 0 w 34"/>
                  <a:gd name="T9" fmla="*/ 90 h 126"/>
                  <a:gd name="T10" fmla="*/ 0 w 34"/>
                  <a:gd name="T11" fmla="*/ 126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" h="126">
                    <a:moveTo>
                      <a:pt x="0" y="126"/>
                    </a:moveTo>
                    <a:cubicBezTo>
                      <a:pt x="34" y="126"/>
                      <a:pt x="34" y="126"/>
                      <a:pt x="34" y="126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0" y="29"/>
                      <a:pt x="4" y="59"/>
                      <a:pt x="0" y="90"/>
                    </a:cubicBezTo>
                    <a:lnTo>
                      <a:pt x="0" y="126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grpSp>
        <p:nvGrpSpPr>
          <p:cNvPr id="194" name="Group 4"/>
          <p:cNvGrpSpPr>
            <a:grpSpLocks noChangeAspect="1"/>
          </p:cNvGrpSpPr>
          <p:nvPr/>
        </p:nvGrpSpPr>
        <p:grpSpPr bwMode="auto">
          <a:xfrm>
            <a:off x="4390096" y="3520363"/>
            <a:ext cx="411480" cy="411480"/>
            <a:chOff x="2186" y="926"/>
            <a:chExt cx="1390" cy="1390"/>
          </a:xfrm>
        </p:grpSpPr>
        <p:sp>
          <p:nvSpPr>
            <p:cNvPr id="195" name="Oval 5"/>
            <p:cNvSpPr>
              <a:spLocks noChangeArrowheads="1"/>
            </p:cNvSpPr>
            <p:nvPr/>
          </p:nvSpPr>
          <p:spPr bwMode="auto">
            <a:xfrm>
              <a:off x="2186" y="926"/>
              <a:ext cx="1390" cy="139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96" name="Freeform 6"/>
            <p:cNvSpPr>
              <a:spLocks/>
            </p:cNvSpPr>
            <p:nvPr/>
          </p:nvSpPr>
          <p:spPr bwMode="auto">
            <a:xfrm>
              <a:off x="2672" y="1410"/>
              <a:ext cx="416" cy="325"/>
            </a:xfrm>
            <a:custGeom>
              <a:avLst/>
              <a:gdLst>
                <a:gd name="T0" fmla="*/ 172 w 175"/>
                <a:gd name="T1" fmla="*/ 95 h 137"/>
                <a:gd name="T2" fmla="*/ 149 w 175"/>
                <a:gd name="T3" fmla="*/ 95 h 137"/>
                <a:gd name="T4" fmla="*/ 149 w 175"/>
                <a:gd name="T5" fmla="*/ 67 h 137"/>
                <a:gd name="T6" fmla="*/ 92 w 175"/>
                <a:gd name="T7" fmla="*/ 67 h 137"/>
                <a:gd name="T8" fmla="*/ 92 w 175"/>
                <a:gd name="T9" fmla="*/ 42 h 137"/>
                <a:gd name="T10" fmla="*/ 114 w 175"/>
                <a:gd name="T11" fmla="*/ 42 h 137"/>
                <a:gd name="T12" fmla="*/ 117 w 175"/>
                <a:gd name="T13" fmla="*/ 39 h 137"/>
                <a:gd name="T14" fmla="*/ 117 w 175"/>
                <a:gd name="T15" fmla="*/ 3 h 137"/>
                <a:gd name="T16" fmla="*/ 114 w 175"/>
                <a:gd name="T17" fmla="*/ 0 h 137"/>
                <a:gd name="T18" fmla="*/ 62 w 175"/>
                <a:gd name="T19" fmla="*/ 0 h 137"/>
                <a:gd name="T20" fmla="*/ 58 w 175"/>
                <a:gd name="T21" fmla="*/ 3 h 137"/>
                <a:gd name="T22" fmla="*/ 58 w 175"/>
                <a:gd name="T23" fmla="*/ 39 h 137"/>
                <a:gd name="T24" fmla="*/ 62 w 175"/>
                <a:gd name="T25" fmla="*/ 42 h 137"/>
                <a:gd name="T26" fmla="*/ 84 w 175"/>
                <a:gd name="T27" fmla="*/ 42 h 137"/>
                <a:gd name="T28" fmla="*/ 84 w 175"/>
                <a:gd name="T29" fmla="*/ 67 h 137"/>
                <a:gd name="T30" fmla="*/ 26 w 175"/>
                <a:gd name="T31" fmla="*/ 67 h 137"/>
                <a:gd name="T32" fmla="*/ 26 w 175"/>
                <a:gd name="T33" fmla="*/ 95 h 137"/>
                <a:gd name="T34" fmla="*/ 4 w 175"/>
                <a:gd name="T35" fmla="*/ 95 h 137"/>
                <a:gd name="T36" fmla="*/ 0 w 175"/>
                <a:gd name="T37" fmla="*/ 98 h 137"/>
                <a:gd name="T38" fmla="*/ 0 w 175"/>
                <a:gd name="T39" fmla="*/ 134 h 137"/>
                <a:gd name="T40" fmla="*/ 4 w 175"/>
                <a:gd name="T41" fmla="*/ 137 h 137"/>
                <a:gd name="T42" fmla="*/ 56 w 175"/>
                <a:gd name="T43" fmla="*/ 137 h 137"/>
                <a:gd name="T44" fmla="*/ 59 w 175"/>
                <a:gd name="T45" fmla="*/ 134 h 137"/>
                <a:gd name="T46" fmla="*/ 59 w 175"/>
                <a:gd name="T47" fmla="*/ 98 h 137"/>
                <a:gd name="T48" fmla="*/ 56 w 175"/>
                <a:gd name="T49" fmla="*/ 95 h 137"/>
                <a:gd name="T50" fmla="*/ 34 w 175"/>
                <a:gd name="T51" fmla="*/ 95 h 137"/>
                <a:gd name="T52" fmla="*/ 34 w 175"/>
                <a:gd name="T53" fmla="*/ 75 h 137"/>
                <a:gd name="T54" fmla="*/ 141 w 175"/>
                <a:gd name="T55" fmla="*/ 75 h 137"/>
                <a:gd name="T56" fmla="*/ 141 w 175"/>
                <a:gd name="T57" fmla="*/ 95 h 137"/>
                <a:gd name="T58" fmla="*/ 120 w 175"/>
                <a:gd name="T59" fmla="*/ 95 h 137"/>
                <a:gd name="T60" fmla="*/ 116 w 175"/>
                <a:gd name="T61" fmla="*/ 98 h 137"/>
                <a:gd name="T62" fmla="*/ 116 w 175"/>
                <a:gd name="T63" fmla="*/ 134 h 137"/>
                <a:gd name="T64" fmla="*/ 120 w 175"/>
                <a:gd name="T65" fmla="*/ 137 h 137"/>
                <a:gd name="T66" fmla="*/ 172 w 175"/>
                <a:gd name="T67" fmla="*/ 137 h 137"/>
                <a:gd name="T68" fmla="*/ 175 w 175"/>
                <a:gd name="T69" fmla="*/ 134 h 137"/>
                <a:gd name="T70" fmla="*/ 175 w 175"/>
                <a:gd name="T71" fmla="*/ 98 h 137"/>
                <a:gd name="T72" fmla="*/ 172 w 175"/>
                <a:gd name="T73" fmla="*/ 95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5" h="137">
                  <a:moveTo>
                    <a:pt x="172" y="95"/>
                  </a:moveTo>
                  <a:cubicBezTo>
                    <a:pt x="149" y="95"/>
                    <a:pt x="149" y="95"/>
                    <a:pt x="149" y="95"/>
                  </a:cubicBezTo>
                  <a:cubicBezTo>
                    <a:pt x="149" y="67"/>
                    <a:pt x="149" y="67"/>
                    <a:pt x="149" y="67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6" y="42"/>
                    <a:pt x="117" y="41"/>
                    <a:pt x="117" y="39"/>
                  </a:cubicBezTo>
                  <a:cubicBezTo>
                    <a:pt x="117" y="3"/>
                    <a:pt x="117" y="3"/>
                    <a:pt x="117" y="3"/>
                  </a:cubicBezTo>
                  <a:cubicBezTo>
                    <a:pt x="117" y="1"/>
                    <a:pt x="116" y="0"/>
                    <a:pt x="114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0" y="0"/>
                    <a:pt x="58" y="1"/>
                    <a:pt x="58" y="3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58" y="41"/>
                    <a:pt x="60" y="42"/>
                    <a:pt x="62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95"/>
                    <a:pt x="26" y="95"/>
                    <a:pt x="26" y="95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2" y="95"/>
                    <a:pt x="0" y="96"/>
                    <a:pt x="0" y="98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0" y="135"/>
                    <a:pt x="2" y="137"/>
                    <a:pt x="4" y="137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57" y="137"/>
                    <a:pt x="59" y="135"/>
                    <a:pt x="59" y="134"/>
                  </a:cubicBezTo>
                  <a:cubicBezTo>
                    <a:pt x="59" y="98"/>
                    <a:pt x="59" y="98"/>
                    <a:pt x="59" y="98"/>
                  </a:cubicBezTo>
                  <a:cubicBezTo>
                    <a:pt x="59" y="96"/>
                    <a:pt x="57" y="95"/>
                    <a:pt x="56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141" y="75"/>
                    <a:pt x="141" y="75"/>
                    <a:pt x="141" y="75"/>
                  </a:cubicBezTo>
                  <a:cubicBezTo>
                    <a:pt x="141" y="95"/>
                    <a:pt x="141" y="95"/>
                    <a:pt x="141" y="95"/>
                  </a:cubicBezTo>
                  <a:cubicBezTo>
                    <a:pt x="120" y="95"/>
                    <a:pt x="120" y="95"/>
                    <a:pt x="120" y="95"/>
                  </a:cubicBezTo>
                  <a:cubicBezTo>
                    <a:pt x="118" y="95"/>
                    <a:pt x="116" y="96"/>
                    <a:pt x="116" y="98"/>
                  </a:cubicBezTo>
                  <a:cubicBezTo>
                    <a:pt x="116" y="134"/>
                    <a:pt x="116" y="134"/>
                    <a:pt x="116" y="134"/>
                  </a:cubicBezTo>
                  <a:cubicBezTo>
                    <a:pt x="116" y="135"/>
                    <a:pt x="118" y="137"/>
                    <a:pt x="120" y="137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4" y="137"/>
                    <a:pt x="175" y="135"/>
                    <a:pt x="175" y="134"/>
                  </a:cubicBezTo>
                  <a:cubicBezTo>
                    <a:pt x="175" y="98"/>
                    <a:pt x="175" y="98"/>
                    <a:pt x="175" y="98"/>
                  </a:cubicBezTo>
                  <a:cubicBezTo>
                    <a:pt x="175" y="96"/>
                    <a:pt x="174" y="95"/>
                    <a:pt x="172" y="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97" name="Freeform 7"/>
            <p:cNvSpPr>
              <a:spLocks noEditPoints="1"/>
            </p:cNvSpPr>
            <p:nvPr/>
          </p:nvSpPr>
          <p:spPr bwMode="auto">
            <a:xfrm>
              <a:off x="2302" y="1299"/>
              <a:ext cx="1274" cy="1017"/>
            </a:xfrm>
            <a:custGeom>
              <a:avLst/>
              <a:gdLst>
                <a:gd name="T0" fmla="*/ 535 w 537"/>
                <a:gd name="T1" fmla="*/ 108 h 429"/>
                <a:gd name="T2" fmla="*/ 438 w 537"/>
                <a:gd name="T3" fmla="*/ 10 h 429"/>
                <a:gd name="T4" fmla="*/ 423 w 537"/>
                <a:gd name="T5" fmla="*/ 0 h 429"/>
                <a:gd name="T6" fmla="*/ 64 w 537"/>
                <a:gd name="T7" fmla="*/ 0 h 429"/>
                <a:gd name="T8" fmla="*/ 48 w 537"/>
                <a:gd name="T9" fmla="*/ 16 h 429"/>
                <a:gd name="T10" fmla="*/ 48 w 537"/>
                <a:gd name="T11" fmla="*/ 215 h 429"/>
                <a:gd name="T12" fmla="*/ 60 w 537"/>
                <a:gd name="T13" fmla="*/ 230 h 429"/>
                <a:gd name="T14" fmla="*/ 59 w 537"/>
                <a:gd name="T15" fmla="*/ 230 h 429"/>
                <a:gd name="T16" fmla="*/ 79 w 537"/>
                <a:gd name="T17" fmla="*/ 249 h 429"/>
                <a:gd name="T18" fmla="*/ 10 w 537"/>
                <a:gd name="T19" fmla="*/ 249 h 429"/>
                <a:gd name="T20" fmla="*/ 0 w 537"/>
                <a:gd name="T21" fmla="*/ 259 h 429"/>
                <a:gd name="T22" fmla="*/ 8 w 537"/>
                <a:gd name="T23" fmla="*/ 269 h 429"/>
                <a:gd name="T24" fmla="*/ 8 w 537"/>
                <a:gd name="T25" fmla="*/ 270 h 429"/>
                <a:gd name="T26" fmla="*/ 151 w 537"/>
                <a:gd name="T27" fmla="*/ 414 h 429"/>
                <a:gd name="T28" fmla="*/ 244 w 537"/>
                <a:gd name="T29" fmla="*/ 429 h 429"/>
                <a:gd name="T30" fmla="*/ 537 w 537"/>
                <a:gd name="T31" fmla="*/ 136 h 429"/>
                <a:gd name="T32" fmla="*/ 535 w 537"/>
                <a:gd name="T33" fmla="*/ 108 h 429"/>
                <a:gd name="T34" fmla="*/ 64 w 537"/>
                <a:gd name="T35" fmla="*/ 231 h 429"/>
                <a:gd name="T36" fmla="*/ 62 w 537"/>
                <a:gd name="T37" fmla="*/ 231 h 429"/>
                <a:gd name="T38" fmla="*/ 64 w 537"/>
                <a:gd name="T39" fmla="*/ 231 h 429"/>
                <a:gd name="T40" fmla="*/ 69 w 537"/>
                <a:gd name="T41" fmla="*/ 210 h 429"/>
                <a:gd name="T42" fmla="*/ 69 w 537"/>
                <a:gd name="T43" fmla="*/ 20 h 429"/>
                <a:gd name="T44" fmla="*/ 418 w 537"/>
                <a:gd name="T45" fmla="*/ 20 h 429"/>
                <a:gd name="T46" fmla="*/ 418 w 537"/>
                <a:gd name="T47" fmla="*/ 210 h 429"/>
                <a:gd name="T48" fmla="*/ 69 w 537"/>
                <a:gd name="T49" fmla="*/ 210 h 429"/>
                <a:gd name="T50" fmla="*/ 10 w 537"/>
                <a:gd name="T51" fmla="*/ 270 h 429"/>
                <a:gd name="T52" fmla="*/ 10 w 537"/>
                <a:gd name="T53" fmla="*/ 270 h 429"/>
                <a:gd name="T54" fmla="*/ 10 w 537"/>
                <a:gd name="T55" fmla="*/ 27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37" h="429">
                  <a:moveTo>
                    <a:pt x="535" y="108"/>
                  </a:moveTo>
                  <a:cubicBezTo>
                    <a:pt x="438" y="10"/>
                    <a:pt x="438" y="10"/>
                    <a:pt x="438" y="10"/>
                  </a:cubicBezTo>
                  <a:cubicBezTo>
                    <a:pt x="436" y="4"/>
                    <a:pt x="430" y="0"/>
                    <a:pt x="423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55" y="0"/>
                    <a:pt x="48" y="7"/>
                    <a:pt x="48" y="16"/>
                  </a:cubicBezTo>
                  <a:cubicBezTo>
                    <a:pt x="48" y="215"/>
                    <a:pt x="48" y="215"/>
                    <a:pt x="48" y="215"/>
                  </a:cubicBezTo>
                  <a:cubicBezTo>
                    <a:pt x="48" y="222"/>
                    <a:pt x="53" y="228"/>
                    <a:pt x="60" y="230"/>
                  </a:cubicBezTo>
                  <a:cubicBezTo>
                    <a:pt x="59" y="230"/>
                    <a:pt x="59" y="230"/>
                    <a:pt x="59" y="230"/>
                  </a:cubicBezTo>
                  <a:cubicBezTo>
                    <a:pt x="79" y="249"/>
                    <a:pt x="79" y="249"/>
                    <a:pt x="79" y="249"/>
                  </a:cubicBezTo>
                  <a:cubicBezTo>
                    <a:pt x="10" y="249"/>
                    <a:pt x="10" y="249"/>
                    <a:pt x="10" y="249"/>
                  </a:cubicBezTo>
                  <a:cubicBezTo>
                    <a:pt x="4" y="249"/>
                    <a:pt x="0" y="254"/>
                    <a:pt x="0" y="259"/>
                  </a:cubicBezTo>
                  <a:cubicBezTo>
                    <a:pt x="0" y="264"/>
                    <a:pt x="3" y="268"/>
                    <a:pt x="8" y="269"/>
                  </a:cubicBezTo>
                  <a:cubicBezTo>
                    <a:pt x="8" y="270"/>
                    <a:pt x="8" y="270"/>
                    <a:pt x="8" y="270"/>
                  </a:cubicBezTo>
                  <a:cubicBezTo>
                    <a:pt x="151" y="414"/>
                    <a:pt x="151" y="414"/>
                    <a:pt x="151" y="414"/>
                  </a:cubicBezTo>
                  <a:cubicBezTo>
                    <a:pt x="180" y="423"/>
                    <a:pt x="211" y="429"/>
                    <a:pt x="244" y="429"/>
                  </a:cubicBezTo>
                  <a:cubicBezTo>
                    <a:pt x="405" y="429"/>
                    <a:pt x="537" y="297"/>
                    <a:pt x="537" y="136"/>
                  </a:cubicBezTo>
                  <a:cubicBezTo>
                    <a:pt x="537" y="126"/>
                    <a:pt x="536" y="117"/>
                    <a:pt x="535" y="108"/>
                  </a:cubicBezTo>
                  <a:close/>
                  <a:moveTo>
                    <a:pt x="64" y="231"/>
                  </a:moveTo>
                  <a:cubicBezTo>
                    <a:pt x="63" y="231"/>
                    <a:pt x="62" y="231"/>
                    <a:pt x="62" y="231"/>
                  </a:cubicBezTo>
                  <a:cubicBezTo>
                    <a:pt x="62" y="231"/>
                    <a:pt x="63" y="231"/>
                    <a:pt x="64" y="231"/>
                  </a:cubicBezTo>
                  <a:close/>
                  <a:moveTo>
                    <a:pt x="69" y="210"/>
                  </a:moveTo>
                  <a:cubicBezTo>
                    <a:pt x="69" y="20"/>
                    <a:pt x="69" y="20"/>
                    <a:pt x="69" y="20"/>
                  </a:cubicBezTo>
                  <a:cubicBezTo>
                    <a:pt x="418" y="20"/>
                    <a:pt x="418" y="20"/>
                    <a:pt x="418" y="20"/>
                  </a:cubicBezTo>
                  <a:cubicBezTo>
                    <a:pt x="418" y="210"/>
                    <a:pt x="418" y="210"/>
                    <a:pt x="418" y="210"/>
                  </a:cubicBezTo>
                  <a:lnTo>
                    <a:pt x="69" y="210"/>
                  </a:lnTo>
                  <a:close/>
                  <a:moveTo>
                    <a:pt x="10" y="270"/>
                  </a:moveTo>
                  <a:cubicBezTo>
                    <a:pt x="10" y="270"/>
                    <a:pt x="10" y="270"/>
                    <a:pt x="10" y="270"/>
                  </a:cubicBezTo>
                  <a:cubicBezTo>
                    <a:pt x="10" y="270"/>
                    <a:pt x="10" y="270"/>
                    <a:pt x="10" y="270"/>
                  </a:cubicBezTo>
                  <a:close/>
                </a:path>
              </a:pathLst>
            </a:custGeom>
            <a:solidFill>
              <a:srgbClr val="00A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98" name="Freeform 8"/>
            <p:cNvSpPr>
              <a:spLocks noEditPoints="1"/>
            </p:cNvSpPr>
            <p:nvPr/>
          </p:nvSpPr>
          <p:spPr bwMode="auto">
            <a:xfrm>
              <a:off x="2416" y="1299"/>
              <a:ext cx="928" cy="548"/>
            </a:xfrm>
            <a:custGeom>
              <a:avLst/>
              <a:gdLst>
                <a:gd name="T0" fmla="*/ 375 w 391"/>
                <a:gd name="T1" fmla="*/ 231 h 231"/>
                <a:gd name="T2" fmla="*/ 16 w 391"/>
                <a:gd name="T3" fmla="*/ 231 h 231"/>
                <a:gd name="T4" fmla="*/ 0 w 391"/>
                <a:gd name="T5" fmla="*/ 215 h 231"/>
                <a:gd name="T6" fmla="*/ 0 w 391"/>
                <a:gd name="T7" fmla="*/ 16 h 231"/>
                <a:gd name="T8" fmla="*/ 16 w 391"/>
                <a:gd name="T9" fmla="*/ 0 h 231"/>
                <a:gd name="T10" fmla="*/ 375 w 391"/>
                <a:gd name="T11" fmla="*/ 0 h 231"/>
                <a:gd name="T12" fmla="*/ 391 w 391"/>
                <a:gd name="T13" fmla="*/ 16 h 231"/>
                <a:gd name="T14" fmla="*/ 391 w 391"/>
                <a:gd name="T15" fmla="*/ 215 h 231"/>
                <a:gd name="T16" fmla="*/ 375 w 391"/>
                <a:gd name="T17" fmla="*/ 231 h 231"/>
                <a:gd name="T18" fmla="*/ 21 w 391"/>
                <a:gd name="T19" fmla="*/ 210 h 231"/>
                <a:gd name="T20" fmla="*/ 370 w 391"/>
                <a:gd name="T21" fmla="*/ 210 h 231"/>
                <a:gd name="T22" fmla="*/ 370 w 391"/>
                <a:gd name="T23" fmla="*/ 20 h 231"/>
                <a:gd name="T24" fmla="*/ 21 w 391"/>
                <a:gd name="T25" fmla="*/ 20 h 231"/>
                <a:gd name="T26" fmla="*/ 21 w 391"/>
                <a:gd name="T27" fmla="*/ 21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1" h="231">
                  <a:moveTo>
                    <a:pt x="375" y="231"/>
                  </a:moveTo>
                  <a:cubicBezTo>
                    <a:pt x="16" y="231"/>
                    <a:pt x="16" y="231"/>
                    <a:pt x="16" y="231"/>
                  </a:cubicBezTo>
                  <a:cubicBezTo>
                    <a:pt x="7" y="231"/>
                    <a:pt x="0" y="224"/>
                    <a:pt x="0" y="2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375" y="0"/>
                    <a:pt x="375" y="0"/>
                    <a:pt x="375" y="0"/>
                  </a:cubicBezTo>
                  <a:cubicBezTo>
                    <a:pt x="384" y="0"/>
                    <a:pt x="391" y="7"/>
                    <a:pt x="391" y="16"/>
                  </a:cubicBezTo>
                  <a:cubicBezTo>
                    <a:pt x="391" y="215"/>
                    <a:pt x="391" y="215"/>
                    <a:pt x="391" y="215"/>
                  </a:cubicBezTo>
                  <a:cubicBezTo>
                    <a:pt x="391" y="224"/>
                    <a:pt x="384" y="231"/>
                    <a:pt x="375" y="231"/>
                  </a:cubicBezTo>
                  <a:close/>
                  <a:moveTo>
                    <a:pt x="21" y="210"/>
                  </a:moveTo>
                  <a:cubicBezTo>
                    <a:pt x="370" y="210"/>
                    <a:pt x="370" y="210"/>
                    <a:pt x="370" y="210"/>
                  </a:cubicBezTo>
                  <a:cubicBezTo>
                    <a:pt x="370" y="20"/>
                    <a:pt x="370" y="20"/>
                    <a:pt x="370" y="20"/>
                  </a:cubicBezTo>
                  <a:cubicBezTo>
                    <a:pt x="21" y="20"/>
                    <a:pt x="21" y="20"/>
                    <a:pt x="21" y="20"/>
                  </a:cubicBezTo>
                  <a:lnTo>
                    <a:pt x="21" y="21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99" name="Freeform 9"/>
            <p:cNvSpPr>
              <a:spLocks/>
            </p:cNvSpPr>
            <p:nvPr/>
          </p:nvSpPr>
          <p:spPr bwMode="auto">
            <a:xfrm>
              <a:off x="2302" y="1889"/>
              <a:ext cx="1156" cy="50"/>
            </a:xfrm>
            <a:custGeom>
              <a:avLst/>
              <a:gdLst>
                <a:gd name="T0" fmla="*/ 477 w 487"/>
                <a:gd name="T1" fmla="*/ 21 h 21"/>
                <a:gd name="T2" fmla="*/ 10 w 487"/>
                <a:gd name="T3" fmla="*/ 21 h 21"/>
                <a:gd name="T4" fmla="*/ 0 w 487"/>
                <a:gd name="T5" fmla="*/ 10 h 21"/>
                <a:gd name="T6" fmla="*/ 10 w 487"/>
                <a:gd name="T7" fmla="*/ 0 h 21"/>
                <a:gd name="T8" fmla="*/ 477 w 487"/>
                <a:gd name="T9" fmla="*/ 0 h 21"/>
                <a:gd name="T10" fmla="*/ 487 w 487"/>
                <a:gd name="T11" fmla="*/ 10 h 21"/>
                <a:gd name="T12" fmla="*/ 477 w 487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7" h="21">
                  <a:moveTo>
                    <a:pt x="477" y="21"/>
                  </a:moveTo>
                  <a:cubicBezTo>
                    <a:pt x="10" y="21"/>
                    <a:pt x="10" y="21"/>
                    <a:pt x="10" y="21"/>
                  </a:cubicBezTo>
                  <a:cubicBezTo>
                    <a:pt x="4" y="21"/>
                    <a:pt x="0" y="16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477" y="0"/>
                    <a:pt x="477" y="0"/>
                    <a:pt x="477" y="0"/>
                  </a:cubicBezTo>
                  <a:cubicBezTo>
                    <a:pt x="483" y="0"/>
                    <a:pt x="487" y="5"/>
                    <a:pt x="487" y="10"/>
                  </a:cubicBezTo>
                  <a:cubicBezTo>
                    <a:pt x="487" y="16"/>
                    <a:pt x="483" y="21"/>
                    <a:pt x="477" y="2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5273358" y="1930400"/>
            <a:ext cx="411480" cy="411480"/>
            <a:chOff x="4103360" y="3456863"/>
            <a:chExt cx="411480" cy="411480"/>
          </a:xfrm>
        </p:grpSpPr>
        <p:sp>
          <p:nvSpPr>
            <p:cNvPr id="166" name="Oval 89"/>
            <p:cNvSpPr>
              <a:spLocks noChangeArrowheads="1"/>
            </p:cNvSpPr>
            <p:nvPr/>
          </p:nvSpPr>
          <p:spPr bwMode="auto">
            <a:xfrm>
              <a:off x="4103360" y="3456863"/>
              <a:ext cx="411480" cy="411480"/>
            </a:xfrm>
            <a:prstGeom prst="ellipse">
              <a:avLst/>
            </a:prstGeom>
            <a:ln w="66675">
              <a:solidFill>
                <a:schemeClr val="bg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pic>
          <p:nvPicPr>
            <p:cNvPr id="171" name="Picture 17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03360" y="3459527"/>
              <a:ext cx="408816" cy="408816"/>
            </a:xfrm>
            <a:prstGeom prst="ellipse">
              <a:avLst/>
            </a:prstGeom>
            <a:ln w="44450"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973773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1371601" y="1066178"/>
            <a:ext cx="1828799" cy="1828800"/>
            <a:chOff x="1371601" y="1429036"/>
            <a:chExt cx="1828799" cy="1828800"/>
          </a:xfrm>
        </p:grpSpPr>
        <p:sp>
          <p:nvSpPr>
            <p:cNvPr id="47" name="Freeform 5"/>
            <p:cNvSpPr>
              <a:spLocks/>
            </p:cNvSpPr>
            <p:nvPr/>
          </p:nvSpPr>
          <p:spPr bwMode="auto">
            <a:xfrm>
              <a:off x="1371601" y="1429036"/>
              <a:ext cx="1828799" cy="1828799"/>
            </a:xfrm>
            <a:custGeom>
              <a:avLst/>
              <a:gdLst>
                <a:gd name="T0" fmla="*/ 1988 w 1990"/>
                <a:gd name="T1" fmla="*/ 1046 h 1990"/>
                <a:gd name="T2" fmla="*/ 1970 w 1990"/>
                <a:gd name="T3" fmla="*/ 1195 h 1990"/>
                <a:gd name="T4" fmla="*/ 1929 w 1990"/>
                <a:gd name="T5" fmla="*/ 1338 h 1990"/>
                <a:gd name="T6" fmla="*/ 1871 w 1990"/>
                <a:gd name="T7" fmla="*/ 1469 h 1990"/>
                <a:gd name="T8" fmla="*/ 1792 w 1990"/>
                <a:gd name="T9" fmla="*/ 1590 h 1990"/>
                <a:gd name="T10" fmla="*/ 1698 w 1990"/>
                <a:gd name="T11" fmla="*/ 1698 h 1990"/>
                <a:gd name="T12" fmla="*/ 1590 w 1990"/>
                <a:gd name="T13" fmla="*/ 1792 h 1990"/>
                <a:gd name="T14" fmla="*/ 1469 w 1990"/>
                <a:gd name="T15" fmla="*/ 1871 h 1990"/>
                <a:gd name="T16" fmla="*/ 1338 w 1990"/>
                <a:gd name="T17" fmla="*/ 1929 h 1990"/>
                <a:gd name="T18" fmla="*/ 1197 w 1990"/>
                <a:gd name="T19" fmla="*/ 1970 h 1990"/>
                <a:gd name="T20" fmla="*/ 1046 w 1990"/>
                <a:gd name="T21" fmla="*/ 1988 h 1990"/>
                <a:gd name="T22" fmla="*/ 944 w 1990"/>
                <a:gd name="T23" fmla="*/ 1988 h 1990"/>
                <a:gd name="T24" fmla="*/ 795 w 1990"/>
                <a:gd name="T25" fmla="*/ 1970 h 1990"/>
                <a:gd name="T26" fmla="*/ 652 w 1990"/>
                <a:gd name="T27" fmla="*/ 1929 h 1990"/>
                <a:gd name="T28" fmla="*/ 521 w 1990"/>
                <a:gd name="T29" fmla="*/ 1871 h 1990"/>
                <a:gd name="T30" fmla="*/ 400 w 1990"/>
                <a:gd name="T31" fmla="*/ 1792 h 1990"/>
                <a:gd name="T32" fmla="*/ 292 w 1990"/>
                <a:gd name="T33" fmla="*/ 1698 h 1990"/>
                <a:gd name="T34" fmla="*/ 198 w 1990"/>
                <a:gd name="T35" fmla="*/ 1590 h 1990"/>
                <a:gd name="T36" fmla="*/ 119 w 1990"/>
                <a:gd name="T37" fmla="*/ 1469 h 1990"/>
                <a:gd name="T38" fmla="*/ 61 w 1990"/>
                <a:gd name="T39" fmla="*/ 1338 h 1990"/>
                <a:gd name="T40" fmla="*/ 20 w 1990"/>
                <a:gd name="T41" fmla="*/ 1195 h 1990"/>
                <a:gd name="T42" fmla="*/ 2 w 1990"/>
                <a:gd name="T43" fmla="*/ 1046 h 1990"/>
                <a:gd name="T44" fmla="*/ 2 w 1990"/>
                <a:gd name="T45" fmla="*/ 944 h 1990"/>
                <a:gd name="T46" fmla="*/ 20 w 1990"/>
                <a:gd name="T47" fmla="*/ 795 h 1990"/>
                <a:gd name="T48" fmla="*/ 61 w 1990"/>
                <a:gd name="T49" fmla="*/ 652 h 1990"/>
                <a:gd name="T50" fmla="*/ 119 w 1990"/>
                <a:gd name="T51" fmla="*/ 521 h 1990"/>
                <a:gd name="T52" fmla="*/ 198 w 1990"/>
                <a:gd name="T53" fmla="*/ 400 h 1990"/>
                <a:gd name="T54" fmla="*/ 292 w 1990"/>
                <a:gd name="T55" fmla="*/ 292 h 1990"/>
                <a:gd name="T56" fmla="*/ 400 w 1990"/>
                <a:gd name="T57" fmla="*/ 198 h 1990"/>
                <a:gd name="T58" fmla="*/ 521 w 1990"/>
                <a:gd name="T59" fmla="*/ 119 h 1990"/>
                <a:gd name="T60" fmla="*/ 652 w 1990"/>
                <a:gd name="T61" fmla="*/ 61 h 1990"/>
                <a:gd name="T62" fmla="*/ 795 w 1990"/>
                <a:gd name="T63" fmla="*/ 20 h 1990"/>
                <a:gd name="T64" fmla="*/ 944 w 1990"/>
                <a:gd name="T65" fmla="*/ 2 h 1990"/>
                <a:gd name="T66" fmla="*/ 1046 w 1990"/>
                <a:gd name="T67" fmla="*/ 2 h 1990"/>
                <a:gd name="T68" fmla="*/ 1197 w 1990"/>
                <a:gd name="T69" fmla="*/ 20 h 1990"/>
                <a:gd name="T70" fmla="*/ 1338 w 1990"/>
                <a:gd name="T71" fmla="*/ 61 h 1990"/>
                <a:gd name="T72" fmla="*/ 1469 w 1990"/>
                <a:gd name="T73" fmla="*/ 119 h 1990"/>
                <a:gd name="T74" fmla="*/ 1590 w 1990"/>
                <a:gd name="T75" fmla="*/ 198 h 1990"/>
                <a:gd name="T76" fmla="*/ 1698 w 1990"/>
                <a:gd name="T77" fmla="*/ 292 h 1990"/>
                <a:gd name="T78" fmla="*/ 1792 w 1990"/>
                <a:gd name="T79" fmla="*/ 400 h 1990"/>
                <a:gd name="T80" fmla="*/ 1871 w 1990"/>
                <a:gd name="T81" fmla="*/ 521 h 1990"/>
                <a:gd name="T82" fmla="*/ 1929 w 1990"/>
                <a:gd name="T83" fmla="*/ 652 h 1990"/>
                <a:gd name="T84" fmla="*/ 1970 w 1990"/>
                <a:gd name="T85" fmla="*/ 795 h 1990"/>
                <a:gd name="T86" fmla="*/ 1988 w 1990"/>
                <a:gd name="T87" fmla="*/ 944 h 19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90" h="1990">
                  <a:moveTo>
                    <a:pt x="1990" y="995"/>
                  </a:moveTo>
                  <a:lnTo>
                    <a:pt x="1990" y="995"/>
                  </a:lnTo>
                  <a:lnTo>
                    <a:pt x="1988" y="1046"/>
                  </a:lnTo>
                  <a:lnTo>
                    <a:pt x="1986" y="1097"/>
                  </a:lnTo>
                  <a:lnTo>
                    <a:pt x="1978" y="1146"/>
                  </a:lnTo>
                  <a:lnTo>
                    <a:pt x="1970" y="1195"/>
                  </a:lnTo>
                  <a:lnTo>
                    <a:pt x="1959" y="1244"/>
                  </a:lnTo>
                  <a:lnTo>
                    <a:pt x="1945" y="1291"/>
                  </a:lnTo>
                  <a:lnTo>
                    <a:pt x="1929" y="1338"/>
                  </a:lnTo>
                  <a:lnTo>
                    <a:pt x="1912" y="1383"/>
                  </a:lnTo>
                  <a:lnTo>
                    <a:pt x="1892" y="1426"/>
                  </a:lnTo>
                  <a:lnTo>
                    <a:pt x="1871" y="1469"/>
                  </a:lnTo>
                  <a:lnTo>
                    <a:pt x="1847" y="1510"/>
                  </a:lnTo>
                  <a:lnTo>
                    <a:pt x="1820" y="1551"/>
                  </a:lnTo>
                  <a:lnTo>
                    <a:pt x="1792" y="1590"/>
                  </a:lnTo>
                  <a:lnTo>
                    <a:pt x="1763" y="1628"/>
                  </a:lnTo>
                  <a:lnTo>
                    <a:pt x="1731" y="1665"/>
                  </a:lnTo>
                  <a:lnTo>
                    <a:pt x="1698" y="1698"/>
                  </a:lnTo>
                  <a:lnTo>
                    <a:pt x="1665" y="1731"/>
                  </a:lnTo>
                  <a:lnTo>
                    <a:pt x="1628" y="1763"/>
                  </a:lnTo>
                  <a:lnTo>
                    <a:pt x="1590" y="1792"/>
                  </a:lnTo>
                  <a:lnTo>
                    <a:pt x="1551" y="1820"/>
                  </a:lnTo>
                  <a:lnTo>
                    <a:pt x="1512" y="1845"/>
                  </a:lnTo>
                  <a:lnTo>
                    <a:pt x="1469" y="1871"/>
                  </a:lnTo>
                  <a:lnTo>
                    <a:pt x="1426" y="1892"/>
                  </a:lnTo>
                  <a:lnTo>
                    <a:pt x="1383" y="1912"/>
                  </a:lnTo>
                  <a:lnTo>
                    <a:pt x="1338" y="1929"/>
                  </a:lnTo>
                  <a:lnTo>
                    <a:pt x="1291" y="1945"/>
                  </a:lnTo>
                  <a:lnTo>
                    <a:pt x="1244" y="1959"/>
                  </a:lnTo>
                  <a:lnTo>
                    <a:pt x="1197" y="1970"/>
                  </a:lnTo>
                  <a:lnTo>
                    <a:pt x="1146" y="1978"/>
                  </a:lnTo>
                  <a:lnTo>
                    <a:pt x="1097" y="1984"/>
                  </a:lnTo>
                  <a:lnTo>
                    <a:pt x="1046" y="1988"/>
                  </a:lnTo>
                  <a:lnTo>
                    <a:pt x="995" y="1990"/>
                  </a:lnTo>
                  <a:lnTo>
                    <a:pt x="995" y="1990"/>
                  </a:lnTo>
                  <a:lnTo>
                    <a:pt x="944" y="1988"/>
                  </a:lnTo>
                  <a:lnTo>
                    <a:pt x="893" y="1984"/>
                  </a:lnTo>
                  <a:lnTo>
                    <a:pt x="844" y="1978"/>
                  </a:lnTo>
                  <a:lnTo>
                    <a:pt x="795" y="1970"/>
                  </a:lnTo>
                  <a:lnTo>
                    <a:pt x="746" y="1959"/>
                  </a:lnTo>
                  <a:lnTo>
                    <a:pt x="699" y="1945"/>
                  </a:lnTo>
                  <a:lnTo>
                    <a:pt x="652" y="1929"/>
                  </a:lnTo>
                  <a:lnTo>
                    <a:pt x="607" y="1912"/>
                  </a:lnTo>
                  <a:lnTo>
                    <a:pt x="564" y="1892"/>
                  </a:lnTo>
                  <a:lnTo>
                    <a:pt x="521" y="1871"/>
                  </a:lnTo>
                  <a:lnTo>
                    <a:pt x="480" y="1845"/>
                  </a:lnTo>
                  <a:lnTo>
                    <a:pt x="439" y="1820"/>
                  </a:lnTo>
                  <a:lnTo>
                    <a:pt x="400" y="1792"/>
                  </a:lnTo>
                  <a:lnTo>
                    <a:pt x="362" y="1763"/>
                  </a:lnTo>
                  <a:lnTo>
                    <a:pt x="327" y="1731"/>
                  </a:lnTo>
                  <a:lnTo>
                    <a:pt x="292" y="1698"/>
                  </a:lnTo>
                  <a:lnTo>
                    <a:pt x="259" y="1665"/>
                  </a:lnTo>
                  <a:lnTo>
                    <a:pt x="227" y="1628"/>
                  </a:lnTo>
                  <a:lnTo>
                    <a:pt x="198" y="1590"/>
                  </a:lnTo>
                  <a:lnTo>
                    <a:pt x="170" y="1551"/>
                  </a:lnTo>
                  <a:lnTo>
                    <a:pt x="145" y="1510"/>
                  </a:lnTo>
                  <a:lnTo>
                    <a:pt x="119" y="1469"/>
                  </a:lnTo>
                  <a:lnTo>
                    <a:pt x="98" y="1426"/>
                  </a:lnTo>
                  <a:lnTo>
                    <a:pt x="78" y="1383"/>
                  </a:lnTo>
                  <a:lnTo>
                    <a:pt x="61" y="1338"/>
                  </a:lnTo>
                  <a:lnTo>
                    <a:pt x="45" y="1291"/>
                  </a:lnTo>
                  <a:lnTo>
                    <a:pt x="31" y="1244"/>
                  </a:lnTo>
                  <a:lnTo>
                    <a:pt x="20" y="1195"/>
                  </a:lnTo>
                  <a:lnTo>
                    <a:pt x="12" y="1146"/>
                  </a:lnTo>
                  <a:lnTo>
                    <a:pt x="6" y="1097"/>
                  </a:lnTo>
                  <a:lnTo>
                    <a:pt x="2" y="1046"/>
                  </a:lnTo>
                  <a:lnTo>
                    <a:pt x="0" y="995"/>
                  </a:lnTo>
                  <a:lnTo>
                    <a:pt x="0" y="995"/>
                  </a:lnTo>
                  <a:lnTo>
                    <a:pt x="2" y="944"/>
                  </a:lnTo>
                  <a:lnTo>
                    <a:pt x="6" y="893"/>
                  </a:lnTo>
                  <a:lnTo>
                    <a:pt x="12" y="844"/>
                  </a:lnTo>
                  <a:lnTo>
                    <a:pt x="20" y="795"/>
                  </a:lnTo>
                  <a:lnTo>
                    <a:pt x="31" y="746"/>
                  </a:lnTo>
                  <a:lnTo>
                    <a:pt x="45" y="699"/>
                  </a:lnTo>
                  <a:lnTo>
                    <a:pt x="61" y="652"/>
                  </a:lnTo>
                  <a:lnTo>
                    <a:pt x="78" y="607"/>
                  </a:lnTo>
                  <a:lnTo>
                    <a:pt x="98" y="564"/>
                  </a:lnTo>
                  <a:lnTo>
                    <a:pt x="119" y="521"/>
                  </a:lnTo>
                  <a:lnTo>
                    <a:pt x="145" y="480"/>
                  </a:lnTo>
                  <a:lnTo>
                    <a:pt x="170" y="439"/>
                  </a:lnTo>
                  <a:lnTo>
                    <a:pt x="198" y="400"/>
                  </a:lnTo>
                  <a:lnTo>
                    <a:pt x="227" y="362"/>
                  </a:lnTo>
                  <a:lnTo>
                    <a:pt x="259" y="325"/>
                  </a:lnTo>
                  <a:lnTo>
                    <a:pt x="292" y="292"/>
                  </a:lnTo>
                  <a:lnTo>
                    <a:pt x="327" y="259"/>
                  </a:lnTo>
                  <a:lnTo>
                    <a:pt x="362" y="227"/>
                  </a:lnTo>
                  <a:lnTo>
                    <a:pt x="400" y="198"/>
                  </a:lnTo>
                  <a:lnTo>
                    <a:pt x="439" y="170"/>
                  </a:lnTo>
                  <a:lnTo>
                    <a:pt x="480" y="145"/>
                  </a:lnTo>
                  <a:lnTo>
                    <a:pt x="521" y="119"/>
                  </a:lnTo>
                  <a:lnTo>
                    <a:pt x="564" y="98"/>
                  </a:lnTo>
                  <a:lnTo>
                    <a:pt x="607" y="78"/>
                  </a:lnTo>
                  <a:lnTo>
                    <a:pt x="652" y="61"/>
                  </a:lnTo>
                  <a:lnTo>
                    <a:pt x="699" y="45"/>
                  </a:lnTo>
                  <a:lnTo>
                    <a:pt x="746" y="31"/>
                  </a:lnTo>
                  <a:lnTo>
                    <a:pt x="795" y="20"/>
                  </a:lnTo>
                  <a:lnTo>
                    <a:pt x="844" y="12"/>
                  </a:lnTo>
                  <a:lnTo>
                    <a:pt x="893" y="6"/>
                  </a:lnTo>
                  <a:lnTo>
                    <a:pt x="944" y="2"/>
                  </a:lnTo>
                  <a:lnTo>
                    <a:pt x="995" y="0"/>
                  </a:lnTo>
                  <a:lnTo>
                    <a:pt x="995" y="0"/>
                  </a:lnTo>
                  <a:lnTo>
                    <a:pt x="1046" y="2"/>
                  </a:lnTo>
                  <a:lnTo>
                    <a:pt x="1097" y="6"/>
                  </a:lnTo>
                  <a:lnTo>
                    <a:pt x="1146" y="12"/>
                  </a:lnTo>
                  <a:lnTo>
                    <a:pt x="1197" y="20"/>
                  </a:lnTo>
                  <a:lnTo>
                    <a:pt x="1244" y="31"/>
                  </a:lnTo>
                  <a:lnTo>
                    <a:pt x="1291" y="45"/>
                  </a:lnTo>
                  <a:lnTo>
                    <a:pt x="1338" y="61"/>
                  </a:lnTo>
                  <a:lnTo>
                    <a:pt x="1383" y="78"/>
                  </a:lnTo>
                  <a:lnTo>
                    <a:pt x="1426" y="98"/>
                  </a:lnTo>
                  <a:lnTo>
                    <a:pt x="1469" y="119"/>
                  </a:lnTo>
                  <a:lnTo>
                    <a:pt x="1512" y="145"/>
                  </a:lnTo>
                  <a:lnTo>
                    <a:pt x="1551" y="170"/>
                  </a:lnTo>
                  <a:lnTo>
                    <a:pt x="1590" y="198"/>
                  </a:lnTo>
                  <a:lnTo>
                    <a:pt x="1628" y="227"/>
                  </a:lnTo>
                  <a:lnTo>
                    <a:pt x="1665" y="259"/>
                  </a:lnTo>
                  <a:lnTo>
                    <a:pt x="1698" y="292"/>
                  </a:lnTo>
                  <a:lnTo>
                    <a:pt x="1731" y="325"/>
                  </a:lnTo>
                  <a:lnTo>
                    <a:pt x="1763" y="362"/>
                  </a:lnTo>
                  <a:lnTo>
                    <a:pt x="1792" y="400"/>
                  </a:lnTo>
                  <a:lnTo>
                    <a:pt x="1820" y="439"/>
                  </a:lnTo>
                  <a:lnTo>
                    <a:pt x="1847" y="480"/>
                  </a:lnTo>
                  <a:lnTo>
                    <a:pt x="1871" y="521"/>
                  </a:lnTo>
                  <a:lnTo>
                    <a:pt x="1892" y="564"/>
                  </a:lnTo>
                  <a:lnTo>
                    <a:pt x="1912" y="607"/>
                  </a:lnTo>
                  <a:lnTo>
                    <a:pt x="1929" y="652"/>
                  </a:lnTo>
                  <a:lnTo>
                    <a:pt x="1945" y="699"/>
                  </a:lnTo>
                  <a:lnTo>
                    <a:pt x="1959" y="746"/>
                  </a:lnTo>
                  <a:lnTo>
                    <a:pt x="1970" y="795"/>
                  </a:lnTo>
                  <a:lnTo>
                    <a:pt x="1978" y="844"/>
                  </a:lnTo>
                  <a:lnTo>
                    <a:pt x="1986" y="893"/>
                  </a:lnTo>
                  <a:lnTo>
                    <a:pt x="1988" y="944"/>
                  </a:lnTo>
                  <a:lnTo>
                    <a:pt x="1990" y="995"/>
                  </a:lnTo>
                  <a:lnTo>
                    <a:pt x="1990" y="99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1787277" y="1847178"/>
              <a:ext cx="1413123" cy="1410658"/>
            </a:xfrm>
            <a:custGeom>
              <a:avLst/>
              <a:gdLst>
                <a:gd name="connsiteX0" fmla="*/ 865730 w 1220536"/>
                <a:gd name="connsiteY0" fmla="*/ 0 h 1218407"/>
                <a:gd name="connsiteX1" fmla="*/ 1217523 w 1220536"/>
                <a:gd name="connsiteY1" fmla="*/ 351793 h 1218407"/>
                <a:gd name="connsiteX2" fmla="*/ 1218949 w 1220536"/>
                <a:gd name="connsiteY2" fmla="*/ 388145 h 1218407"/>
                <a:gd name="connsiteX3" fmla="*/ 1220536 w 1220536"/>
                <a:gd name="connsiteY3" fmla="*/ 428626 h 1218407"/>
                <a:gd name="connsiteX4" fmla="*/ 1218949 w 1220536"/>
                <a:gd name="connsiteY4" fmla="*/ 469107 h 1218407"/>
                <a:gd name="connsiteX5" fmla="*/ 1217361 w 1220536"/>
                <a:gd name="connsiteY5" fmla="*/ 509589 h 1218407"/>
                <a:gd name="connsiteX6" fmla="*/ 1211011 w 1220536"/>
                <a:gd name="connsiteY6" fmla="*/ 548482 h 1218407"/>
                <a:gd name="connsiteX7" fmla="*/ 1204661 w 1220536"/>
                <a:gd name="connsiteY7" fmla="*/ 587376 h 1218407"/>
                <a:gd name="connsiteX8" fmla="*/ 1195930 w 1220536"/>
                <a:gd name="connsiteY8" fmla="*/ 626270 h 1218407"/>
                <a:gd name="connsiteX9" fmla="*/ 1184817 w 1220536"/>
                <a:gd name="connsiteY9" fmla="*/ 663576 h 1218407"/>
                <a:gd name="connsiteX10" fmla="*/ 1172117 w 1220536"/>
                <a:gd name="connsiteY10" fmla="*/ 700882 h 1218407"/>
                <a:gd name="connsiteX11" fmla="*/ 1158624 w 1220536"/>
                <a:gd name="connsiteY11" fmla="*/ 736601 h 1218407"/>
                <a:gd name="connsiteX12" fmla="*/ 1142749 w 1220536"/>
                <a:gd name="connsiteY12" fmla="*/ 770732 h 1218407"/>
                <a:gd name="connsiteX13" fmla="*/ 1126080 w 1220536"/>
                <a:gd name="connsiteY13" fmla="*/ 804864 h 1218407"/>
                <a:gd name="connsiteX14" fmla="*/ 1107030 w 1220536"/>
                <a:gd name="connsiteY14" fmla="*/ 837407 h 1218407"/>
                <a:gd name="connsiteX15" fmla="*/ 1085599 w 1220536"/>
                <a:gd name="connsiteY15" fmla="*/ 869951 h 1218407"/>
                <a:gd name="connsiteX16" fmla="*/ 1063374 w 1220536"/>
                <a:gd name="connsiteY16" fmla="*/ 900907 h 1218407"/>
                <a:gd name="connsiteX17" fmla="*/ 1040355 w 1220536"/>
                <a:gd name="connsiteY17" fmla="*/ 931070 h 1218407"/>
                <a:gd name="connsiteX18" fmla="*/ 1014955 w 1220536"/>
                <a:gd name="connsiteY18" fmla="*/ 960439 h 1218407"/>
                <a:gd name="connsiteX19" fmla="*/ 988761 w 1220536"/>
                <a:gd name="connsiteY19" fmla="*/ 986632 h 1218407"/>
                <a:gd name="connsiteX20" fmla="*/ 962568 w 1220536"/>
                <a:gd name="connsiteY20" fmla="*/ 1012826 h 1218407"/>
                <a:gd name="connsiteX21" fmla="*/ 933199 w 1220536"/>
                <a:gd name="connsiteY21" fmla="*/ 1038226 h 1218407"/>
                <a:gd name="connsiteX22" fmla="*/ 903036 w 1220536"/>
                <a:gd name="connsiteY22" fmla="*/ 1061245 h 1218407"/>
                <a:gd name="connsiteX23" fmla="*/ 872080 w 1220536"/>
                <a:gd name="connsiteY23" fmla="*/ 1083470 h 1218407"/>
                <a:gd name="connsiteX24" fmla="*/ 841124 w 1220536"/>
                <a:gd name="connsiteY24" fmla="*/ 1103313 h 1218407"/>
                <a:gd name="connsiteX25" fmla="*/ 806993 w 1220536"/>
                <a:gd name="connsiteY25" fmla="*/ 1123951 h 1218407"/>
                <a:gd name="connsiteX26" fmla="*/ 772861 w 1220536"/>
                <a:gd name="connsiteY26" fmla="*/ 1140620 h 1218407"/>
                <a:gd name="connsiteX27" fmla="*/ 738730 w 1220536"/>
                <a:gd name="connsiteY27" fmla="*/ 1156495 h 1218407"/>
                <a:gd name="connsiteX28" fmla="*/ 703011 w 1220536"/>
                <a:gd name="connsiteY28" fmla="*/ 1169988 h 1218407"/>
                <a:gd name="connsiteX29" fmla="*/ 665705 w 1220536"/>
                <a:gd name="connsiteY29" fmla="*/ 1182688 h 1218407"/>
                <a:gd name="connsiteX30" fmla="*/ 628399 w 1220536"/>
                <a:gd name="connsiteY30" fmla="*/ 1193801 h 1218407"/>
                <a:gd name="connsiteX31" fmla="*/ 591093 w 1220536"/>
                <a:gd name="connsiteY31" fmla="*/ 1202532 h 1218407"/>
                <a:gd name="connsiteX32" fmla="*/ 550611 w 1220536"/>
                <a:gd name="connsiteY32" fmla="*/ 1208882 h 1218407"/>
                <a:gd name="connsiteX33" fmla="*/ 511718 w 1220536"/>
                <a:gd name="connsiteY33" fmla="*/ 1213645 h 1218407"/>
                <a:gd name="connsiteX34" fmla="*/ 471236 w 1220536"/>
                <a:gd name="connsiteY34" fmla="*/ 1216820 h 1218407"/>
                <a:gd name="connsiteX35" fmla="*/ 430755 w 1220536"/>
                <a:gd name="connsiteY35" fmla="*/ 1218407 h 1218407"/>
                <a:gd name="connsiteX36" fmla="*/ 390274 w 1220536"/>
                <a:gd name="connsiteY36" fmla="*/ 1216820 h 1218407"/>
                <a:gd name="connsiteX37" fmla="*/ 349793 w 1220536"/>
                <a:gd name="connsiteY37" fmla="*/ 1213645 h 1218407"/>
                <a:gd name="connsiteX38" fmla="*/ 347652 w 1220536"/>
                <a:gd name="connsiteY38" fmla="*/ 1213383 h 1218407"/>
                <a:gd name="connsiteX39" fmla="*/ 0 w 1220536"/>
                <a:gd name="connsiteY39" fmla="*/ 865730 h 1218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220536" h="1218407">
                  <a:moveTo>
                    <a:pt x="865730" y="0"/>
                  </a:moveTo>
                  <a:lnTo>
                    <a:pt x="1217523" y="351793"/>
                  </a:lnTo>
                  <a:lnTo>
                    <a:pt x="1218949" y="388145"/>
                  </a:lnTo>
                  <a:lnTo>
                    <a:pt x="1220536" y="428626"/>
                  </a:lnTo>
                  <a:lnTo>
                    <a:pt x="1218949" y="469107"/>
                  </a:lnTo>
                  <a:lnTo>
                    <a:pt x="1217361" y="509589"/>
                  </a:lnTo>
                  <a:lnTo>
                    <a:pt x="1211011" y="548482"/>
                  </a:lnTo>
                  <a:lnTo>
                    <a:pt x="1204661" y="587376"/>
                  </a:lnTo>
                  <a:lnTo>
                    <a:pt x="1195930" y="626270"/>
                  </a:lnTo>
                  <a:lnTo>
                    <a:pt x="1184817" y="663576"/>
                  </a:lnTo>
                  <a:lnTo>
                    <a:pt x="1172117" y="700882"/>
                  </a:lnTo>
                  <a:lnTo>
                    <a:pt x="1158624" y="736601"/>
                  </a:lnTo>
                  <a:lnTo>
                    <a:pt x="1142749" y="770732"/>
                  </a:lnTo>
                  <a:lnTo>
                    <a:pt x="1126080" y="804864"/>
                  </a:lnTo>
                  <a:lnTo>
                    <a:pt x="1107030" y="837407"/>
                  </a:lnTo>
                  <a:lnTo>
                    <a:pt x="1085599" y="869951"/>
                  </a:lnTo>
                  <a:lnTo>
                    <a:pt x="1063374" y="900907"/>
                  </a:lnTo>
                  <a:lnTo>
                    <a:pt x="1040355" y="931070"/>
                  </a:lnTo>
                  <a:lnTo>
                    <a:pt x="1014955" y="960439"/>
                  </a:lnTo>
                  <a:lnTo>
                    <a:pt x="988761" y="986632"/>
                  </a:lnTo>
                  <a:lnTo>
                    <a:pt x="962568" y="1012826"/>
                  </a:lnTo>
                  <a:lnTo>
                    <a:pt x="933199" y="1038226"/>
                  </a:lnTo>
                  <a:lnTo>
                    <a:pt x="903036" y="1061245"/>
                  </a:lnTo>
                  <a:lnTo>
                    <a:pt x="872080" y="1083470"/>
                  </a:lnTo>
                  <a:lnTo>
                    <a:pt x="841124" y="1103313"/>
                  </a:lnTo>
                  <a:lnTo>
                    <a:pt x="806993" y="1123951"/>
                  </a:lnTo>
                  <a:lnTo>
                    <a:pt x="772861" y="1140620"/>
                  </a:lnTo>
                  <a:lnTo>
                    <a:pt x="738730" y="1156495"/>
                  </a:lnTo>
                  <a:lnTo>
                    <a:pt x="703011" y="1169988"/>
                  </a:lnTo>
                  <a:lnTo>
                    <a:pt x="665705" y="1182688"/>
                  </a:lnTo>
                  <a:lnTo>
                    <a:pt x="628399" y="1193801"/>
                  </a:lnTo>
                  <a:lnTo>
                    <a:pt x="591093" y="1202532"/>
                  </a:lnTo>
                  <a:lnTo>
                    <a:pt x="550611" y="1208882"/>
                  </a:lnTo>
                  <a:lnTo>
                    <a:pt x="511718" y="1213645"/>
                  </a:lnTo>
                  <a:lnTo>
                    <a:pt x="471236" y="1216820"/>
                  </a:lnTo>
                  <a:lnTo>
                    <a:pt x="430755" y="1218407"/>
                  </a:lnTo>
                  <a:lnTo>
                    <a:pt x="390274" y="1216820"/>
                  </a:lnTo>
                  <a:lnTo>
                    <a:pt x="349793" y="1213645"/>
                  </a:lnTo>
                  <a:lnTo>
                    <a:pt x="347652" y="1213383"/>
                  </a:lnTo>
                  <a:lnTo>
                    <a:pt x="0" y="865730"/>
                  </a:lnTo>
                  <a:close/>
                </a:path>
              </a:pathLst>
            </a:custGeom>
            <a:solidFill>
              <a:srgbClr val="00A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1577456" y="1634891"/>
              <a:ext cx="1417089" cy="1417089"/>
            </a:xfrm>
            <a:custGeom>
              <a:avLst/>
              <a:gdLst>
                <a:gd name="T0" fmla="*/ 1544 w 1544"/>
                <a:gd name="T1" fmla="*/ 811 h 1544"/>
                <a:gd name="T2" fmla="*/ 1528 w 1544"/>
                <a:gd name="T3" fmla="*/ 927 h 1544"/>
                <a:gd name="T4" fmla="*/ 1497 w 1544"/>
                <a:gd name="T5" fmla="*/ 1038 h 1544"/>
                <a:gd name="T6" fmla="*/ 1452 w 1544"/>
                <a:gd name="T7" fmla="*/ 1140 h 1544"/>
                <a:gd name="T8" fmla="*/ 1391 w 1544"/>
                <a:gd name="T9" fmla="*/ 1234 h 1544"/>
                <a:gd name="T10" fmla="*/ 1318 w 1544"/>
                <a:gd name="T11" fmla="*/ 1318 h 1544"/>
                <a:gd name="T12" fmla="*/ 1234 w 1544"/>
                <a:gd name="T13" fmla="*/ 1391 h 1544"/>
                <a:gd name="T14" fmla="*/ 1140 w 1544"/>
                <a:gd name="T15" fmla="*/ 1452 h 1544"/>
                <a:gd name="T16" fmla="*/ 1038 w 1544"/>
                <a:gd name="T17" fmla="*/ 1497 h 1544"/>
                <a:gd name="T18" fmla="*/ 929 w 1544"/>
                <a:gd name="T19" fmla="*/ 1528 h 1544"/>
                <a:gd name="T20" fmla="*/ 811 w 1544"/>
                <a:gd name="T21" fmla="*/ 1544 h 1544"/>
                <a:gd name="T22" fmla="*/ 733 w 1544"/>
                <a:gd name="T23" fmla="*/ 1544 h 1544"/>
                <a:gd name="T24" fmla="*/ 617 w 1544"/>
                <a:gd name="T25" fmla="*/ 1528 h 1544"/>
                <a:gd name="T26" fmla="*/ 508 w 1544"/>
                <a:gd name="T27" fmla="*/ 1497 h 1544"/>
                <a:gd name="T28" fmla="*/ 404 w 1544"/>
                <a:gd name="T29" fmla="*/ 1452 h 1544"/>
                <a:gd name="T30" fmla="*/ 310 w 1544"/>
                <a:gd name="T31" fmla="*/ 1391 h 1544"/>
                <a:gd name="T32" fmla="*/ 226 w 1544"/>
                <a:gd name="T33" fmla="*/ 1318 h 1544"/>
                <a:gd name="T34" fmla="*/ 153 w 1544"/>
                <a:gd name="T35" fmla="*/ 1234 h 1544"/>
                <a:gd name="T36" fmla="*/ 94 w 1544"/>
                <a:gd name="T37" fmla="*/ 1140 h 1544"/>
                <a:gd name="T38" fmla="*/ 47 w 1544"/>
                <a:gd name="T39" fmla="*/ 1038 h 1544"/>
                <a:gd name="T40" fmla="*/ 16 w 1544"/>
                <a:gd name="T41" fmla="*/ 927 h 1544"/>
                <a:gd name="T42" fmla="*/ 0 w 1544"/>
                <a:gd name="T43" fmla="*/ 811 h 1544"/>
                <a:gd name="T44" fmla="*/ 0 w 1544"/>
                <a:gd name="T45" fmla="*/ 733 h 1544"/>
                <a:gd name="T46" fmla="*/ 16 w 1544"/>
                <a:gd name="T47" fmla="*/ 617 h 1544"/>
                <a:gd name="T48" fmla="*/ 47 w 1544"/>
                <a:gd name="T49" fmla="*/ 506 h 1544"/>
                <a:gd name="T50" fmla="*/ 94 w 1544"/>
                <a:gd name="T51" fmla="*/ 404 h 1544"/>
                <a:gd name="T52" fmla="*/ 153 w 1544"/>
                <a:gd name="T53" fmla="*/ 310 h 1544"/>
                <a:gd name="T54" fmla="*/ 226 w 1544"/>
                <a:gd name="T55" fmla="*/ 226 h 1544"/>
                <a:gd name="T56" fmla="*/ 310 w 1544"/>
                <a:gd name="T57" fmla="*/ 153 h 1544"/>
                <a:gd name="T58" fmla="*/ 404 w 1544"/>
                <a:gd name="T59" fmla="*/ 92 h 1544"/>
                <a:gd name="T60" fmla="*/ 508 w 1544"/>
                <a:gd name="T61" fmla="*/ 47 h 1544"/>
                <a:gd name="T62" fmla="*/ 617 w 1544"/>
                <a:gd name="T63" fmla="*/ 16 h 1544"/>
                <a:gd name="T64" fmla="*/ 733 w 1544"/>
                <a:gd name="T65" fmla="*/ 0 h 1544"/>
                <a:gd name="T66" fmla="*/ 811 w 1544"/>
                <a:gd name="T67" fmla="*/ 0 h 1544"/>
                <a:gd name="T68" fmla="*/ 929 w 1544"/>
                <a:gd name="T69" fmla="*/ 16 h 1544"/>
                <a:gd name="T70" fmla="*/ 1038 w 1544"/>
                <a:gd name="T71" fmla="*/ 47 h 1544"/>
                <a:gd name="T72" fmla="*/ 1140 w 1544"/>
                <a:gd name="T73" fmla="*/ 92 h 1544"/>
                <a:gd name="T74" fmla="*/ 1234 w 1544"/>
                <a:gd name="T75" fmla="*/ 153 h 1544"/>
                <a:gd name="T76" fmla="*/ 1318 w 1544"/>
                <a:gd name="T77" fmla="*/ 226 h 1544"/>
                <a:gd name="T78" fmla="*/ 1391 w 1544"/>
                <a:gd name="T79" fmla="*/ 310 h 1544"/>
                <a:gd name="T80" fmla="*/ 1452 w 1544"/>
                <a:gd name="T81" fmla="*/ 404 h 1544"/>
                <a:gd name="T82" fmla="*/ 1497 w 1544"/>
                <a:gd name="T83" fmla="*/ 506 h 1544"/>
                <a:gd name="T84" fmla="*/ 1528 w 1544"/>
                <a:gd name="T85" fmla="*/ 617 h 1544"/>
                <a:gd name="T86" fmla="*/ 1544 w 1544"/>
                <a:gd name="T87" fmla="*/ 733 h 1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44" h="1544">
                  <a:moveTo>
                    <a:pt x="1544" y="772"/>
                  </a:moveTo>
                  <a:lnTo>
                    <a:pt x="1544" y="772"/>
                  </a:lnTo>
                  <a:lnTo>
                    <a:pt x="1544" y="811"/>
                  </a:lnTo>
                  <a:lnTo>
                    <a:pt x="1540" y="850"/>
                  </a:lnTo>
                  <a:lnTo>
                    <a:pt x="1536" y="890"/>
                  </a:lnTo>
                  <a:lnTo>
                    <a:pt x="1528" y="927"/>
                  </a:lnTo>
                  <a:lnTo>
                    <a:pt x="1520" y="966"/>
                  </a:lnTo>
                  <a:lnTo>
                    <a:pt x="1510" y="1001"/>
                  </a:lnTo>
                  <a:lnTo>
                    <a:pt x="1497" y="1038"/>
                  </a:lnTo>
                  <a:lnTo>
                    <a:pt x="1483" y="1072"/>
                  </a:lnTo>
                  <a:lnTo>
                    <a:pt x="1467" y="1107"/>
                  </a:lnTo>
                  <a:lnTo>
                    <a:pt x="1452" y="1140"/>
                  </a:lnTo>
                  <a:lnTo>
                    <a:pt x="1432" y="1172"/>
                  </a:lnTo>
                  <a:lnTo>
                    <a:pt x="1412" y="1203"/>
                  </a:lnTo>
                  <a:lnTo>
                    <a:pt x="1391" y="1234"/>
                  </a:lnTo>
                  <a:lnTo>
                    <a:pt x="1367" y="1264"/>
                  </a:lnTo>
                  <a:lnTo>
                    <a:pt x="1344" y="1291"/>
                  </a:lnTo>
                  <a:lnTo>
                    <a:pt x="1318" y="1318"/>
                  </a:lnTo>
                  <a:lnTo>
                    <a:pt x="1291" y="1344"/>
                  </a:lnTo>
                  <a:lnTo>
                    <a:pt x="1264" y="1367"/>
                  </a:lnTo>
                  <a:lnTo>
                    <a:pt x="1234" y="1391"/>
                  </a:lnTo>
                  <a:lnTo>
                    <a:pt x="1205" y="1412"/>
                  </a:lnTo>
                  <a:lnTo>
                    <a:pt x="1174" y="1432"/>
                  </a:lnTo>
                  <a:lnTo>
                    <a:pt x="1140" y="1452"/>
                  </a:lnTo>
                  <a:lnTo>
                    <a:pt x="1107" y="1467"/>
                  </a:lnTo>
                  <a:lnTo>
                    <a:pt x="1074" y="1483"/>
                  </a:lnTo>
                  <a:lnTo>
                    <a:pt x="1038" y="1497"/>
                  </a:lnTo>
                  <a:lnTo>
                    <a:pt x="1001" y="1508"/>
                  </a:lnTo>
                  <a:lnTo>
                    <a:pt x="966" y="1520"/>
                  </a:lnTo>
                  <a:lnTo>
                    <a:pt x="929" y="1528"/>
                  </a:lnTo>
                  <a:lnTo>
                    <a:pt x="890" y="1536"/>
                  </a:lnTo>
                  <a:lnTo>
                    <a:pt x="850" y="1540"/>
                  </a:lnTo>
                  <a:lnTo>
                    <a:pt x="811" y="1544"/>
                  </a:lnTo>
                  <a:lnTo>
                    <a:pt x="772" y="1544"/>
                  </a:lnTo>
                  <a:lnTo>
                    <a:pt x="772" y="1544"/>
                  </a:lnTo>
                  <a:lnTo>
                    <a:pt x="733" y="1544"/>
                  </a:lnTo>
                  <a:lnTo>
                    <a:pt x="694" y="1540"/>
                  </a:lnTo>
                  <a:lnTo>
                    <a:pt x="654" y="1536"/>
                  </a:lnTo>
                  <a:lnTo>
                    <a:pt x="617" y="1528"/>
                  </a:lnTo>
                  <a:lnTo>
                    <a:pt x="580" y="1520"/>
                  </a:lnTo>
                  <a:lnTo>
                    <a:pt x="543" y="1508"/>
                  </a:lnTo>
                  <a:lnTo>
                    <a:pt x="508" y="1497"/>
                  </a:lnTo>
                  <a:lnTo>
                    <a:pt x="472" y="1483"/>
                  </a:lnTo>
                  <a:lnTo>
                    <a:pt x="437" y="1467"/>
                  </a:lnTo>
                  <a:lnTo>
                    <a:pt x="404" y="1452"/>
                  </a:lnTo>
                  <a:lnTo>
                    <a:pt x="372" y="1432"/>
                  </a:lnTo>
                  <a:lnTo>
                    <a:pt x="341" y="1412"/>
                  </a:lnTo>
                  <a:lnTo>
                    <a:pt x="310" y="1391"/>
                  </a:lnTo>
                  <a:lnTo>
                    <a:pt x="280" y="1367"/>
                  </a:lnTo>
                  <a:lnTo>
                    <a:pt x="253" y="1344"/>
                  </a:lnTo>
                  <a:lnTo>
                    <a:pt x="226" y="1318"/>
                  </a:lnTo>
                  <a:lnTo>
                    <a:pt x="200" y="1291"/>
                  </a:lnTo>
                  <a:lnTo>
                    <a:pt x="177" y="1264"/>
                  </a:lnTo>
                  <a:lnTo>
                    <a:pt x="153" y="1234"/>
                  </a:lnTo>
                  <a:lnTo>
                    <a:pt x="132" y="1203"/>
                  </a:lnTo>
                  <a:lnTo>
                    <a:pt x="112" y="1172"/>
                  </a:lnTo>
                  <a:lnTo>
                    <a:pt x="94" y="1140"/>
                  </a:lnTo>
                  <a:lnTo>
                    <a:pt x="77" y="1107"/>
                  </a:lnTo>
                  <a:lnTo>
                    <a:pt x="61" y="1072"/>
                  </a:lnTo>
                  <a:lnTo>
                    <a:pt x="47" y="1038"/>
                  </a:lnTo>
                  <a:lnTo>
                    <a:pt x="36" y="1001"/>
                  </a:lnTo>
                  <a:lnTo>
                    <a:pt x="24" y="966"/>
                  </a:lnTo>
                  <a:lnTo>
                    <a:pt x="16" y="927"/>
                  </a:lnTo>
                  <a:lnTo>
                    <a:pt x="8" y="890"/>
                  </a:lnTo>
                  <a:lnTo>
                    <a:pt x="4" y="850"/>
                  </a:lnTo>
                  <a:lnTo>
                    <a:pt x="0" y="811"/>
                  </a:lnTo>
                  <a:lnTo>
                    <a:pt x="0" y="772"/>
                  </a:lnTo>
                  <a:lnTo>
                    <a:pt x="0" y="772"/>
                  </a:lnTo>
                  <a:lnTo>
                    <a:pt x="0" y="733"/>
                  </a:lnTo>
                  <a:lnTo>
                    <a:pt x="4" y="694"/>
                  </a:lnTo>
                  <a:lnTo>
                    <a:pt x="8" y="654"/>
                  </a:lnTo>
                  <a:lnTo>
                    <a:pt x="16" y="617"/>
                  </a:lnTo>
                  <a:lnTo>
                    <a:pt x="24" y="578"/>
                  </a:lnTo>
                  <a:lnTo>
                    <a:pt x="36" y="543"/>
                  </a:lnTo>
                  <a:lnTo>
                    <a:pt x="47" y="506"/>
                  </a:lnTo>
                  <a:lnTo>
                    <a:pt x="61" y="472"/>
                  </a:lnTo>
                  <a:lnTo>
                    <a:pt x="77" y="437"/>
                  </a:lnTo>
                  <a:lnTo>
                    <a:pt x="94" y="404"/>
                  </a:lnTo>
                  <a:lnTo>
                    <a:pt x="112" y="372"/>
                  </a:lnTo>
                  <a:lnTo>
                    <a:pt x="132" y="341"/>
                  </a:lnTo>
                  <a:lnTo>
                    <a:pt x="153" y="310"/>
                  </a:lnTo>
                  <a:lnTo>
                    <a:pt x="177" y="280"/>
                  </a:lnTo>
                  <a:lnTo>
                    <a:pt x="200" y="253"/>
                  </a:lnTo>
                  <a:lnTo>
                    <a:pt x="226" y="226"/>
                  </a:lnTo>
                  <a:lnTo>
                    <a:pt x="253" y="200"/>
                  </a:lnTo>
                  <a:lnTo>
                    <a:pt x="280" y="177"/>
                  </a:lnTo>
                  <a:lnTo>
                    <a:pt x="310" y="153"/>
                  </a:lnTo>
                  <a:lnTo>
                    <a:pt x="341" y="132"/>
                  </a:lnTo>
                  <a:lnTo>
                    <a:pt x="372" y="112"/>
                  </a:lnTo>
                  <a:lnTo>
                    <a:pt x="404" y="92"/>
                  </a:lnTo>
                  <a:lnTo>
                    <a:pt x="437" y="77"/>
                  </a:lnTo>
                  <a:lnTo>
                    <a:pt x="472" y="61"/>
                  </a:lnTo>
                  <a:lnTo>
                    <a:pt x="508" y="47"/>
                  </a:lnTo>
                  <a:lnTo>
                    <a:pt x="543" y="36"/>
                  </a:lnTo>
                  <a:lnTo>
                    <a:pt x="580" y="24"/>
                  </a:lnTo>
                  <a:lnTo>
                    <a:pt x="617" y="16"/>
                  </a:lnTo>
                  <a:lnTo>
                    <a:pt x="654" y="8"/>
                  </a:lnTo>
                  <a:lnTo>
                    <a:pt x="694" y="4"/>
                  </a:lnTo>
                  <a:lnTo>
                    <a:pt x="733" y="0"/>
                  </a:lnTo>
                  <a:lnTo>
                    <a:pt x="772" y="0"/>
                  </a:lnTo>
                  <a:lnTo>
                    <a:pt x="772" y="0"/>
                  </a:lnTo>
                  <a:lnTo>
                    <a:pt x="811" y="0"/>
                  </a:lnTo>
                  <a:lnTo>
                    <a:pt x="850" y="4"/>
                  </a:lnTo>
                  <a:lnTo>
                    <a:pt x="890" y="8"/>
                  </a:lnTo>
                  <a:lnTo>
                    <a:pt x="929" y="16"/>
                  </a:lnTo>
                  <a:lnTo>
                    <a:pt x="966" y="24"/>
                  </a:lnTo>
                  <a:lnTo>
                    <a:pt x="1001" y="36"/>
                  </a:lnTo>
                  <a:lnTo>
                    <a:pt x="1038" y="47"/>
                  </a:lnTo>
                  <a:lnTo>
                    <a:pt x="1074" y="61"/>
                  </a:lnTo>
                  <a:lnTo>
                    <a:pt x="1107" y="77"/>
                  </a:lnTo>
                  <a:lnTo>
                    <a:pt x="1140" y="92"/>
                  </a:lnTo>
                  <a:lnTo>
                    <a:pt x="1174" y="112"/>
                  </a:lnTo>
                  <a:lnTo>
                    <a:pt x="1205" y="132"/>
                  </a:lnTo>
                  <a:lnTo>
                    <a:pt x="1234" y="153"/>
                  </a:lnTo>
                  <a:lnTo>
                    <a:pt x="1264" y="177"/>
                  </a:lnTo>
                  <a:lnTo>
                    <a:pt x="1291" y="200"/>
                  </a:lnTo>
                  <a:lnTo>
                    <a:pt x="1318" y="226"/>
                  </a:lnTo>
                  <a:lnTo>
                    <a:pt x="1344" y="253"/>
                  </a:lnTo>
                  <a:lnTo>
                    <a:pt x="1367" y="280"/>
                  </a:lnTo>
                  <a:lnTo>
                    <a:pt x="1391" y="310"/>
                  </a:lnTo>
                  <a:lnTo>
                    <a:pt x="1412" y="341"/>
                  </a:lnTo>
                  <a:lnTo>
                    <a:pt x="1432" y="372"/>
                  </a:lnTo>
                  <a:lnTo>
                    <a:pt x="1452" y="404"/>
                  </a:lnTo>
                  <a:lnTo>
                    <a:pt x="1467" y="437"/>
                  </a:lnTo>
                  <a:lnTo>
                    <a:pt x="1483" y="472"/>
                  </a:lnTo>
                  <a:lnTo>
                    <a:pt x="1497" y="506"/>
                  </a:lnTo>
                  <a:lnTo>
                    <a:pt x="1510" y="543"/>
                  </a:lnTo>
                  <a:lnTo>
                    <a:pt x="1520" y="578"/>
                  </a:lnTo>
                  <a:lnTo>
                    <a:pt x="1528" y="617"/>
                  </a:lnTo>
                  <a:lnTo>
                    <a:pt x="1536" y="654"/>
                  </a:lnTo>
                  <a:lnTo>
                    <a:pt x="1540" y="694"/>
                  </a:lnTo>
                  <a:lnTo>
                    <a:pt x="1544" y="733"/>
                  </a:lnTo>
                  <a:lnTo>
                    <a:pt x="1544" y="772"/>
                  </a:lnTo>
                  <a:lnTo>
                    <a:pt x="1544" y="77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grpSp>
          <p:nvGrpSpPr>
            <p:cNvPr id="44" name="Group 43"/>
            <p:cNvGrpSpPr/>
            <p:nvPr/>
          </p:nvGrpSpPr>
          <p:grpSpPr>
            <a:xfrm>
              <a:off x="1597673" y="1638567"/>
              <a:ext cx="1367464" cy="1409737"/>
              <a:chOff x="1513681" y="5718176"/>
              <a:chExt cx="1181100" cy="1217612"/>
            </a:xfrm>
            <a:solidFill>
              <a:schemeClr val="accent3"/>
            </a:solidFill>
          </p:grpSpPr>
          <p:sp>
            <p:nvSpPr>
              <p:cNvPr id="13" name="Freeform 7"/>
              <p:cNvSpPr>
                <a:spLocks/>
              </p:cNvSpPr>
              <p:nvPr/>
            </p:nvSpPr>
            <p:spPr bwMode="auto">
              <a:xfrm>
                <a:off x="1910556" y="6078538"/>
                <a:ext cx="136525" cy="136525"/>
              </a:xfrm>
              <a:custGeom>
                <a:avLst/>
                <a:gdLst>
                  <a:gd name="T0" fmla="*/ 130 w 173"/>
                  <a:gd name="T1" fmla="*/ 11 h 172"/>
                  <a:gd name="T2" fmla="*/ 130 w 173"/>
                  <a:gd name="T3" fmla="*/ 11 h 172"/>
                  <a:gd name="T4" fmla="*/ 143 w 173"/>
                  <a:gd name="T5" fmla="*/ 21 h 172"/>
                  <a:gd name="T6" fmla="*/ 155 w 173"/>
                  <a:gd name="T7" fmla="*/ 33 h 172"/>
                  <a:gd name="T8" fmla="*/ 163 w 173"/>
                  <a:gd name="T9" fmla="*/ 49 h 172"/>
                  <a:gd name="T10" fmla="*/ 169 w 173"/>
                  <a:gd name="T11" fmla="*/ 64 h 172"/>
                  <a:gd name="T12" fmla="*/ 173 w 173"/>
                  <a:gd name="T13" fmla="*/ 80 h 172"/>
                  <a:gd name="T14" fmla="*/ 173 w 173"/>
                  <a:gd name="T15" fmla="*/ 98 h 172"/>
                  <a:gd name="T16" fmla="*/ 169 w 173"/>
                  <a:gd name="T17" fmla="*/ 113 h 172"/>
                  <a:gd name="T18" fmla="*/ 161 w 173"/>
                  <a:gd name="T19" fmla="*/ 129 h 172"/>
                  <a:gd name="T20" fmla="*/ 161 w 173"/>
                  <a:gd name="T21" fmla="*/ 129 h 172"/>
                  <a:gd name="T22" fmla="*/ 151 w 173"/>
                  <a:gd name="T23" fmla="*/ 143 h 172"/>
                  <a:gd name="T24" fmla="*/ 137 w 173"/>
                  <a:gd name="T25" fmla="*/ 154 h 172"/>
                  <a:gd name="T26" fmla="*/ 124 w 173"/>
                  <a:gd name="T27" fmla="*/ 164 h 172"/>
                  <a:gd name="T28" fmla="*/ 108 w 173"/>
                  <a:gd name="T29" fmla="*/ 170 h 172"/>
                  <a:gd name="T30" fmla="*/ 92 w 173"/>
                  <a:gd name="T31" fmla="*/ 172 h 172"/>
                  <a:gd name="T32" fmla="*/ 75 w 173"/>
                  <a:gd name="T33" fmla="*/ 172 h 172"/>
                  <a:gd name="T34" fmla="*/ 59 w 173"/>
                  <a:gd name="T35" fmla="*/ 168 h 172"/>
                  <a:gd name="T36" fmla="*/ 43 w 173"/>
                  <a:gd name="T37" fmla="*/ 160 h 172"/>
                  <a:gd name="T38" fmla="*/ 43 w 173"/>
                  <a:gd name="T39" fmla="*/ 160 h 172"/>
                  <a:gd name="T40" fmla="*/ 28 w 173"/>
                  <a:gd name="T41" fmla="*/ 150 h 172"/>
                  <a:gd name="T42" fmla="*/ 16 w 173"/>
                  <a:gd name="T43" fmla="*/ 139 h 172"/>
                  <a:gd name="T44" fmla="*/ 8 w 173"/>
                  <a:gd name="T45" fmla="*/ 123 h 172"/>
                  <a:gd name="T46" fmla="*/ 2 w 173"/>
                  <a:gd name="T47" fmla="*/ 107 h 172"/>
                  <a:gd name="T48" fmla="*/ 0 w 173"/>
                  <a:gd name="T49" fmla="*/ 92 h 172"/>
                  <a:gd name="T50" fmla="*/ 0 w 173"/>
                  <a:gd name="T51" fmla="*/ 76 h 172"/>
                  <a:gd name="T52" fmla="*/ 4 w 173"/>
                  <a:gd name="T53" fmla="*/ 58 h 172"/>
                  <a:gd name="T54" fmla="*/ 10 w 173"/>
                  <a:gd name="T55" fmla="*/ 43 h 172"/>
                  <a:gd name="T56" fmla="*/ 10 w 173"/>
                  <a:gd name="T57" fmla="*/ 43 h 172"/>
                  <a:gd name="T58" fmla="*/ 22 w 173"/>
                  <a:gd name="T59" fmla="*/ 29 h 172"/>
                  <a:gd name="T60" fmla="*/ 34 w 173"/>
                  <a:gd name="T61" fmla="*/ 17 h 172"/>
                  <a:gd name="T62" fmla="*/ 47 w 173"/>
                  <a:gd name="T63" fmla="*/ 7 h 172"/>
                  <a:gd name="T64" fmla="*/ 63 w 173"/>
                  <a:gd name="T65" fmla="*/ 2 h 172"/>
                  <a:gd name="T66" fmla="*/ 81 w 173"/>
                  <a:gd name="T67" fmla="*/ 0 h 172"/>
                  <a:gd name="T68" fmla="*/ 96 w 173"/>
                  <a:gd name="T69" fmla="*/ 0 h 172"/>
                  <a:gd name="T70" fmla="*/ 114 w 173"/>
                  <a:gd name="T71" fmla="*/ 4 h 172"/>
                  <a:gd name="T72" fmla="*/ 130 w 173"/>
                  <a:gd name="T73" fmla="*/ 11 h 172"/>
                  <a:gd name="T74" fmla="*/ 130 w 173"/>
                  <a:gd name="T75" fmla="*/ 1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3" h="172">
                    <a:moveTo>
                      <a:pt x="130" y="11"/>
                    </a:moveTo>
                    <a:lnTo>
                      <a:pt x="130" y="11"/>
                    </a:lnTo>
                    <a:lnTo>
                      <a:pt x="143" y="21"/>
                    </a:lnTo>
                    <a:lnTo>
                      <a:pt x="155" y="33"/>
                    </a:lnTo>
                    <a:lnTo>
                      <a:pt x="163" y="49"/>
                    </a:lnTo>
                    <a:lnTo>
                      <a:pt x="169" y="64"/>
                    </a:lnTo>
                    <a:lnTo>
                      <a:pt x="173" y="80"/>
                    </a:lnTo>
                    <a:lnTo>
                      <a:pt x="173" y="98"/>
                    </a:lnTo>
                    <a:lnTo>
                      <a:pt x="169" y="113"/>
                    </a:lnTo>
                    <a:lnTo>
                      <a:pt x="161" y="129"/>
                    </a:lnTo>
                    <a:lnTo>
                      <a:pt x="161" y="129"/>
                    </a:lnTo>
                    <a:lnTo>
                      <a:pt x="151" y="143"/>
                    </a:lnTo>
                    <a:lnTo>
                      <a:pt x="137" y="154"/>
                    </a:lnTo>
                    <a:lnTo>
                      <a:pt x="124" y="164"/>
                    </a:lnTo>
                    <a:lnTo>
                      <a:pt x="108" y="170"/>
                    </a:lnTo>
                    <a:lnTo>
                      <a:pt x="92" y="172"/>
                    </a:lnTo>
                    <a:lnTo>
                      <a:pt x="75" y="172"/>
                    </a:lnTo>
                    <a:lnTo>
                      <a:pt x="59" y="168"/>
                    </a:lnTo>
                    <a:lnTo>
                      <a:pt x="43" y="160"/>
                    </a:lnTo>
                    <a:lnTo>
                      <a:pt x="43" y="160"/>
                    </a:lnTo>
                    <a:lnTo>
                      <a:pt x="28" y="150"/>
                    </a:lnTo>
                    <a:lnTo>
                      <a:pt x="16" y="139"/>
                    </a:lnTo>
                    <a:lnTo>
                      <a:pt x="8" y="123"/>
                    </a:lnTo>
                    <a:lnTo>
                      <a:pt x="2" y="107"/>
                    </a:lnTo>
                    <a:lnTo>
                      <a:pt x="0" y="92"/>
                    </a:lnTo>
                    <a:lnTo>
                      <a:pt x="0" y="76"/>
                    </a:lnTo>
                    <a:lnTo>
                      <a:pt x="4" y="58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22" y="29"/>
                    </a:lnTo>
                    <a:lnTo>
                      <a:pt x="34" y="17"/>
                    </a:lnTo>
                    <a:lnTo>
                      <a:pt x="47" y="7"/>
                    </a:lnTo>
                    <a:lnTo>
                      <a:pt x="63" y="2"/>
                    </a:lnTo>
                    <a:lnTo>
                      <a:pt x="81" y="0"/>
                    </a:lnTo>
                    <a:lnTo>
                      <a:pt x="96" y="0"/>
                    </a:lnTo>
                    <a:lnTo>
                      <a:pt x="114" y="4"/>
                    </a:lnTo>
                    <a:lnTo>
                      <a:pt x="130" y="11"/>
                    </a:lnTo>
                    <a:lnTo>
                      <a:pt x="13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4" name="Freeform 8"/>
              <p:cNvSpPr>
                <a:spLocks/>
              </p:cNvSpPr>
              <p:nvPr/>
            </p:nvSpPr>
            <p:spPr bwMode="auto">
              <a:xfrm>
                <a:off x="1962944" y="6602413"/>
                <a:ext cx="139700" cy="136525"/>
              </a:xfrm>
              <a:custGeom>
                <a:avLst/>
                <a:gdLst>
                  <a:gd name="T0" fmla="*/ 131 w 174"/>
                  <a:gd name="T1" fmla="*/ 11 h 172"/>
                  <a:gd name="T2" fmla="*/ 131 w 174"/>
                  <a:gd name="T3" fmla="*/ 11 h 172"/>
                  <a:gd name="T4" fmla="*/ 145 w 174"/>
                  <a:gd name="T5" fmla="*/ 21 h 172"/>
                  <a:gd name="T6" fmla="*/ 157 w 174"/>
                  <a:gd name="T7" fmla="*/ 33 h 172"/>
                  <a:gd name="T8" fmla="*/ 164 w 174"/>
                  <a:gd name="T9" fmla="*/ 49 h 172"/>
                  <a:gd name="T10" fmla="*/ 170 w 174"/>
                  <a:gd name="T11" fmla="*/ 62 h 172"/>
                  <a:gd name="T12" fmla="*/ 174 w 174"/>
                  <a:gd name="T13" fmla="*/ 80 h 172"/>
                  <a:gd name="T14" fmla="*/ 172 w 174"/>
                  <a:gd name="T15" fmla="*/ 96 h 172"/>
                  <a:gd name="T16" fmla="*/ 170 w 174"/>
                  <a:gd name="T17" fmla="*/ 113 h 172"/>
                  <a:gd name="T18" fmla="*/ 162 w 174"/>
                  <a:gd name="T19" fmla="*/ 129 h 172"/>
                  <a:gd name="T20" fmla="*/ 162 w 174"/>
                  <a:gd name="T21" fmla="*/ 129 h 172"/>
                  <a:gd name="T22" fmla="*/ 153 w 174"/>
                  <a:gd name="T23" fmla="*/ 143 h 172"/>
                  <a:gd name="T24" fmla="*/ 139 w 174"/>
                  <a:gd name="T25" fmla="*/ 154 h 172"/>
                  <a:gd name="T26" fmla="*/ 125 w 174"/>
                  <a:gd name="T27" fmla="*/ 164 h 172"/>
                  <a:gd name="T28" fmla="*/ 110 w 174"/>
                  <a:gd name="T29" fmla="*/ 170 h 172"/>
                  <a:gd name="T30" fmla="*/ 94 w 174"/>
                  <a:gd name="T31" fmla="*/ 172 h 172"/>
                  <a:gd name="T32" fmla="*/ 76 w 174"/>
                  <a:gd name="T33" fmla="*/ 172 h 172"/>
                  <a:gd name="T34" fmla="*/ 61 w 174"/>
                  <a:gd name="T35" fmla="*/ 168 h 172"/>
                  <a:gd name="T36" fmla="*/ 43 w 174"/>
                  <a:gd name="T37" fmla="*/ 160 h 172"/>
                  <a:gd name="T38" fmla="*/ 43 w 174"/>
                  <a:gd name="T39" fmla="*/ 160 h 172"/>
                  <a:gd name="T40" fmla="*/ 29 w 174"/>
                  <a:gd name="T41" fmla="*/ 151 h 172"/>
                  <a:gd name="T42" fmla="*/ 17 w 174"/>
                  <a:gd name="T43" fmla="*/ 139 h 172"/>
                  <a:gd name="T44" fmla="*/ 10 w 174"/>
                  <a:gd name="T45" fmla="*/ 123 h 172"/>
                  <a:gd name="T46" fmla="*/ 4 w 174"/>
                  <a:gd name="T47" fmla="*/ 107 h 172"/>
                  <a:gd name="T48" fmla="*/ 0 w 174"/>
                  <a:gd name="T49" fmla="*/ 92 h 172"/>
                  <a:gd name="T50" fmla="*/ 2 w 174"/>
                  <a:gd name="T51" fmla="*/ 74 h 172"/>
                  <a:gd name="T52" fmla="*/ 6 w 174"/>
                  <a:gd name="T53" fmla="*/ 58 h 172"/>
                  <a:gd name="T54" fmla="*/ 12 w 174"/>
                  <a:gd name="T55" fmla="*/ 43 h 172"/>
                  <a:gd name="T56" fmla="*/ 12 w 174"/>
                  <a:gd name="T57" fmla="*/ 43 h 172"/>
                  <a:gd name="T58" fmla="*/ 21 w 174"/>
                  <a:gd name="T59" fmla="*/ 29 h 172"/>
                  <a:gd name="T60" fmla="*/ 35 w 174"/>
                  <a:gd name="T61" fmla="*/ 17 h 172"/>
                  <a:gd name="T62" fmla="*/ 49 w 174"/>
                  <a:gd name="T63" fmla="*/ 8 h 172"/>
                  <a:gd name="T64" fmla="*/ 64 w 174"/>
                  <a:gd name="T65" fmla="*/ 2 h 172"/>
                  <a:gd name="T66" fmla="*/ 80 w 174"/>
                  <a:gd name="T67" fmla="*/ 0 h 172"/>
                  <a:gd name="T68" fmla="*/ 98 w 174"/>
                  <a:gd name="T69" fmla="*/ 0 h 172"/>
                  <a:gd name="T70" fmla="*/ 115 w 174"/>
                  <a:gd name="T71" fmla="*/ 4 h 172"/>
                  <a:gd name="T72" fmla="*/ 131 w 174"/>
                  <a:gd name="T73" fmla="*/ 11 h 172"/>
                  <a:gd name="T74" fmla="*/ 131 w 174"/>
                  <a:gd name="T75" fmla="*/ 1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4" h="172">
                    <a:moveTo>
                      <a:pt x="131" y="11"/>
                    </a:moveTo>
                    <a:lnTo>
                      <a:pt x="131" y="11"/>
                    </a:lnTo>
                    <a:lnTo>
                      <a:pt x="145" y="21"/>
                    </a:lnTo>
                    <a:lnTo>
                      <a:pt x="157" y="33"/>
                    </a:lnTo>
                    <a:lnTo>
                      <a:pt x="164" y="49"/>
                    </a:lnTo>
                    <a:lnTo>
                      <a:pt x="170" y="62"/>
                    </a:lnTo>
                    <a:lnTo>
                      <a:pt x="174" y="80"/>
                    </a:lnTo>
                    <a:lnTo>
                      <a:pt x="172" y="96"/>
                    </a:lnTo>
                    <a:lnTo>
                      <a:pt x="170" y="113"/>
                    </a:lnTo>
                    <a:lnTo>
                      <a:pt x="162" y="129"/>
                    </a:lnTo>
                    <a:lnTo>
                      <a:pt x="162" y="129"/>
                    </a:lnTo>
                    <a:lnTo>
                      <a:pt x="153" y="143"/>
                    </a:lnTo>
                    <a:lnTo>
                      <a:pt x="139" y="154"/>
                    </a:lnTo>
                    <a:lnTo>
                      <a:pt x="125" y="164"/>
                    </a:lnTo>
                    <a:lnTo>
                      <a:pt x="110" y="170"/>
                    </a:lnTo>
                    <a:lnTo>
                      <a:pt x="94" y="172"/>
                    </a:lnTo>
                    <a:lnTo>
                      <a:pt x="76" y="172"/>
                    </a:lnTo>
                    <a:lnTo>
                      <a:pt x="61" y="168"/>
                    </a:lnTo>
                    <a:lnTo>
                      <a:pt x="43" y="160"/>
                    </a:lnTo>
                    <a:lnTo>
                      <a:pt x="43" y="160"/>
                    </a:lnTo>
                    <a:lnTo>
                      <a:pt x="29" y="151"/>
                    </a:lnTo>
                    <a:lnTo>
                      <a:pt x="17" y="139"/>
                    </a:lnTo>
                    <a:lnTo>
                      <a:pt x="10" y="123"/>
                    </a:lnTo>
                    <a:lnTo>
                      <a:pt x="4" y="107"/>
                    </a:lnTo>
                    <a:lnTo>
                      <a:pt x="0" y="92"/>
                    </a:lnTo>
                    <a:lnTo>
                      <a:pt x="2" y="74"/>
                    </a:lnTo>
                    <a:lnTo>
                      <a:pt x="6" y="58"/>
                    </a:lnTo>
                    <a:lnTo>
                      <a:pt x="12" y="43"/>
                    </a:lnTo>
                    <a:lnTo>
                      <a:pt x="12" y="43"/>
                    </a:lnTo>
                    <a:lnTo>
                      <a:pt x="21" y="29"/>
                    </a:lnTo>
                    <a:lnTo>
                      <a:pt x="35" y="17"/>
                    </a:lnTo>
                    <a:lnTo>
                      <a:pt x="49" y="8"/>
                    </a:lnTo>
                    <a:lnTo>
                      <a:pt x="64" y="2"/>
                    </a:lnTo>
                    <a:lnTo>
                      <a:pt x="80" y="0"/>
                    </a:lnTo>
                    <a:lnTo>
                      <a:pt x="98" y="0"/>
                    </a:lnTo>
                    <a:lnTo>
                      <a:pt x="115" y="4"/>
                    </a:lnTo>
                    <a:lnTo>
                      <a:pt x="131" y="11"/>
                    </a:lnTo>
                    <a:lnTo>
                      <a:pt x="131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5" name="Freeform 9"/>
              <p:cNvSpPr>
                <a:spLocks/>
              </p:cNvSpPr>
              <p:nvPr/>
            </p:nvSpPr>
            <p:spPr bwMode="auto">
              <a:xfrm>
                <a:off x="1651794" y="6389688"/>
                <a:ext cx="138112" cy="138112"/>
              </a:xfrm>
              <a:custGeom>
                <a:avLst/>
                <a:gdLst>
                  <a:gd name="T0" fmla="*/ 131 w 174"/>
                  <a:gd name="T1" fmla="*/ 12 h 175"/>
                  <a:gd name="T2" fmla="*/ 131 w 174"/>
                  <a:gd name="T3" fmla="*/ 12 h 175"/>
                  <a:gd name="T4" fmla="*/ 145 w 174"/>
                  <a:gd name="T5" fmla="*/ 22 h 175"/>
                  <a:gd name="T6" fmla="*/ 157 w 174"/>
                  <a:gd name="T7" fmla="*/ 36 h 175"/>
                  <a:gd name="T8" fmla="*/ 165 w 174"/>
                  <a:gd name="T9" fmla="*/ 49 h 175"/>
                  <a:gd name="T10" fmla="*/ 171 w 174"/>
                  <a:gd name="T11" fmla="*/ 65 h 175"/>
                  <a:gd name="T12" fmla="*/ 174 w 174"/>
                  <a:gd name="T13" fmla="*/ 81 h 175"/>
                  <a:gd name="T14" fmla="*/ 173 w 174"/>
                  <a:gd name="T15" fmla="*/ 98 h 175"/>
                  <a:gd name="T16" fmla="*/ 169 w 174"/>
                  <a:gd name="T17" fmla="*/ 114 h 175"/>
                  <a:gd name="T18" fmla="*/ 163 w 174"/>
                  <a:gd name="T19" fmla="*/ 132 h 175"/>
                  <a:gd name="T20" fmla="*/ 163 w 174"/>
                  <a:gd name="T21" fmla="*/ 132 h 175"/>
                  <a:gd name="T22" fmla="*/ 151 w 174"/>
                  <a:gd name="T23" fmla="*/ 145 h 175"/>
                  <a:gd name="T24" fmla="*/ 139 w 174"/>
                  <a:gd name="T25" fmla="*/ 157 h 175"/>
                  <a:gd name="T26" fmla="*/ 126 w 174"/>
                  <a:gd name="T27" fmla="*/ 165 h 175"/>
                  <a:gd name="T28" fmla="*/ 110 w 174"/>
                  <a:gd name="T29" fmla="*/ 171 h 175"/>
                  <a:gd name="T30" fmla="*/ 92 w 174"/>
                  <a:gd name="T31" fmla="*/ 175 h 175"/>
                  <a:gd name="T32" fmla="*/ 77 w 174"/>
                  <a:gd name="T33" fmla="*/ 173 h 175"/>
                  <a:gd name="T34" fmla="*/ 59 w 174"/>
                  <a:gd name="T35" fmla="*/ 171 h 175"/>
                  <a:gd name="T36" fmla="*/ 43 w 174"/>
                  <a:gd name="T37" fmla="*/ 163 h 175"/>
                  <a:gd name="T38" fmla="*/ 43 w 174"/>
                  <a:gd name="T39" fmla="*/ 163 h 175"/>
                  <a:gd name="T40" fmla="*/ 30 w 174"/>
                  <a:gd name="T41" fmla="*/ 153 h 175"/>
                  <a:gd name="T42" fmla="*/ 18 w 174"/>
                  <a:gd name="T43" fmla="*/ 139 h 175"/>
                  <a:gd name="T44" fmla="*/ 10 w 174"/>
                  <a:gd name="T45" fmla="*/ 126 h 175"/>
                  <a:gd name="T46" fmla="*/ 4 w 174"/>
                  <a:gd name="T47" fmla="*/ 110 h 175"/>
                  <a:gd name="T48" fmla="*/ 0 w 174"/>
                  <a:gd name="T49" fmla="*/ 94 h 175"/>
                  <a:gd name="T50" fmla="*/ 0 w 174"/>
                  <a:gd name="T51" fmla="*/ 77 h 175"/>
                  <a:gd name="T52" fmla="*/ 4 w 174"/>
                  <a:gd name="T53" fmla="*/ 61 h 175"/>
                  <a:gd name="T54" fmla="*/ 12 w 174"/>
                  <a:gd name="T55" fmla="*/ 43 h 175"/>
                  <a:gd name="T56" fmla="*/ 12 w 174"/>
                  <a:gd name="T57" fmla="*/ 43 h 175"/>
                  <a:gd name="T58" fmla="*/ 22 w 174"/>
                  <a:gd name="T59" fmla="*/ 30 h 175"/>
                  <a:gd name="T60" fmla="*/ 35 w 174"/>
                  <a:gd name="T61" fmla="*/ 18 h 175"/>
                  <a:gd name="T62" fmla="*/ 49 w 174"/>
                  <a:gd name="T63" fmla="*/ 10 h 175"/>
                  <a:gd name="T64" fmla="*/ 65 w 174"/>
                  <a:gd name="T65" fmla="*/ 4 h 175"/>
                  <a:gd name="T66" fmla="*/ 80 w 174"/>
                  <a:gd name="T67" fmla="*/ 0 h 175"/>
                  <a:gd name="T68" fmla="*/ 98 w 174"/>
                  <a:gd name="T69" fmla="*/ 2 h 175"/>
                  <a:gd name="T70" fmla="*/ 114 w 174"/>
                  <a:gd name="T71" fmla="*/ 6 h 175"/>
                  <a:gd name="T72" fmla="*/ 131 w 174"/>
                  <a:gd name="T73" fmla="*/ 12 h 175"/>
                  <a:gd name="T74" fmla="*/ 131 w 174"/>
                  <a:gd name="T75" fmla="*/ 12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4" h="175">
                    <a:moveTo>
                      <a:pt x="131" y="12"/>
                    </a:moveTo>
                    <a:lnTo>
                      <a:pt x="131" y="12"/>
                    </a:lnTo>
                    <a:lnTo>
                      <a:pt x="145" y="22"/>
                    </a:lnTo>
                    <a:lnTo>
                      <a:pt x="157" y="36"/>
                    </a:lnTo>
                    <a:lnTo>
                      <a:pt x="165" y="49"/>
                    </a:lnTo>
                    <a:lnTo>
                      <a:pt x="171" y="65"/>
                    </a:lnTo>
                    <a:lnTo>
                      <a:pt x="174" y="81"/>
                    </a:lnTo>
                    <a:lnTo>
                      <a:pt x="173" y="98"/>
                    </a:lnTo>
                    <a:lnTo>
                      <a:pt x="169" y="114"/>
                    </a:lnTo>
                    <a:lnTo>
                      <a:pt x="163" y="132"/>
                    </a:lnTo>
                    <a:lnTo>
                      <a:pt x="163" y="132"/>
                    </a:lnTo>
                    <a:lnTo>
                      <a:pt x="151" y="145"/>
                    </a:lnTo>
                    <a:lnTo>
                      <a:pt x="139" y="157"/>
                    </a:lnTo>
                    <a:lnTo>
                      <a:pt x="126" y="165"/>
                    </a:lnTo>
                    <a:lnTo>
                      <a:pt x="110" y="171"/>
                    </a:lnTo>
                    <a:lnTo>
                      <a:pt x="92" y="175"/>
                    </a:lnTo>
                    <a:lnTo>
                      <a:pt x="77" y="173"/>
                    </a:lnTo>
                    <a:lnTo>
                      <a:pt x="59" y="171"/>
                    </a:lnTo>
                    <a:lnTo>
                      <a:pt x="43" y="163"/>
                    </a:lnTo>
                    <a:lnTo>
                      <a:pt x="43" y="163"/>
                    </a:lnTo>
                    <a:lnTo>
                      <a:pt x="30" y="153"/>
                    </a:lnTo>
                    <a:lnTo>
                      <a:pt x="18" y="139"/>
                    </a:lnTo>
                    <a:lnTo>
                      <a:pt x="10" y="126"/>
                    </a:lnTo>
                    <a:lnTo>
                      <a:pt x="4" y="110"/>
                    </a:lnTo>
                    <a:lnTo>
                      <a:pt x="0" y="94"/>
                    </a:lnTo>
                    <a:lnTo>
                      <a:pt x="0" y="77"/>
                    </a:lnTo>
                    <a:lnTo>
                      <a:pt x="4" y="61"/>
                    </a:lnTo>
                    <a:lnTo>
                      <a:pt x="12" y="43"/>
                    </a:lnTo>
                    <a:lnTo>
                      <a:pt x="12" y="43"/>
                    </a:lnTo>
                    <a:lnTo>
                      <a:pt x="22" y="30"/>
                    </a:lnTo>
                    <a:lnTo>
                      <a:pt x="35" y="18"/>
                    </a:lnTo>
                    <a:lnTo>
                      <a:pt x="49" y="10"/>
                    </a:lnTo>
                    <a:lnTo>
                      <a:pt x="65" y="4"/>
                    </a:lnTo>
                    <a:lnTo>
                      <a:pt x="80" y="0"/>
                    </a:lnTo>
                    <a:lnTo>
                      <a:pt x="98" y="2"/>
                    </a:lnTo>
                    <a:lnTo>
                      <a:pt x="114" y="6"/>
                    </a:lnTo>
                    <a:lnTo>
                      <a:pt x="131" y="12"/>
                    </a:lnTo>
                    <a:lnTo>
                      <a:pt x="131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6" name="Freeform 10"/>
              <p:cNvSpPr>
                <a:spLocks/>
              </p:cNvSpPr>
              <p:nvPr/>
            </p:nvSpPr>
            <p:spPr bwMode="auto">
              <a:xfrm>
                <a:off x="2032794" y="5776913"/>
                <a:ext cx="138112" cy="136525"/>
              </a:xfrm>
              <a:custGeom>
                <a:avLst/>
                <a:gdLst>
                  <a:gd name="T0" fmla="*/ 129 w 172"/>
                  <a:gd name="T1" fmla="*/ 11 h 172"/>
                  <a:gd name="T2" fmla="*/ 129 w 172"/>
                  <a:gd name="T3" fmla="*/ 11 h 172"/>
                  <a:gd name="T4" fmla="*/ 143 w 172"/>
                  <a:gd name="T5" fmla="*/ 21 h 172"/>
                  <a:gd name="T6" fmla="*/ 155 w 172"/>
                  <a:gd name="T7" fmla="*/ 33 h 172"/>
                  <a:gd name="T8" fmla="*/ 165 w 172"/>
                  <a:gd name="T9" fmla="*/ 47 h 172"/>
                  <a:gd name="T10" fmla="*/ 170 w 172"/>
                  <a:gd name="T11" fmla="*/ 62 h 172"/>
                  <a:gd name="T12" fmla="*/ 172 w 172"/>
                  <a:gd name="T13" fmla="*/ 80 h 172"/>
                  <a:gd name="T14" fmla="*/ 172 w 172"/>
                  <a:gd name="T15" fmla="*/ 96 h 172"/>
                  <a:gd name="T16" fmla="*/ 168 w 172"/>
                  <a:gd name="T17" fmla="*/ 113 h 172"/>
                  <a:gd name="T18" fmla="*/ 161 w 172"/>
                  <a:gd name="T19" fmla="*/ 129 h 172"/>
                  <a:gd name="T20" fmla="*/ 161 w 172"/>
                  <a:gd name="T21" fmla="*/ 129 h 172"/>
                  <a:gd name="T22" fmla="*/ 151 w 172"/>
                  <a:gd name="T23" fmla="*/ 143 h 172"/>
                  <a:gd name="T24" fmla="*/ 139 w 172"/>
                  <a:gd name="T25" fmla="*/ 154 h 172"/>
                  <a:gd name="T26" fmla="*/ 123 w 172"/>
                  <a:gd name="T27" fmla="*/ 164 h 172"/>
                  <a:gd name="T28" fmla="*/ 108 w 172"/>
                  <a:gd name="T29" fmla="*/ 170 h 172"/>
                  <a:gd name="T30" fmla="*/ 92 w 172"/>
                  <a:gd name="T31" fmla="*/ 172 h 172"/>
                  <a:gd name="T32" fmla="*/ 74 w 172"/>
                  <a:gd name="T33" fmla="*/ 172 h 172"/>
                  <a:gd name="T34" fmla="*/ 59 w 172"/>
                  <a:gd name="T35" fmla="*/ 168 h 172"/>
                  <a:gd name="T36" fmla="*/ 43 w 172"/>
                  <a:gd name="T37" fmla="*/ 160 h 172"/>
                  <a:gd name="T38" fmla="*/ 43 w 172"/>
                  <a:gd name="T39" fmla="*/ 160 h 172"/>
                  <a:gd name="T40" fmla="*/ 27 w 172"/>
                  <a:gd name="T41" fmla="*/ 150 h 172"/>
                  <a:gd name="T42" fmla="*/ 18 w 172"/>
                  <a:gd name="T43" fmla="*/ 139 h 172"/>
                  <a:gd name="T44" fmla="*/ 8 w 172"/>
                  <a:gd name="T45" fmla="*/ 123 h 172"/>
                  <a:gd name="T46" fmla="*/ 2 w 172"/>
                  <a:gd name="T47" fmla="*/ 107 h 172"/>
                  <a:gd name="T48" fmla="*/ 0 w 172"/>
                  <a:gd name="T49" fmla="*/ 92 h 172"/>
                  <a:gd name="T50" fmla="*/ 0 w 172"/>
                  <a:gd name="T51" fmla="*/ 74 h 172"/>
                  <a:gd name="T52" fmla="*/ 4 w 172"/>
                  <a:gd name="T53" fmla="*/ 58 h 172"/>
                  <a:gd name="T54" fmla="*/ 10 w 172"/>
                  <a:gd name="T55" fmla="*/ 43 h 172"/>
                  <a:gd name="T56" fmla="*/ 10 w 172"/>
                  <a:gd name="T57" fmla="*/ 43 h 172"/>
                  <a:gd name="T58" fmla="*/ 22 w 172"/>
                  <a:gd name="T59" fmla="*/ 27 h 172"/>
                  <a:gd name="T60" fmla="*/ 33 w 172"/>
                  <a:gd name="T61" fmla="*/ 17 h 172"/>
                  <a:gd name="T62" fmla="*/ 47 w 172"/>
                  <a:gd name="T63" fmla="*/ 7 h 172"/>
                  <a:gd name="T64" fmla="*/ 63 w 172"/>
                  <a:gd name="T65" fmla="*/ 2 h 172"/>
                  <a:gd name="T66" fmla="*/ 80 w 172"/>
                  <a:gd name="T67" fmla="*/ 0 h 172"/>
                  <a:gd name="T68" fmla="*/ 96 w 172"/>
                  <a:gd name="T69" fmla="*/ 0 h 172"/>
                  <a:gd name="T70" fmla="*/ 114 w 172"/>
                  <a:gd name="T71" fmla="*/ 4 h 172"/>
                  <a:gd name="T72" fmla="*/ 129 w 172"/>
                  <a:gd name="T73" fmla="*/ 11 h 172"/>
                  <a:gd name="T74" fmla="*/ 129 w 172"/>
                  <a:gd name="T75" fmla="*/ 1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2" h="172">
                    <a:moveTo>
                      <a:pt x="129" y="11"/>
                    </a:moveTo>
                    <a:lnTo>
                      <a:pt x="129" y="11"/>
                    </a:lnTo>
                    <a:lnTo>
                      <a:pt x="143" y="21"/>
                    </a:lnTo>
                    <a:lnTo>
                      <a:pt x="155" y="33"/>
                    </a:lnTo>
                    <a:lnTo>
                      <a:pt x="165" y="47"/>
                    </a:lnTo>
                    <a:lnTo>
                      <a:pt x="170" y="62"/>
                    </a:lnTo>
                    <a:lnTo>
                      <a:pt x="172" y="80"/>
                    </a:lnTo>
                    <a:lnTo>
                      <a:pt x="172" y="96"/>
                    </a:lnTo>
                    <a:lnTo>
                      <a:pt x="168" y="113"/>
                    </a:lnTo>
                    <a:lnTo>
                      <a:pt x="161" y="129"/>
                    </a:lnTo>
                    <a:lnTo>
                      <a:pt x="161" y="129"/>
                    </a:lnTo>
                    <a:lnTo>
                      <a:pt x="151" y="143"/>
                    </a:lnTo>
                    <a:lnTo>
                      <a:pt x="139" y="154"/>
                    </a:lnTo>
                    <a:lnTo>
                      <a:pt x="123" y="164"/>
                    </a:lnTo>
                    <a:lnTo>
                      <a:pt x="108" y="170"/>
                    </a:lnTo>
                    <a:lnTo>
                      <a:pt x="92" y="172"/>
                    </a:lnTo>
                    <a:lnTo>
                      <a:pt x="74" y="172"/>
                    </a:lnTo>
                    <a:lnTo>
                      <a:pt x="59" y="168"/>
                    </a:lnTo>
                    <a:lnTo>
                      <a:pt x="43" y="160"/>
                    </a:lnTo>
                    <a:lnTo>
                      <a:pt x="43" y="160"/>
                    </a:lnTo>
                    <a:lnTo>
                      <a:pt x="27" y="150"/>
                    </a:lnTo>
                    <a:lnTo>
                      <a:pt x="18" y="139"/>
                    </a:lnTo>
                    <a:lnTo>
                      <a:pt x="8" y="123"/>
                    </a:lnTo>
                    <a:lnTo>
                      <a:pt x="2" y="107"/>
                    </a:lnTo>
                    <a:lnTo>
                      <a:pt x="0" y="92"/>
                    </a:lnTo>
                    <a:lnTo>
                      <a:pt x="0" y="74"/>
                    </a:lnTo>
                    <a:lnTo>
                      <a:pt x="4" y="58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22" y="27"/>
                    </a:lnTo>
                    <a:lnTo>
                      <a:pt x="33" y="17"/>
                    </a:lnTo>
                    <a:lnTo>
                      <a:pt x="47" y="7"/>
                    </a:lnTo>
                    <a:lnTo>
                      <a:pt x="63" y="2"/>
                    </a:lnTo>
                    <a:lnTo>
                      <a:pt x="80" y="0"/>
                    </a:lnTo>
                    <a:lnTo>
                      <a:pt x="96" y="0"/>
                    </a:lnTo>
                    <a:lnTo>
                      <a:pt x="114" y="4"/>
                    </a:lnTo>
                    <a:lnTo>
                      <a:pt x="129" y="11"/>
                    </a:lnTo>
                    <a:lnTo>
                      <a:pt x="1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7" name="Freeform 11"/>
              <p:cNvSpPr>
                <a:spLocks/>
              </p:cNvSpPr>
              <p:nvPr/>
            </p:nvSpPr>
            <p:spPr bwMode="auto">
              <a:xfrm>
                <a:off x="2316956" y="5927726"/>
                <a:ext cx="138112" cy="138112"/>
              </a:xfrm>
              <a:custGeom>
                <a:avLst/>
                <a:gdLst>
                  <a:gd name="T0" fmla="*/ 132 w 175"/>
                  <a:gd name="T1" fmla="*/ 11 h 174"/>
                  <a:gd name="T2" fmla="*/ 132 w 175"/>
                  <a:gd name="T3" fmla="*/ 11 h 174"/>
                  <a:gd name="T4" fmla="*/ 145 w 175"/>
                  <a:gd name="T5" fmla="*/ 21 h 174"/>
                  <a:gd name="T6" fmla="*/ 157 w 175"/>
                  <a:gd name="T7" fmla="*/ 35 h 174"/>
                  <a:gd name="T8" fmla="*/ 165 w 175"/>
                  <a:gd name="T9" fmla="*/ 49 h 174"/>
                  <a:gd name="T10" fmla="*/ 171 w 175"/>
                  <a:gd name="T11" fmla="*/ 64 h 174"/>
                  <a:gd name="T12" fmla="*/ 175 w 175"/>
                  <a:gd name="T13" fmla="*/ 80 h 174"/>
                  <a:gd name="T14" fmla="*/ 175 w 175"/>
                  <a:gd name="T15" fmla="*/ 98 h 174"/>
                  <a:gd name="T16" fmla="*/ 171 w 175"/>
                  <a:gd name="T17" fmla="*/ 113 h 174"/>
                  <a:gd name="T18" fmla="*/ 163 w 175"/>
                  <a:gd name="T19" fmla="*/ 131 h 174"/>
                  <a:gd name="T20" fmla="*/ 163 w 175"/>
                  <a:gd name="T21" fmla="*/ 131 h 174"/>
                  <a:gd name="T22" fmla="*/ 153 w 175"/>
                  <a:gd name="T23" fmla="*/ 145 h 174"/>
                  <a:gd name="T24" fmla="*/ 140 w 175"/>
                  <a:gd name="T25" fmla="*/ 156 h 174"/>
                  <a:gd name="T26" fmla="*/ 126 w 175"/>
                  <a:gd name="T27" fmla="*/ 164 h 174"/>
                  <a:gd name="T28" fmla="*/ 110 w 175"/>
                  <a:gd name="T29" fmla="*/ 170 h 174"/>
                  <a:gd name="T30" fmla="*/ 94 w 175"/>
                  <a:gd name="T31" fmla="*/ 174 h 174"/>
                  <a:gd name="T32" fmla="*/ 77 w 175"/>
                  <a:gd name="T33" fmla="*/ 172 h 174"/>
                  <a:gd name="T34" fmla="*/ 61 w 175"/>
                  <a:gd name="T35" fmla="*/ 168 h 174"/>
                  <a:gd name="T36" fmla="*/ 46 w 175"/>
                  <a:gd name="T37" fmla="*/ 162 h 174"/>
                  <a:gd name="T38" fmla="*/ 46 w 175"/>
                  <a:gd name="T39" fmla="*/ 162 h 174"/>
                  <a:gd name="T40" fmla="*/ 30 w 175"/>
                  <a:gd name="T41" fmla="*/ 150 h 174"/>
                  <a:gd name="T42" fmla="*/ 18 w 175"/>
                  <a:gd name="T43" fmla="*/ 139 h 174"/>
                  <a:gd name="T44" fmla="*/ 10 w 175"/>
                  <a:gd name="T45" fmla="*/ 125 h 174"/>
                  <a:gd name="T46" fmla="*/ 4 w 175"/>
                  <a:gd name="T47" fmla="*/ 109 h 174"/>
                  <a:gd name="T48" fmla="*/ 0 w 175"/>
                  <a:gd name="T49" fmla="*/ 92 h 174"/>
                  <a:gd name="T50" fmla="*/ 2 w 175"/>
                  <a:gd name="T51" fmla="*/ 76 h 174"/>
                  <a:gd name="T52" fmla="*/ 6 w 175"/>
                  <a:gd name="T53" fmla="*/ 58 h 174"/>
                  <a:gd name="T54" fmla="*/ 12 w 175"/>
                  <a:gd name="T55" fmla="*/ 43 h 174"/>
                  <a:gd name="T56" fmla="*/ 12 w 175"/>
                  <a:gd name="T57" fmla="*/ 43 h 174"/>
                  <a:gd name="T58" fmla="*/ 24 w 175"/>
                  <a:gd name="T59" fmla="*/ 29 h 174"/>
                  <a:gd name="T60" fmla="*/ 36 w 175"/>
                  <a:gd name="T61" fmla="*/ 17 h 174"/>
                  <a:gd name="T62" fmla="*/ 49 w 175"/>
                  <a:gd name="T63" fmla="*/ 9 h 174"/>
                  <a:gd name="T64" fmla="*/ 65 w 175"/>
                  <a:gd name="T65" fmla="*/ 4 h 174"/>
                  <a:gd name="T66" fmla="*/ 83 w 175"/>
                  <a:gd name="T67" fmla="*/ 0 h 174"/>
                  <a:gd name="T68" fmla="*/ 98 w 175"/>
                  <a:gd name="T69" fmla="*/ 0 h 174"/>
                  <a:gd name="T70" fmla="*/ 116 w 175"/>
                  <a:gd name="T71" fmla="*/ 4 h 174"/>
                  <a:gd name="T72" fmla="*/ 132 w 175"/>
                  <a:gd name="T73" fmla="*/ 11 h 174"/>
                  <a:gd name="T74" fmla="*/ 132 w 175"/>
                  <a:gd name="T75" fmla="*/ 11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5" h="174">
                    <a:moveTo>
                      <a:pt x="132" y="11"/>
                    </a:moveTo>
                    <a:lnTo>
                      <a:pt x="132" y="11"/>
                    </a:lnTo>
                    <a:lnTo>
                      <a:pt x="145" y="21"/>
                    </a:lnTo>
                    <a:lnTo>
                      <a:pt x="157" y="35"/>
                    </a:lnTo>
                    <a:lnTo>
                      <a:pt x="165" y="49"/>
                    </a:lnTo>
                    <a:lnTo>
                      <a:pt x="171" y="64"/>
                    </a:lnTo>
                    <a:lnTo>
                      <a:pt x="175" y="80"/>
                    </a:lnTo>
                    <a:lnTo>
                      <a:pt x="175" y="98"/>
                    </a:lnTo>
                    <a:lnTo>
                      <a:pt x="171" y="113"/>
                    </a:lnTo>
                    <a:lnTo>
                      <a:pt x="163" y="131"/>
                    </a:lnTo>
                    <a:lnTo>
                      <a:pt x="163" y="131"/>
                    </a:lnTo>
                    <a:lnTo>
                      <a:pt x="153" y="145"/>
                    </a:lnTo>
                    <a:lnTo>
                      <a:pt x="140" y="156"/>
                    </a:lnTo>
                    <a:lnTo>
                      <a:pt x="126" y="164"/>
                    </a:lnTo>
                    <a:lnTo>
                      <a:pt x="110" y="170"/>
                    </a:lnTo>
                    <a:lnTo>
                      <a:pt x="94" y="174"/>
                    </a:lnTo>
                    <a:lnTo>
                      <a:pt x="77" y="172"/>
                    </a:lnTo>
                    <a:lnTo>
                      <a:pt x="61" y="168"/>
                    </a:lnTo>
                    <a:lnTo>
                      <a:pt x="46" y="162"/>
                    </a:lnTo>
                    <a:lnTo>
                      <a:pt x="46" y="162"/>
                    </a:lnTo>
                    <a:lnTo>
                      <a:pt x="30" y="150"/>
                    </a:lnTo>
                    <a:lnTo>
                      <a:pt x="18" y="139"/>
                    </a:lnTo>
                    <a:lnTo>
                      <a:pt x="10" y="125"/>
                    </a:lnTo>
                    <a:lnTo>
                      <a:pt x="4" y="109"/>
                    </a:lnTo>
                    <a:lnTo>
                      <a:pt x="0" y="92"/>
                    </a:lnTo>
                    <a:lnTo>
                      <a:pt x="2" y="76"/>
                    </a:lnTo>
                    <a:lnTo>
                      <a:pt x="6" y="58"/>
                    </a:lnTo>
                    <a:lnTo>
                      <a:pt x="12" y="43"/>
                    </a:lnTo>
                    <a:lnTo>
                      <a:pt x="12" y="43"/>
                    </a:lnTo>
                    <a:lnTo>
                      <a:pt x="24" y="29"/>
                    </a:lnTo>
                    <a:lnTo>
                      <a:pt x="36" y="17"/>
                    </a:lnTo>
                    <a:lnTo>
                      <a:pt x="49" y="9"/>
                    </a:lnTo>
                    <a:lnTo>
                      <a:pt x="65" y="4"/>
                    </a:lnTo>
                    <a:lnTo>
                      <a:pt x="83" y="0"/>
                    </a:lnTo>
                    <a:lnTo>
                      <a:pt x="98" y="0"/>
                    </a:lnTo>
                    <a:lnTo>
                      <a:pt x="116" y="4"/>
                    </a:lnTo>
                    <a:lnTo>
                      <a:pt x="132" y="11"/>
                    </a:lnTo>
                    <a:lnTo>
                      <a:pt x="13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8" name="Freeform 12"/>
              <p:cNvSpPr>
                <a:spLocks/>
              </p:cNvSpPr>
              <p:nvPr/>
            </p:nvSpPr>
            <p:spPr bwMode="auto">
              <a:xfrm>
                <a:off x="1718469" y="6137276"/>
                <a:ext cx="234950" cy="317500"/>
              </a:xfrm>
              <a:custGeom>
                <a:avLst/>
                <a:gdLst>
                  <a:gd name="T0" fmla="*/ 279 w 296"/>
                  <a:gd name="T1" fmla="*/ 90 h 400"/>
                  <a:gd name="T2" fmla="*/ 279 w 296"/>
                  <a:gd name="T3" fmla="*/ 90 h 400"/>
                  <a:gd name="T4" fmla="*/ 286 w 296"/>
                  <a:gd name="T5" fmla="*/ 45 h 400"/>
                  <a:gd name="T6" fmla="*/ 296 w 296"/>
                  <a:gd name="T7" fmla="*/ 0 h 400"/>
                  <a:gd name="T8" fmla="*/ 296 w 296"/>
                  <a:gd name="T9" fmla="*/ 0 h 400"/>
                  <a:gd name="T10" fmla="*/ 249 w 296"/>
                  <a:gd name="T11" fmla="*/ 39 h 400"/>
                  <a:gd name="T12" fmla="*/ 204 w 296"/>
                  <a:gd name="T13" fmla="*/ 80 h 400"/>
                  <a:gd name="T14" fmla="*/ 163 w 296"/>
                  <a:gd name="T15" fmla="*/ 123 h 400"/>
                  <a:gd name="T16" fmla="*/ 124 w 296"/>
                  <a:gd name="T17" fmla="*/ 168 h 400"/>
                  <a:gd name="T18" fmla="*/ 89 w 296"/>
                  <a:gd name="T19" fmla="*/ 214 h 400"/>
                  <a:gd name="T20" fmla="*/ 57 w 296"/>
                  <a:gd name="T21" fmla="*/ 261 h 400"/>
                  <a:gd name="T22" fmla="*/ 28 w 296"/>
                  <a:gd name="T23" fmla="*/ 308 h 400"/>
                  <a:gd name="T24" fmla="*/ 0 w 296"/>
                  <a:gd name="T25" fmla="*/ 353 h 400"/>
                  <a:gd name="T26" fmla="*/ 0 w 296"/>
                  <a:gd name="T27" fmla="*/ 353 h 400"/>
                  <a:gd name="T28" fmla="*/ 42 w 296"/>
                  <a:gd name="T29" fmla="*/ 400 h 400"/>
                  <a:gd name="T30" fmla="*/ 42 w 296"/>
                  <a:gd name="T31" fmla="*/ 400 h 400"/>
                  <a:gd name="T32" fmla="*/ 65 w 296"/>
                  <a:gd name="T33" fmla="*/ 360 h 400"/>
                  <a:gd name="T34" fmla="*/ 89 w 296"/>
                  <a:gd name="T35" fmla="*/ 319 h 400"/>
                  <a:gd name="T36" fmla="*/ 114 w 296"/>
                  <a:gd name="T37" fmla="*/ 280 h 400"/>
                  <a:gd name="T38" fmla="*/ 143 w 296"/>
                  <a:gd name="T39" fmla="*/ 241 h 400"/>
                  <a:gd name="T40" fmla="*/ 173 w 296"/>
                  <a:gd name="T41" fmla="*/ 202 h 400"/>
                  <a:gd name="T42" fmla="*/ 206 w 296"/>
                  <a:gd name="T43" fmla="*/ 163 h 400"/>
                  <a:gd name="T44" fmla="*/ 241 w 296"/>
                  <a:gd name="T45" fmla="*/ 125 h 400"/>
                  <a:gd name="T46" fmla="*/ 279 w 296"/>
                  <a:gd name="T47" fmla="*/ 90 h 400"/>
                  <a:gd name="T48" fmla="*/ 279 w 296"/>
                  <a:gd name="T49" fmla="*/ 90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96" h="400">
                    <a:moveTo>
                      <a:pt x="279" y="90"/>
                    </a:moveTo>
                    <a:lnTo>
                      <a:pt x="279" y="90"/>
                    </a:lnTo>
                    <a:lnTo>
                      <a:pt x="286" y="45"/>
                    </a:lnTo>
                    <a:lnTo>
                      <a:pt x="296" y="0"/>
                    </a:lnTo>
                    <a:lnTo>
                      <a:pt x="296" y="0"/>
                    </a:lnTo>
                    <a:lnTo>
                      <a:pt x="249" y="39"/>
                    </a:lnTo>
                    <a:lnTo>
                      <a:pt x="204" y="80"/>
                    </a:lnTo>
                    <a:lnTo>
                      <a:pt x="163" y="123"/>
                    </a:lnTo>
                    <a:lnTo>
                      <a:pt x="124" y="168"/>
                    </a:lnTo>
                    <a:lnTo>
                      <a:pt x="89" y="214"/>
                    </a:lnTo>
                    <a:lnTo>
                      <a:pt x="57" y="261"/>
                    </a:lnTo>
                    <a:lnTo>
                      <a:pt x="28" y="308"/>
                    </a:lnTo>
                    <a:lnTo>
                      <a:pt x="0" y="353"/>
                    </a:lnTo>
                    <a:lnTo>
                      <a:pt x="0" y="353"/>
                    </a:lnTo>
                    <a:lnTo>
                      <a:pt x="42" y="400"/>
                    </a:lnTo>
                    <a:lnTo>
                      <a:pt x="42" y="400"/>
                    </a:lnTo>
                    <a:lnTo>
                      <a:pt x="65" y="360"/>
                    </a:lnTo>
                    <a:lnTo>
                      <a:pt x="89" y="319"/>
                    </a:lnTo>
                    <a:lnTo>
                      <a:pt x="114" y="280"/>
                    </a:lnTo>
                    <a:lnTo>
                      <a:pt x="143" y="241"/>
                    </a:lnTo>
                    <a:lnTo>
                      <a:pt x="173" y="202"/>
                    </a:lnTo>
                    <a:lnTo>
                      <a:pt x="206" y="163"/>
                    </a:lnTo>
                    <a:lnTo>
                      <a:pt x="241" y="125"/>
                    </a:lnTo>
                    <a:lnTo>
                      <a:pt x="279" y="90"/>
                    </a:lnTo>
                    <a:lnTo>
                      <a:pt x="279" y="9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19" name="Freeform 13"/>
              <p:cNvSpPr>
                <a:spLocks/>
              </p:cNvSpPr>
              <p:nvPr/>
            </p:nvSpPr>
            <p:spPr bwMode="auto">
              <a:xfrm>
                <a:off x="1994694" y="5980113"/>
                <a:ext cx="379412" cy="184150"/>
              </a:xfrm>
              <a:custGeom>
                <a:avLst/>
                <a:gdLst>
                  <a:gd name="T0" fmla="*/ 22 w 478"/>
                  <a:gd name="T1" fmla="*/ 147 h 231"/>
                  <a:gd name="T2" fmla="*/ 22 w 478"/>
                  <a:gd name="T3" fmla="*/ 147 h 231"/>
                  <a:gd name="T4" fmla="*/ 10 w 478"/>
                  <a:gd name="T5" fmla="*/ 188 h 231"/>
                  <a:gd name="T6" fmla="*/ 0 w 478"/>
                  <a:gd name="T7" fmla="*/ 231 h 231"/>
                  <a:gd name="T8" fmla="*/ 0 w 478"/>
                  <a:gd name="T9" fmla="*/ 231 h 231"/>
                  <a:gd name="T10" fmla="*/ 27 w 478"/>
                  <a:gd name="T11" fmla="*/ 212 h 231"/>
                  <a:gd name="T12" fmla="*/ 57 w 478"/>
                  <a:gd name="T13" fmla="*/ 194 h 231"/>
                  <a:gd name="T14" fmla="*/ 86 w 478"/>
                  <a:gd name="T15" fmla="*/ 176 h 231"/>
                  <a:gd name="T16" fmla="*/ 118 w 478"/>
                  <a:gd name="T17" fmla="*/ 161 h 231"/>
                  <a:gd name="T18" fmla="*/ 178 w 478"/>
                  <a:gd name="T19" fmla="*/ 131 h 231"/>
                  <a:gd name="T20" fmla="*/ 239 w 478"/>
                  <a:gd name="T21" fmla="*/ 108 h 231"/>
                  <a:gd name="T22" fmla="*/ 302 w 478"/>
                  <a:gd name="T23" fmla="*/ 88 h 231"/>
                  <a:gd name="T24" fmla="*/ 362 w 478"/>
                  <a:gd name="T25" fmla="*/ 71 h 231"/>
                  <a:gd name="T26" fmla="*/ 421 w 478"/>
                  <a:gd name="T27" fmla="*/ 59 h 231"/>
                  <a:gd name="T28" fmla="*/ 478 w 478"/>
                  <a:gd name="T29" fmla="*/ 49 h 231"/>
                  <a:gd name="T30" fmla="*/ 478 w 478"/>
                  <a:gd name="T31" fmla="*/ 49 h 231"/>
                  <a:gd name="T32" fmla="*/ 449 w 478"/>
                  <a:gd name="T33" fmla="*/ 24 h 231"/>
                  <a:gd name="T34" fmla="*/ 415 w 478"/>
                  <a:gd name="T35" fmla="*/ 0 h 231"/>
                  <a:gd name="T36" fmla="*/ 415 w 478"/>
                  <a:gd name="T37" fmla="*/ 0 h 231"/>
                  <a:gd name="T38" fmla="*/ 368 w 478"/>
                  <a:gd name="T39" fmla="*/ 10 h 231"/>
                  <a:gd name="T40" fmla="*/ 319 w 478"/>
                  <a:gd name="T41" fmla="*/ 22 h 231"/>
                  <a:gd name="T42" fmla="*/ 270 w 478"/>
                  <a:gd name="T43" fmla="*/ 35 h 231"/>
                  <a:gd name="T44" fmla="*/ 219 w 478"/>
                  <a:gd name="T45" fmla="*/ 53 h 231"/>
                  <a:gd name="T46" fmla="*/ 170 w 478"/>
                  <a:gd name="T47" fmla="*/ 73 h 231"/>
                  <a:gd name="T48" fmla="*/ 119 w 478"/>
                  <a:gd name="T49" fmla="*/ 94 h 231"/>
                  <a:gd name="T50" fmla="*/ 71 w 478"/>
                  <a:gd name="T51" fmla="*/ 120 h 231"/>
                  <a:gd name="T52" fmla="*/ 22 w 478"/>
                  <a:gd name="T53" fmla="*/ 147 h 231"/>
                  <a:gd name="T54" fmla="*/ 22 w 478"/>
                  <a:gd name="T55" fmla="*/ 147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78" h="231">
                    <a:moveTo>
                      <a:pt x="22" y="147"/>
                    </a:moveTo>
                    <a:lnTo>
                      <a:pt x="22" y="147"/>
                    </a:lnTo>
                    <a:lnTo>
                      <a:pt x="10" y="188"/>
                    </a:lnTo>
                    <a:lnTo>
                      <a:pt x="0" y="231"/>
                    </a:lnTo>
                    <a:lnTo>
                      <a:pt x="0" y="231"/>
                    </a:lnTo>
                    <a:lnTo>
                      <a:pt x="27" y="212"/>
                    </a:lnTo>
                    <a:lnTo>
                      <a:pt x="57" y="194"/>
                    </a:lnTo>
                    <a:lnTo>
                      <a:pt x="86" y="176"/>
                    </a:lnTo>
                    <a:lnTo>
                      <a:pt x="118" y="161"/>
                    </a:lnTo>
                    <a:lnTo>
                      <a:pt x="178" y="131"/>
                    </a:lnTo>
                    <a:lnTo>
                      <a:pt x="239" y="108"/>
                    </a:lnTo>
                    <a:lnTo>
                      <a:pt x="302" y="88"/>
                    </a:lnTo>
                    <a:lnTo>
                      <a:pt x="362" y="71"/>
                    </a:lnTo>
                    <a:lnTo>
                      <a:pt x="421" y="59"/>
                    </a:lnTo>
                    <a:lnTo>
                      <a:pt x="478" y="49"/>
                    </a:lnTo>
                    <a:lnTo>
                      <a:pt x="478" y="49"/>
                    </a:lnTo>
                    <a:lnTo>
                      <a:pt x="449" y="24"/>
                    </a:lnTo>
                    <a:lnTo>
                      <a:pt x="415" y="0"/>
                    </a:lnTo>
                    <a:lnTo>
                      <a:pt x="415" y="0"/>
                    </a:lnTo>
                    <a:lnTo>
                      <a:pt x="368" y="10"/>
                    </a:lnTo>
                    <a:lnTo>
                      <a:pt x="319" y="22"/>
                    </a:lnTo>
                    <a:lnTo>
                      <a:pt x="270" y="35"/>
                    </a:lnTo>
                    <a:lnTo>
                      <a:pt x="219" y="53"/>
                    </a:lnTo>
                    <a:lnTo>
                      <a:pt x="170" y="73"/>
                    </a:lnTo>
                    <a:lnTo>
                      <a:pt x="119" y="94"/>
                    </a:lnTo>
                    <a:lnTo>
                      <a:pt x="71" y="120"/>
                    </a:lnTo>
                    <a:lnTo>
                      <a:pt x="22" y="147"/>
                    </a:lnTo>
                    <a:lnTo>
                      <a:pt x="22" y="1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0" name="Freeform 14"/>
              <p:cNvSpPr>
                <a:spLocks/>
              </p:cNvSpPr>
              <p:nvPr/>
            </p:nvSpPr>
            <p:spPr bwMode="auto">
              <a:xfrm>
                <a:off x="2388394" y="5957888"/>
                <a:ext cx="244475" cy="53975"/>
              </a:xfrm>
              <a:custGeom>
                <a:avLst/>
                <a:gdLst>
                  <a:gd name="T0" fmla="*/ 0 w 307"/>
                  <a:gd name="T1" fmla="*/ 14 h 66"/>
                  <a:gd name="T2" fmla="*/ 0 w 307"/>
                  <a:gd name="T3" fmla="*/ 14 h 66"/>
                  <a:gd name="T4" fmla="*/ 39 w 307"/>
                  <a:gd name="T5" fmla="*/ 49 h 66"/>
                  <a:gd name="T6" fmla="*/ 39 w 307"/>
                  <a:gd name="T7" fmla="*/ 49 h 66"/>
                  <a:gd name="T8" fmla="*/ 58 w 307"/>
                  <a:gd name="T9" fmla="*/ 66 h 66"/>
                  <a:gd name="T10" fmla="*/ 58 w 307"/>
                  <a:gd name="T11" fmla="*/ 66 h 66"/>
                  <a:gd name="T12" fmla="*/ 101 w 307"/>
                  <a:gd name="T13" fmla="*/ 62 h 66"/>
                  <a:gd name="T14" fmla="*/ 143 w 307"/>
                  <a:gd name="T15" fmla="*/ 61 h 66"/>
                  <a:gd name="T16" fmla="*/ 213 w 307"/>
                  <a:gd name="T17" fmla="*/ 59 h 66"/>
                  <a:gd name="T18" fmla="*/ 268 w 307"/>
                  <a:gd name="T19" fmla="*/ 59 h 66"/>
                  <a:gd name="T20" fmla="*/ 307 w 307"/>
                  <a:gd name="T21" fmla="*/ 62 h 66"/>
                  <a:gd name="T22" fmla="*/ 307 w 307"/>
                  <a:gd name="T23" fmla="*/ 62 h 66"/>
                  <a:gd name="T24" fmla="*/ 286 w 307"/>
                  <a:gd name="T25" fmla="*/ 31 h 66"/>
                  <a:gd name="T26" fmla="*/ 266 w 307"/>
                  <a:gd name="T27" fmla="*/ 2 h 66"/>
                  <a:gd name="T28" fmla="*/ 266 w 307"/>
                  <a:gd name="T29" fmla="*/ 2 h 66"/>
                  <a:gd name="T30" fmla="*/ 215 w 307"/>
                  <a:gd name="T31" fmla="*/ 0 h 66"/>
                  <a:gd name="T32" fmla="*/ 152 w 307"/>
                  <a:gd name="T33" fmla="*/ 2 h 66"/>
                  <a:gd name="T34" fmla="*/ 80 w 307"/>
                  <a:gd name="T35" fmla="*/ 6 h 66"/>
                  <a:gd name="T36" fmla="*/ 0 w 307"/>
                  <a:gd name="T37" fmla="*/ 14 h 66"/>
                  <a:gd name="T38" fmla="*/ 0 w 307"/>
                  <a:gd name="T39" fmla="*/ 1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07" h="66">
                    <a:moveTo>
                      <a:pt x="0" y="14"/>
                    </a:moveTo>
                    <a:lnTo>
                      <a:pt x="0" y="14"/>
                    </a:lnTo>
                    <a:lnTo>
                      <a:pt x="39" y="49"/>
                    </a:lnTo>
                    <a:lnTo>
                      <a:pt x="39" y="49"/>
                    </a:lnTo>
                    <a:lnTo>
                      <a:pt x="58" y="66"/>
                    </a:lnTo>
                    <a:lnTo>
                      <a:pt x="58" y="66"/>
                    </a:lnTo>
                    <a:lnTo>
                      <a:pt x="101" y="62"/>
                    </a:lnTo>
                    <a:lnTo>
                      <a:pt x="143" y="61"/>
                    </a:lnTo>
                    <a:lnTo>
                      <a:pt x="213" y="59"/>
                    </a:lnTo>
                    <a:lnTo>
                      <a:pt x="268" y="59"/>
                    </a:lnTo>
                    <a:lnTo>
                      <a:pt x="307" y="62"/>
                    </a:lnTo>
                    <a:lnTo>
                      <a:pt x="307" y="62"/>
                    </a:lnTo>
                    <a:lnTo>
                      <a:pt x="286" y="31"/>
                    </a:lnTo>
                    <a:lnTo>
                      <a:pt x="266" y="2"/>
                    </a:lnTo>
                    <a:lnTo>
                      <a:pt x="266" y="2"/>
                    </a:lnTo>
                    <a:lnTo>
                      <a:pt x="215" y="0"/>
                    </a:lnTo>
                    <a:lnTo>
                      <a:pt x="152" y="2"/>
                    </a:lnTo>
                    <a:lnTo>
                      <a:pt x="80" y="6"/>
                    </a:lnTo>
                    <a:lnTo>
                      <a:pt x="0" y="14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1" name="Freeform 15"/>
              <p:cNvSpPr>
                <a:spLocks/>
              </p:cNvSpPr>
              <p:nvPr/>
            </p:nvSpPr>
            <p:spPr bwMode="auto">
              <a:xfrm>
                <a:off x="1610519" y="6462713"/>
                <a:ext cx="119062" cy="268287"/>
              </a:xfrm>
              <a:custGeom>
                <a:avLst/>
                <a:gdLst>
                  <a:gd name="T0" fmla="*/ 106 w 149"/>
                  <a:gd name="T1" fmla="*/ 0 h 339"/>
                  <a:gd name="T2" fmla="*/ 106 w 149"/>
                  <a:gd name="T3" fmla="*/ 0 h 339"/>
                  <a:gd name="T4" fmla="*/ 86 w 149"/>
                  <a:gd name="T5" fmla="*/ 42 h 339"/>
                  <a:gd name="T6" fmla="*/ 69 w 149"/>
                  <a:gd name="T7" fmla="*/ 83 h 339"/>
                  <a:gd name="T8" fmla="*/ 39 w 149"/>
                  <a:gd name="T9" fmla="*/ 157 h 339"/>
                  <a:gd name="T10" fmla="*/ 18 w 149"/>
                  <a:gd name="T11" fmla="*/ 226 h 339"/>
                  <a:gd name="T12" fmla="*/ 0 w 149"/>
                  <a:gd name="T13" fmla="*/ 280 h 339"/>
                  <a:gd name="T14" fmla="*/ 0 w 149"/>
                  <a:gd name="T15" fmla="*/ 280 h 339"/>
                  <a:gd name="T16" fmla="*/ 24 w 149"/>
                  <a:gd name="T17" fmla="*/ 310 h 339"/>
                  <a:gd name="T18" fmla="*/ 47 w 149"/>
                  <a:gd name="T19" fmla="*/ 339 h 339"/>
                  <a:gd name="T20" fmla="*/ 47 w 149"/>
                  <a:gd name="T21" fmla="*/ 339 h 339"/>
                  <a:gd name="T22" fmla="*/ 59 w 149"/>
                  <a:gd name="T23" fmla="*/ 288 h 339"/>
                  <a:gd name="T24" fmla="*/ 81 w 149"/>
                  <a:gd name="T25" fmla="*/ 222 h 339"/>
                  <a:gd name="T26" fmla="*/ 94 w 149"/>
                  <a:gd name="T27" fmla="*/ 181 h 339"/>
                  <a:gd name="T28" fmla="*/ 110 w 149"/>
                  <a:gd name="T29" fmla="*/ 139 h 339"/>
                  <a:gd name="T30" fmla="*/ 128 w 149"/>
                  <a:gd name="T31" fmla="*/ 94 h 339"/>
                  <a:gd name="T32" fmla="*/ 149 w 149"/>
                  <a:gd name="T33" fmla="*/ 47 h 339"/>
                  <a:gd name="T34" fmla="*/ 149 w 149"/>
                  <a:gd name="T35" fmla="*/ 47 h 339"/>
                  <a:gd name="T36" fmla="*/ 106 w 149"/>
                  <a:gd name="T37" fmla="*/ 0 h 339"/>
                  <a:gd name="T38" fmla="*/ 106 w 149"/>
                  <a:gd name="T39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9" h="339">
                    <a:moveTo>
                      <a:pt x="106" y="0"/>
                    </a:moveTo>
                    <a:lnTo>
                      <a:pt x="106" y="0"/>
                    </a:lnTo>
                    <a:lnTo>
                      <a:pt x="86" y="42"/>
                    </a:lnTo>
                    <a:lnTo>
                      <a:pt x="69" y="83"/>
                    </a:lnTo>
                    <a:lnTo>
                      <a:pt x="39" y="157"/>
                    </a:lnTo>
                    <a:lnTo>
                      <a:pt x="18" y="226"/>
                    </a:lnTo>
                    <a:lnTo>
                      <a:pt x="0" y="280"/>
                    </a:lnTo>
                    <a:lnTo>
                      <a:pt x="0" y="280"/>
                    </a:lnTo>
                    <a:lnTo>
                      <a:pt x="24" y="310"/>
                    </a:lnTo>
                    <a:lnTo>
                      <a:pt x="47" y="339"/>
                    </a:lnTo>
                    <a:lnTo>
                      <a:pt x="47" y="339"/>
                    </a:lnTo>
                    <a:lnTo>
                      <a:pt x="59" y="288"/>
                    </a:lnTo>
                    <a:lnTo>
                      <a:pt x="81" y="222"/>
                    </a:lnTo>
                    <a:lnTo>
                      <a:pt x="94" y="181"/>
                    </a:lnTo>
                    <a:lnTo>
                      <a:pt x="110" y="139"/>
                    </a:lnTo>
                    <a:lnTo>
                      <a:pt x="128" y="94"/>
                    </a:lnTo>
                    <a:lnTo>
                      <a:pt x="149" y="47"/>
                    </a:lnTo>
                    <a:lnTo>
                      <a:pt x="149" y="47"/>
                    </a:lnTo>
                    <a:lnTo>
                      <a:pt x="106" y="0"/>
                    </a:lnTo>
                    <a:lnTo>
                      <a:pt x="10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2" name="Freeform 16"/>
              <p:cNvSpPr>
                <a:spLocks/>
              </p:cNvSpPr>
              <p:nvPr/>
            </p:nvSpPr>
            <p:spPr bwMode="auto">
              <a:xfrm>
                <a:off x="1953419" y="5857876"/>
                <a:ext cx="160337" cy="279400"/>
              </a:xfrm>
              <a:custGeom>
                <a:avLst/>
                <a:gdLst>
                  <a:gd name="T0" fmla="*/ 75 w 204"/>
                  <a:gd name="T1" fmla="*/ 302 h 353"/>
                  <a:gd name="T2" fmla="*/ 75 w 204"/>
                  <a:gd name="T3" fmla="*/ 302 h 353"/>
                  <a:gd name="T4" fmla="*/ 88 w 204"/>
                  <a:gd name="T5" fmla="*/ 263 h 353"/>
                  <a:gd name="T6" fmla="*/ 102 w 204"/>
                  <a:gd name="T7" fmla="*/ 224 h 353"/>
                  <a:gd name="T8" fmla="*/ 118 w 204"/>
                  <a:gd name="T9" fmla="*/ 187 h 353"/>
                  <a:gd name="T10" fmla="*/ 135 w 204"/>
                  <a:gd name="T11" fmla="*/ 149 h 353"/>
                  <a:gd name="T12" fmla="*/ 169 w 204"/>
                  <a:gd name="T13" fmla="*/ 81 h 353"/>
                  <a:gd name="T14" fmla="*/ 204 w 204"/>
                  <a:gd name="T15" fmla="*/ 20 h 353"/>
                  <a:gd name="T16" fmla="*/ 204 w 204"/>
                  <a:gd name="T17" fmla="*/ 20 h 353"/>
                  <a:gd name="T18" fmla="*/ 147 w 204"/>
                  <a:gd name="T19" fmla="*/ 0 h 353"/>
                  <a:gd name="T20" fmla="*/ 147 w 204"/>
                  <a:gd name="T21" fmla="*/ 0 h 353"/>
                  <a:gd name="T22" fmla="*/ 125 w 204"/>
                  <a:gd name="T23" fmla="*/ 38 h 353"/>
                  <a:gd name="T24" fmla="*/ 104 w 204"/>
                  <a:gd name="T25" fmla="*/ 77 h 353"/>
                  <a:gd name="T26" fmla="*/ 84 w 204"/>
                  <a:gd name="T27" fmla="*/ 118 h 353"/>
                  <a:gd name="T28" fmla="*/ 65 w 204"/>
                  <a:gd name="T29" fmla="*/ 163 h 353"/>
                  <a:gd name="T30" fmla="*/ 45 w 204"/>
                  <a:gd name="T31" fmla="*/ 208 h 353"/>
                  <a:gd name="T32" fmla="*/ 30 w 204"/>
                  <a:gd name="T33" fmla="*/ 255 h 353"/>
                  <a:gd name="T34" fmla="*/ 14 w 204"/>
                  <a:gd name="T35" fmla="*/ 304 h 353"/>
                  <a:gd name="T36" fmla="*/ 0 w 204"/>
                  <a:gd name="T37" fmla="*/ 353 h 353"/>
                  <a:gd name="T38" fmla="*/ 0 w 204"/>
                  <a:gd name="T39" fmla="*/ 353 h 353"/>
                  <a:gd name="T40" fmla="*/ 8 w 204"/>
                  <a:gd name="T41" fmla="*/ 347 h 353"/>
                  <a:gd name="T42" fmla="*/ 8 w 204"/>
                  <a:gd name="T43" fmla="*/ 347 h 353"/>
                  <a:gd name="T44" fmla="*/ 41 w 204"/>
                  <a:gd name="T45" fmla="*/ 324 h 353"/>
                  <a:gd name="T46" fmla="*/ 75 w 204"/>
                  <a:gd name="T47" fmla="*/ 302 h 353"/>
                  <a:gd name="T48" fmla="*/ 75 w 204"/>
                  <a:gd name="T49" fmla="*/ 302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04" h="353">
                    <a:moveTo>
                      <a:pt x="75" y="302"/>
                    </a:moveTo>
                    <a:lnTo>
                      <a:pt x="75" y="302"/>
                    </a:lnTo>
                    <a:lnTo>
                      <a:pt x="88" y="263"/>
                    </a:lnTo>
                    <a:lnTo>
                      <a:pt x="102" y="224"/>
                    </a:lnTo>
                    <a:lnTo>
                      <a:pt x="118" y="187"/>
                    </a:lnTo>
                    <a:lnTo>
                      <a:pt x="135" y="149"/>
                    </a:lnTo>
                    <a:lnTo>
                      <a:pt x="169" y="81"/>
                    </a:lnTo>
                    <a:lnTo>
                      <a:pt x="204" y="20"/>
                    </a:lnTo>
                    <a:lnTo>
                      <a:pt x="204" y="20"/>
                    </a:lnTo>
                    <a:lnTo>
                      <a:pt x="147" y="0"/>
                    </a:lnTo>
                    <a:lnTo>
                      <a:pt x="147" y="0"/>
                    </a:lnTo>
                    <a:lnTo>
                      <a:pt x="125" y="38"/>
                    </a:lnTo>
                    <a:lnTo>
                      <a:pt x="104" y="77"/>
                    </a:lnTo>
                    <a:lnTo>
                      <a:pt x="84" y="118"/>
                    </a:lnTo>
                    <a:lnTo>
                      <a:pt x="65" y="163"/>
                    </a:lnTo>
                    <a:lnTo>
                      <a:pt x="45" y="208"/>
                    </a:lnTo>
                    <a:lnTo>
                      <a:pt x="30" y="255"/>
                    </a:lnTo>
                    <a:lnTo>
                      <a:pt x="14" y="304"/>
                    </a:lnTo>
                    <a:lnTo>
                      <a:pt x="0" y="353"/>
                    </a:lnTo>
                    <a:lnTo>
                      <a:pt x="0" y="353"/>
                    </a:lnTo>
                    <a:lnTo>
                      <a:pt x="8" y="347"/>
                    </a:lnTo>
                    <a:lnTo>
                      <a:pt x="8" y="347"/>
                    </a:lnTo>
                    <a:lnTo>
                      <a:pt x="41" y="324"/>
                    </a:lnTo>
                    <a:lnTo>
                      <a:pt x="75" y="302"/>
                    </a:lnTo>
                    <a:lnTo>
                      <a:pt x="75" y="30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3" name="Freeform 17"/>
              <p:cNvSpPr>
                <a:spLocks/>
              </p:cNvSpPr>
              <p:nvPr/>
            </p:nvSpPr>
            <p:spPr bwMode="auto">
              <a:xfrm>
                <a:off x="2094706" y="5718176"/>
                <a:ext cx="125412" cy="114300"/>
              </a:xfrm>
              <a:custGeom>
                <a:avLst/>
                <a:gdLst>
                  <a:gd name="T0" fmla="*/ 57 w 159"/>
                  <a:gd name="T1" fmla="*/ 145 h 145"/>
                  <a:gd name="T2" fmla="*/ 57 w 159"/>
                  <a:gd name="T3" fmla="*/ 145 h 145"/>
                  <a:gd name="T4" fmla="*/ 87 w 159"/>
                  <a:gd name="T5" fmla="*/ 102 h 145"/>
                  <a:gd name="T6" fmla="*/ 114 w 159"/>
                  <a:gd name="T7" fmla="*/ 65 h 145"/>
                  <a:gd name="T8" fmla="*/ 159 w 159"/>
                  <a:gd name="T9" fmla="*/ 8 h 145"/>
                  <a:gd name="T10" fmla="*/ 159 w 159"/>
                  <a:gd name="T11" fmla="*/ 8 h 145"/>
                  <a:gd name="T12" fmla="*/ 124 w 159"/>
                  <a:gd name="T13" fmla="*/ 4 h 145"/>
                  <a:gd name="T14" fmla="*/ 90 w 159"/>
                  <a:gd name="T15" fmla="*/ 0 h 145"/>
                  <a:gd name="T16" fmla="*/ 90 w 159"/>
                  <a:gd name="T17" fmla="*/ 0 h 145"/>
                  <a:gd name="T18" fmla="*/ 49 w 159"/>
                  <a:gd name="T19" fmla="*/ 55 h 145"/>
                  <a:gd name="T20" fmla="*/ 26 w 159"/>
                  <a:gd name="T21" fmla="*/ 88 h 145"/>
                  <a:gd name="T22" fmla="*/ 0 w 159"/>
                  <a:gd name="T23" fmla="*/ 126 h 145"/>
                  <a:gd name="T24" fmla="*/ 0 w 159"/>
                  <a:gd name="T25" fmla="*/ 126 h 145"/>
                  <a:gd name="T26" fmla="*/ 57 w 159"/>
                  <a:gd name="T27" fmla="*/ 145 h 145"/>
                  <a:gd name="T28" fmla="*/ 57 w 159"/>
                  <a:gd name="T29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9" h="145">
                    <a:moveTo>
                      <a:pt x="57" y="145"/>
                    </a:moveTo>
                    <a:lnTo>
                      <a:pt x="57" y="145"/>
                    </a:lnTo>
                    <a:lnTo>
                      <a:pt x="87" y="102"/>
                    </a:lnTo>
                    <a:lnTo>
                      <a:pt x="114" y="65"/>
                    </a:lnTo>
                    <a:lnTo>
                      <a:pt x="159" y="8"/>
                    </a:lnTo>
                    <a:lnTo>
                      <a:pt x="159" y="8"/>
                    </a:lnTo>
                    <a:lnTo>
                      <a:pt x="124" y="4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49" y="55"/>
                    </a:lnTo>
                    <a:lnTo>
                      <a:pt x="26" y="88"/>
                    </a:lnTo>
                    <a:lnTo>
                      <a:pt x="0" y="126"/>
                    </a:lnTo>
                    <a:lnTo>
                      <a:pt x="0" y="126"/>
                    </a:lnTo>
                    <a:lnTo>
                      <a:pt x="57" y="145"/>
                    </a:lnTo>
                    <a:lnTo>
                      <a:pt x="57" y="1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4" name="Freeform 18"/>
              <p:cNvSpPr>
                <a:spLocks/>
              </p:cNvSpPr>
              <p:nvPr/>
            </p:nvSpPr>
            <p:spPr bwMode="auto">
              <a:xfrm>
                <a:off x="1929606" y="6164263"/>
                <a:ext cx="122237" cy="492125"/>
              </a:xfrm>
              <a:custGeom>
                <a:avLst/>
                <a:gdLst>
                  <a:gd name="T0" fmla="*/ 12 w 154"/>
                  <a:gd name="T1" fmla="*/ 57 h 621"/>
                  <a:gd name="T2" fmla="*/ 12 w 154"/>
                  <a:gd name="T3" fmla="*/ 57 h 621"/>
                  <a:gd name="T4" fmla="*/ 6 w 154"/>
                  <a:gd name="T5" fmla="*/ 92 h 621"/>
                  <a:gd name="T6" fmla="*/ 4 w 154"/>
                  <a:gd name="T7" fmla="*/ 128 h 621"/>
                  <a:gd name="T8" fmla="*/ 2 w 154"/>
                  <a:gd name="T9" fmla="*/ 165 h 621"/>
                  <a:gd name="T10" fmla="*/ 0 w 154"/>
                  <a:gd name="T11" fmla="*/ 202 h 621"/>
                  <a:gd name="T12" fmla="*/ 0 w 154"/>
                  <a:gd name="T13" fmla="*/ 202 h 621"/>
                  <a:gd name="T14" fmla="*/ 2 w 154"/>
                  <a:gd name="T15" fmla="*/ 255 h 621"/>
                  <a:gd name="T16" fmla="*/ 6 w 154"/>
                  <a:gd name="T17" fmla="*/ 306 h 621"/>
                  <a:gd name="T18" fmla="*/ 13 w 154"/>
                  <a:gd name="T19" fmla="*/ 357 h 621"/>
                  <a:gd name="T20" fmla="*/ 21 w 154"/>
                  <a:gd name="T21" fmla="*/ 406 h 621"/>
                  <a:gd name="T22" fmla="*/ 33 w 154"/>
                  <a:gd name="T23" fmla="*/ 453 h 621"/>
                  <a:gd name="T24" fmla="*/ 47 w 154"/>
                  <a:gd name="T25" fmla="*/ 500 h 621"/>
                  <a:gd name="T26" fmla="*/ 62 w 154"/>
                  <a:gd name="T27" fmla="*/ 547 h 621"/>
                  <a:gd name="T28" fmla="*/ 78 w 154"/>
                  <a:gd name="T29" fmla="*/ 590 h 621"/>
                  <a:gd name="T30" fmla="*/ 78 w 154"/>
                  <a:gd name="T31" fmla="*/ 590 h 621"/>
                  <a:gd name="T32" fmla="*/ 117 w 154"/>
                  <a:gd name="T33" fmla="*/ 606 h 621"/>
                  <a:gd name="T34" fmla="*/ 154 w 154"/>
                  <a:gd name="T35" fmla="*/ 621 h 621"/>
                  <a:gd name="T36" fmla="*/ 154 w 154"/>
                  <a:gd name="T37" fmla="*/ 621 h 621"/>
                  <a:gd name="T38" fmla="*/ 135 w 154"/>
                  <a:gd name="T39" fmla="*/ 574 h 621"/>
                  <a:gd name="T40" fmla="*/ 117 w 154"/>
                  <a:gd name="T41" fmla="*/ 525 h 621"/>
                  <a:gd name="T42" fmla="*/ 100 w 154"/>
                  <a:gd name="T43" fmla="*/ 474 h 621"/>
                  <a:gd name="T44" fmla="*/ 86 w 154"/>
                  <a:gd name="T45" fmla="*/ 423 h 621"/>
                  <a:gd name="T46" fmla="*/ 74 w 154"/>
                  <a:gd name="T47" fmla="*/ 369 h 621"/>
                  <a:gd name="T48" fmla="*/ 66 w 154"/>
                  <a:gd name="T49" fmla="*/ 314 h 621"/>
                  <a:gd name="T50" fmla="*/ 60 w 154"/>
                  <a:gd name="T51" fmla="*/ 259 h 621"/>
                  <a:gd name="T52" fmla="*/ 59 w 154"/>
                  <a:gd name="T53" fmla="*/ 202 h 621"/>
                  <a:gd name="T54" fmla="*/ 59 w 154"/>
                  <a:gd name="T55" fmla="*/ 202 h 621"/>
                  <a:gd name="T56" fmla="*/ 59 w 154"/>
                  <a:gd name="T57" fmla="*/ 149 h 621"/>
                  <a:gd name="T58" fmla="*/ 64 w 154"/>
                  <a:gd name="T59" fmla="*/ 100 h 621"/>
                  <a:gd name="T60" fmla="*/ 72 w 154"/>
                  <a:gd name="T61" fmla="*/ 49 h 621"/>
                  <a:gd name="T62" fmla="*/ 82 w 154"/>
                  <a:gd name="T63" fmla="*/ 0 h 621"/>
                  <a:gd name="T64" fmla="*/ 82 w 154"/>
                  <a:gd name="T65" fmla="*/ 0 h 621"/>
                  <a:gd name="T66" fmla="*/ 70 w 154"/>
                  <a:gd name="T67" fmla="*/ 8 h 621"/>
                  <a:gd name="T68" fmla="*/ 70 w 154"/>
                  <a:gd name="T69" fmla="*/ 8 h 621"/>
                  <a:gd name="T70" fmla="*/ 41 w 154"/>
                  <a:gd name="T71" fmla="*/ 32 h 621"/>
                  <a:gd name="T72" fmla="*/ 12 w 154"/>
                  <a:gd name="T73" fmla="*/ 57 h 621"/>
                  <a:gd name="T74" fmla="*/ 12 w 154"/>
                  <a:gd name="T75" fmla="*/ 57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54" h="621">
                    <a:moveTo>
                      <a:pt x="12" y="57"/>
                    </a:moveTo>
                    <a:lnTo>
                      <a:pt x="12" y="57"/>
                    </a:lnTo>
                    <a:lnTo>
                      <a:pt x="6" y="92"/>
                    </a:lnTo>
                    <a:lnTo>
                      <a:pt x="4" y="128"/>
                    </a:lnTo>
                    <a:lnTo>
                      <a:pt x="2" y="165"/>
                    </a:lnTo>
                    <a:lnTo>
                      <a:pt x="0" y="202"/>
                    </a:lnTo>
                    <a:lnTo>
                      <a:pt x="0" y="202"/>
                    </a:lnTo>
                    <a:lnTo>
                      <a:pt x="2" y="255"/>
                    </a:lnTo>
                    <a:lnTo>
                      <a:pt x="6" y="306"/>
                    </a:lnTo>
                    <a:lnTo>
                      <a:pt x="13" y="357"/>
                    </a:lnTo>
                    <a:lnTo>
                      <a:pt x="21" y="406"/>
                    </a:lnTo>
                    <a:lnTo>
                      <a:pt x="33" y="453"/>
                    </a:lnTo>
                    <a:lnTo>
                      <a:pt x="47" y="500"/>
                    </a:lnTo>
                    <a:lnTo>
                      <a:pt x="62" y="547"/>
                    </a:lnTo>
                    <a:lnTo>
                      <a:pt x="78" y="590"/>
                    </a:lnTo>
                    <a:lnTo>
                      <a:pt x="78" y="590"/>
                    </a:lnTo>
                    <a:lnTo>
                      <a:pt x="117" y="606"/>
                    </a:lnTo>
                    <a:lnTo>
                      <a:pt x="154" y="621"/>
                    </a:lnTo>
                    <a:lnTo>
                      <a:pt x="154" y="621"/>
                    </a:lnTo>
                    <a:lnTo>
                      <a:pt x="135" y="574"/>
                    </a:lnTo>
                    <a:lnTo>
                      <a:pt x="117" y="525"/>
                    </a:lnTo>
                    <a:lnTo>
                      <a:pt x="100" y="474"/>
                    </a:lnTo>
                    <a:lnTo>
                      <a:pt x="86" y="423"/>
                    </a:lnTo>
                    <a:lnTo>
                      <a:pt x="74" y="369"/>
                    </a:lnTo>
                    <a:lnTo>
                      <a:pt x="66" y="314"/>
                    </a:lnTo>
                    <a:lnTo>
                      <a:pt x="60" y="259"/>
                    </a:lnTo>
                    <a:lnTo>
                      <a:pt x="59" y="202"/>
                    </a:lnTo>
                    <a:lnTo>
                      <a:pt x="59" y="202"/>
                    </a:lnTo>
                    <a:lnTo>
                      <a:pt x="59" y="149"/>
                    </a:lnTo>
                    <a:lnTo>
                      <a:pt x="64" y="100"/>
                    </a:lnTo>
                    <a:lnTo>
                      <a:pt x="72" y="49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41" y="32"/>
                    </a:lnTo>
                    <a:lnTo>
                      <a:pt x="12" y="57"/>
                    </a:lnTo>
                    <a:lnTo>
                      <a:pt x="1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5" name="Freeform 19"/>
              <p:cNvSpPr>
                <a:spLocks/>
              </p:cNvSpPr>
              <p:nvPr/>
            </p:nvSpPr>
            <p:spPr bwMode="auto">
              <a:xfrm>
                <a:off x="2018506" y="6692901"/>
                <a:ext cx="206375" cy="242887"/>
              </a:xfrm>
              <a:custGeom>
                <a:avLst/>
                <a:gdLst>
                  <a:gd name="T0" fmla="*/ 0 w 261"/>
                  <a:gd name="T1" fmla="*/ 0 h 308"/>
                  <a:gd name="T2" fmla="*/ 0 w 261"/>
                  <a:gd name="T3" fmla="*/ 0 h 308"/>
                  <a:gd name="T4" fmla="*/ 26 w 261"/>
                  <a:gd name="T5" fmla="*/ 51 h 308"/>
                  <a:gd name="T6" fmla="*/ 51 w 261"/>
                  <a:gd name="T7" fmla="*/ 98 h 308"/>
                  <a:gd name="T8" fmla="*/ 77 w 261"/>
                  <a:gd name="T9" fmla="*/ 143 h 308"/>
                  <a:gd name="T10" fmla="*/ 104 w 261"/>
                  <a:gd name="T11" fmla="*/ 184 h 308"/>
                  <a:gd name="T12" fmla="*/ 128 w 261"/>
                  <a:gd name="T13" fmla="*/ 222 h 308"/>
                  <a:gd name="T14" fmla="*/ 151 w 261"/>
                  <a:gd name="T15" fmla="*/ 255 h 308"/>
                  <a:gd name="T16" fmla="*/ 194 w 261"/>
                  <a:gd name="T17" fmla="*/ 308 h 308"/>
                  <a:gd name="T18" fmla="*/ 194 w 261"/>
                  <a:gd name="T19" fmla="*/ 308 h 308"/>
                  <a:gd name="T20" fmla="*/ 228 w 261"/>
                  <a:gd name="T21" fmla="*/ 304 h 308"/>
                  <a:gd name="T22" fmla="*/ 261 w 261"/>
                  <a:gd name="T23" fmla="*/ 298 h 308"/>
                  <a:gd name="T24" fmla="*/ 261 w 261"/>
                  <a:gd name="T25" fmla="*/ 298 h 308"/>
                  <a:gd name="T26" fmla="*/ 228 w 261"/>
                  <a:gd name="T27" fmla="*/ 257 h 308"/>
                  <a:gd name="T28" fmla="*/ 183 w 261"/>
                  <a:gd name="T29" fmla="*/ 196 h 308"/>
                  <a:gd name="T30" fmla="*/ 157 w 261"/>
                  <a:gd name="T31" fmla="*/ 161 h 308"/>
                  <a:gd name="T32" fmla="*/ 132 w 261"/>
                  <a:gd name="T33" fmla="*/ 120 h 308"/>
                  <a:gd name="T34" fmla="*/ 104 w 261"/>
                  <a:gd name="T35" fmla="*/ 75 h 308"/>
                  <a:gd name="T36" fmla="*/ 79 w 261"/>
                  <a:gd name="T37" fmla="*/ 26 h 308"/>
                  <a:gd name="T38" fmla="*/ 79 w 261"/>
                  <a:gd name="T39" fmla="*/ 26 h 308"/>
                  <a:gd name="T40" fmla="*/ 40 w 261"/>
                  <a:gd name="T41" fmla="*/ 14 h 308"/>
                  <a:gd name="T42" fmla="*/ 0 w 261"/>
                  <a:gd name="T43" fmla="*/ 0 h 308"/>
                  <a:gd name="T44" fmla="*/ 0 w 261"/>
                  <a:gd name="T45" fmla="*/ 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1" h="308">
                    <a:moveTo>
                      <a:pt x="0" y="0"/>
                    </a:moveTo>
                    <a:lnTo>
                      <a:pt x="0" y="0"/>
                    </a:lnTo>
                    <a:lnTo>
                      <a:pt x="26" y="51"/>
                    </a:lnTo>
                    <a:lnTo>
                      <a:pt x="51" y="98"/>
                    </a:lnTo>
                    <a:lnTo>
                      <a:pt x="77" y="143"/>
                    </a:lnTo>
                    <a:lnTo>
                      <a:pt x="104" y="184"/>
                    </a:lnTo>
                    <a:lnTo>
                      <a:pt x="128" y="222"/>
                    </a:lnTo>
                    <a:lnTo>
                      <a:pt x="151" y="255"/>
                    </a:lnTo>
                    <a:lnTo>
                      <a:pt x="194" y="308"/>
                    </a:lnTo>
                    <a:lnTo>
                      <a:pt x="194" y="308"/>
                    </a:lnTo>
                    <a:lnTo>
                      <a:pt x="228" y="304"/>
                    </a:lnTo>
                    <a:lnTo>
                      <a:pt x="261" y="298"/>
                    </a:lnTo>
                    <a:lnTo>
                      <a:pt x="261" y="298"/>
                    </a:lnTo>
                    <a:lnTo>
                      <a:pt x="228" y="257"/>
                    </a:lnTo>
                    <a:lnTo>
                      <a:pt x="183" y="196"/>
                    </a:lnTo>
                    <a:lnTo>
                      <a:pt x="157" y="161"/>
                    </a:lnTo>
                    <a:lnTo>
                      <a:pt x="132" y="120"/>
                    </a:lnTo>
                    <a:lnTo>
                      <a:pt x="104" y="75"/>
                    </a:lnTo>
                    <a:lnTo>
                      <a:pt x="79" y="26"/>
                    </a:lnTo>
                    <a:lnTo>
                      <a:pt x="79" y="26"/>
                    </a:lnTo>
                    <a:lnTo>
                      <a:pt x="40" y="1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6" name="Freeform 20"/>
              <p:cNvSpPr>
                <a:spLocks/>
              </p:cNvSpPr>
              <p:nvPr/>
            </p:nvSpPr>
            <p:spPr bwMode="auto">
              <a:xfrm>
                <a:off x="1939131" y="6097588"/>
                <a:ext cx="73025" cy="111125"/>
              </a:xfrm>
              <a:custGeom>
                <a:avLst/>
                <a:gdLst>
                  <a:gd name="T0" fmla="*/ 25 w 92"/>
                  <a:gd name="T1" fmla="*/ 45 h 141"/>
                  <a:gd name="T2" fmla="*/ 25 w 92"/>
                  <a:gd name="T3" fmla="*/ 45 h 141"/>
                  <a:gd name="T4" fmla="*/ 17 w 92"/>
                  <a:gd name="T5" fmla="*/ 51 h 141"/>
                  <a:gd name="T6" fmla="*/ 17 w 92"/>
                  <a:gd name="T7" fmla="*/ 51 h 141"/>
                  <a:gd name="T8" fmla="*/ 7 w 92"/>
                  <a:gd name="T9" fmla="*/ 96 h 141"/>
                  <a:gd name="T10" fmla="*/ 0 w 92"/>
                  <a:gd name="T11" fmla="*/ 141 h 141"/>
                  <a:gd name="T12" fmla="*/ 0 w 92"/>
                  <a:gd name="T13" fmla="*/ 141 h 141"/>
                  <a:gd name="T14" fmla="*/ 29 w 92"/>
                  <a:gd name="T15" fmla="*/ 116 h 141"/>
                  <a:gd name="T16" fmla="*/ 58 w 92"/>
                  <a:gd name="T17" fmla="*/ 92 h 141"/>
                  <a:gd name="T18" fmla="*/ 58 w 92"/>
                  <a:gd name="T19" fmla="*/ 92 h 141"/>
                  <a:gd name="T20" fmla="*/ 70 w 92"/>
                  <a:gd name="T21" fmla="*/ 84 h 141"/>
                  <a:gd name="T22" fmla="*/ 70 w 92"/>
                  <a:gd name="T23" fmla="*/ 84 h 141"/>
                  <a:gd name="T24" fmla="*/ 80 w 92"/>
                  <a:gd name="T25" fmla="*/ 41 h 141"/>
                  <a:gd name="T26" fmla="*/ 92 w 92"/>
                  <a:gd name="T27" fmla="*/ 0 h 141"/>
                  <a:gd name="T28" fmla="*/ 92 w 92"/>
                  <a:gd name="T29" fmla="*/ 0 h 141"/>
                  <a:gd name="T30" fmla="*/ 58 w 92"/>
                  <a:gd name="T31" fmla="*/ 22 h 141"/>
                  <a:gd name="T32" fmla="*/ 25 w 92"/>
                  <a:gd name="T33" fmla="*/ 45 h 141"/>
                  <a:gd name="T34" fmla="*/ 25 w 92"/>
                  <a:gd name="T35" fmla="*/ 45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2" h="141">
                    <a:moveTo>
                      <a:pt x="25" y="45"/>
                    </a:moveTo>
                    <a:lnTo>
                      <a:pt x="25" y="45"/>
                    </a:lnTo>
                    <a:lnTo>
                      <a:pt x="17" y="51"/>
                    </a:lnTo>
                    <a:lnTo>
                      <a:pt x="17" y="51"/>
                    </a:lnTo>
                    <a:lnTo>
                      <a:pt x="7" y="96"/>
                    </a:lnTo>
                    <a:lnTo>
                      <a:pt x="0" y="141"/>
                    </a:lnTo>
                    <a:lnTo>
                      <a:pt x="0" y="141"/>
                    </a:lnTo>
                    <a:lnTo>
                      <a:pt x="29" y="116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70" y="84"/>
                    </a:lnTo>
                    <a:lnTo>
                      <a:pt x="70" y="84"/>
                    </a:lnTo>
                    <a:lnTo>
                      <a:pt x="80" y="41"/>
                    </a:lnTo>
                    <a:lnTo>
                      <a:pt x="92" y="0"/>
                    </a:lnTo>
                    <a:lnTo>
                      <a:pt x="92" y="0"/>
                    </a:lnTo>
                    <a:lnTo>
                      <a:pt x="58" y="22"/>
                    </a:lnTo>
                    <a:lnTo>
                      <a:pt x="25" y="45"/>
                    </a:lnTo>
                    <a:lnTo>
                      <a:pt x="25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7" name="Freeform 21"/>
              <p:cNvSpPr>
                <a:spLocks/>
              </p:cNvSpPr>
              <p:nvPr/>
            </p:nvSpPr>
            <p:spPr bwMode="auto">
              <a:xfrm>
                <a:off x="2051844" y="6656388"/>
                <a:ext cx="557212" cy="95250"/>
              </a:xfrm>
              <a:custGeom>
                <a:avLst/>
                <a:gdLst>
                  <a:gd name="T0" fmla="*/ 0 w 702"/>
                  <a:gd name="T1" fmla="*/ 0 h 120"/>
                  <a:gd name="T2" fmla="*/ 0 w 702"/>
                  <a:gd name="T3" fmla="*/ 0 h 120"/>
                  <a:gd name="T4" fmla="*/ 18 w 702"/>
                  <a:gd name="T5" fmla="*/ 35 h 120"/>
                  <a:gd name="T6" fmla="*/ 36 w 702"/>
                  <a:gd name="T7" fmla="*/ 71 h 120"/>
                  <a:gd name="T8" fmla="*/ 36 w 702"/>
                  <a:gd name="T9" fmla="*/ 71 h 120"/>
                  <a:gd name="T10" fmla="*/ 83 w 702"/>
                  <a:gd name="T11" fmla="*/ 84 h 120"/>
                  <a:gd name="T12" fmla="*/ 130 w 702"/>
                  <a:gd name="T13" fmla="*/ 94 h 120"/>
                  <a:gd name="T14" fmla="*/ 175 w 702"/>
                  <a:gd name="T15" fmla="*/ 102 h 120"/>
                  <a:gd name="T16" fmla="*/ 220 w 702"/>
                  <a:gd name="T17" fmla="*/ 108 h 120"/>
                  <a:gd name="T18" fmla="*/ 265 w 702"/>
                  <a:gd name="T19" fmla="*/ 114 h 120"/>
                  <a:gd name="T20" fmla="*/ 308 w 702"/>
                  <a:gd name="T21" fmla="*/ 116 h 120"/>
                  <a:gd name="T22" fmla="*/ 351 w 702"/>
                  <a:gd name="T23" fmla="*/ 118 h 120"/>
                  <a:gd name="T24" fmla="*/ 392 w 702"/>
                  <a:gd name="T25" fmla="*/ 120 h 120"/>
                  <a:gd name="T26" fmla="*/ 392 w 702"/>
                  <a:gd name="T27" fmla="*/ 120 h 120"/>
                  <a:gd name="T28" fmla="*/ 471 w 702"/>
                  <a:gd name="T29" fmla="*/ 118 h 120"/>
                  <a:gd name="T30" fmla="*/ 539 w 702"/>
                  <a:gd name="T31" fmla="*/ 112 h 120"/>
                  <a:gd name="T32" fmla="*/ 600 w 702"/>
                  <a:gd name="T33" fmla="*/ 104 h 120"/>
                  <a:gd name="T34" fmla="*/ 649 w 702"/>
                  <a:gd name="T35" fmla="*/ 98 h 120"/>
                  <a:gd name="T36" fmla="*/ 649 w 702"/>
                  <a:gd name="T37" fmla="*/ 98 h 120"/>
                  <a:gd name="T38" fmla="*/ 676 w 702"/>
                  <a:gd name="T39" fmla="*/ 65 h 120"/>
                  <a:gd name="T40" fmla="*/ 702 w 702"/>
                  <a:gd name="T41" fmla="*/ 30 h 120"/>
                  <a:gd name="T42" fmla="*/ 702 w 702"/>
                  <a:gd name="T43" fmla="*/ 28 h 120"/>
                  <a:gd name="T44" fmla="*/ 702 w 702"/>
                  <a:gd name="T45" fmla="*/ 28 h 120"/>
                  <a:gd name="T46" fmla="*/ 684 w 702"/>
                  <a:gd name="T47" fmla="*/ 32 h 120"/>
                  <a:gd name="T48" fmla="*/ 637 w 702"/>
                  <a:gd name="T49" fmla="*/ 39 h 120"/>
                  <a:gd name="T50" fmla="*/ 567 w 702"/>
                  <a:gd name="T51" fmla="*/ 49 h 120"/>
                  <a:gd name="T52" fmla="*/ 523 w 702"/>
                  <a:gd name="T53" fmla="*/ 55 h 120"/>
                  <a:gd name="T54" fmla="*/ 476 w 702"/>
                  <a:gd name="T55" fmla="*/ 57 h 120"/>
                  <a:gd name="T56" fmla="*/ 426 w 702"/>
                  <a:gd name="T57" fmla="*/ 59 h 120"/>
                  <a:gd name="T58" fmla="*/ 371 w 702"/>
                  <a:gd name="T59" fmla="*/ 59 h 120"/>
                  <a:gd name="T60" fmla="*/ 312 w 702"/>
                  <a:gd name="T61" fmla="*/ 57 h 120"/>
                  <a:gd name="T62" fmla="*/ 253 w 702"/>
                  <a:gd name="T63" fmla="*/ 53 h 120"/>
                  <a:gd name="T64" fmla="*/ 190 w 702"/>
                  <a:gd name="T65" fmla="*/ 45 h 120"/>
                  <a:gd name="T66" fmla="*/ 128 w 702"/>
                  <a:gd name="T67" fmla="*/ 34 h 120"/>
                  <a:gd name="T68" fmla="*/ 65 w 702"/>
                  <a:gd name="T69" fmla="*/ 20 h 120"/>
                  <a:gd name="T70" fmla="*/ 0 w 702"/>
                  <a:gd name="T71" fmla="*/ 0 h 120"/>
                  <a:gd name="T72" fmla="*/ 0 w 702"/>
                  <a:gd name="T7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02" h="120">
                    <a:moveTo>
                      <a:pt x="0" y="0"/>
                    </a:moveTo>
                    <a:lnTo>
                      <a:pt x="0" y="0"/>
                    </a:lnTo>
                    <a:lnTo>
                      <a:pt x="18" y="35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83" y="84"/>
                    </a:lnTo>
                    <a:lnTo>
                      <a:pt x="130" y="94"/>
                    </a:lnTo>
                    <a:lnTo>
                      <a:pt x="175" y="102"/>
                    </a:lnTo>
                    <a:lnTo>
                      <a:pt x="220" y="108"/>
                    </a:lnTo>
                    <a:lnTo>
                      <a:pt x="265" y="114"/>
                    </a:lnTo>
                    <a:lnTo>
                      <a:pt x="308" y="116"/>
                    </a:lnTo>
                    <a:lnTo>
                      <a:pt x="351" y="118"/>
                    </a:lnTo>
                    <a:lnTo>
                      <a:pt x="392" y="120"/>
                    </a:lnTo>
                    <a:lnTo>
                      <a:pt x="392" y="120"/>
                    </a:lnTo>
                    <a:lnTo>
                      <a:pt x="471" y="118"/>
                    </a:lnTo>
                    <a:lnTo>
                      <a:pt x="539" y="112"/>
                    </a:lnTo>
                    <a:lnTo>
                      <a:pt x="600" y="104"/>
                    </a:lnTo>
                    <a:lnTo>
                      <a:pt x="649" y="98"/>
                    </a:lnTo>
                    <a:lnTo>
                      <a:pt x="649" y="98"/>
                    </a:lnTo>
                    <a:lnTo>
                      <a:pt x="676" y="65"/>
                    </a:lnTo>
                    <a:lnTo>
                      <a:pt x="702" y="30"/>
                    </a:lnTo>
                    <a:lnTo>
                      <a:pt x="702" y="28"/>
                    </a:lnTo>
                    <a:lnTo>
                      <a:pt x="702" y="28"/>
                    </a:lnTo>
                    <a:lnTo>
                      <a:pt x="684" y="32"/>
                    </a:lnTo>
                    <a:lnTo>
                      <a:pt x="637" y="39"/>
                    </a:lnTo>
                    <a:lnTo>
                      <a:pt x="567" y="49"/>
                    </a:lnTo>
                    <a:lnTo>
                      <a:pt x="523" y="55"/>
                    </a:lnTo>
                    <a:lnTo>
                      <a:pt x="476" y="57"/>
                    </a:lnTo>
                    <a:lnTo>
                      <a:pt x="426" y="59"/>
                    </a:lnTo>
                    <a:lnTo>
                      <a:pt x="371" y="59"/>
                    </a:lnTo>
                    <a:lnTo>
                      <a:pt x="312" y="57"/>
                    </a:lnTo>
                    <a:lnTo>
                      <a:pt x="253" y="53"/>
                    </a:lnTo>
                    <a:lnTo>
                      <a:pt x="190" y="45"/>
                    </a:lnTo>
                    <a:lnTo>
                      <a:pt x="128" y="34"/>
                    </a:lnTo>
                    <a:lnTo>
                      <a:pt x="65" y="2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8" name="Freeform 22"/>
              <p:cNvSpPr>
                <a:spLocks/>
              </p:cNvSpPr>
              <p:nvPr/>
            </p:nvSpPr>
            <p:spPr bwMode="auto">
              <a:xfrm>
                <a:off x="1513681" y="6105526"/>
                <a:ext cx="204787" cy="357187"/>
              </a:xfrm>
              <a:custGeom>
                <a:avLst/>
                <a:gdLst>
                  <a:gd name="T0" fmla="*/ 256 w 256"/>
                  <a:gd name="T1" fmla="*/ 392 h 448"/>
                  <a:gd name="T2" fmla="*/ 256 w 256"/>
                  <a:gd name="T3" fmla="*/ 392 h 448"/>
                  <a:gd name="T4" fmla="*/ 211 w 256"/>
                  <a:gd name="T5" fmla="*/ 335 h 448"/>
                  <a:gd name="T6" fmla="*/ 172 w 256"/>
                  <a:gd name="T7" fmla="*/ 278 h 448"/>
                  <a:gd name="T8" fmla="*/ 137 w 256"/>
                  <a:gd name="T9" fmla="*/ 221 h 448"/>
                  <a:gd name="T10" fmla="*/ 106 w 256"/>
                  <a:gd name="T11" fmla="*/ 168 h 448"/>
                  <a:gd name="T12" fmla="*/ 80 w 256"/>
                  <a:gd name="T13" fmla="*/ 117 h 448"/>
                  <a:gd name="T14" fmla="*/ 59 w 256"/>
                  <a:gd name="T15" fmla="*/ 72 h 448"/>
                  <a:gd name="T16" fmla="*/ 41 w 256"/>
                  <a:gd name="T17" fmla="*/ 33 h 448"/>
                  <a:gd name="T18" fmla="*/ 27 w 256"/>
                  <a:gd name="T19" fmla="*/ 0 h 448"/>
                  <a:gd name="T20" fmla="*/ 27 w 256"/>
                  <a:gd name="T21" fmla="*/ 0 h 448"/>
                  <a:gd name="T22" fmla="*/ 14 w 256"/>
                  <a:gd name="T23" fmla="*/ 43 h 448"/>
                  <a:gd name="T24" fmla="*/ 0 w 256"/>
                  <a:gd name="T25" fmla="*/ 86 h 448"/>
                  <a:gd name="T26" fmla="*/ 0 w 256"/>
                  <a:gd name="T27" fmla="*/ 86 h 448"/>
                  <a:gd name="T28" fmla="*/ 17 w 256"/>
                  <a:gd name="T29" fmla="*/ 123 h 448"/>
                  <a:gd name="T30" fmla="*/ 37 w 256"/>
                  <a:gd name="T31" fmla="*/ 164 h 448"/>
                  <a:gd name="T32" fmla="*/ 61 w 256"/>
                  <a:gd name="T33" fmla="*/ 207 h 448"/>
                  <a:gd name="T34" fmla="*/ 88 w 256"/>
                  <a:gd name="T35" fmla="*/ 254 h 448"/>
                  <a:gd name="T36" fmla="*/ 117 w 256"/>
                  <a:gd name="T37" fmla="*/ 302 h 448"/>
                  <a:gd name="T38" fmla="*/ 151 w 256"/>
                  <a:gd name="T39" fmla="*/ 350 h 448"/>
                  <a:gd name="T40" fmla="*/ 188 w 256"/>
                  <a:gd name="T41" fmla="*/ 399 h 448"/>
                  <a:gd name="T42" fmla="*/ 227 w 256"/>
                  <a:gd name="T43" fmla="*/ 448 h 448"/>
                  <a:gd name="T44" fmla="*/ 227 w 256"/>
                  <a:gd name="T45" fmla="*/ 448 h 448"/>
                  <a:gd name="T46" fmla="*/ 256 w 256"/>
                  <a:gd name="T47" fmla="*/ 392 h 448"/>
                  <a:gd name="T48" fmla="*/ 256 w 256"/>
                  <a:gd name="T49" fmla="*/ 392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6" h="448">
                    <a:moveTo>
                      <a:pt x="256" y="392"/>
                    </a:moveTo>
                    <a:lnTo>
                      <a:pt x="256" y="392"/>
                    </a:lnTo>
                    <a:lnTo>
                      <a:pt x="211" y="335"/>
                    </a:lnTo>
                    <a:lnTo>
                      <a:pt x="172" y="278"/>
                    </a:lnTo>
                    <a:lnTo>
                      <a:pt x="137" y="221"/>
                    </a:lnTo>
                    <a:lnTo>
                      <a:pt x="106" y="168"/>
                    </a:lnTo>
                    <a:lnTo>
                      <a:pt x="80" y="117"/>
                    </a:lnTo>
                    <a:lnTo>
                      <a:pt x="59" y="72"/>
                    </a:lnTo>
                    <a:lnTo>
                      <a:pt x="41" y="33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14" y="43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17" y="123"/>
                    </a:lnTo>
                    <a:lnTo>
                      <a:pt x="37" y="164"/>
                    </a:lnTo>
                    <a:lnTo>
                      <a:pt x="61" y="207"/>
                    </a:lnTo>
                    <a:lnTo>
                      <a:pt x="88" y="254"/>
                    </a:lnTo>
                    <a:lnTo>
                      <a:pt x="117" y="302"/>
                    </a:lnTo>
                    <a:lnTo>
                      <a:pt x="151" y="350"/>
                    </a:lnTo>
                    <a:lnTo>
                      <a:pt x="188" y="399"/>
                    </a:lnTo>
                    <a:lnTo>
                      <a:pt x="227" y="448"/>
                    </a:lnTo>
                    <a:lnTo>
                      <a:pt x="227" y="448"/>
                    </a:lnTo>
                    <a:lnTo>
                      <a:pt x="256" y="392"/>
                    </a:lnTo>
                    <a:lnTo>
                      <a:pt x="256" y="3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29" name="Freeform 23"/>
              <p:cNvSpPr>
                <a:spLocks/>
              </p:cNvSpPr>
              <p:nvPr/>
            </p:nvSpPr>
            <p:spPr bwMode="auto">
              <a:xfrm>
                <a:off x="1729581" y="6454776"/>
                <a:ext cx="288925" cy="238125"/>
              </a:xfrm>
              <a:custGeom>
                <a:avLst/>
                <a:gdLst>
                  <a:gd name="T0" fmla="*/ 263 w 364"/>
                  <a:gd name="T1" fmla="*/ 188 h 299"/>
                  <a:gd name="T2" fmla="*/ 263 w 364"/>
                  <a:gd name="T3" fmla="*/ 188 h 299"/>
                  <a:gd name="T4" fmla="*/ 229 w 364"/>
                  <a:gd name="T5" fmla="*/ 168 h 299"/>
                  <a:gd name="T6" fmla="*/ 196 w 364"/>
                  <a:gd name="T7" fmla="*/ 147 h 299"/>
                  <a:gd name="T8" fmla="*/ 165 w 364"/>
                  <a:gd name="T9" fmla="*/ 125 h 299"/>
                  <a:gd name="T10" fmla="*/ 135 w 364"/>
                  <a:gd name="T11" fmla="*/ 101 h 299"/>
                  <a:gd name="T12" fmla="*/ 108 w 364"/>
                  <a:gd name="T13" fmla="*/ 78 h 299"/>
                  <a:gd name="T14" fmla="*/ 80 w 364"/>
                  <a:gd name="T15" fmla="*/ 52 h 299"/>
                  <a:gd name="T16" fmla="*/ 53 w 364"/>
                  <a:gd name="T17" fmla="*/ 27 h 299"/>
                  <a:gd name="T18" fmla="*/ 28 w 364"/>
                  <a:gd name="T19" fmla="*/ 0 h 299"/>
                  <a:gd name="T20" fmla="*/ 28 w 364"/>
                  <a:gd name="T21" fmla="*/ 0 h 299"/>
                  <a:gd name="T22" fmla="*/ 0 w 364"/>
                  <a:gd name="T23" fmla="*/ 56 h 299"/>
                  <a:gd name="T24" fmla="*/ 0 w 364"/>
                  <a:gd name="T25" fmla="*/ 56 h 299"/>
                  <a:gd name="T26" fmla="*/ 26 w 364"/>
                  <a:gd name="T27" fmla="*/ 82 h 299"/>
                  <a:gd name="T28" fmla="*/ 51 w 364"/>
                  <a:gd name="T29" fmla="*/ 105 h 299"/>
                  <a:gd name="T30" fmla="*/ 78 w 364"/>
                  <a:gd name="T31" fmla="*/ 131 h 299"/>
                  <a:gd name="T32" fmla="*/ 108 w 364"/>
                  <a:gd name="T33" fmla="*/ 154 h 299"/>
                  <a:gd name="T34" fmla="*/ 137 w 364"/>
                  <a:gd name="T35" fmla="*/ 176 h 299"/>
                  <a:gd name="T36" fmla="*/ 169 w 364"/>
                  <a:gd name="T37" fmla="*/ 199 h 299"/>
                  <a:gd name="T38" fmla="*/ 200 w 364"/>
                  <a:gd name="T39" fmla="*/ 219 h 299"/>
                  <a:gd name="T40" fmla="*/ 233 w 364"/>
                  <a:gd name="T41" fmla="*/ 239 h 299"/>
                  <a:gd name="T42" fmla="*/ 233 w 364"/>
                  <a:gd name="T43" fmla="*/ 239 h 299"/>
                  <a:gd name="T44" fmla="*/ 266 w 364"/>
                  <a:gd name="T45" fmla="*/ 256 h 299"/>
                  <a:gd name="T46" fmla="*/ 298 w 364"/>
                  <a:gd name="T47" fmla="*/ 272 h 299"/>
                  <a:gd name="T48" fmla="*/ 331 w 364"/>
                  <a:gd name="T49" fmla="*/ 286 h 299"/>
                  <a:gd name="T50" fmla="*/ 364 w 364"/>
                  <a:gd name="T51" fmla="*/ 299 h 299"/>
                  <a:gd name="T52" fmla="*/ 364 w 364"/>
                  <a:gd name="T53" fmla="*/ 299 h 299"/>
                  <a:gd name="T54" fmla="*/ 347 w 364"/>
                  <a:gd name="T55" fmla="*/ 262 h 299"/>
                  <a:gd name="T56" fmla="*/ 331 w 364"/>
                  <a:gd name="T57" fmla="*/ 223 h 299"/>
                  <a:gd name="T58" fmla="*/ 331 w 364"/>
                  <a:gd name="T59" fmla="*/ 223 h 299"/>
                  <a:gd name="T60" fmla="*/ 296 w 364"/>
                  <a:gd name="T61" fmla="*/ 207 h 299"/>
                  <a:gd name="T62" fmla="*/ 263 w 364"/>
                  <a:gd name="T63" fmla="*/ 188 h 299"/>
                  <a:gd name="T64" fmla="*/ 263 w 364"/>
                  <a:gd name="T65" fmla="*/ 188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64" h="299">
                    <a:moveTo>
                      <a:pt x="263" y="188"/>
                    </a:moveTo>
                    <a:lnTo>
                      <a:pt x="263" y="188"/>
                    </a:lnTo>
                    <a:lnTo>
                      <a:pt x="229" y="168"/>
                    </a:lnTo>
                    <a:lnTo>
                      <a:pt x="196" y="147"/>
                    </a:lnTo>
                    <a:lnTo>
                      <a:pt x="165" y="125"/>
                    </a:lnTo>
                    <a:lnTo>
                      <a:pt x="135" y="101"/>
                    </a:lnTo>
                    <a:lnTo>
                      <a:pt x="108" y="78"/>
                    </a:lnTo>
                    <a:lnTo>
                      <a:pt x="80" y="52"/>
                    </a:lnTo>
                    <a:lnTo>
                      <a:pt x="53" y="27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26" y="82"/>
                    </a:lnTo>
                    <a:lnTo>
                      <a:pt x="51" y="105"/>
                    </a:lnTo>
                    <a:lnTo>
                      <a:pt x="78" y="131"/>
                    </a:lnTo>
                    <a:lnTo>
                      <a:pt x="108" y="154"/>
                    </a:lnTo>
                    <a:lnTo>
                      <a:pt x="137" y="176"/>
                    </a:lnTo>
                    <a:lnTo>
                      <a:pt x="169" y="199"/>
                    </a:lnTo>
                    <a:lnTo>
                      <a:pt x="200" y="219"/>
                    </a:lnTo>
                    <a:lnTo>
                      <a:pt x="233" y="239"/>
                    </a:lnTo>
                    <a:lnTo>
                      <a:pt x="233" y="239"/>
                    </a:lnTo>
                    <a:lnTo>
                      <a:pt x="266" y="256"/>
                    </a:lnTo>
                    <a:lnTo>
                      <a:pt x="298" y="272"/>
                    </a:lnTo>
                    <a:lnTo>
                      <a:pt x="331" y="286"/>
                    </a:lnTo>
                    <a:lnTo>
                      <a:pt x="364" y="299"/>
                    </a:lnTo>
                    <a:lnTo>
                      <a:pt x="364" y="299"/>
                    </a:lnTo>
                    <a:lnTo>
                      <a:pt x="347" y="262"/>
                    </a:lnTo>
                    <a:lnTo>
                      <a:pt x="331" y="223"/>
                    </a:lnTo>
                    <a:lnTo>
                      <a:pt x="331" y="223"/>
                    </a:lnTo>
                    <a:lnTo>
                      <a:pt x="296" y="207"/>
                    </a:lnTo>
                    <a:lnTo>
                      <a:pt x="263" y="188"/>
                    </a:lnTo>
                    <a:lnTo>
                      <a:pt x="263" y="1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0" name="Freeform 24"/>
              <p:cNvSpPr>
                <a:spLocks/>
              </p:cNvSpPr>
              <p:nvPr/>
            </p:nvSpPr>
            <p:spPr bwMode="auto">
              <a:xfrm>
                <a:off x="1694656" y="6416676"/>
                <a:ext cx="55562" cy="82550"/>
              </a:xfrm>
              <a:custGeom>
                <a:avLst/>
                <a:gdLst>
                  <a:gd name="T0" fmla="*/ 29 w 71"/>
                  <a:gd name="T1" fmla="*/ 0 h 103"/>
                  <a:gd name="T2" fmla="*/ 29 w 71"/>
                  <a:gd name="T3" fmla="*/ 0 h 103"/>
                  <a:gd name="T4" fmla="*/ 0 w 71"/>
                  <a:gd name="T5" fmla="*/ 56 h 103"/>
                  <a:gd name="T6" fmla="*/ 0 w 71"/>
                  <a:gd name="T7" fmla="*/ 56 h 103"/>
                  <a:gd name="T8" fmla="*/ 43 w 71"/>
                  <a:gd name="T9" fmla="*/ 103 h 103"/>
                  <a:gd name="T10" fmla="*/ 43 w 71"/>
                  <a:gd name="T11" fmla="*/ 103 h 103"/>
                  <a:gd name="T12" fmla="*/ 71 w 71"/>
                  <a:gd name="T13" fmla="*/ 47 h 103"/>
                  <a:gd name="T14" fmla="*/ 71 w 71"/>
                  <a:gd name="T15" fmla="*/ 47 h 103"/>
                  <a:gd name="T16" fmla="*/ 29 w 71"/>
                  <a:gd name="T17" fmla="*/ 0 h 103"/>
                  <a:gd name="T18" fmla="*/ 29 w 71"/>
                  <a:gd name="T1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" h="103">
                    <a:moveTo>
                      <a:pt x="29" y="0"/>
                    </a:moveTo>
                    <a:lnTo>
                      <a:pt x="29" y="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43" y="103"/>
                    </a:lnTo>
                    <a:lnTo>
                      <a:pt x="43" y="103"/>
                    </a:lnTo>
                    <a:lnTo>
                      <a:pt x="71" y="47"/>
                    </a:lnTo>
                    <a:lnTo>
                      <a:pt x="71" y="47"/>
                    </a:lnTo>
                    <a:lnTo>
                      <a:pt x="29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1" name="Freeform 25"/>
              <p:cNvSpPr>
                <a:spLocks/>
              </p:cNvSpPr>
              <p:nvPr/>
            </p:nvSpPr>
            <p:spPr bwMode="auto">
              <a:xfrm>
                <a:off x="1991519" y="6630988"/>
                <a:ext cx="88900" cy="80962"/>
              </a:xfrm>
              <a:custGeom>
                <a:avLst/>
                <a:gdLst>
                  <a:gd name="T0" fmla="*/ 33 w 112"/>
                  <a:gd name="T1" fmla="*/ 76 h 102"/>
                  <a:gd name="T2" fmla="*/ 33 w 112"/>
                  <a:gd name="T3" fmla="*/ 76 h 102"/>
                  <a:gd name="T4" fmla="*/ 73 w 112"/>
                  <a:gd name="T5" fmla="*/ 90 h 102"/>
                  <a:gd name="T6" fmla="*/ 112 w 112"/>
                  <a:gd name="T7" fmla="*/ 102 h 102"/>
                  <a:gd name="T8" fmla="*/ 112 w 112"/>
                  <a:gd name="T9" fmla="*/ 102 h 102"/>
                  <a:gd name="T10" fmla="*/ 94 w 112"/>
                  <a:gd name="T11" fmla="*/ 66 h 102"/>
                  <a:gd name="T12" fmla="*/ 76 w 112"/>
                  <a:gd name="T13" fmla="*/ 31 h 102"/>
                  <a:gd name="T14" fmla="*/ 76 w 112"/>
                  <a:gd name="T15" fmla="*/ 31 h 102"/>
                  <a:gd name="T16" fmla="*/ 39 w 112"/>
                  <a:gd name="T17" fmla="*/ 16 h 102"/>
                  <a:gd name="T18" fmla="*/ 0 w 112"/>
                  <a:gd name="T19" fmla="*/ 0 h 102"/>
                  <a:gd name="T20" fmla="*/ 0 w 112"/>
                  <a:gd name="T21" fmla="*/ 0 h 102"/>
                  <a:gd name="T22" fmla="*/ 16 w 112"/>
                  <a:gd name="T23" fmla="*/ 39 h 102"/>
                  <a:gd name="T24" fmla="*/ 33 w 112"/>
                  <a:gd name="T25" fmla="*/ 76 h 102"/>
                  <a:gd name="T26" fmla="*/ 33 w 112"/>
                  <a:gd name="T27" fmla="*/ 76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2" h="102">
                    <a:moveTo>
                      <a:pt x="33" y="76"/>
                    </a:moveTo>
                    <a:lnTo>
                      <a:pt x="33" y="76"/>
                    </a:lnTo>
                    <a:lnTo>
                      <a:pt x="73" y="90"/>
                    </a:lnTo>
                    <a:lnTo>
                      <a:pt x="112" y="102"/>
                    </a:lnTo>
                    <a:lnTo>
                      <a:pt x="112" y="102"/>
                    </a:lnTo>
                    <a:lnTo>
                      <a:pt x="94" y="66"/>
                    </a:lnTo>
                    <a:lnTo>
                      <a:pt x="76" y="31"/>
                    </a:lnTo>
                    <a:lnTo>
                      <a:pt x="76" y="31"/>
                    </a:lnTo>
                    <a:lnTo>
                      <a:pt x="39" y="1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6" y="39"/>
                    </a:lnTo>
                    <a:lnTo>
                      <a:pt x="33" y="76"/>
                    </a:lnTo>
                    <a:lnTo>
                      <a:pt x="33" y="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2" name="Freeform 26"/>
              <p:cNvSpPr>
                <a:spLocks/>
              </p:cNvSpPr>
              <p:nvPr/>
            </p:nvSpPr>
            <p:spPr bwMode="auto">
              <a:xfrm>
                <a:off x="2374106" y="6011863"/>
                <a:ext cx="320675" cy="573087"/>
              </a:xfrm>
              <a:custGeom>
                <a:avLst/>
                <a:gdLst>
                  <a:gd name="T0" fmla="*/ 76 w 403"/>
                  <a:gd name="T1" fmla="*/ 0 h 723"/>
                  <a:gd name="T2" fmla="*/ 76 w 403"/>
                  <a:gd name="T3" fmla="*/ 0 h 723"/>
                  <a:gd name="T4" fmla="*/ 0 w 403"/>
                  <a:gd name="T5" fmla="*/ 10 h 723"/>
                  <a:gd name="T6" fmla="*/ 0 w 403"/>
                  <a:gd name="T7" fmla="*/ 10 h 723"/>
                  <a:gd name="T8" fmla="*/ 18 w 403"/>
                  <a:gd name="T9" fmla="*/ 26 h 723"/>
                  <a:gd name="T10" fmla="*/ 18 w 403"/>
                  <a:gd name="T11" fmla="*/ 26 h 723"/>
                  <a:gd name="T12" fmla="*/ 61 w 403"/>
                  <a:gd name="T13" fmla="*/ 67 h 723"/>
                  <a:gd name="T14" fmla="*/ 102 w 403"/>
                  <a:gd name="T15" fmla="*/ 112 h 723"/>
                  <a:gd name="T16" fmla="*/ 137 w 403"/>
                  <a:gd name="T17" fmla="*/ 157 h 723"/>
                  <a:gd name="T18" fmla="*/ 170 w 403"/>
                  <a:gd name="T19" fmla="*/ 206 h 723"/>
                  <a:gd name="T20" fmla="*/ 200 w 403"/>
                  <a:gd name="T21" fmla="*/ 253 h 723"/>
                  <a:gd name="T22" fmla="*/ 227 w 403"/>
                  <a:gd name="T23" fmla="*/ 302 h 723"/>
                  <a:gd name="T24" fmla="*/ 251 w 403"/>
                  <a:gd name="T25" fmla="*/ 351 h 723"/>
                  <a:gd name="T26" fmla="*/ 272 w 403"/>
                  <a:gd name="T27" fmla="*/ 400 h 723"/>
                  <a:gd name="T28" fmla="*/ 292 w 403"/>
                  <a:gd name="T29" fmla="*/ 449 h 723"/>
                  <a:gd name="T30" fmla="*/ 307 w 403"/>
                  <a:gd name="T31" fmla="*/ 494 h 723"/>
                  <a:gd name="T32" fmla="*/ 321 w 403"/>
                  <a:gd name="T33" fmla="*/ 539 h 723"/>
                  <a:gd name="T34" fmla="*/ 335 w 403"/>
                  <a:gd name="T35" fmla="*/ 582 h 723"/>
                  <a:gd name="T36" fmla="*/ 352 w 403"/>
                  <a:gd name="T37" fmla="*/ 660 h 723"/>
                  <a:gd name="T38" fmla="*/ 364 w 403"/>
                  <a:gd name="T39" fmla="*/ 723 h 723"/>
                  <a:gd name="T40" fmla="*/ 364 w 403"/>
                  <a:gd name="T41" fmla="*/ 723 h 723"/>
                  <a:gd name="T42" fmla="*/ 386 w 403"/>
                  <a:gd name="T43" fmla="*/ 674 h 723"/>
                  <a:gd name="T44" fmla="*/ 403 w 403"/>
                  <a:gd name="T45" fmla="*/ 621 h 723"/>
                  <a:gd name="T46" fmla="*/ 403 w 403"/>
                  <a:gd name="T47" fmla="*/ 621 h 723"/>
                  <a:gd name="T48" fmla="*/ 388 w 403"/>
                  <a:gd name="T49" fmla="*/ 555 h 723"/>
                  <a:gd name="T50" fmla="*/ 364 w 403"/>
                  <a:gd name="T51" fmla="*/ 480 h 723"/>
                  <a:gd name="T52" fmla="*/ 351 w 403"/>
                  <a:gd name="T53" fmla="*/ 441 h 723"/>
                  <a:gd name="T54" fmla="*/ 337 w 403"/>
                  <a:gd name="T55" fmla="*/ 402 h 723"/>
                  <a:gd name="T56" fmla="*/ 319 w 403"/>
                  <a:gd name="T57" fmla="*/ 361 h 723"/>
                  <a:gd name="T58" fmla="*/ 300 w 403"/>
                  <a:gd name="T59" fmla="*/ 320 h 723"/>
                  <a:gd name="T60" fmla="*/ 280 w 403"/>
                  <a:gd name="T61" fmla="*/ 279 h 723"/>
                  <a:gd name="T62" fmla="*/ 257 w 403"/>
                  <a:gd name="T63" fmla="*/ 237 h 723"/>
                  <a:gd name="T64" fmla="*/ 233 w 403"/>
                  <a:gd name="T65" fmla="*/ 194 h 723"/>
                  <a:gd name="T66" fmla="*/ 206 w 403"/>
                  <a:gd name="T67" fmla="*/ 155 h 723"/>
                  <a:gd name="T68" fmla="*/ 176 w 403"/>
                  <a:gd name="T69" fmla="*/ 114 h 723"/>
                  <a:gd name="T70" fmla="*/ 147 w 403"/>
                  <a:gd name="T71" fmla="*/ 75 h 723"/>
                  <a:gd name="T72" fmla="*/ 112 w 403"/>
                  <a:gd name="T73" fmla="*/ 38 h 723"/>
                  <a:gd name="T74" fmla="*/ 76 w 403"/>
                  <a:gd name="T75" fmla="*/ 0 h 723"/>
                  <a:gd name="T76" fmla="*/ 76 w 403"/>
                  <a:gd name="T77" fmla="*/ 0 h 7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03" h="723">
                    <a:moveTo>
                      <a:pt x="76" y="0"/>
                    </a:moveTo>
                    <a:lnTo>
                      <a:pt x="76" y="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61" y="67"/>
                    </a:lnTo>
                    <a:lnTo>
                      <a:pt x="102" y="112"/>
                    </a:lnTo>
                    <a:lnTo>
                      <a:pt x="137" y="157"/>
                    </a:lnTo>
                    <a:lnTo>
                      <a:pt x="170" y="206"/>
                    </a:lnTo>
                    <a:lnTo>
                      <a:pt x="200" y="253"/>
                    </a:lnTo>
                    <a:lnTo>
                      <a:pt x="227" y="302"/>
                    </a:lnTo>
                    <a:lnTo>
                      <a:pt x="251" y="351"/>
                    </a:lnTo>
                    <a:lnTo>
                      <a:pt x="272" y="400"/>
                    </a:lnTo>
                    <a:lnTo>
                      <a:pt x="292" y="449"/>
                    </a:lnTo>
                    <a:lnTo>
                      <a:pt x="307" y="494"/>
                    </a:lnTo>
                    <a:lnTo>
                      <a:pt x="321" y="539"/>
                    </a:lnTo>
                    <a:lnTo>
                      <a:pt x="335" y="582"/>
                    </a:lnTo>
                    <a:lnTo>
                      <a:pt x="352" y="660"/>
                    </a:lnTo>
                    <a:lnTo>
                      <a:pt x="364" y="723"/>
                    </a:lnTo>
                    <a:lnTo>
                      <a:pt x="364" y="723"/>
                    </a:lnTo>
                    <a:lnTo>
                      <a:pt x="386" y="674"/>
                    </a:lnTo>
                    <a:lnTo>
                      <a:pt x="403" y="621"/>
                    </a:lnTo>
                    <a:lnTo>
                      <a:pt x="403" y="621"/>
                    </a:lnTo>
                    <a:lnTo>
                      <a:pt x="388" y="555"/>
                    </a:lnTo>
                    <a:lnTo>
                      <a:pt x="364" y="480"/>
                    </a:lnTo>
                    <a:lnTo>
                      <a:pt x="351" y="441"/>
                    </a:lnTo>
                    <a:lnTo>
                      <a:pt x="337" y="402"/>
                    </a:lnTo>
                    <a:lnTo>
                      <a:pt x="319" y="361"/>
                    </a:lnTo>
                    <a:lnTo>
                      <a:pt x="300" y="320"/>
                    </a:lnTo>
                    <a:lnTo>
                      <a:pt x="280" y="279"/>
                    </a:lnTo>
                    <a:lnTo>
                      <a:pt x="257" y="237"/>
                    </a:lnTo>
                    <a:lnTo>
                      <a:pt x="233" y="194"/>
                    </a:lnTo>
                    <a:lnTo>
                      <a:pt x="206" y="155"/>
                    </a:lnTo>
                    <a:lnTo>
                      <a:pt x="176" y="114"/>
                    </a:lnTo>
                    <a:lnTo>
                      <a:pt x="147" y="75"/>
                    </a:lnTo>
                    <a:lnTo>
                      <a:pt x="112" y="38"/>
                    </a:lnTo>
                    <a:lnTo>
                      <a:pt x="76" y="0"/>
                    </a:lnTo>
                    <a:lnTo>
                      <a:pt x="7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3" name="Freeform 27"/>
              <p:cNvSpPr>
                <a:spLocks/>
              </p:cNvSpPr>
              <p:nvPr/>
            </p:nvSpPr>
            <p:spPr bwMode="auto">
              <a:xfrm>
                <a:off x="1780381" y="5768976"/>
                <a:ext cx="314325" cy="88900"/>
              </a:xfrm>
              <a:custGeom>
                <a:avLst/>
                <a:gdLst>
                  <a:gd name="T0" fmla="*/ 395 w 395"/>
                  <a:gd name="T1" fmla="*/ 61 h 111"/>
                  <a:gd name="T2" fmla="*/ 395 w 395"/>
                  <a:gd name="T3" fmla="*/ 61 h 111"/>
                  <a:gd name="T4" fmla="*/ 352 w 395"/>
                  <a:gd name="T5" fmla="*/ 47 h 111"/>
                  <a:gd name="T6" fmla="*/ 311 w 395"/>
                  <a:gd name="T7" fmla="*/ 37 h 111"/>
                  <a:gd name="T8" fmla="*/ 233 w 395"/>
                  <a:gd name="T9" fmla="*/ 19 h 111"/>
                  <a:gd name="T10" fmla="*/ 160 w 395"/>
                  <a:gd name="T11" fmla="*/ 8 h 111"/>
                  <a:gd name="T12" fmla="*/ 96 w 395"/>
                  <a:gd name="T13" fmla="*/ 0 h 111"/>
                  <a:gd name="T14" fmla="*/ 96 w 395"/>
                  <a:gd name="T15" fmla="*/ 0 h 111"/>
                  <a:gd name="T16" fmla="*/ 47 w 395"/>
                  <a:gd name="T17" fmla="*/ 23 h 111"/>
                  <a:gd name="T18" fmla="*/ 0 w 395"/>
                  <a:gd name="T19" fmla="*/ 51 h 111"/>
                  <a:gd name="T20" fmla="*/ 0 w 395"/>
                  <a:gd name="T21" fmla="*/ 51 h 111"/>
                  <a:gd name="T22" fmla="*/ 62 w 395"/>
                  <a:gd name="T23" fmla="*/ 55 h 111"/>
                  <a:gd name="T24" fmla="*/ 102 w 395"/>
                  <a:gd name="T25" fmla="*/ 59 h 111"/>
                  <a:gd name="T26" fmla="*/ 147 w 395"/>
                  <a:gd name="T27" fmla="*/ 64 h 111"/>
                  <a:gd name="T28" fmla="*/ 198 w 395"/>
                  <a:gd name="T29" fmla="*/ 72 h 111"/>
                  <a:gd name="T30" fmla="*/ 250 w 395"/>
                  <a:gd name="T31" fmla="*/ 82 h 111"/>
                  <a:gd name="T32" fmla="*/ 305 w 395"/>
                  <a:gd name="T33" fmla="*/ 96 h 111"/>
                  <a:gd name="T34" fmla="*/ 364 w 395"/>
                  <a:gd name="T35" fmla="*/ 111 h 111"/>
                  <a:gd name="T36" fmla="*/ 364 w 395"/>
                  <a:gd name="T37" fmla="*/ 111 h 111"/>
                  <a:gd name="T38" fmla="*/ 395 w 395"/>
                  <a:gd name="T39" fmla="*/ 61 h 111"/>
                  <a:gd name="T40" fmla="*/ 395 w 395"/>
                  <a:gd name="T41" fmla="*/ 6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95" h="111">
                    <a:moveTo>
                      <a:pt x="395" y="61"/>
                    </a:moveTo>
                    <a:lnTo>
                      <a:pt x="395" y="61"/>
                    </a:lnTo>
                    <a:lnTo>
                      <a:pt x="352" y="47"/>
                    </a:lnTo>
                    <a:lnTo>
                      <a:pt x="311" y="37"/>
                    </a:lnTo>
                    <a:lnTo>
                      <a:pt x="233" y="19"/>
                    </a:lnTo>
                    <a:lnTo>
                      <a:pt x="160" y="8"/>
                    </a:lnTo>
                    <a:lnTo>
                      <a:pt x="96" y="0"/>
                    </a:lnTo>
                    <a:lnTo>
                      <a:pt x="96" y="0"/>
                    </a:lnTo>
                    <a:lnTo>
                      <a:pt x="47" y="23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62" y="55"/>
                    </a:lnTo>
                    <a:lnTo>
                      <a:pt x="102" y="59"/>
                    </a:lnTo>
                    <a:lnTo>
                      <a:pt x="147" y="64"/>
                    </a:lnTo>
                    <a:lnTo>
                      <a:pt x="198" y="72"/>
                    </a:lnTo>
                    <a:lnTo>
                      <a:pt x="250" y="82"/>
                    </a:lnTo>
                    <a:lnTo>
                      <a:pt x="305" y="96"/>
                    </a:lnTo>
                    <a:lnTo>
                      <a:pt x="364" y="111"/>
                    </a:lnTo>
                    <a:lnTo>
                      <a:pt x="364" y="111"/>
                    </a:lnTo>
                    <a:lnTo>
                      <a:pt x="395" y="61"/>
                    </a:lnTo>
                    <a:lnTo>
                      <a:pt x="395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4" name="Freeform 28"/>
              <p:cNvSpPr>
                <a:spLocks/>
              </p:cNvSpPr>
              <p:nvPr/>
            </p:nvSpPr>
            <p:spPr bwMode="auto">
              <a:xfrm>
                <a:off x="2113756" y="5832476"/>
                <a:ext cx="274637" cy="147637"/>
              </a:xfrm>
              <a:custGeom>
                <a:avLst/>
                <a:gdLst>
                  <a:gd name="T0" fmla="*/ 264 w 345"/>
                  <a:gd name="T1" fmla="*/ 186 h 186"/>
                  <a:gd name="T2" fmla="*/ 264 w 345"/>
                  <a:gd name="T3" fmla="*/ 186 h 186"/>
                  <a:gd name="T4" fmla="*/ 345 w 345"/>
                  <a:gd name="T5" fmla="*/ 173 h 186"/>
                  <a:gd name="T6" fmla="*/ 345 w 345"/>
                  <a:gd name="T7" fmla="*/ 173 h 186"/>
                  <a:gd name="T8" fmla="*/ 307 w 345"/>
                  <a:gd name="T9" fmla="*/ 143 h 186"/>
                  <a:gd name="T10" fmla="*/ 268 w 345"/>
                  <a:gd name="T11" fmla="*/ 118 h 186"/>
                  <a:gd name="T12" fmla="*/ 229 w 345"/>
                  <a:gd name="T13" fmla="*/ 92 h 186"/>
                  <a:gd name="T14" fmla="*/ 190 w 345"/>
                  <a:gd name="T15" fmla="*/ 71 h 186"/>
                  <a:gd name="T16" fmla="*/ 151 w 345"/>
                  <a:gd name="T17" fmla="*/ 51 h 186"/>
                  <a:gd name="T18" fmla="*/ 111 w 345"/>
                  <a:gd name="T19" fmla="*/ 31 h 186"/>
                  <a:gd name="T20" fmla="*/ 72 w 345"/>
                  <a:gd name="T21" fmla="*/ 14 h 186"/>
                  <a:gd name="T22" fmla="*/ 31 w 345"/>
                  <a:gd name="T23" fmla="*/ 0 h 186"/>
                  <a:gd name="T24" fmla="*/ 31 w 345"/>
                  <a:gd name="T25" fmla="*/ 0 h 186"/>
                  <a:gd name="T26" fmla="*/ 0 w 345"/>
                  <a:gd name="T27" fmla="*/ 51 h 186"/>
                  <a:gd name="T28" fmla="*/ 0 w 345"/>
                  <a:gd name="T29" fmla="*/ 51 h 186"/>
                  <a:gd name="T30" fmla="*/ 66 w 345"/>
                  <a:gd name="T31" fmla="*/ 77 h 186"/>
                  <a:gd name="T32" fmla="*/ 100 w 345"/>
                  <a:gd name="T33" fmla="*/ 90 h 186"/>
                  <a:gd name="T34" fmla="*/ 135 w 345"/>
                  <a:gd name="T35" fmla="*/ 108 h 186"/>
                  <a:gd name="T36" fmla="*/ 168 w 345"/>
                  <a:gd name="T37" fmla="*/ 126 h 186"/>
                  <a:gd name="T38" fmla="*/ 200 w 345"/>
                  <a:gd name="T39" fmla="*/ 143 h 186"/>
                  <a:gd name="T40" fmla="*/ 233 w 345"/>
                  <a:gd name="T41" fmla="*/ 163 h 186"/>
                  <a:gd name="T42" fmla="*/ 264 w 345"/>
                  <a:gd name="T43" fmla="*/ 186 h 186"/>
                  <a:gd name="T44" fmla="*/ 264 w 345"/>
                  <a:gd name="T45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45" h="186">
                    <a:moveTo>
                      <a:pt x="264" y="186"/>
                    </a:moveTo>
                    <a:lnTo>
                      <a:pt x="264" y="186"/>
                    </a:lnTo>
                    <a:lnTo>
                      <a:pt x="345" y="173"/>
                    </a:lnTo>
                    <a:lnTo>
                      <a:pt x="345" y="173"/>
                    </a:lnTo>
                    <a:lnTo>
                      <a:pt x="307" y="143"/>
                    </a:lnTo>
                    <a:lnTo>
                      <a:pt x="268" y="118"/>
                    </a:lnTo>
                    <a:lnTo>
                      <a:pt x="229" y="92"/>
                    </a:lnTo>
                    <a:lnTo>
                      <a:pt x="190" y="71"/>
                    </a:lnTo>
                    <a:lnTo>
                      <a:pt x="151" y="51"/>
                    </a:lnTo>
                    <a:lnTo>
                      <a:pt x="111" y="31"/>
                    </a:lnTo>
                    <a:lnTo>
                      <a:pt x="72" y="14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66" y="77"/>
                    </a:lnTo>
                    <a:lnTo>
                      <a:pt x="100" y="90"/>
                    </a:lnTo>
                    <a:lnTo>
                      <a:pt x="135" y="108"/>
                    </a:lnTo>
                    <a:lnTo>
                      <a:pt x="168" y="126"/>
                    </a:lnTo>
                    <a:lnTo>
                      <a:pt x="200" y="143"/>
                    </a:lnTo>
                    <a:lnTo>
                      <a:pt x="233" y="163"/>
                    </a:lnTo>
                    <a:lnTo>
                      <a:pt x="264" y="186"/>
                    </a:lnTo>
                    <a:lnTo>
                      <a:pt x="264" y="18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5" name="Freeform 29"/>
              <p:cNvSpPr>
                <a:spLocks/>
              </p:cNvSpPr>
              <p:nvPr/>
            </p:nvSpPr>
            <p:spPr bwMode="auto">
              <a:xfrm>
                <a:off x="2324894" y="5969001"/>
                <a:ext cx="109537" cy="50800"/>
              </a:xfrm>
              <a:custGeom>
                <a:avLst/>
                <a:gdLst>
                  <a:gd name="T0" fmla="*/ 81 w 139"/>
                  <a:gd name="T1" fmla="*/ 0 h 62"/>
                  <a:gd name="T2" fmla="*/ 81 w 139"/>
                  <a:gd name="T3" fmla="*/ 0 h 62"/>
                  <a:gd name="T4" fmla="*/ 0 w 139"/>
                  <a:gd name="T5" fmla="*/ 13 h 62"/>
                  <a:gd name="T6" fmla="*/ 0 w 139"/>
                  <a:gd name="T7" fmla="*/ 13 h 62"/>
                  <a:gd name="T8" fmla="*/ 34 w 139"/>
                  <a:gd name="T9" fmla="*/ 37 h 62"/>
                  <a:gd name="T10" fmla="*/ 63 w 139"/>
                  <a:gd name="T11" fmla="*/ 62 h 62"/>
                  <a:gd name="T12" fmla="*/ 63 w 139"/>
                  <a:gd name="T13" fmla="*/ 62 h 62"/>
                  <a:gd name="T14" fmla="*/ 139 w 139"/>
                  <a:gd name="T15" fmla="*/ 52 h 62"/>
                  <a:gd name="T16" fmla="*/ 139 w 139"/>
                  <a:gd name="T17" fmla="*/ 52 h 62"/>
                  <a:gd name="T18" fmla="*/ 120 w 139"/>
                  <a:gd name="T19" fmla="*/ 35 h 62"/>
                  <a:gd name="T20" fmla="*/ 120 w 139"/>
                  <a:gd name="T21" fmla="*/ 35 h 62"/>
                  <a:gd name="T22" fmla="*/ 81 w 139"/>
                  <a:gd name="T23" fmla="*/ 0 h 62"/>
                  <a:gd name="T24" fmla="*/ 81 w 139"/>
                  <a:gd name="T2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62">
                    <a:moveTo>
                      <a:pt x="81" y="0"/>
                    </a:moveTo>
                    <a:lnTo>
                      <a:pt x="81" y="0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34" y="37"/>
                    </a:lnTo>
                    <a:lnTo>
                      <a:pt x="63" y="62"/>
                    </a:lnTo>
                    <a:lnTo>
                      <a:pt x="63" y="62"/>
                    </a:lnTo>
                    <a:lnTo>
                      <a:pt x="139" y="52"/>
                    </a:lnTo>
                    <a:lnTo>
                      <a:pt x="139" y="52"/>
                    </a:lnTo>
                    <a:lnTo>
                      <a:pt x="120" y="35"/>
                    </a:lnTo>
                    <a:lnTo>
                      <a:pt x="120" y="35"/>
                    </a:lnTo>
                    <a:lnTo>
                      <a:pt x="81" y="0"/>
                    </a:lnTo>
                    <a:lnTo>
                      <a:pt x="8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  <p:sp>
            <p:nvSpPr>
              <p:cNvPr id="36" name="Freeform 30"/>
              <p:cNvSpPr>
                <a:spLocks/>
              </p:cNvSpPr>
              <p:nvPr/>
            </p:nvSpPr>
            <p:spPr bwMode="auto">
              <a:xfrm>
                <a:off x="2069306" y="5816601"/>
                <a:ext cx="69850" cy="57150"/>
              </a:xfrm>
              <a:custGeom>
                <a:avLst/>
                <a:gdLst>
                  <a:gd name="T0" fmla="*/ 88 w 88"/>
                  <a:gd name="T1" fmla="*/ 19 h 70"/>
                  <a:gd name="T2" fmla="*/ 88 w 88"/>
                  <a:gd name="T3" fmla="*/ 19 h 70"/>
                  <a:gd name="T4" fmla="*/ 31 w 88"/>
                  <a:gd name="T5" fmla="*/ 0 h 70"/>
                  <a:gd name="T6" fmla="*/ 31 w 88"/>
                  <a:gd name="T7" fmla="*/ 0 h 70"/>
                  <a:gd name="T8" fmla="*/ 0 w 88"/>
                  <a:gd name="T9" fmla="*/ 50 h 70"/>
                  <a:gd name="T10" fmla="*/ 0 w 88"/>
                  <a:gd name="T11" fmla="*/ 50 h 70"/>
                  <a:gd name="T12" fmla="*/ 57 w 88"/>
                  <a:gd name="T13" fmla="*/ 70 h 70"/>
                  <a:gd name="T14" fmla="*/ 57 w 88"/>
                  <a:gd name="T15" fmla="*/ 70 h 70"/>
                  <a:gd name="T16" fmla="*/ 88 w 88"/>
                  <a:gd name="T17" fmla="*/ 19 h 70"/>
                  <a:gd name="T18" fmla="*/ 88 w 88"/>
                  <a:gd name="T19" fmla="*/ 19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8" h="70">
                    <a:moveTo>
                      <a:pt x="88" y="19"/>
                    </a:moveTo>
                    <a:lnTo>
                      <a:pt x="88" y="19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57" y="70"/>
                    </a:lnTo>
                    <a:lnTo>
                      <a:pt x="57" y="70"/>
                    </a:lnTo>
                    <a:lnTo>
                      <a:pt x="88" y="19"/>
                    </a:lnTo>
                    <a:lnTo>
                      <a:pt x="88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 ExtraLight" charset="0"/>
                  <a:ea typeface="CiscoSans ExtraLight" charset="0"/>
                  <a:cs typeface="CiscoSans ExtraLight" charset="0"/>
                </a:endParaRPr>
              </a:p>
            </p:txBody>
          </p:sp>
        </p:grpSp>
      </p:grpSp>
      <p:sp>
        <p:nvSpPr>
          <p:cNvPr id="51" name="Rectangle 4"/>
          <p:cNvSpPr>
            <a:spLocks noChangeArrowheads="1"/>
          </p:cNvSpPr>
          <p:nvPr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bg2">
                    <a:lumMod val="65000"/>
                  </a:schemeClr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© 2017  Cisco and/or its affiliates. All rights reserved.   Cisco Confidential</a:t>
            </a:r>
          </a:p>
        </p:txBody>
      </p:sp>
      <p:sp>
        <p:nvSpPr>
          <p:cNvPr id="52" name="Rectangle 51"/>
          <p:cNvSpPr/>
          <p:nvPr/>
        </p:nvSpPr>
        <p:spPr>
          <a:xfrm>
            <a:off x="1297590" y="3045693"/>
            <a:ext cx="1976824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800" dirty="0">
                <a:solidFill>
                  <a:schemeClr val="tx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Network</a:t>
            </a:r>
          </a:p>
          <a:p>
            <a:pPr algn="ctr"/>
            <a:r>
              <a:rPr lang="en-US" sz="2800" dirty="0">
                <a:solidFill>
                  <a:schemeClr val="tx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Challenges</a:t>
            </a:r>
          </a:p>
        </p:txBody>
      </p:sp>
      <p:grpSp>
        <p:nvGrpSpPr>
          <p:cNvPr id="6" name="Group 5"/>
          <p:cNvGrpSpPr/>
          <p:nvPr/>
        </p:nvGrpSpPr>
        <p:grpSpPr>
          <a:xfrm rot="18900000">
            <a:off x="4244423" y="2325591"/>
            <a:ext cx="492320" cy="492320"/>
            <a:chOff x="8024776" y="3999800"/>
            <a:chExt cx="741854" cy="741853"/>
          </a:xfrm>
          <a:solidFill>
            <a:schemeClr val="bg2"/>
          </a:solidFill>
        </p:grpSpPr>
        <p:sp>
          <p:nvSpPr>
            <p:cNvPr id="3" name="Rounded Rectangle 2"/>
            <p:cNvSpPr/>
            <p:nvPr/>
          </p:nvSpPr>
          <p:spPr>
            <a:xfrm>
              <a:off x="8558214" y="3999800"/>
              <a:ext cx="208416" cy="741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45" name="Rounded Rectangle 44"/>
            <p:cNvSpPr/>
            <p:nvPr/>
          </p:nvSpPr>
          <p:spPr>
            <a:xfrm rot="5400000">
              <a:off x="8291495" y="4266518"/>
              <a:ext cx="208416" cy="7418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sp>
        <p:nvSpPr>
          <p:cNvPr id="48" name="Text Placeholder 12"/>
          <p:cNvSpPr txBox="1">
            <a:spLocks/>
          </p:cNvSpPr>
          <p:nvPr/>
        </p:nvSpPr>
        <p:spPr>
          <a:xfrm>
            <a:off x="5087580" y="0"/>
            <a:ext cx="3877201" cy="5143500"/>
          </a:xfrm>
          <a:prstGeom prst="rect">
            <a:avLst/>
          </a:prstGeom>
        </p:spPr>
        <p:txBody>
          <a:bodyPr anchor="ctr" anchorCtr="0"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</a:pPr>
            <a:r>
              <a:rPr lang="en-US" sz="1800" dirty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Outage/degraded service</a:t>
            </a:r>
          </a:p>
          <a:p>
            <a:pPr marL="177800" indent="-177800"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</a:pPr>
            <a:r>
              <a:rPr lang="en-US" sz="1800" dirty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Insufficient visibility into the </a:t>
            </a:r>
            <a:br>
              <a:rPr lang="en-US" sz="1800" dirty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</a:br>
            <a:r>
              <a:rPr lang="en-US" sz="1800" dirty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network, workload, application</a:t>
            </a:r>
          </a:p>
          <a:p>
            <a:pPr marL="177800" indent="-177800"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</a:pPr>
            <a:r>
              <a:rPr lang="en-US" sz="1800" dirty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Rising security breaches and destruction of service (</a:t>
            </a:r>
            <a:r>
              <a:rPr lang="en-US" sz="1800" dirty="0" err="1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DeOS</a:t>
            </a:r>
            <a:r>
              <a:rPr lang="en-US" sz="1800" dirty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) attacks</a:t>
            </a:r>
          </a:p>
          <a:p>
            <a:pPr marL="177800" indent="-177800"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</a:pPr>
            <a:r>
              <a:rPr lang="en-US" sz="1800" dirty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Increasing regulatory compliance requirements and audits</a:t>
            </a:r>
          </a:p>
          <a:p>
            <a:pPr marL="177800" indent="-177800"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</a:pPr>
            <a:r>
              <a:rPr lang="en-US" sz="1800" dirty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Rising ACL/FW rule complexity and administration burden</a:t>
            </a:r>
          </a:p>
        </p:txBody>
      </p:sp>
    </p:spTree>
    <p:extLst>
      <p:ext uri="{BB962C8B-B14F-4D97-AF65-F5344CB8AC3E}">
        <p14:creationId xmlns:p14="http://schemas.microsoft.com/office/powerpoint/2010/main" val="1814231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39" name="Group 25"/>
          <p:cNvGrpSpPr>
            <a:grpSpLocks noChangeAspect="1"/>
          </p:cNvGrpSpPr>
          <p:nvPr/>
        </p:nvGrpSpPr>
        <p:grpSpPr bwMode="auto">
          <a:xfrm>
            <a:off x="5943000" y="1051605"/>
            <a:ext cx="1830000" cy="1828800"/>
            <a:chOff x="1971" y="2520"/>
            <a:chExt cx="1524" cy="1523"/>
          </a:xfrm>
        </p:grpSpPr>
        <p:sp>
          <p:nvSpPr>
            <p:cNvPr id="40" name="Oval 26"/>
            <p:cNvSpPr>
              <a:spLocks noChangeArrowheads="1"/>
            </p:cNvSpPr>
            <p:nvPr/>
          </p:nvSpPr>
          <p:spPr bwMode="auto">
            <a:xfrm>
              <a:off x="1971" y="2520"/>
              <a:ext cx="1524" cy="152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41" name="Freeform 27"/>
            <p:cNvSpPr>
              <a:spLocks/>
            </p:cNvSpPr>
            <p:nvPr/>
          </p:nvSpPr>
          <p:spPr bwMode="auto">
            <a:xfrm>
              <a:off x="2386" y="2738"/>
              <a:ext cx="1101" cy="1305"/>
            </a:xfrm>
            <a:custGeom>
              <a:avLst/>
              <a:gdLst>
                <a:gd name="T0" fmla="*/ 464 w 464"/>
                <a:gd name="T1" fmla="*/ 273 h 550"/>
                <a:gd name="T2" fmla="*/ 248 w 464"/>
                <a:gd name="T3" fmla="*/ 57 h 550"/>
                <a:gd name="T4" fmla="*/ 146 w 464"/>
                <a:gd name="T5" fmla="*/ 0 h 550"/>
                <a:gd name="T6" fmla="*/ 26 w 464"/>
                <a:gd name="T7" fmla="*/ 120 h 550"/>
                <a:gd name="T8" fmla="*/ 26 w 464"/>
                <a:gd name="T9" fmla="*/ 160 h 550"/>
                <a:gd name="T10" fmla="*/ 25 w 464"/>
                <a:gd name="T11" fmla="*/ 160 h 550"/>
                <a:gd name="T12" fmla="*/ 0 w 464"/>
                <a:gd name="T13" fmla="*/ 186 h 550"/>
                <a:gd name="T14" fmla="*/ 0 w 464"/>
                <a:gd name="T15" fmla="*/ 399 h 550"/>
                <a:gd name="T16" fmla="*/ 12 w 464"/>
                <a:gd name="T17" fmla="*/ 421 h 550"/>
                <a:gd name="T18" fmla="*/ 141 w 464"/>
                <a:gd name="T19" fmla="*/ 550 h 550"/>
                <a:gd name="T20" fmla="*/ 146 w 464"/>
                <a:gd name="T21" fmla="*/ 550 h 550"/>
                <a:gd name="T22" fmla="*/ 464 w 464"/>
                <a:gd name="T23" fmla="*/ 273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4" h="550">
                  <a:moveTo>
                    <a:pt x="464" y="273"/>
                  </a:moveTo>
                  <a:cubicBezTo>
                    <a:pt x="248" y="57"/>
                    <a:pt x="248" y="57"/>
                    <a:pt x="248" y="57"/>
                  </a:cubicBezTo>
                  <a:cubicBezTo>
                    <a:pt x="227" y="23"/>
                    <a:pt x="189" y="0"/>
                    <a:pt x="146" y="0"/>
                  </a:cubicBezTo>
                  <a:cubicBezTo>
                    <a:pt x="80" y="0"/>
                    <a:pt x="26" y="54"/>
                    <a:pt x="26" y="120"/>
                  </a:cubicBezTo>
                  <a:cubicBezTo>
                    <a:pt x="26" y="160"/>
                    <a:pt x="26" y="160"/>
                    <a:pt x="26" y="160"/>
                  </a:cubicBezTo>
                  <a:cubicBezTo>
                    <a:pt x="25" y="160"/>
                    <a:pt x="25" y="160"/>
                    <a:pt x="25" y="160"/>
                  </a:cubicBezTo>
                  <a:cubicBezTo>
                    <a:pt x="11" y="160"/>
                    <a:pt x="0" y="172"/>
                    <a:pt x="0" y="186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0" y="408"/>
                    <a:pt x="5" y="416"/>
                    <a:pt x="12" y="421"/>
                  </a:cubicBezTo>
                  <a:cubicBezTo>
                    <a:pt x="141" y="550"/>
                    <a:pt x="141" y="550"/>
                    <a:pt x="141" y="550"/>
                  </a:cubicBezTo>
                  <a:cubicBezTo>
                    <a:pt x="143" y="550"/>
                    <a:pt x="145" y="550"/>
                    <a:pt x="146" y="550"/>
                  </a:cubicBezTo>
                  <a:cubicBezTo>
                    <a:pt x="308" y="550"/>
                    <a:pt x="443" y="430"/>
                    <a:pt x="464" y="273"/>
                  </a:cubicBezTo>
                  <a:close/>
                </a:path>
              </a:pathLst>
            </a:custGeom>
            <a:solidFill>
              <a:srgbClr val="00A3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42" name="Freeform 28"/>
            <p:cNvSpPr>
              <a:spLocks/>
            </p:cNvSpPr>
            <p:nvPr/>
          </p:nvSpPr>
          <p:spPr bwMode="auto">
            <a:xfrm>
              <a:off x="2448" y="2738"/>
              <a:ext cx="569" cy="380"/>
            </a:xfrm>
            <a:custGeom>
              <a:avLst/>
              <a:gdLst>
                <a:gd name="T0" fmla="*/ 52 w 240"/>
                <a:gd name="T1" fmla="*/ 160 h 160"/>
                <a:gd name="T2" fmla="*/ 52 w 240"/>
                <a:gd name="T3" fmla="*/ 120 h 160"/>
                <a:gd name="T4" fmla="*/ 120 w 240"/>
                <a:gd name="T5" fmla="*/ 52 h 160"/>
                <a:gd name="T6" fmla="*/ 189 w 240"/>
                <a:gd name="T7" fmla="*/ 120 h 160"/>
                <a:gd name="T8" fmla="*/ 189 w 240"/>
                <a:gd name="T9" fmla="*/ 160 h 160"/>
                <a:gd name="T10" fmla="*/ 240 w 240"/>
                <a:gd name="T11" fmla="*/ 160 h 160"/>
                <a:gd name="T12" fmla="*/ 240 w 240"/>
                <a:gd name="T13" fmla="*/ 120 h 160"/>
                <a:gd name="T14" fmla="*/ 120 w 240"/>
                <a:gd name="T15" fmla="*/ 0 h 160"/>
                <a:gd name="T16" fmla="*/ 0 w 240"/>
                <a:gd name="T17" fmla="*/ 120 h 160"/>
                <a:gd name="T18" fmla="*/ 0 w 240"/>
                <a:gd name="T19" fmla="*/ 160 h 160"/>
                <a:gd name="T20" fmla="*/ 52 w 240"/>
                <a:gd name="T21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0" h="160">
                  <a:moveTo>
                    <a:pt x="52" y="160"/>
                  </a:moveTo>
                  <a:cubicBezTo>
                    <a:pt x="52" y="120"/>
                    <a:pt x="52" y="120"/>
                    <a:pt x="52" y="120"/>
                  </a:cubicBezTo>
                  <a:cubicBezTo>
                    <a:pt x="52" y="82"/>
                    <a:pt x="82" y="52"/>
                    <a:pt x="120" y="52"/>
                  </a:cubicBezTo>
                  <a:cubicBezTo>
                    <a:pt x="158" y="52"/>
                    <a:pt x="189" y="82"/>
                    <a:pt x="189" y="120"/>
                  </a:cubicBezTo>
                  <a:cubicBezTo>
                    <a:pt x="189" y="160"/>
                    <a:pt x="189" y="160"/>
                    <a:pt x="189" y="160"/>
                  </a:cubicBezTo>
                  <a:cubicBezTo>
                    <a:pt x="240" y="160"/>
                    <a:pt x="240" y="160"/>
                    <a:pt x="240" y="160"/>
                  </a:cubicBezTo>
                  <a:cubicBezTo>
                    <a:pt x="240" y="120"/>
                    <a:pt x="240" y="120"/>
                    <a:pt x="240" y="120"/>
                  </a:cubicBezTo>
                  <a:cubicBezTo>
                    <a:pt x="240" y="54"/>
                    <a:pt x="186" y="0"/>
                    <a:pt x="120" y="0"/>
                  </a:cubicBezTo>
                  <a:cubicBezTo>
                    <a:pt x="54" y="0"/>
                    <a:pt x="0" y="54"/>
                    <a:pt x="0" y="120"/>
                  </a:cubicBezTo>
                  <a:cubicBezTo>
                    <a:pt x="0" y="160"/>
                    <a:pt x="0" y="160"/>
                    <a:pt x="0" y="160"/>
                  </a:cubicBezTo>
                  <a:lnTo>
                    <a:pt x="52" y="16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43" name="Freeform 29"/>
            <p:cNvSpPr>
              <a:spLocks/>
            </p:cNvSpPr>
            <p:nvPr/>
          </p:nvSpPr>
          <p:spPr bwMode="auto">
            <a:xfrm>
              <a:off x="2386" y="3118"/>
              <a:ext cx="693" cy="626"/>
            </a:xfrm>
            <a:custGeom>
              <a:avLst/>
              <a:gdLst>
                <a:gd name="T0" fmla="*/ 280 w 292"/>
                <a:gd name="T1" fmla="*/ 264 h 264"/>
                <a:gd name="T2" fmla="*/ 12 w 292"/>
                <a:gd name="T3" fmla="*/ 264 h 264"/>
                <a:gd name="T4" fmla="*/ 0 w 292"/>
                <a:gd name="T5" fmla="*/ 252 h 264"/>
                <a:gd name="T6" fmla="*/ 0 w 292"/>
                <a:gd name="T7" fmla="*/ 13 h 264"/>
                <a:gd name="T8" fmla="*/ 12 w 292"/>
                <a:gd name="T9" fmla="*/ 0 h 264"/>
                <a:gd name="T10" fmla="*/ 280 w 292"/>
                <a:gd name="T11" fmla="*/ 0 h 264"/>
                <a:gd name="T12" fmla="*/ 292 w 292"/>
                <a:gd name="T13" fmla="*/ 13 h 264"/>
                <a:gd name="T14" fmla="*/ 292 w 292"/>
                <a:gd name="T15" fmla="*/ 252 h 264"/>
                <a:gd name="T16" fmla="*/ 280 w 292"/>
                <a:gd name="T17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2" h="264">
                  <a:moveTo>
                    <a:pt x="280" y="264"/>
                  </a:moveTo>
                  <a:cubicBezTo>
                    <a:pt x="12" y="264"/>
                    <a:pt x="12" y="264"/>
                    <a:pt x="12" y="264"/>
                  </a:cubicBezTo>
                  <a:cubicBezTo>
                    <a:pt x="5" y="264"/>
                    <a:pt x="0" y="259"/>
                    <a:pt x="0" y="25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80" y="0"/>
                    <a:pt x="280" y="0"/>
                    <a:pt x="280" y="0"/>
                  </a:cubicBezTo>
                  <a:cubicBezTo>
                    <a:pt x="287" y="0"/>
                    <a:pt x="292" y="6"/>
                    <a:pt x="292" y="13"/>
                  </a:cubicBezTo>
                  <a:cubicBezTo>
                    <a:pt x="292" y="252"/>
                    <a:pt x="292" y="252"/>
                    <a:pt x="292" y="252"/>
                  </a:cubicBezTo>
                  <a:cubicBezTo>
                    <a:pt x="292" y="259"/>
                    <a:pt x="287" y="264"/>
                    <a:pt x="280" y="2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sp>
        <p:nvSpPr>
          <p:cNvPr id="50" name="Rectangle 49"/>
          <p:cNvSpPr/>
          <p:nvPr/>
        </p:nvSpPr>
        <p:spPr>
          <a:xfrm>
            <a:off x="5815887" y="3045693"/>
            <a:ext cx="2084225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800" dirty="0">
                <a:solidFill>
                  <a:schemeClr val="tx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Security</a:t>
            </a:r>
          </a:p>
          <a:p>
            <a:pPr algn="ctr"/>
            <a:r>
              <a:rPr lang="en-US" sz="2800" dirty="0">
                <a:solidFill>
                  <a:schemeClr val="tx2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Challenges </a:t>
            </a:r>
          </a:p>
        </p:txBody>
      </p:sp>
      <p:sp>
        <p:nvSpPr>
          <p:cNvPr id="18" name="Text Placeholder 12"/>
          <p:cNvSpPr txBox="1">
            <a:spLocks/>
          </p:cNvSpPr>
          <p:nvPr/>
        </p:nvSpPr>
        <p:spPr>
          <a:xfrm>
            <a:off x="455611" y="0"/>
            <a:ext cx="4106783" cy="5143500"/>
          </a:xfrm>
          <a:prstGeom prst="rect">
            <a:avLst/>
          </a:prstGeom>
        </p:spPr>
        <p:txBody>
          <a:bodyPr anchor="ctr" anchorCtr="0"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</a:pPr>
            <a:r>
              <a:rPr lang="en-US" sz="1800" dirty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Not enough threat visibility </a:t>
            </a:r>
            <a:r>
              <a:rPr lang="en-US" sz="1800" dirty="0" smtClean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in the </a:t>
            </a:r>
            <a:r>
              <a:rPr lang="en-US" sz="1800" dirty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network, </a:t>
            </a:r>
            <a:r>
              <a:rPr lang="en-US" sz="1800" dirty="0" smtClean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workloads, applications</a:t>
            </a:r>
            <a:endParaRPr lang="en-US" sz="1800" dirty="0">
              <a:solidFill>
                <a:srgbClr val="676767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  <a:p>
            <a:pPr marL="177800" indent="-177800"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</a:pPr>
            <a:r>
              <a:rPr lang="en-US" sz="1800" dirty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Inconsistent policies across workloads </a:t>
            </a:r>
          </a:p>
          <a:p>
            <a:pPr marL="177800" indent="-177800"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</a:pPr>
            <a:r>
              <a:rPr lang="en-US" sz="1800" dirty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Too many </a:t>
            </a:r>
            <a:r>
              <a:rPr lang="en-US" sz="1800" dirty="0" smtClean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point security </a:t>
            </a:r>
            <a:r>
              <a:rPr lang="en-US" sz="1800" dirty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vendors</a:t>
            </a:r>
          </a:p>
          <a:p>
            <a:pPr marL="177800" indent="-177800"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</a:pPr>
            <a:r>
              <a:rPr lang="en-US" sz="1800" dirty="0" smtClean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Hackers </a:t>
            </a:r>
            <a:r>
              <a:rPr lang="en-US" sz="1800" dirty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are more sophisticated </a:t>
            </a:r>
            <a:endParaRPr lang="en-US" sz="1800" dirty="0" smtClean="0">
              <a:solidFill>
                <a:srgbClr val="676767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  <a:p>
            <a:pPr marL="177800" indent="-177800"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</a:pPr>
            <a:r>
              <a:rPr lang="en-US" sz="1800" dirty="0" smtClean="0">
                <a:solidFill>
                  <a:srgbClr val="676767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Attack surface is too broad</a:t>
            </a:r>
            <a:endParaRPr lang="en-US" sz="1800" dirty="0">
              <a:solidFill>
                <a:srgbClr val="676767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  <a:p>
            <a:pPr marL="177800" indent="-177800"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</a:pPr>
            <a:endParaRPr lang="en-US" sz="1400" dirty="0">
              <a:solidFill>
                <a:srgbClr val="676767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 rot="2700000" flipH="1">
            <a:off x="4407257" y="2325591"/>
            <a:ext cx="492320" cy="492320"/>
            <a:chOff x="8024776" y="3999800"/>
            <a:chExt cx="741854" cy="741853"/>
          </a:xfrm>
          <a:solidFill>
            <a:schemeClr val="bg2">
              <a:lumMod val="95000"/>
            </a:schemeClr>
          </a:solidFill>
        </p:grpSpPr>
        <p:sp>
          <p:nvSpPr>
            <p:cNvPr id="21" name="Rounded Rectangle 20"/>
            <p:cNvSpPr/>
            <p:nvPr/>
          </p:nvSpPr>
          <p:spPr>
            <a:xfrm>
              <a:off x="8558214" y="3999800"/>
              <a:ext cx="208416" cy="741853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22" name="Rounded Rectangle 21"/>
            <p:cNvSpPr/>
            <p:nvPr/>
          </p:nvSpPr>
          <p:spPr>
            <a:xfrm rot="5400000">
              <a:off x="8291495" y="4266518"/>
              <a:ext cx="208416" cy="741853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7776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ounded Rectangle 235">
            <a:extLst>
              <a:ext uri="{FF2B5EF4-FFF2-40B4-BE49-F238E27FC236}">
                <a16:creationId xmlns="" xmlns:a16="http://schemas.microsoft.com/office/drawing/2014/main" id="{B1D4655D-24E6-4478-B5CE-D720717DD5A7}"/>
              </a:ext>
            </a:extLst>
          </p:cNvPr>
          <p:cNvSpPr/>
          <p:nvPr/>
        </p:nvSpPr>
        <p:spPr>
          <a:xfrm>
            <a:off x="748482" y="1441938"/>
            <a:ext cx="7379384" cy="1671649"/>
          </a:xfrm>
          <a:prstGeom prst="roundRect">
            <a:avLst>
              <a:gd name="adj" fmla="val 50000"/>
            </a:avLst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dirty="0">
              <a:solidFill>
                <a:srgbClr val="005073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7D89357D-3B9B-43B5-9D16-D9DE194D11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144" y="1475999"/>
            <a:ext cx="1615380" cy="16153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43B13B29-8462-4398-8A37-F3876ED040DA}"/>
              </a:ext>
            </a:extLst>
          </p:cNvPr>
          <p:cNvSpPr txBox="1"/>
          <p:nvPr/>
        </p:nvSpPr>
        <p:spPr>
          <a:xfrm>
            <a:off x="525280" y="3105379"/>
            <a:ext cx="2111223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600" dirty="0">
                <a:latin typeface="CiscoSans ExtraLight" charset="0"/>
                <a:ea typeface="CiscoSans ExtraLight" charset="0"/>
                <a:cs typeface="CiscoSans ExtraLight" charset="0"/>
              </a:rPr>
              <a:t>Visibility</a:t>
            </a:r>
            <a:r>
              <a:rPr lang="en-US" sz="1400" dirty="0">
                <a:solidFill>
                  <a:schemeClr val="bg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/>
            </a:r>
            <a:br>
              <a:rPr lang="en-US" sz="1400" dirty="0">
                <a:solidFill>
                  <a:schemeClr val="bg1"/>
                </a:solidFill>
                <a:latin typeface="CiscoSans ExtraLight" charset="0"/>
                <a:ea typeface="CiscoSans ExtraLight" charset="0"/>
                <a:cs typeface="CiscoSans ExtraLight" charset="0"/>
              </a:rPr>
            </a:br>
            <a:r>
              <a:rPr lang="en-US" sz="1100" dirty="0">
                <a:solidFill>
                  <a:schemeClr val="accent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“</a:t>
            </a:r>
            <a:r>
              <a:rPr lang="en-US" sz="1200" dirty="0">
                <a:solidFill>
                  <a:schemeClr val="accent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See Everything</a:t>
            </a:r>
            <a:r>
              <a:rPr lang="en-US" sz="1200" dirty="0" smtClean="0">
                <a:solidFill>
                  <a:schemeClr val="accent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”</a:t>
            </a:r>
          </a:p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050" dirty="0">
                <a:latin typeface="CiscoSans ExtraLight" charset="0"/>
                <a:ea typeface="CiscoSans ExtraLight" charset="0"/>
                <a:cs typeface="CiscoSans ExtraLight" charset="0"/>
              </a:rPr>
              <a:t>Complete visibility </a:t>
            </a:r>
            <a:r>
              <a:rPr lang="en-US" sz="1050" dirty="0" smtClean="0">
                <a:latin typeface="CiscoSans ExtraLight" charset="0"/>
                <a:ea typeface="CiscoSans ExtraLight" charset="0"/>
                <a:cs typeface="CiscoSans ExtraLight" charset="0"/>
              </a:rPr>
              <a:t>of users, devices, networks</a:t>
            </a:r>
            <a:r>
              <a:rPr lang="en-US" sz="1050" dirty="0">
                <a:latin typeface="CiscoSans ExtraLight" charset="0"/>
                <a:ea typeface="CiscoSans ExtraLight" charset="0"/>
                <a:cs typeface="CiscoSans ExtraLight" charset="0"/>
              </a:rPr>
              <a:t>, applications, </a:t>
            </a:r>
            <a:r>
              <a:rPr lang="en-US" sz="1050" dirty="0" smtClean="0">
                <a:latin typeface="CiscoSans ExtraLight" charset="0"/>
                <a:ea typeface="CiscoSans ExtraLight" charset="0"/>
                <a:cs typeface="CiscoSans ExtraLight" charset="0"/>
              </a:rPr>
              <a:t>workloads and processes</a:t>
            </a:r>
            <a:endParaRPr lang="en-US" sz="1050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8E8B9C6-1A14-4A3A-98B8-BB508C76E363}"/>
              </a:ext>
            </a:extLst>
          </p:cNvPr>
          <p:cNvSpPr txBox="1"/>
          <p:nvPr/>
        </p:nvSpPr>
        <p:spPr>
          <a:xfrm>
            <a:off x="6088728" y="3124210"/>
            <a:ext cx="2459440" cy="9933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600" dirty="0">
                <a:latin typeface="CiscoSans ExtraLight" charset="0"/>
                <a:ea typeface="CiscoSans ExtraLight" charset="0"/>
                <a:cs typeface="CiscoSans ExtraLight" charset="0"/>
              </a:rPr>
              <a:t>Threat </a:t>
            </a:r>
            <a:r>
              <a:rPr lang="en-US" sz="1600" dirty="0" smtClean="0">
                <a:latin typeface="CiscoSans ExtraLight" charset="0"/>
                <a:ea typeface="CiscoSans ExtraLight" charset="0"/>
                <a:cs typeface="CiscoSans ExtraLight" charset="0"/>
              </a:rPr>
              <a:t>protection</a:t>
            </a:r>
            <a:r>
              <a:rPr lang="en-US" sz="1600" dirty="0">
                <a:latin typeface="CiscoSans ExtraLight" charset="0"/>
                <a:ea typeface="CiscoSans ExtraLight" charset="0"/>
                <a:cs typeface="CiscoSans ExtraLight" charset="0"/>
              </a:rPr>
              <a:t/>
            </a:r>
            <a:br>
              <a:rPr lang="en-US" sz="1600" dirty="0">
                <a:latin typeface="CiscoSans ExtraLight" charset="0"/>
                <a:ea typeface="CiscoSans ExtraLight" charset="0"/>
                <a:cs typeface="CiscoSans ExtraLight" charset="0"/>
              </a:rPr>
            </a:br>
            <a:r>
              <a:rPr lang="en-US" sz="1200" dirty="0">
                <a:solidFill>
                  <a:srgbClr val="00BCEB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“Stop the Breach</a:t>
            </a:r>
            <a:r>
              <a:rPr lang="en-US" sz="1200" dirty="0" smtClean="0">
                <a:solidFill>
                  <a:srgbClr val="00BCEB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”</a:t>
            </a:r>
          </a:p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050" dirty="0">
                <a:latin typeface="CiscoSans ExtraLight" charset="0"/>
                <a:ea typeface="CiscoSans ExtraLight" charset="0"/>
                <a:cs typeface="CiscoSans ExtraLight" charset="0"/>
              </a:rPr>
              <a:t>Q</a:t>
            </a:r>
            <a:r>
              <a:rPr lang="en-US" sz="1050" dirty="0" smtClean="0">
                <a:latin typeface="CiscoSans ExtraLight" charset="0"/>
                <a:ea typeface="CiscoSans ExtraLight" charset="0"/>
                <a:cs typeface="CiscoSans ExtraLight" charset="0"/>
              </a:rPr>
              <a:t>uickly detect, block, and respond to attacks before </a:t>
            </a:r>
            <a:r>
              <a:rPr lang="en-US" sz="1050" dirty="0">
                <a:latin typeface="CiscoSans ExtraLight" charset="0"/>
                <a:ea typeface="CiscoSans ExtraLight" charset="0"/>
                <a:cs typeface="CiscoSans ExtraLight" charset="0"/>
              </a:rPr>
              <a:t>hackers can steal data </a:t>
            </a:r>
            <a:r>
              <a:rPr lang="en-US" sz="1050" dirty="0" smtClean="0">
                <a:latin typeface="CiscoSans ExtraLight" charset="0"/>
                <a:ea typeface="CiscoSans ExtraLight" charset="0"/>
                <a:cs typeface="CiscoSans ExtraLight" charset="0"/>
              </a:rPr>
              <a:t/>
            </a:r>
            <a:br>
              <a:rPr lang="en-US" sz="1050" dirty="0" smtClean="0">
                <a:latin typeface="CiscoSans ExtraLight" charset="0"/>
                <a:ea typeface="CiscoSans ExtraLight" charset="0"/>
                <a:cs typeface="CiscoSans ExtraLight" charset="0"/>
              </a:rPr>
            </a:br>
            <a:r>
              <a:rPr lang="en-US" sz="1050" dirty="0" smtClean="0">
                <a:latin typeface="CiscoSans ExtraLight" charset="0"/>
                <a:ea typeface="CiscoSans ExtraLight" charset="0"/>
                <a:cs typeface="CiscoSans ExtraLight" charset="0"/>
              </a:rPr>
              <a:t>or </a:t>
            </a:r>
            <a:r>
              <a:rPr lang="en-US" sz="1050" dirty="0">
                <a:latin typeface="CiscoSans ExtraLight" charset="0"/>
                <a:ea typeface="CiscoSans ExtraLight" charset="0"/>
                <a:cs typeface="CiscoSans ExtraLight" charset="0"/>
              </a:rPr>
              <a:t>disrupt </a:t>
            </a:r>
            <a:r>
              <a:rPr lang="en-US" sz="1050" dirty="0" smtClean="0">
                <a:latin typeface="CiscoSans ExtraLight" charset="0"/>
                <a:ea typeface="CiscoSans ExtraLight" charset="0"/>
                <a:cs typeface="CiscoSans ExtraLight" charset="0"/>
              </a:rPr>
              <a:t>operations</a:t>
            </a:r>
            <a:endParaRPr lang="en-US" sz="1050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E45F92E5-04E4-4E8F-B9E3-21A1594BF2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2794" y="1521865"/>
            <a:ext cx="1575180" cy="157605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1790F013-F5D9-48DF-831C-63D32B0CF3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63721" y="1521865"/>
            <a:ext cx="1575178" cy="1576058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E10C3E20-2428-4DDA-B102-79B9468504D4}"/>
              </a:ext>
            </a:extLst>
          </p:cNvPr>
          <p:cNvGrpSpPr/>
          <p:nvPr/>
        </p:nvGrpSpPr>
        <p:grpSpPr>
          <a:xfrm rot="16200000">
            <a:off x="2777929" y="-1602669"/>
            <a:ext cx="3526668" cy="8759801"/>
            <a:chOff x="3820874" y="1232959"/>
            <a:chExt cx="1602379" cy="3383106"/>
          </a:xfrm>
        </p:grpSpPr>
        <p:sp>
          <p:nvSpPr>
            <p:cNvPr id="39" name="Freeform 232">
              <a:extLst>
                <a:ext uri="{FF2B5EF4-FFF2-40B4-BE49-F238E27FC236}">
                  <a16:creationId xmlns="" xmlns:a16="http://schemas.microsoft.com/office/drawing/2014/main" id="{DA209751-998B-423D-9F27-AF55DDD3C9D8}"/>
                </a:ext>
              </a:extLst>
            </p:cNvPr>
            <p:cNvSpPr/>
            <p:nvPr/>
          </p:nvSpPr>
          <p:spPr>
            <a:xfrm rot="10800000">
              <a:off x="5236063" y="3089747"/>
              <a:ext cx="187190" cy="113368"/>
            </a:xfrm>
            <a:custGeom>
              <a:avLst/>
              <a:gdLst>
                <a:gd name="connsiteX0" fmla="*/ 33134 w 306308"/>
                <a:gd name="connsiteY0" fmla="*/ 0 h 185510"/>
                <a:gd name="connsiteX1" fmla="*/ 48081 w 306308"/>
                <a:gd name="connsiteY1" fmla="*/ 6191 h 185510"/>
                <a:gd name="connsiteX2" fmla="*/ 153154 w 306308"/>
                <a:gd name="connsiteY2" fmla="*/ 111264 h 185510"/>
                <a:gd name="connsiteX3" fmla="*/ 258230 w 306308"/>
                <a:gd name="connsiteY3" fmla="*/ 6189 h 185510"/>
                <a:gd name="connsiteX4" fmla="*/ 273174 w 306308"/>
                <a:gd name="connsiteY4" fmla="*/ 0 h 185510"/>
                <a:gd name="connsiteX5" fmla="*/ 296604 w 306308"/>
                <a:gd name="connsiteY5" fmla="*/ 9704 h 185510"/>
                <a:gd name="connsiteX6" fmla="*/ 296604 w 306308"/>
                <a:gd name="connsiteY6" fmla="*/ 56561 h 185510"/>
                <a:gd name="connsiteX7" fmla="*/ 177359 w 306308"/>
                <a:gd name="connsiteY7" fmla="*/ 175805 h 185510"/>
                <a:gd name="connsiteX8" fmla="*/ 153930 w 306308"/>
                <a:gd name="connsiteY8" fmla="*/ 185510 h 185510"/>
                <a:gd name="connsiteX9" fmla="*/ 153154 w 306308"/>
                <a:gd name="connsiteY9" fmla="*/ 185188 h 185510"/>
                <a:gd name="connsiteX10" fmla="*/ 152377 w 306308"/>
                <a:gd name="connsiteY10" fmla="*/ 185510 h 185510"/>
                <a:gd name="connsiteX11" fmla="*/ 128949 w 306308"/>
                <a:gd name="connsiteY11" fmla="*/ 175805 h 185510"/>
                <a:gd name="connsiteX12" fmla="*/ 9705 w 306308"/>
                <a:gd name="connsiteY12" fmla="*/ 56561 h 185510"/>
                <a:gd name="connsiteX13" fmla="*/ 9705 w 306308"/>
                <a:gd name="connsiteY13" fmla="*/ 9704 h 185510"/>
                <a:gd name="connsiteX14" fmla="*/ 33134 w 306308"/>
                <a:gd name="connsiteY14" fmla="*/ 0 h 18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6308" h="185510">
                  <a:moveTo>
                    <a:pt x="33134" y="0"/>
                  </a:moveTo>
                  <a:lnTo>
                    <a:pt x="48081" y="6191"/>
                  </a:lnTo>
                  <a:lnTo>
                    <a:pt x="153154" y="111264"/>
                  </a:lnTo>
                  <a:lnTo>
                    <a:pt x="258230" y="6189"/>
                  </a:lnTo>
                  <a:lnTo>
                    <a:pt x="273174" y="0"/>
                  </a:lnTo>
                  <a:cubicBezTo>
                    <a:pt x="281654" y="0"/>
                    <a:pt x="290134" y="3235"/>
                    <a:pt x="296604" y="9704"/>
                  </a:cubicBezTo>
                  <a:cubicBezTo>
                    <a:pt x="309543" y="22642"/>
                    <a:pt x="309543" y="43622"/>
                    <a:pt x="296604" y="56561"/>
                  </a:cubicBezTo>
                  <a:lnTo>
                    <a:pt x="177359" y="175805"/>
                  </a:lnTo>
                  <a:cubicBezTo>
                    <a:pt x="170889" y="182274"/>
                    <a:pt x="162410" y="185510"/>
                    <a:pt x="153930" y="185510"/>
                  </a:cubicBezTo>
                  <a:lnTo>
                    <a:pt x="153154" y="185188"/>
                  </a:lnTo>
                  <a:lnTo>
                    <a:pt x="152377" y="185510"/>
                  </a:lnTo>
                  <a:cubicBezTo>
                    <a:pt x="143898" y="185510"/>
                    <a:pt x="135419" y="182274"/>
                    <a:pt x="128949" y="175805"/>
                  </a:cubicBezTo>
                  <a:lnTo>
                    <a:pt x="9705" y="56561"/>
                  </a:lnTo>
                  <a:cubicBezTo>
                    <a:pt x="-3235" y="43622"/>
                    <a:pt x="-3235" y="22642"/>
                    <a:pt x="9705" y="9704"/>
                  </a:cubicBezTo>
                  <a:cubicBezTo>
                    <a:pt x="16175" y="3235"/>
                    <a:pt x="24654" y="0"/>
                    <a:pt x="33134" y="0"/>
                  </a:cubicBezTo>
                  <a:close/>
                </a:path>
              </a:pathLst>
            </a:cu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en-US" dirty="0">
                <a:solidFill>
                  <a:srgbClr val="005073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5" name="Rounded Rectangle 12">
              <a:extLst>
                <a:ext uri="{FF2B5EF4-FFF2-40B4-BE49-F238E27FC236}">
                  <a16:creationId xmlns="" xmlns:a16="http://schemas.microsoft.com/office/drawing/2014/main" id="{80BF4894-AF5C-4E32-8E26-3C19D3ECAC43}"/>
                </a:ext>
              </a:extLst>
            </p:cNvPr>
            <p:cNvSpPr/>
            <p:nvPr/>
          </p:nvSpPr>
          <p:spPr>
            <a:xfrm>
              <a:off x="3911644" y="1232959"/>
              <a:ext cx="1416059" cy="3383106"/>
            </a:xfrm>
            <a:prstGeom prst="roundRect">
              <a:avLst>
                <a:gd name="adj" fmla="val 50000"/>
              </a:avLst>
            </a:prstGeom>
            <a:noFill/>
            <a:ln w="381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en-US" dirty="0">
                <a:solidFill>
                  <a:srgbClr val="005073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  <p:sp>
          <p:nvSpPr>
            <p:cNvPr id="37" name="Freeform 229">
              <a:extLst>
                <a:ext uri="{FF2B5EF4-FFF2-40B4-BE49-F238E27FC236}">
                  <a16:creationId xmlns="" xmlns:a16="http://schemas.microsoft.com/office/drawing/2014/main" id="{8673096B-436C-4457-9744-DE4FB508A6C7}"/>
                </a:ext>
              </a:extLst>
            </p:cNvPr>
            <p:cNvSpPr/>
            <p:nvPr/>
          </p:nvSpPr>
          <p:spPr>
            <a:xfrm>
              <a:off x="3820874" y="2678626"/>
              <a:ext cx="180059" cy="109048"/>
            </a:xfrm>
            <a:custGeom>
              <a:avLst/>
              <a:gdLst>
                <a:gd name="connsiteX0" fmla="*/ 33134 w 306308"/>
                <a:gd name="connsiteY0" fmla="*/ 0 h 185510"/>
                <a:gd name="connsiteX1" fmla="*/ 48081 w 306308"/>
                <a:gd name="connsiteY1" fmla="*/ 6191 h 185510"/>
                <a:gd name="connsiteX2" fmla="*/ 153154 w 306308"/>
                <a:gd name="connsiteY2" fmla="*/ 111264 h 185510"/>
                <a:gd name="connsiteX3" fmla="*/ 258230 w 306308"/>
                <a:gd name="connsiteY3" fmla="*/ 6189 h 185510"/>
                <a:gd name="connsiteX4" fmla="*/ 273174 w 306308"/>
                <a:gd name="connsiteY4" fmla="*/ 0 h 185510"/>
                <a:gd name="connsiteX5" fmla="*/ 296604 w 306308"/>
                <a:gd name="connsiteY5" fmla="*/ 9704 h 185510"/>
                <a:gd name="connsiteX6" fmla="*/ 296604 w 306308"/>
                <a:gd name="connsiteY6" fmla="*/ 56561 h 185510"/>
                <a:gd name="connsiteX7" fmla="*/ 177359 w 306308"/>
                <a:gd name="connsiteY7" fmla="*/ 175805 h 185510"/>
                <a:gd name="connsiteX8" fmla="*/ 153930 w 306308"/>
                <a:gd name="connsiteY8" fmla="*/ 185510 h 185510"/>
                <a:gd name="connsiteX9" fmla="*/ 153154 w 306308"/>
                <a:gd name="connsiteY9" fmla="*/ 185188 h 185510"/>
                <a:gd name="connsiteX10" fmla="*/ 152377 w 306308"/>
                <a:gd name="connsiteY10" fmla="*/ 185510 h 185510"/>
                <a:gd name="connsiteX11" fmla="*/ 128949 w 306308"/>
                <a:gd name="connsiteY11" fmla="*/ 175805 h 185510"/>
                <a:gd name="connsiteX12" fmla="*/ 9705 w 306308"/>
                <a:gd name="connsiteY12" fmla="*/ 56561 h 185510"/>
                <a:gd name="connsiteX13" fmla="*/ 9705 w 306308"/>
                <a:gd name="connsiteY13" fmla="*/ 9704 h 185510"/>
                <a:gd name="connsiteX14" fmla="*/ 33134 w 306308"/>
                <a:gd name="connsiteY14" fmla="*/ 0 h 18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06308" h="185510">
                  <a:moveTo>
                    <a:pt x="33134" y="0"/>
                  </a:moveTo>
                  <a:lnTo>
                    <a:pt x="48081" y="6191"/>
                  </a:lnTo>
                  <a:lnTo>
                    <a:pt x="153154" y="111264"/>
                  </a:lnTo>
                  <a:lnTo>
                    <a:pt x="258230" y="6189"/>
                  </a:lnTo>
                  <a:lnTo>
                    <a:pt x="273174" y="0"/>
                  </a:lnTo>
                  <a:cubicBezTo>
                    <a:pt x="281654" y="0"/>
                    <a:pt x="290134" y="3235"/>
                    <a:pt x="296604" y="9704"/>
                  </a:cubicBezTo>
                  <a:cubicBezTo>
                    <a:pt x="309543" y="22642"/>
                    <a:pt x="309543" y="43622"/>
                    <a:pt x="296604" y="56561"/>
                  </a:cubicBezTo>
                  <a:lnTo>
                    <a:pt x="177359" y="175805"/>
                  </a:lnTo>
                  <a:cubicBezTo>
                    <a:pt x="170889" y="182274"/>
                    <a:pt x="162410" y="185510"/>
                    <a:pt x="153930" y="185510"/>
                  </a:cubicBezTo>
                  <a:lnTo>
                    <a:pt x="153154" y="185188"/>
                  </a:lnTo>
                  <a:lnTo>
                    <a:pt x="152377" y="185510"/>
                  </a:lnTo>
                  <a:cubicBezTo>
                    <a:pt x="143898" y="185510"/>
                    <a:pt x="135419" y="182274"/>
                    <a:pt x="128949" y="175805"/>
                  </a:cubicBezTo>
                  <a:lnTo>
                    <a:pt x="9705" y="56561"/>
                  </a:lnTo>
                  <a:cubicBezTo>
                    <a:pt x="-3235" y="43622"/>
                    <a:pt x="-3235" y="22642"/>
                    <a:pt x="9705" y="9704"/>
                  </a:cubicBezTo>
                  <a:cubicBezTo>
                    <a:pt x="16175" y="3235"/>
                    <a:pt x="24654" y="0"/>
                    <a:pt x="33134" y="0"/>
                  </a:cubicBezTo>
                  <a:close/>
                </a:path>
              </a:pathLst>
            </a:custGeom>
            <a:solidFill>
              <a:schemeClr val="bg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en-US" dirty="0">
                <a:ln w="76200">
                  <a:solidFill>
                    <a:schemeClr val="tx1"/>
                  </a:solidFill>
                </a:ln>
                <a:solidFill>
                  <a:srgbClr val="005073"/>
                </a:solidFill>
                <a:latin typeface="CiscoSans ExtraLight" charset="0"/>
                <a:ea typeface="CiscoSans ExtraLight" charset="0"/>
                <a:cs typeface="CiscoSans ExtraLight" charset="0"/>
              </a:endParaRPr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B5DA78E6-3D2E-44F5-BE07-31496757E98E}"/>
              </a:ext>
            </a:extLst>
          </p:cNvPr>
          <p:cNvSpPr/>
          <p:nvPr/>
        </p:nvSpPr>
        <p:spPr>
          <a:xfrm rot="5400000">
            <a:off x="5603910" y="2906116"/>
            <a:ext cx="45719" cy="2863873"/>
          </a:xfrm>
          <a:prstGeom prst="rect">
            <a:avLst/>
          </a:prstGeom>
          <a:gradFill>
            <a:gsLst>
              <a:gs pos="3000">
                <a:schemeClr val="bg2">
                  <a:alpha val="0"/>
                </a:schemeClr>
              </a:gs>
              <a:gs pos="75000">
                <a:schemeClr val="bg2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dirty="0">
              <a:solidFill>
                <a:srgbClr val="005073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39F5747A-48D7-4B85-8339-EFFD12BDB172}"/>
              </a:ext>
            </a:extLst>
          </p:cNvPr>
          <p:cNvSpPr txBox="1"/>
          <p:nvPr/>
        </p:nvSpPr>
        <p:spPr>
          <a:xfrm>
            <a:off x="3131957" y="3112304"/>
            <a:ext cx="2461316" cy="9933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600" dirty="0">
                <a:latin typeface="CiscoSans ExtraLight" charset="0"/>
                <a:ea typeface="CiscoSans ExtraLight" charset="0"/>
                <a:cs typeface="CiscoSans ExtraLight" charset="0"/>
              </a:rPr>
              <a:t>Segmentation</a:t>
            </a:r>
            <a:r>
              <a:rPr lang="en-US" sz="1600" dirty="0">
                <a:solidFill>
                  <a:schemeClr val="bg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/>
            </a:r>
            <a:br>
              <a:rPr lang="en-US" sz="1600" dirty="0">
                <a:solidFill>
                  <a:schemeClr val="bg1"/>
                </a:solidFill>
                <a:latin typeface="CiscoSans ExtraLight" charset="0"/>
                <a:ea typeface="CiscoSans ExtraLight" charset="0"/>
                <a:cs typeface="CiscoSans ExtraLight" charset="0"/>
              </a:rPr>
            </a:br>
            <a:r>
              <a:rPr lang="en-US" sz="1200" dirty="0">
                <a:solidFill>
                  <a:schemeClr val="accent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“Reduce the Attack Surface</a:t>
            </a:r>
            <a:r>
              <a:rPr lang="en-US" sz="1200" dirty="0" smtClean="0">
                <a:solidFill>
                  <a:schemeClr val="accent1"/>
                </a:solidFill>
                <a:latin typeface="CiscoSans ExtraLight" charset="0"/>
                <a:ea typeface="CiscoSans ExtraLight" charset="0"/>
                <a:cs typeface="CiscoSans ExtraLight" charset="0"/>
              </a:rPr>
              <a:t>”</a:t>
            </a:r>
          </a:p>
          <a:p>
            <a:pPr algn="ctr" defTabSz="685783">
              <a:lnSpc>
                <a:spcPct val="90000"/>
              </a:lnSpc>
              <a:spcBef>
                <a:spcPts val="600"/>
              </a:spcBef>
            </a:pPr>
            <a:r>
              <a:rPr lang="en-US" sz="1050" dirty="0" smtClean="0">
                <a:latin typeface="CiscoSans ExtraLight" charset="0"/>
                <a:ea typeface="CiscoSans ExtraLight" charset="0"/>
                <a:cs typeface="CiscoSans ExtraLight" charset="0"/>
              </a:rPr>
              <a:t>Prevent attackers from moving laterally east-west with application whitelisting and micro-segmentation</a:t>
            </a:r>
            <a:endParaRPr lang="en-US" sz="1050" dirty="0"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="" xmlns:a16="http://schemas.microsoft.com/office/drawing/2014/main" id="{B5DA78E6-3D2E-44F5-BE07-31496757E98E}"/>
              </a:ext>
            </a:extLst>
          </p:cNvPr>
          <p:cNvSpPr/>
          <p:nvPr/>
        </p:nvSpPr>
        <p:spPr>
          <a:xfrm rot="16200000">
            <a:off x="3645972" y="-59746"/>
            <a:ext cx="66404" cy="2579860"/>
          </a:xfrm>
          <a:prstGeom prst="rect">
            <a:avLst/>
          </a:prstGeom>
          <a:gradFill>
            <a:gsLst>
              <a:gs pos="3000">
                <a:schemeClr val="bg2">
                  <a:alpha val="0"/>
                </a:schemeClr>
              </a:gs>
              <a:gs pos="75000">
                <a:schemeClr val="bg2"/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dirty="0">
              <a:solidFill>
                <a:srgbClr val="005073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19" name="Title 2">
            <a:extLst>
              <a:ext uri="{FF2B5EF4-FFF2-40B4-BE49-F238E27FC236}">
                <a16:creationId xmlns:a16="http://schemas.microsoft.com/office/drawing/2014/main" xmlns="" id="{3354240F-159D-4C70-B800-2F0A4E7E656F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800" b="0" i="0" u="none" kern="120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/>
              <a:t>Cisco Data Center Securit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B5DA78E6-3D2E-44F5-BE07-31496757E98E}"/>
              </a:ext>
            </a:extLst>
          </p:cNvPr>
          <p:cNvSpPr/>
          <p:nvPr/>
        </p:nvSpPr>
        <p:spPr>
          <a:xfrm rot="16200000">
            <a:off x="4516782" y="3985361"/>
            <a:ext cx="122491" cy="78215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dirty="0">
              <a:solidFill>
                <a:srgbClr val="005073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B5DA78E6-3D2E-44F5-BE07-31496757E98E}"/>
              </a:ext>
            </a:extLst>
          </p:cNvPr>
          <p:cNvSpPr/>
          <p:nvPr/>
        </p:nvSpPr>
        <p:spPr>
          <a:xfrm rot="16200000" flipH="1">
            <a:off x="4647561" y="3946345"/>
            <a:ext cx="45719" cy="93695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dirty="0">
              <a:solidFill>
                <a:srgbClr val="005073"/>
              </a:solidFill>
              <a:latin typeface="CiscoSans ExtraLight" charset="0"/>
              <a:ea typeface="CiscoSans ExtraLight" charset="0"/>
              <a:cs typeface="CiscoSans Extra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5043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11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 - &amp;quot;Cisco Presentation Toolkit&amp;quot;&quot;/&gt;&lt;property id=&quot;20307&quot; value=&quot;305&quot;/&gt;&lt;/object&gt;&lt;object type=&quot;3&quot; unique_id=&quot;10004&quot;&gt;&lt;property id=&quot;20148&quot; value=&quot;5&quot;/&gt;&lt;property id=&quot;20300&quot; value=&quot;Slide 3 - &amp;quot;Editable Illustrations&amp;quot;&quot;/&gt;&lt;property id=&quot;20307&quot; value=&quot;306&quot;/&gt;&lt;/object&gt;&lt;object type=&quot;3&quot; unique_id=&quot;10005&quot;&gt;&lt;property id=&quot;20148&quot; value=&quot;5&quot;/&gt;&lt;property id=&quot;20300&quot; value=&quot;Slide 4 - &amp;quot;Editable Illustrations&amp;quot;&quot;/&gt;&lt;property id=&quot;20307&quot; value=&quot;307&quot;/&gt;&lt;/object&gt;&lt;object type=&quot;3&quot; unique_id=&quot;10006&quot;&gt;&lt;property id=&quot;20148&quot; value=&quot;5&quot;/&gt;&lt;property id=&quot;20300&quot; value=&quot;Slide 5 - &amp;quot;Cisco Blue arrows&amp;quot;&quot;/&gt;&lt;property id=&quot;20307&quot; value=&quot;308&quot;/&gt;&lt;/object&gt;&lt;object type=&quot;3&quot; unique_id=&quot;10007&quot;&gt;&lt;property id=&quot;20148&quot; value=&quot;5&quot;/&gt;&lt;property id=&quot;20300&quot; value=&quot;Slide 6 - &amp;quot;Green arrows&amp;quot;&quot;/&gt;&lt;property id=&quot;20307&quot; value=&quot;309&quot;/&gt;&lt;/object&gt;&lt;object type=&quot;3&quot; unique_id=&quot;10008&quot;&gt;&lt;property id=&quot;20148&quot; value=&quot;5&quot;/&gt;&lt;property id=&quot;20300&quot; value=&quot;Slide 7 - &amp;quot;Indigo arrows&amp;quot;&quot;/&gt;&lt;property id=&quot;20307&quot; value=&quot;310&quot;/&gt;&lt;/object&gt;&lt;object type=&quot;3&quot; unique_id=&quot;10009&quot;&gt;&lt;property id=&quot;20148&quot; value=&quot;5&quot;/&gt;&lt;property id=&quot;20300&quot; value=&quot;Slide 8 - &amp;quot;Orange arrows&amp;quot;&quot;/&gt;&lt;property id=&quot;20307&quot; value=&quot;311&quot;/&gt;&lt;/object&gt;&lt;object type=&quot;3&quot; unique_id=&quot;10010&quot;&gt;&lt;property id=&quot;20148&quot; value=&quot;5&quot;/&gt;&lt;property id=&quot;20300&quot; value=&quot;Slide 9 - &amp;quot;Red arrows&amp;quot;&quot;/&gt;&lt;property id=&quot;20307&quot; value=&quot;312&quot;/&gt;&lt;/object&gt;&lt;object type=&quot;3&quot; unique_id=&quot;10011&quot;&gt;&lt;property id=&quot;20148&quot; value=&quot;5&quot;/&gt;&lt;property id=&quot;20300&quot; value=&quot;Slide 10 - &amp;quot;Tines&amp;quot;&quot;/&gt;&lt;property id=&quot;20307&quot; value=&quot;313&quot;/&gt;&lt;/object&gt;&lt;object type=&quot;3&quot; unique_id=&quot;10012&quot;&gt;&lt;property id=&quot;20148&quot; value=&quot;5&quot;/&gt;&lt;property id=&quot;20300&quot; value=&quot;Slide 11 - &amp;quot;Tines&amp;quot;&quot;/&gt;&lt;property id=&quot;20307&quot; value=&quot;314&quot;/&gt;&lt;/object&gt;&lt;object type=&quot;3&quot; unique_id=&quot;10013&quot;&gt;&lt;property id=&quot;20148&quot; value=&quot;5&quot;/&gt;&lt;property id=&quot;20300&quot; value=&quot;Slide 12 - &amp;quot;Puzzle pieces&amp;quot;&quot;/&gt;&lt;property id=&quot;20307&quot; value=&quot;315&quot;/&gt;&lt;/object&gt;&lt;object type=&quot;3&quot; unique_id=&quot;10014&quot;&gt;&lt;property id=&quot;20148&quot; value=&quot;5&quot;/&gt;&lt;property id=&quot;20300&quot; value=&quot;Slide 13 - &amp;quot;Full-color icons&amp;quot;&quot;/&gt;&lt;property id=&quot;20307&quot; value=&quot;316&quot;/&gt;&lt;/object&gt;&lt;object type=&quot;3&quot; unique_id=&quot;10015&quot;&gt;&lt;property id=&quot;20148&quot; value=&quot;5&quot;/&gt;&lt;property id=&quot;20300&quot; value=&quot;Slide 14 - &amp;quot;Full-color icons&amp;quot;&quot;/&gt;&lt;property id=&quot;20307&quot; value=&quot;317&quot;/&gt;&lt;/object&gt;&lt;object type=&quot;3&quot; unique_id=&quot;10016&quot;&gt;&lt;property id=&quot;20148&quot; value=&quot;5&quot;/&gt;&lt;property id=&quot;20300&quot; value=&quot;Slide 15 - &amp;quot;Full-color icons&amp;quot;&quot;/&gt;&lt;property id=&quot;20307&quot; value=&quot;318&quot;/&gt;&lt;/object&gt;&lt;object type=&quot;3&quot; unique_id=&quot;10017&quot;&gt;&lt;property id=&quot;20148&quot; value=&quot;5&quot;/&gt;&lt;property id=&quot;20300&quot; value=&quot;Slide 16 - &amp;quot;Cisco Blue icons&amp;quot;&quot;/&gt;&lt;property id=&quot;20307&quot; value=&quot;319&quot;/&gt;&lt;/object&gt;&lt;object type=&quot;3&quot; unique_id=&quot;10018&quot;&gt;&lt;property id=&quot;20148&quot; value=&quot;5&quot;/&gt;&lt;property id=&quot;20300&quot; value=&quot;Slide 17 - &amp;quot;Cisco Blue icons&amp;quot;&quot;/&gt;&lt;property id=&quot;20307&quot; value=&quot;320&quot;/&gt;&lt;/object&gt;&lt;object type=&quot;3&quot; unique_id=&quot;10019&quot;&gt;&lt;property id=&quot;20148&quot; value=&quot;5&quot;/&gt;&lt;property id=&quot;20300&quot; value=&quot;Slide 18 - &amp;quot;Cisco Blue icons&amp;quot;&quot;/&gt;&lt;property id=&quot;20307&quot; value=&quot;321&quot;/&gt;&lt;/object&gt;&lt;object type=&quot;3&quot; unique_id=&quot;10020&quot;&gt;&lt;property id=&quot;20148&quot; value=&quot;5&quot;/&gt;&lt;property id=&quot;20300&quot; value=&quot;Slide 22 - &amp;quot;Full-color cloud icons&amp;quot;&quot;/&gt;&lt;property id=&quot;20307&quot; value=&quot;322&quot;/&gt;&lt;/object&gt;&lt;object type=&quot;3&quot; unique_id=&quot;10021&quot;&gt;&lt;property id=&quot;20148&quot; value=&quot;5&quot;/&gt;&lt;property id=&quot;20300&quot; value=&quot;Slide 23 - &amp;quot;Full-color cloud icons&amp;quot;&quot;/&gt;&lt;property id=&quot;20307&quot; value=&quot;323&quot;/&gt;&lt;/object&gt;&lt;object type=&quot;3&quot; unique_id=&quot;10022&quot;&gt;&lt;property id=&quot;20148&quot; value=&quot;5&quot;/&gt;&lt;property id=&quot;20300&quot; value=&quot;Slide 24 - &amp;quot;Cisco Blue cloud icons&amp;quot;&quot;/&gt;&lt;property id=&quot;20307&quot; value=&quot;324&quot;/&gt;&lt;/object&gt;&lt;object type=&quot;3&quot; unique_id=&quot;10023&quot;&gt;&lt;property id=&quot;20148&quot; value=&quot;5&quot;/&gt;&lt;property id=&quot;20300&quot; value=&quot;Slide 25 - &amp;quot;Cisco Blue cloud icons&amp;quot;&quot;/&gt;&lt;property id=&quot;20307&quot; value=&quot;325&quot;/&gt;&lt;/object&gt;&lt;object type=&quot;3&quot; unique_id=&quot;10024&quot;&gt;&lt;property id=&quot;20148&quot; value=&quot;5&quot;/&gt;&lt;property id=&quot;20300&quot; value=&quot;Slide 28 - &amp;quot;Full-color services icons&amp;quot;&quot;/&gt;&lt;property id=&quot;20307&quot; value=&quot;326&quot;/&gt;&lt;/object&gt;&lt;object type=&quot;3&quot; unique_id=&quot;10025&quot;&gt;&lt;property id=&quot;20148&quot; value=&quot;5&quot;/&gt;&lt;property id=&quot;20300&quot; value=&quot;Slide 29 - &amp;quot;Full-color services icons&amp;quot;&quot;/&gt;&lt;property id=&quot;20307&quot; value=&quot;327&quot;/&gt;&lt;/object&gt;&lt;object type=&quot;3&quot; unique_id=&quot;10026&quot;&gt;&lt;property id=&quot;20148&quot; value=&quot;5&quot;/&gt;&lt;property id=&quot;20300&quot; value=&quot;Slide 30 - &amp;quot;Cisco Blue services icons&amp;quot;&quot;/&gt;&lt;property id=&quot;20307&quot; value=&quot;328&quot;/&gt;&lt;/object&gt;&lt;object type=&quot;3&quot; unique_id=&quot;10027&quot;&gt;&lt;property id=&quot;20148&quot; value=&quot;5&quot;/&gt;&lt;property id=&quot;20300&quot; value=&quot;Slide 31 - &amp;quot;Cisco Blue services icons&amp;quot;&quot;/&gt;&lt;property id=&quot;20307&quot; value=&quot;329&quot;/&gt;&lt;/object&gt;&lt;object type=&quot;3&quot; unique_id=&quot;10028&quot;&gt;&lt;property id=&quot;20148&quot; value=&quot;5&quot;/&gt;&lt;property id=&quot;20300&quot; value=&quot;Slide 34 - &amp;quot;Calendar/timeline components&amp;quot;&quot;/&gt;&lt;property id=&quot;20307&quot; value=&quot;330&quot;/&gt;&lt;/object&gt;&lt;object type=&quot;3&quot; unique_id=&quot;10029&quot;&gt;&lt;property id=&quot;20148&quot; value=&quot;5&quot;/&gt;&lt;property id=&quot;20300&quot; value=&quot;Slide 35 - &amp;quot;Timeline&amp;quot;&quot;/&gt;&lt;property id=&quot;20307&quot; value=&quot;331&quot;/&gt;&lt;/object&gt;&lt;object type=&quot;3&quot; unique_id=&quot;10030&quot;&gt;&lt;property id=&quot;20148&quot; value=&quot;5&quot;/&gt;&lt;property id=&quot;20300&quot; value=&quot;Slide 36 - &amp;quot;Animated timeline&amp;quot;&quot;/&gt;&lt;property id=&quot;20307&quot; value=&quot;332&quot;/&gt;&lt;/object&gt;&lt;object type=&quot;3&quot; unique_id=&quot;10031&quot;&gt;&lt;property id=&quot;20148&quot; value=&quot;5&quot;/&gt;&lt;property id=&quot;20300&quot; value=&quot;Slide 37 - &amp;quot;Animated timeline&amp;quot;&quot;/&gt;&lt;property id=&quot;20307&quot; value=&quot;333&quot;/&gt;&lt;/object&gt;&lt;object type=&quot;3&quot; unique_id=&quot;10032&quot;&gt;&lt;property id=&quot;20148&quot; value=&quot;5&quot;/&gt;&lt;property id=&quot;20300&quot; value=&quot;Slide 38 - &amp;quot;Animated timeline: 7 phases&amp;quot;&quot;/&gt;&lt;property id=&quot;20307&quot; value=&quot;334&quot;/&gt;&lt;/object&gt;&lt;object type=&quot;3&quot; unique_id=&quot;10033&quot;&gt;&lt;property id=&quot;20148&quot; value=&quot;5&quot;/&gt;&lt;property id=&quot;20300&quot; value=&quot;Slide 39 - &amp;quot;Timeline chronological&amp;quot;&quot;/&gt;&lt;property id=&quot;20307&quot; value=&quot;335&quot;/&gt;&lt;/object&gt;&lt;object type=&quot;3&quot; unique_id=&quot;10034&quot;&gt;&lt;property id=&quot;20148&quot; value=&quot;5&quot;/&gt;&lt;property id=&quot;20300&quot; value=&quot;Slide 40 - &amp;quot;Timeline chronological phases&amp;quot;&quot;/&gt;&lt;property id=&quot;20307&quot; value=&quot;336&quot;/&gt;&lt;/object&gt;&lt;object type=&quot;3&quot; unique_id=&quot;10035&quot;&gt;&lt;property id=&quot;20148&quot; value=&quot;5&quot;/&gt;&lt;property id=&quot;20300&quot; value=&quot;Slide 41 - &amp;quot;Chronological phases&amp;quot;&quot;/&gt;&lt;property id=&quot;20307&quot; value=&quot;337&quot;/&gt;&lt;/object&gt;&lt;object type=&quot;3&quot; unique_id=&quot;10036&quot;&gt;&lt;property id=&quot;20148&quot; value=&quot;5&quot;/&gt;&lt;property id=&quot;20300&quot; value=&quot;Slide 42 - &amp;quot;Timeline chronological grid&amp;quot;&quot;/&gt;&lt;property id=&quot;20307&quot; value=&quot;338&quot;/&gt;&lt;/object&gt;&lt;object type=&quot;3&quot; unique_id=&quot;10037&quot;&gt;&lt;property id=&quot;20148&quot; value=&quot;5&quot;/&gt;&lt;property id=&quot;20300&quot; value=&quot;Slide 43 - &amp;quot;Chronological phases&amp;quot;&quot;/&gt;&lt;property id=&quot;20307&quot; value=&quot;339&quot;/&gt;&lt;/object&gt;&lt;object type=&quot;3&quot; unique_id=&quot;10038&quot;&gt;&lt;property id=&quot;20148&quot; value=&quot;5&quot;/&gt;&lt;property id=&quot;20300&quot; value=&quot;Slide 44 - &amp;quot;Chronological runner&amp;quot;&quot;/&gt;&lt;property id=&quot;20307&quot; value=&quot;340&quot;/&gt;&lt;/object&gt;&lt;object type=&quot;3&quot; unique_id=&quot;10039&quot;&gt;&lt;property id=&quot;20148&quot; value=&quot;5&quot;/&gt;&lt;property id=&quot;20300&quot; value=&quot;Slide 45 - &amp;quot;Calendar month&amp;quot;&quot;/&gt;&lt;property id=&quot;20307&quot; value=&quot;341&quot;/&gt;&lt;/object&gt;&lt;object type=&quot;3&quot; unique_id=&quot;10040&quot;&gt;&lt;property id=&quot;20148&quot; value=&quot;5&quot;/&gt;&lt;property id=&quot;20300&quot; value=&quot;Slide 46 - &amp;quot;Calendar quarter&amp;quot;&quot;/&gt;&lt;property id=&quot;20307&quot; value=&quot;342&quot;/&gt;&lt;/object&gt;&lt;object type=&quot;3&quot; unique_id=&quot;10041&quot;&gt;&lt;property id=&quot;20148&quot; value=&quot;5&quot;/&gt;&lt;property id=&quot;20300&quot; value=&quot;Slide 47 - &amp;quot;Calendar month linear animated&amp;quot;&quot;/&gt;&lt;property id=&quot;20307&quot; value=&quot;343&quot;/&gt;&lt;/object&gt;&lt;object type=&quot;3&quot; unique_id=&quot;10042&quot;&gt;&lt;property id=&quot;20148&quot; value=&quot;5&quot;/&gt;&lt;property id=&quot;20300&quot; value=&quot;Slide 48 - &amp;quot;Calendar fiscal year animated&amp;quot;&quot;/&gt;&lt;property id=&quot;20307&quot; value=&quot;344&quot;/&gt;&lt;/object&gt;&lt;object type=&quot;3&quot; unique_id=&quot;10043&quot;&gt;&lt;property id=&quot;20148&quot; value=&quot;5&quot;/&gt;&lt;property id=&quot;20300&quot; value=&quot;Slide 49 - &amp;quot;Key dates&amp;quot;&quot;/&gt;&lt;property id=&quot;20307&quot; value=&quot;345&quot;/&gt;&lt;/object&gt;&lt;object type=&quot;3&quot; unique_id=&quot;10044&quot;&gt;&lt;property id=&quot;20148&quot; value=&quot;5&quot;/&gt;&lt;property id=&quot;20300&quot; value=&quot;Slide 50 - &amp;quot;About this template&amp;quot;&quot;/&gt;&lt;property id=&quot;20307&quot; value=&quot;346&quot;/&gt;&lt;/object&gt;&lt;object type=&quot;3&quot; unique_id=&quot;10045&quot;&gt;&lt;property id=&quot;20148&quot; value=&quot;5&quot;/&gt;&lt;property id=&quot;20300&quot; value=&quot;Slide 51 - &amp;quot;Legend&amp;quot;&quot;/&gt;&lt;property id=&quot;20307&quot; value=&quot;347&quot;/&gt;&lt;/object&gt;&lt;object type=&quot;3&quot; unique_id=&quot;10046&quot;&gt;&lt;property id=&quot;20148&quot; value=&quot;5&quot;/&gt;&lt;property id=&quot;20300&quot; value=&quot;Slide 52 - &amp;quot;Add fiscal year here&amp;quot;&quot;/&gt;&lt;property id=&quot;20307&quot; value=&quot;348&quot;/&gt;&lt;/object&gt;&lt;object type=&quot;3&quot; unique_id=&quot;10047&quot;&gt;&lt;property id=&quot;20148&quot; value=&quot;5&quot;/&gt;&lt;property id=&quot;20300&quot; value=&quot;Slide 53 - &amp;quot;August&amp;quot;&quot;/&gt;&lt;property id=&quot;20307&quot; value=&quot;349&quot;/&gt;&lt;/object&gt;&lt;object type=&quot;3&quot; unique_id=&quot;10048&quot;&gt;&lt;property id=&quot;20148&quot; value=&quot;5&quot;/&gt;&lt;property id=&quot;20300&quot; value=&quot;Slide 54 - &amp;quot;September&amp;quot;&quot;/&gt;&lt;property id=&quot;20307&quot; value=&quot;350&quot;/&gt;&lt;/object&gt;&lt;object type=&quot;3&quot; unique_id=&quot;10049&quot;&gt;&lt;property id=&quot;20148&quot; value=&quot;5&quot;/&gt;&lt;property id=&quot;20300&quot; value=&quot;Slide 55 - &amp;quot;October&amp;quot;&quot;/&gt;&lt;property id=&quot;20307&quot; value=&quot;351&quot;/&gt;&lt;/object&gt;&lt;object type=&quot;3&quot; unique_id=&quot;10050&quot;&gt;&lt;property id=&quot;20148&quot; value=&quot;5&quot;/&gt;&lt;property id=&quot;20300&quot; value=&quot;Slide 56 - &amp;quot;November&amp;quot;&quot;/&gt;&lt;property id=&quot;20307&quot; value=&quot;352&quot;/&gt;&lt;/object&gt;&lt;object type=&quot;3&quot; unique_id=&quot;10051&quot;&gt;&lt;property id=&quot;20148&quot; value=&quot;5&quot;/&gt;&lt;property id=&quot;20300&quot; value=&quot;Slide 57 - &amp;quot;December&amp;quot;&quot;/&gt;&lt;property id=&quot;20307&quot; value=&quot;353&quot;/&gt;&lt;/object&gt;&lt;object type=&quot;3&quot; unique_id=&quot;10052&quot;&gt;&lt;property id=&quot;20148&quot; value=&quot;5&quot;/&gt;&lt;property id=&quot;20300&quot; value=&quot;Slide 58 - &amp;quot;January&amp;quot;&quot;/&gt;&lt;property id=&quot;20307&quot; value=&quot;354&quot;/&gt;&lt;/object&gt;&lt;object type=&quot;3&quot; unique_id=&quot;10053&quot;&gt;&lt;property id=&quot;20148&quot; value=&quot;5&quot;/&gt;&lt;property id=&quot;20300&quot; value=&quot;Slide 59 - &amp;quot;February&amp;quot;&quot;/&gt;&lt;property id=&quot;20307&quot; value=&quot;355&quot;/&gt;&lt;/object&gt;&lt;object type=&quot;3&quot; unique_id=&quot;10054&quot;&gt;&lt;property id=&quot;20148&quot; value=&quot;5&quot;/&gt;&lt;property id=&quot;20300&quot; value=&quot;Slide 60 - &amp;quot;March&amp;quot;&quot;/&gt;&lt;property id=&quot;20307&quot; value=&quot;356&quot;/&gt;&lt;/object&gt;&lt;object type=&quot;3&quot; unique_id=&quot;10055&quot;&gt;&lt;property id=&quot;20148&quot; value=&quot;5&quot;/&gt;&lt;property id=&quot;20300&quot; value=&quot;Slide 61 - &amp;quot;April&amp;quot;&quot;/&gt;&lt;property id=&quot;20307&quot; value=&quot;357&quot;/&gt;&lt;/object&gt;&lt;object type=&quot;3&quot; unique_id=&quot;10056&quot;&gt;&lt;property id=&quot;20148&quot; value=&quot;5&quot;/&gt;&lt;property id=&quot;20300&quot; value=&quot;Slide 62 - &amp;quot;May&amp;quot;&quot;/&gt;&lt;property id=&quot;20307&quot; value=&quot;358&quot;/&gt;&lt;/object&gt;&lt;object type=&quot;3&quot; unique_id=&quot;10057&quot;&gt;&lt;property id=&quot;20148&quot; value=&quot;5&quot;/&gt;&lt;property id=&quot;20300&quot; value=&quot;Slide 63 - &amp;quot;June&amp;quot;&quot;/&gt;&lt;property id=&quot;20307&quot; value=&quot;359&quot;/&gt;&lt;/object&gt;&lt;object type=&quot;3&quot; unique_id=&quot;10058&quot;&gt;&lt;property id=&quot;20148&quot; value=&quot;5&quot;/&gt;&lt;property id=&quot;20300&quot; value=&quot;Slide 64 - &amp;quot;July&amp;quot;&quot;/&gt;&lt;property id=&quot;20307&quot; value=&quot;360&quot;/&gt;&lt;/object&gt;&lt;object type=&quot;3&quot; unique_id=&quot;10059&quot;&gt;&lt;property id=&quot;20148&quot; value=&quot;5&quot;/&gt;&lt;property id=&quot;20300&quot; value=&quot;Slide 65 - &amp;quot;Graphic elements&amp;quot;&quot;/&gt;&lt;property id=&quot;20307&quot; value=&quot;361&quot;/&gt;&lt;/object&gt;&lt;object type=&quot;3&quot; unique_id=&quot;10060&quot;&gt;&lt;property id=&quot;20148&quot; value=&quot;5&quot;/&gt;&lt;property id=&quot;20300&quot; value=&quot;Slide 66 - &amp;quot;Graphic elements&amp;quot;&quot;/&gt;&lt;property id=&quot;20307&quot; value=&quot;362&quot;/&gt;&lt;/object&gt;&lt;object type=&quot;3&quot; unique_id=&quot;10061&quot;&gt;&lt;property id=&quot;20148&quot; value=&quot;5&quot;/&gt;&lt;property id=&quot;20300&quot; value=&quot;Slide 67 - &amp;quot;Infographic template&amp;quot;&quot;/&gt;&lt;property id=&quot;20307&quot; value=&quot;364&quot;/&gt;&lt;/object&gt;&lt;object type=&quot;3&quot; unique_id=&quot;10062&quot;&gt;&lt;property id=&quot;20148&quot; value=&quot;5&quot;/&gt;&lt;property id=&quot;20300&quot; value=&quot;Slide 68 - &amp;quot;Roadmap&amp;quot;&quot;/&gt;&lt;property id=&quot;20307&quot; value=&quot;365&quot;/&gt;&lt;/object&gt;&lt;object type=&quot;3&quot; unique_id=&quot;10063&quot;&gt;&lt;property id=&quot;20148&quot; value=&quot;5&quot;/&gt;&lt;property id=&quot;20300&quot; value=&quot;Slide 69 - &amp;quot;Pyramid&amp;quot;&quot;/&gt;&lt;property id=&quot;20307&quot; value=&quot;366&quot;/&gt;&lt;/object&gt;&lt;object type=&quot;3&quot; unique_id=&quot;10064&quot;&gt;&lt;property id=&quot;20148&quot; value=&quot;5&quot;/&gt;&lt;property id=&quot;20300&quot; value=&quot;Slide 70 - &amp;quot;Pyramid inverted extended animated&amp;quot;&quot;/&gt;&lt;property id=&quot;20307&quot; value=&quot;367&quot;/&gt;&lt;/object&gt;&lt;object type=&quot;3&quot; unique_id=&quot;10065&quot;&gt;&lt;property id=&quot;20148&quot; value=&quot;5&quot;/&gt;&lt;property id=&quot;20300&quot; value=&quot;Slide 71 - &amp;quot;Pyramid&amp;quot;&quot;/&gt;&lt;property id=&quot;20307&quot; value=&quot;368&quot;/&gt;&lt;/object&gt;&lt;object type=&quot;3&quot; unique_id=&quot;10066&quot;&gt;&lt;property id=&quot;20148&quot; value=&quot;5&quot;/&gt;&lt;property id=&quot;20300&quot; value=&quot;Slide 72 - &amp;quot;Add a title here&amp;quot;&quot;/&gt;&lt;property id=&quot;20307&quot; value=&quot;369&quot;/&gt;&lt;/object&gt;&lt;object type=&quot;3&quot; unique_id=&quot;10067&quot;&gt;&lt;property id=&quot;20148&quot; value=&quot;5&quot;/&gt;&lt;property id=&quot;20300&quot; value=&quot;Slide 73 - &amp;quot;Title goes here&amp;quot;&quot;/&gt;&lt;property id=&quot;20307&quot; value=&quot;370&quot;/&gt;&lt;/object&gt;&lt;object type=&quot;3&quot; unique_id=&quot;10068&quot;&gt;&lt;property id=&quot;20148&quot; value=&quot;5&quot;/&gt;&lt;property id=&quot;20300&quot; value=&quot;Slide 74&quot;/&gt;&lt;property id=&quot;20307&quot; value=&quot;371&quot;/&gt;&lt;/object&gt;&lt;object type=&quot;3&quot; unique_id=&quot;10069&quot;&gt;&lt;property id=&quot;20148&quot; value=&quot;5&quot;/&gt;&lt;property id=&quot;20300&quot; value=&quot;Slide 75 - &amp;quot;Chasm animated&amp;quot;&quot;/&gt;&lt;property id=&quot;20307&quot; value=&quot;372&quot;/&gt;&lt;/object&gt;&lt;object type=&quot;3&quot; unique_id=&quot;10070&quot;&gt;&lt;property id=&quot;20148&quot; value=&quot;5&quot;/&gt;&lt;property id=&quot;20300&quot; value=&quot;Slide 76 - &amp;quot;Chasm two-tone animated&amp;quot;&quot;/&gt;&lt;property id=&quot;20307&quot; value=&quot;373&quot;/&gt;&lt;/object&gt;&lt;object type=&quot;3&quot; unique_id=&quot;10071&quot;&gt;&lt;property id=&quot;20148&quot; value=&quot;5&quot;/&gt;&lt;property id=&quot;20300&quot; value=&quot;Slide 77 - &amp;quot;Circle quartered A&amp;quot;&quot;/&gt;&lt;property id=&quot;20307&quot; value=&quot;374&quot;/&gt;&lt;/object&gt;&lt;object type=&quot;3&quot; unique_id=&quot;10072&quot;&gt;&lt;property id=&quot;20148&quot; value=&quot;5&quot;/&gt;&lt;property id=&quot;20300&quot; value=&quot;Slide 78 - &amp;quot;Squares&amp;quot;&quot;/&gt;&lt;property id=&quot;20307&quot; value=&quot;375&quot;/&gt;&lt;/object&gt;&lt;object type=&quot;3&quot; unique_id=&quot;10073&quot;&gt;&lt;property id=&quot;20148&quot; value=&quot;5&quot;/&gt;&lt;property id=&quot;20300&quot; value=&quot;Slide 79 - &amp;quot;Diagrams matrix rectangles grid animated&amp;quot;&quot;/&gt;&lt;property id=&quot;20307&quot; value=&quot;376&quot;/&gt;&lt;/object&gt;&lt;object type=&quot;3&quot; unique_id=&quot;10074&quot;&gt;&lt;property id=&quot;20148&quot; value=&quot;5&quot;/&gt;&lt;property id=&quot;20300&quot; value=&quot;Slide 80 - &amp;quot;Diagrams matrix squares&amp;quot;&quot;/&gt;&lt;property id=&quot;20307&quot; value=&quot;377&quot;/&gt;&lt;/object&gt;&lt;object type=&quot;3&quot; unique_id=&quot;10075&quot;&gt;&lt;property id=&quot;20148&quot; value=&quot;5&quot;/&gt;&lt;property id=&quot;20300&quot; value=&quot;Slide 81 - &amp;quot;Diagrams matrix table&amp;quot;&quot;/&gt;&lt;property id=&quot;20307&quot; value=&quot;378&quot;/&gt;&lt;/object&gt;&lt;object type=&quot;3&quot; unique_id=&quot;10076&quot;&gt;&lt;property id=&quot;20148&quot; value=&quot;5&quot;/&gt;&lt;property id=&quot;20300&quot; value=&quot;Slide 82 - &amp;quot;Diagrams process circle arrows&amp;quot;&quot;/&gt;&lt;property id=&quot;20307&quot; value=&quot;379&quot;/&gt;&lt;/object&gt;&lt;object type=&quot;3&quot; unique_id=&quot;10077&quot;&gt;&lt;property id=&quot;20148&quot; value=&quot;5&quot;/&gt;&lt;property id=&quot;20300&quot; value=&quot;Slide 83 - &amp;quot;Diagrams relationships circles rectangles animated&amp;quot;&quot;/&gt;&lt;property id=&quot;20307&quot; value=&quot;380&quot;/&gt;&lt;/object&gt;&lt;object type=&quot;3&quot; unique_id=&quot;10078&quot;&gt;&lt;property id=&quot;20148&quot; value=&quot;5&quot;/&gt;&lt;property id=&quot;20300&quot; value=&quot;Slide 84 - &amp;quot;Diagrams relationships tines drill-down animated&amp;quot;&quot;/&gt;&lt;property id=&quot;20307&quot; value=&quot;381&quot;/&gt;&lt;/object&gt;&lt;object type=&quot;3&quot; unique_id=&quot;10079&quot;&gt;&lt;property id=&quot;20148&quot; value=&quot;5&quot;/&gt;&lt;property id=&quot;20300&quot; value=&quot;Slide 85 - &amp;quot;Project name&amp;quot;&quot;/&gt;&lt;property id=&quot;20307&quot; value=&quot;382&quot;/&gt;&lt;/object&gt;&lt;object type=&quot;3&quot; unique_id=&quot;10080&quot;&gt;&lt;property id=&quot;20148&quot; value=&quot;5&quot;/&gt;&lt;property id=&quot;20300&quot; value=&quot;Slide 86 - &amp;quot;Agenda list&amp;quot;&quot;/&gt;&lt;property id=&quot;20307&quot; value=&quot;383&quot;/&gt;&lt;/object&gt;&lt;object type=&quot;3&quot; unique_id=&quot;10081&quot;&gt;&lt;property id=&quot;20148&quot; value=&quot;5&quot;/&gt;&lt;property id=&quot;20300&quot; value=&quot;Slide 87 - &amp;quot;Agenda list&amp;quot;&quot;/&gt;&lt;property id=&quot;20307&quot; value=&quot;384&quot;/&gt;&lt;/object&gt;&lt;object type=&quot;3&quot; unique_id=&quot;10082&quot;&gt;&lt;property id=&quot;20148&quot; value=&quot;5&quot;/&gt;&lt;property id=&quot;20300&quot; value=&quot;Slide 88 - &amp;quot;Agenda table&amp;quot;&quot;/&gt;&lt;property id=&quot;20307&quot; value=&quot;385&quot;/&gt;&lt;/object&gt;&lt;object type=&quot;3&quot; unique_id=&quot;10083&quot;&gt;&lt;property id=&quot;20148&quot; value=&quot;5&quot;/&gt;&lt;property id=&quot;20300&quot; value=&quot;Slide 89 - &amp;quot;Product life cycle&amp;quot;&quot;/&gt;&lt;property id=&quot;20307&quot; value=&quot;386&quot;/&gt;&lt;/object&gt;&lt;object type=&quot;3&quot; unique_id=&quot;10084&quot;&gt;&lt;property id=&quot;20148&quot; value=&quot;5&quot;/&gt;&lt;property id=&quot;20300&quot; value=&quot;Slide 90 - &amp;quot;Questions?&amp;quot;&quot;/&gt;&lt;property id=&quot;20307&quot; value=&quot;387&quot;/&gt;&lt;/object&gt;&lt;object type=&quot;3&quot; unique_id=&quot;10085&quot;&gt;&lt;property id=&quot;20148&quot; value=&quot;5&quot;/&gt;&lt;property id=&quot;20300&quot; value=&quot;Slide 91 - &amp;quot;Questions?&amp;quot;&quot;/&gt;&lt;property id=&quot;20307&quot; value=&quot;388&quot;/&gt;&lt;/object&gt;&lt;object type=&quot;3&quot; unique_id=&quot;10086&quot;&gt;&lt;property id=&quot;20148&quot; value=&quot;5&quot;/&gt;&lt;property id=&quot;20300&quot; value=&quot;Slide 92 - &amp;quot;RACI model definitions&amp;quot;&quot;/&gt;&lt;property id=&quot;20307&quot; value=&quot;389&quot;/&gt;&lt;/object&gt;&lt;object type=&quot;3&quot; unique_id=&quot;10087&quot;&gt;&lt;property id=&quot;20148&quot; value=&quot;5&quot;/&gt;&lt;property id=&quot;20300&quot; value=&quot;Slide 93 - &amp;quot;Seating chart&amp;quot;&quot;/&gt;&lt;property id=&quot;20307&quot; value=&quot;390&quot;/&gt;&lt;/object&gt;&lt;object type=&quot;3&quot; unique_id=&quot;10088&quot;&gt;&lt;property id=&quot;20148&quot; value=&quot;5&quot;/&gt;&lt;property id=&quot;20300&quot; value=&quot;Slide 94 - &amp;quot;Seating chart&amp;quot;&quot;/&gt;&lt;property id=&quot;20307&quot; value=&quot;391&quot;/&gt;&lt;/object&gt;&lt;object type=&quot;3&quot; unique_id=&quot;10089&quot;&gt;&lt;property id=&quot;20148&quot; value=&quot;5&quot;/&gt;&lt;property id=&quot;20300&quot; value=&quot;Slide 95 - &amp;quot;Award  title here&amp;quot;&quot;/&gt;&lt;property id=&quot;20307&quot; value=&quot;392&quot;/&gt;&lt;/object&gt;&lt;object type=&quot;3&quot; unique_id=&quot;10090&quot;&gt;&lt;property id=&quot;20148&quot; value=&quot;5&quot;/&gt;&lt;property id=&quot;20300&quot; value=&quot;Slide 96 - &amp;quot;Vision statement goes here&amp;quot;&quot;/&gt;&lt;property id=&quot;20307&quot; value=&quot;393&quot;/&gt;&lt;/object&gt;&lt;object type=&quot;3&quot; unique_id=&quot;10091&quot;&gt;&lt;property id=&quot;20148&quot; value=&quot;5&quot;/&gt;&lt;property id=&quot;20300&quot; value=&quot;Slide 97 - &amp;quot;Vision statement goes here&amp;quot;&quot;/&gt;&lt;property id=&quot;20307&quot; value=&quot;394&quot;/&gt;&lt;/object&gt;&lt;object type=&quot;3&quot; unique_id=&quot;10092&quot;&gt;&lt;property id=&quot;20148&quot; value=&quot;5&quot;/&gt;&lt;property id=&quot;20300&quot; value=&quot;Slide 98 - &amp;quot;Vision This is placeholder text. Enter your text here.&amp;quot;&quot;/&gt;&lt;property id=&quot;20307&quot; value=&quot;395&quot;/&gt;&lt;/object&gt;&lt;object type=&quot;3&quot; unique_id=&quot;10093&quot;&gt;&lt;property id=&quot;20148&quot; value=&quot;5&quot;/&gt;&lt;property id=&quot;20300&quot; value=&quot;Slide 99&quot;/&gt;&lt;property id=&quot;20307&quot; value=&quot;396&quot;/&gt;&lt;/object&gt;&lt;object type=&quot;3&quot; unique_id=&quot;10094&quot;&gt;&lt;property id=&quot;20148&quot; value=&quot;5&quot;/&gt;&lt;property id=&quot;20300&quot; value=&quot;Slide 100 - &amp;quot;Grid drill-down&amp;quot;&quot;/&gt;&lt;property id=&quot;20307&quot; value=&quot;397&quot;/&gt;&lt;/object&gt;&lt;object type=&quot;3&quot; unique_id=&quot;10095&quot;&gt;&lt;property id=&quot;20148&quot; value=&quot;5&quot;/&gt;&lt;property id=&quot;20300&quot; value=&quot;Slide 101 - &amp;quot;Horizontal checkmark animated&amp;quot;&quot;/&gt;&lt;property id=&quot;20307&quot; value=&quot;398&quot;/&gt;&lt;/object&gt;&lt;object type=&quot;3&quot; unique_id=&quot;10096&quot;&gt;&lt;property id=&quot;20148&quot; value=&quot;5&quot;/&gt;&lt;property id=&quot;20300&quot; value=&quot;Slide 102 - &amp;quot;Horizontal drill-down animated&amp;quot;&quot;/&gt;&lt;property id=&quot;20307&quot; value=&quot;399&quot;/&gt;&lt;/object&gt;&lt;object type=&quot;3&quot; unique_id=&quot;10097&quot;&gt;&lt;property id=&quot;20148&quot; value=&quot;5&quot;/&gt;&lt;property id=&quot;20300&quot; value=&quot;Slide 103 - &amp;quot;Horizontal three-column arrows animated&amp;quot;&quot;/&gt;&lt;property id=&quot;20307&quot; value=&quot;400&quot;/&gt;&lt;/object&gt;&lt;object type=&quot;3&quot; unique_id=&quot;10098&quot;&gt;&lt;property id=&quot;20148&quot; value=&quot;5&quot;/&gt;&lt;property id=&quot;20300&quot; value=&quot;Slide 104 - &amp;quot;Vertical three-column drill-down animated&amp;quot;&quot;/&gt;&lt;property id=&quot;20307&quot; value=&quot;401&quot;/&gt;&lt;/object&gt;&lt;object type=&quot;3&quot; unique_id=&quot;10099&quot;&gt;&lt;property id=&quot;20148&quot; value=&quot;5&quot;/&gt;&lt;property id=&quot;20300&quot; value=&quot;Slide 105 - &amp;quot;Diagrams cost comparison area chart&amp;quot;&quot;/&gt;&lt;property id=&quot;20307&quot; value=&quot;402&quot;/&gt;&lt;/object&gt;&lt;object type=&quot;3&quot; unique_id=&quot;10100&quot;&gt;&lt;property id=&quot;20148&quot; value=&quot;5&quot;/&gt;&lt;property id=&quot;20300&quot; value=&quot;Slide 106&quot;/&gt;&lt;property id=&quot;20307&quot; value=&quot;403&quot;/&gt;&lt;/object&gt;&lt;object type=&quot;3&quot; unique_id=&quot;10101&quot;&gt;&lt;property id=&quot;20148&quot; value=&quot;5&quot;/&gt;&lt;property id=&quot;20300&quot; value=&quot;Slide 107&quot;/&gt;&lt;property id=&quot;20307&quot; value=&quot;404&quot;/&gt;&lt;/object&gt;&lt;object type=&quot;3&quot; unique_id=&quot;10102&quot;&gt;&lt;property id=&quot;20148&quot; value=&quot;5&quot;/&gt;&lt;property id=&quot;20300&quot; value=&quot;Slide 108 - &amp;quot;Pie chart&amp;quot;&quot;/&gt;&lt;property id=&quot;20307&quot; value=&quot;405&quot;/&gt;&lt;/object&gt;&lt;object type=&quot;3&quot; unique_id=&quot;10103&quot;&gt;&lt;property id=&quot;20148&quot; value=&quot;5&quot;/&gt;&lt;property id=&quot;20300&quot; value=&quot;Slide 109 - &amp;quot;Place a headline here&amp;quot;&quot;/&gt;&lt;property id=&quot;20307&quot; value=&quot;406&quot;/&gt;&lt;/object&gt;&lt;object type=&quot;3&quot; unique_id=&quot;10104&quot;&gt;&lt;property id=&quot;20148&quot; value=&quot;5&quot;/&gt;&lt;property id=&quot;20300&quot; value=&quot;Slide 110&quot;/&gt;&lt;property id=&quot;20307&quot; value=&quot;407&quot;/&gt;&lt;/object&gt;&lt;object type=&quot;3&quot; unique_id=&quot;10105&quot;&gt;&lt;property id=&quot;20148&quot; value=&quot;5&quot;/&gt;&lt;property id=&quot;20300&quot; value=&quot;Slide 111 - &amp;quot;Area chart&amp;quot;&quot;/&gt;&lt;property id=&quot;20307&quot; value=&quot;408&quot;/&gt;&lt;/object&gt;&lt;object type=&quot;3&quot; unique_id=&quot;10106&quot;&gt;&lt;property id=&quot;20148&quot; value=&quot;5&quot;/&gt;&lt;property id=&quot;20300&quot; value=&quot;Slide 112 - &amp;quot;Bar chart – many &amp;quot;&quot;/&gt;&lt;property id=&quot;20307&quot; value=&quot;409&quot;/&gt;&lt;/object&gt;&lt;object type=&quot;3&quot; unique_id=&quot;10107&quot;&gt;&lt;property id=&quot;20148&quot; value=&quot;5&quot;/&gt;&lt;property id=&quot;20300&quot; value=&quot;Slide 113 - &amp;quot;Bar chart – few &amp;quot;&quot;/&gt;&lt;property id=&quot;20307&quot; value=&quot;410&quot;/&gt;&lt;/object&gt;&lt;object type=&quot;3&quot; unique_id=&quot;10108&quot;&gt;&lt;property id=&quot;20148&quot; value=&quot;5&quot;/&gt;&lt;property id=&quot;20300&quot; value=&quot;Slide 114 - &amp;quot;Bar chart column - many&amp;quot;&quot;/&gt;&lt;property id=&quot;20307&quot; value=&quot;413&quot;/&gt;&lt;/object&gt;&lt;object type=&quot;3&quot; unique_id=&quot;10109&quot;&gt;&lt;property id=&quot;20148&quot; value=&quot;5&quot;/&gt;&lt;property id=&quot;20300&quot; value=&quot;Slide 115 - &amp;quot;Bar chart column – few&amp;quot;&quot;/&gt;&lt;property id=&quot;20307&quot; value=&quot;411&quot;/&gt;&lt;/object&gt;&lt;object type=&quot;3&quot; unique_id=&quot;10110&quot;&gt;&lt;property id=&quot;20148&quot; value=&quot;5&quot;/&gt;&lt;property id=&quot;20300&quot; value=&quot;Slide 116 - &amp;quot;Bar chart comparison – few&amp;quot;&quot;/&gt;&lt;property id=&quot;20307&quot; value=&quot;412&quot;/&gt;&lt;/object&gt;&lt;object type=&quot;3&quot; unique_id=&quot;10111&quot;&gt;&lt;property id=&quot;20148&quot; value=&quot;5&quot;/&gt;&lt;property id=&quot;20300&quot; value=&quot;Slide 117 - &amp;quot;Doughnut chart&amp;quot;&quot;/&gt;&lt;property id=&quot;20307&quot; value=&quot;414&quot;/&gt;&lt;/object&gt;&lt;object type=&quot;3&quot; unique_id=&quot;10112&quot;&gt;&lt;property id=&quot;20148&quot; value=&quot;5&quot;/&gt;&lt;property id=&quot;20300&quot; value=&quot;Slide 118 - &amp;quot;Table simple color crisp column&amp;quot;&quot;/&gt;&lt;property id=&quot;20307&quot; value=&quot;415&quot;/&gt;&lt;/object&gt;&lt;object type=&quot;3&quot; unique_id=&quot;10113&quot;&gt;&lt;property id=&quot;20148&quot; value=&quot;5&quot;/&gt;&lt;property id=&quot;20300&quot; value=&quot;Slide 119 - &amp;quot;Table simple bold – many &amp;quot;&quot;/&gt;&lt;property id=&quot;20307&quot; value=&quot;416&quot;/&gt;&lt;/object&gt;&lt;object type=&quot;3&quot; unique_id=&quot;10114&quot;&gt;&lt;property id=&quot;20148&quot; value=&quot;5&quot;/&gt;&lt;property id=&quot;20300&quot; value=&quot;Slide 120 - &amp;quot;Table simple bold – few&amp;quot;&quot;/&gt;&lt;property id=&quot;20307&quot; value=&quot;417&quot;/&gt;&lt;/object&gt;&lt;object type=&quot;3&quot; unique_id=&quot;10115&quot;&gt;&lt;property id=&quot;20148&quot; value=&quot;5&quot;/&gt;&lt;property id=&quot;20300&quot; value=&quot;Slide 121 - &amp;quot;Table simple crisp rows – many&amp;quot;&quot;/&gt;&lt;property id=&quot;20307&quot; value=&quot;418&quot;/&gt;&lt;/object&gt;&lt;object type=&quot;3&quot; unique_id=&quot;10116&quot;&gt;&lt;property id=&quot;20148&quot; value=&quot;5&quot;/&gt;&lt;property id=&quot;20300&quot; value=&quot;Slide 122 - &amp;quot;Table crisp rows – few&amp;quot;&quot;/&gt;&lt;property id=&quot;20307&quot; value=&quot;419&quot;/&gt;&lt;/object&gt;&lt;object type=&quot;3&quot; unique_id=&quot;10117&quot;&gt;&lt;property id=&quot;20148&quot; value=&quot;5&quot;/&gt;&lt;property id=&quot;20300&quot; value=&quot;Slide 123 - &amp;quot;Comparative&amp;quot;&quot;/&gt;&lt;property id=&quot;20307&quot; value=&quot;420&quot;/&gt;&lt;/object&gt;&lt;object type=&quot;3&quot; unique_id=&quot;10118&quot;&gt;&lt;property id=&quot;20148&quot; value=&quot;5&quot;/&gt;&lt;property id=&quot;20300&quot; value=&quot;Slide 124 - &amp;quot;Comparative grid&amp;quot;&quot;/&gt;&lt;property id=&quot;20307&quot; value=&quot;421&quot;/&gt;&lt;/object&gt;&lt;object type=&quot;3&quot; unique_id=&quot;10119&quot;&gt;&lt;property id=&quot;20148&quot; value=&quot;5&quot;/&gt;&lt;property id=&quot;20300&quot; value=&quot;Slide 125 - &amp;quot;Milestone tracker vertical&amp;quot;&quot;/&gt;&lt;property id=&quot;20307&quot; value=&quot;422&quot;/&gt;&lt;/object&gt;&lt;object type=&quot;3&quot; unique_id=&quot;10120&quot;&gt;&lt;property id=&quot;20148&quot; value=&quot;5&quot;/&gt;&lt;property id=&quot;20300&quot; value=&quot;Slide 126 - &amp;quot;Photo A grid&amp;quot;&quot;/&gt;&lt;property id=&quot;20307&quot; value=&quot;423&quot;/&gt;&lt;/object&gt;&lt;object type=&quot;3&quot; unique_id=&quot;10121&quot;&gt;&lt;property id=&quot;20148&quot; value=&quot;5&quot;/&gt;&lt;property id=&quot;20300&quot; value=&quot;Slide 127 - &amp;quot;Photo primary 5 grid&amp;quot;&quot;/&gt;&lt;property id=&quot;20307&quot; value=&quot;424&quot;/&gt;&lt;/object&gt;&lt;object type=&quot;3&quot; unique_id=&quot;10122&quot;&gt;&lt;property id=&quot;20148&quot; value=&quot;5&quot;/&gt;&lt;property id=&quot;20300&quot; value=&quot;Slide 128 - &amp;quot;Photo B&amp;quot;&quot;/&gt;&lt;property id=&quot;20307&quot; value=&quot;425&quot;/&gt;&lt;/object&gt;&lt;object type=&quot;3&quot; unique_id=&quot;10123&quot;&gt;&lt;property id=&quot;20148&quot; value=&quot;5&quot;/&gt;&lt;property id=&quot;20300&quot; value=&quot;Slide 129 - &amp;quot;Photo B – drill-down&amp;quot;&quot;/&gt;&lt;property id=&quot;20307&quot; value=&quot;426&quot;/&gt;&lt;/object&gt;&lt;object type=&quot;3&quot; unique_id=&quot;10124&quot;&gt;&lt;property id=&quot;20148&quot; value=&quot;5&quot;/&gt;&lt;property id=&quot;20300&quot; value=&quot;Slide 130 - &amp;quot;Photo C – drill-down&amp;quot;&quot;/&gt;&lt;property id=&quot;20307&quot; value=&quot;427&quot;/&gt;&lt;/object&gt;&lt;object type=&quot;3&quot; unique_id=&quot;10125&quot;&gt;&lt;property id=&quot;20148&quot; value=&quot;5&quot;/&gt;&lt;property id=&quot;20300&quot; value=&quot;Slide 131 - &amp;quot;Editable map&amp;quot;&quot;/&gt;&lt;property id=&quot;20307&quot; value=&quot;428&quot;/&gt;&lt;/object&gt;&lt;object type=&quot;3&quot; unique_id=&quot;10126&quot;&gt;&lt;property id=&quot;20148&quot; value=&quot;5&quot;/&gt;&lt;property id=&quot;20300&quot; value=&quot;Slide 132 - &amp;quot;Africa and  Middle East&amp;quot;&quot;/&gt;&lt;property id=&quot;20307&quot; value=&quot;429&quot;/&gt;&lt;/object&gt;&lt;object type=&quot;3&quot; unique_id=&quot;10127&quot;&gt;&lt;property id=&quot;20148&quot; value=&quot;5&quot;/&gt;&lt;property id=&quot;20300&quot; value=&quot;Slide 133 - &amp;quot;Asia&amp;quot;&quot;/&gt;&lt;property id=&quot;20307&quot; value=&quot;430&quot;/&gt;&lt;/object&gt;&lt;object type=&quot;3&quot; unique_id=&quot;10128&quot;&gt;&lt;property id=&quot;20148&quot; value=&quot;5&quot;/&gt;&lt;property id=&quot;20300&quot; value=&quot;Slide 134 - &amp;quot;Europe&amp;quot;&quot;/&gt;&lt;property id=&quot;20307&quot; value=&quot;431&quot;/&gt;&lt;/object&gt;&lt;object type=&quot;3&quot; unique_id=&quot;10129&quot;&gt;&lt;property id=&quot;20148&quot; value=&quot;5&quot;/&gt;&lt;property id=&quot;20300&quot; value=&quot;Slide 135 - &amp;quot;Mexico and Latin America&amp;quot;&quot;/&gt;&lt;property id=&quot;20307&quot; value=&quot;432&quot;/&gt;&lt;/object&gt;&lt;object type=&quot;3&quot; unique_id=&quot;10130&quot;&gt;&lt;property id=&quot;20148&quot; value=&quot;5&quot;/&gt;&lt;property id=&quot;20300&quot; value=&quot;Slide 136 - &amp;quot;North America&amp;quot;&quot;/&gt;&lt;property id=&quot;20307&quot; value=&quot;433&quot;/&gt;&lt;/object&gt;&lt;object type=&quot;3&quot; unique_id=&quot;10131&quot;&gt;&lt;property id=&quot;20148&quot; value=&quot;5&quot;/&gt;&lt;property id=&quot;20300&quot; value=&quot;Slide 137 - &amp;quot;Russia&amp;quot;&quot;/&gt;&lt;property id=&quot;20307&quot; value=&quot;434&quot;/&gt;&lt;/object&gt;&lt;object type=&quot;3&quot; unique_id=&quot;10132&quot;&gt;&lt;property id=&quot;20148&quot; value=&quot;5&quot;/&gt;&lt;property id=&quot;20300&quot; value=&quot;Slide 138 - &amp;quot;South America&amp;quot;&quot;/&gt;&lt;property id=&quot;20307&quot; value=&quot;435&quot;/&gt;&lt;/object&gt;&lt;object type=&quot;3&quot; unique_id=&quot;10133&quot;&gt;&lt;property id=&quot;20148&quot; value=&quot;5&quot;/&gt;&lt;property id=&quot;20300&quot; value=&quot;Slide 139 - &amp;quot;Australia and  South Pacific&amp;quot;&quot;/&gt;&lt;property id=&quot;20307&quot; value=&quot;436&quot;/&gt;&lt;/object&gt;&lt;object type=&quot;3&quot; unique_id=&quot;10134&quot;&gt;&lt;property id=&quot;20148&quot; value=&quot;5&quot;/&gt;&lt;property id=&quot;20300&quot; value=&quot;Slide 140 - &amp;quot;USA&amp;quot;&quot;/&gt;&lt;property id=&quot;20307&quot; value=&quot;437&quot;/&gt;&lt;/object&gt;&lt;object type=&quot;3&quot; unique_id=&quot;10537&quot;&gt;&lt;property id=&quot;20148&quot; value=&quot;5&quot;/&gt;&lt;property id=&quot;20300&quot; value=&quot;Slide 26 - &amp;quot;Cisco Grey (Glyph) cloud icons&amp;quot;&quot;/&gt;&lt;property id=&quot;20307&quot; value=&quot;440&quot;/&gt;&lt;/object&gt;&lt;object type=&quot;3&quot; unique_id=&quot;10538&quot;&gt;&lt;property id=&quot;20148&quot; value=&quot;5&quot;/&gt;&lt;property id=&quot;20300&quot; value=&quot;Slide 27 - &amp;quot;Cisco Grey (Glyph) cloud icons&amp;quot;&quot;/&gt;&lt;property id=&quot;20307&quot; value=&quot;441&quot;/&gt;&lt;/object&gt;&lt;object type=&quot;3&quot; unique_id=&quot;10539&quot;&gt;&lt;property id=&quot;20148&quot; value=&quot;5&quot;/&gt;&lt;property id=&quot;20300&quot; value=&quot;Slide 32 - &amp;quot;Cisco Grey (Glyph) services icons&amp;quot;&quot;/&gt;&lt;property id=&quot;20307&quot; value=&quot;438&quot;/&gt;&lt;/object&gt;&lt;object type=&quot;3&quot; unique_id=&quot;10540&quot;&gt;&lt;property id=&quot;20148&quot; value=&quot;5&quot;/&gt;&lt;property id=&quot;20300&quot; value=&quot;Slide 33 - &amp;quot;Cisco Grey (Glyph) services icons&amp;quot;&quot;/&gt;&lt;property id=&quot;20307&quot; value=&quot;439&quot;/&gt;&lt;/object&gt;&lt;object type=&quot;3&quot; unique_id=&quot;11507&quot;&gt;&lt;property id=&quot;20148&quot; value=&quot;5&quot;/&gt;&lt;property id=&quot;20300&quot; value=&quot;Slide 19 - &amp;quot;Cisco Grey (Glyph) icons&amp;quot;&quot;/&gt;&lt;property id=&quot;20307&quot; value=&quot;442&quot;/&gt;&lt;/object&gt;&lt;object type=&quot;3&quot; unique_id=&quot;11508&quot;&gt;&lt;property id=&quot;20148&quot; value=&quot;5&quot;/&gt;&lt;property id=&quot;20300&quot; value=&quot;Slide 20 - &amp;quot;Cisco Grey (Glyph) icons&amp;quot;&quot;/&gt;&lt;property id=&quot;20307&quot; value=&quot;443&quot;/&gt;&lt;/object&gt;&lt;object type=&quot;3&quot; unique_id=&quot;11509&quot;&gt;&lt;property id=&quot;20148&quot; value=&quot;5&quot;/&gt;&lt;property id=&quot;20300&quot; value=&quot;Slide 21 - &amp;quot;Cisco Grey (Glyph) icons&amp;quot;&quot;/&gt;&lt;property id=&quot;20307&quot; value=&quot;444&quot;/&gt;&lt;/object&gt;&lt;object type=&quot;3&quot; unique_id=&quot;11934&quot;&gt;&lt;property id=&quot;20148&quot; value=&quot;5&quot;/&gt;&lt;property id=&quot;20300&quot; value=&quot;Slide 2 - &amp;quot;Please read&amp;quot;&quot;/&gt;&lt;property id=&quot;20307&quot; value=&quot;445&quot;/&gt;&lt;/object&gt;&lt;/object&gt;&lt;object type=&quot;8&quot; unique_id=&quot;10268&quot;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test,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test,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test,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test,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test,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test,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test,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test,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test,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test,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test,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test,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test,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test,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test,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test,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TS" val="phishing_attack,phishing_prevent_esa,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heme/theme1.xml><?xml version="1.0" encoding="utf-8"?>
<a:theme xmlns:a="http://schemas.openxmlformats.org/drawingml/2006/main" name="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2.xml><?xml version="1.0" encoding="utf-8"?>
<a:theme xmlns:a="http://schemas.openxmlformats.org/drawingml/2006/main" name="1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3.xml><?xml version="1.0" encoding="utf-8"?>
<a:theme xmlns:a="http://schemas.openxmlformats.org/drawingml/2006/main" name="Blue theme 2016 16x9">
  <a:themeElements>
    <a:clrScheme name="Custom 62">
      <a:dk1>
        <a:srgbClr val="4D4D4C"/>
      </a:dk1>
      <a:lt1>
        <a:srgbClr val="FFFFFF"/>
      </a:lt1>
      <a:dk2>
        <a:srgbClr val="515150"/>
      </a:dk2>
      <a:lt2>
        <a:srgbClr val="239ACC"/>
      </a:lt2>
      <a:accent1>
        <a:srgbClr val="14337C"/>
      </a:accent1>
      <a:accent2>
        <a:srgbClr val="239BCF"/>
      </a:accent2>
      <a:accent3>
        <a:srgbClr val="7AAAD4"/>
      </a:accent3>
      <a:accent4>
        <a:srgbClr val="6CC04A"/>
      </a:accent4>
      <a:accent5>
        <a:srgbClr val="218DBC"/>
      </a:accent5>
      <a:accent6>
        <a:srgbClr val="0B6B75"/>
      </a:accent6>
      <a:hlink>
        <a:srgbClr val="049FD9"/>
      </a:hlink>
      <a:folHlink>
        <a:srgbClr val="2B559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C503DE1-91F3-4E06-9D47-79C2309E909B}" vid="{C266BCD2-BF24-49DE-B4C0-2E591CE22960}"/>
    </a:ext>
  </a:extLst>
</a:theme>
</file>

<file path=ppt/theme/theme4.xml><?xml version="1.0" encoding="utf-8"?>
<a:theme xmlns:a="http://schemas.openxmlformats.org/drawingml/2006/main" name="2_Blue theme 2015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6350">
          <a:solidFill>
            <a:schemeClr val="tx1"/>
          </a:solidFill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D3B829F9-F1B4-41E4-BB8D-80CCB3B7F7E1}" vid="{94E786FC-46EE-4577-AC20-28B28C1C244D}"/>
    </a:ext>
  </a:extLst>
</a:theme>
</file>

<file path=ppt/theme/theme5.xml><?xml version="1.0" encoding="utf-8"?>
<a:theme xmlns:a="http://schemas.openxmlformats.org/drawingml/2006/main" name="Security Template">
  <a:themeElements>
    <a:clrScheme name="Cisco">
      <a:dk1>
        <a:srgbClr val="676767"/>
      </a:dk1>
      <a:lt1>
        <a:srgbClr val="FFFFFF"/>
      </a:lt1>
      <a:dk2>
        <a:srgbClr val="CCCCCC"/>
      </a:dk2>
      <a:lt2>
        <a:srgbClr val="FFFFFF"/>
      </a:lt2>
      <a:accent1>
        <a:srgbClr val="192954"/>
      </a:accent1>
      <a:accent2>
        <a:srgbClr val="8EBCDC"/>
      </a:accent2>
      <a:accent3>
        <a:srgbClr val="7F7F7F"/>
      </a:accent3>
      <a:accent4>
        <a:srgbClr val="D71F13"/>
      </a:accent4>
      <a:accent5>
        <a:srgbClr val="2462B2"/>
      </a:accent5>
      <a:accent6>
        <a:srgbClr val="142854"/>
      </a:accent6>
      <a:hlink>
        <a:srgbClr val="3C62B1"/>
      </a:hlink>
      <a:folHlink>
        <a:srgbClr val="14285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504</TotalTime>
  <Words>1441</Words>
  <Application>Microsoft Macintosh PowerPoint</Application>
  <PresentationFormat>On-screen Show (16:9)</PresentationFormat>
  <Paragraphs>399</Paragraphs>
  <Slides>21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43" baseType="lpstr">
      <vt:lpstr>Apple LiGothic Medium</vt:lpstr>
      <vt:lpstr>Broadway</vt:lpstr>
      <vt:lpstr>Calibri</vt:lpstr>
      <vt:lpstr>Ciscolight</vt:lpstr>
      <vt:lpstr>CiscoSans</vt:lpstr>
      <vt:lpstr>CiscoSans ExtraLight</vt:lpstr>
      <vt:lpstr>CiscoSans Light</vt:lpstr>
      <vt:lpstr>CiscoSans Thin</vt:lpstr>
      <vt:lpstr>CiscoSansTT ExtraLight</vt:lpstr>
      <vt:lpstr>CiscoSansTT Thin</vt:lpstr>
      <vt:lpstr>Lucida Grande</vt:lpstr>
      <vt:lpstr>ＭＳ Ｐゴシック</vt:lpstr>
      <vt:lpstr>Times New Roman</vt:lpstr>
      <vt:lpstr>Tipo de letra del sistema Fina</vt:lpstr>
      <vt:lpstr>Wingdings</vt:lpstr>
      <vt:lpstr>Arial</vt:lpstr>
      <vt:lpstr>Blue theme 2015 16x9</vt:lpstr>
      <vt:lpstr>1_Blue theme 2015 16x9</vt:lpstr>
      <vt:lpstr>Blue theme 2016 16x9</vt:lpstr>
      <vt:lpstr>2_Blue theme 2015 16x9</vt:lpstr>
      <vt:lpstr>Security Template</vt:lpstr>
      <vt:lpstr>think-cell Slide</vt:lpstr>
      <vt:lpstr>Build Your Service Provider Data Center Right with Security &amp; Analytics</vt:lpstr>
      <vt:lpstr>Breaches are the New Normal</vt:lpstr>
      <vt:lpstr>Cyber Security is a Boardroom Discussion</vt:lpstr>
      <vt:lpstr>Security Is a Boardroom Concern Cyber attacks and online piracy raise costs, hurt brand, reduce revenue</vt:lpstr>
      <vt:lpstr>PowerPoint Presentation</vt:lpstr>
      <vt:lpstr>The Modern Data Center is incredibly complex</vt:lpstr>
      <vt:lpstr>PowerPoint Presentation</vt:lpstr>
      <vt:lpstr>PowerPoint Presentation</vt:lpstr>
      <vt:lpstr>Cisco Data Center Securit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ecurity Services </vt:lpstr>
      <vt:lpstr>Security Services:  Securing the New Digital Economy</vt:lpstr>
      <vt:lpstr>Security Services:  Securing the New Digital Economy</vt:lpstr>
      <vt:lpstr>Demo </vt:lpstr>
      <vt:lpstr>PowerPoint Presentation</vt:lpstr>
      <vt:lpstr>PowerPoint Presentation</vt:lpstr>
    </vt:vector>
  </TitlesOfParts>
  <Company>NDS Limited</Company>
  <LinksUpToDate>false</LinksUpToDate>
  <SharedDoc>false</SharedDoc>
  <HyperlinksChanged>false</HyperlinksChanged>
  <AppVersion>15.003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ius@cisco.com</dc:creator>
  <cp:lastModifiedBy>Microsoft Office User</cp:lastModifiedBy>
  <cp:revision>1163</cp:revision>
  <cp:lastPrinted>2016-04-29T20:31:14Z</cp:lastPrinted>
  <dcterms:created xsi:type="dcterms:W3CDTF">2014-07-09T19:55:36Z</dcterms:created>
  <dcterms:modified xsi:type="dcterms:W3CDTF">2017-11-15T15:41:05Z</dcterms:modified>
</cp:coreProperties>
</file>